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omments/modernComment_2D8_A07E3FBB.xml" ContentType="application/vnd.ms-powerpoint.comments+xml"/>
  <Override PartName="/ppt/notesSlides/notesSlide2.xml" ContentType="application/vnd.openxmlformats-officedocument.presentationml.notesSlide+xml"/>
  <Override PartName="/ppt/comments/modernComment_7FFFF086_D310CD26.xml" ContentType="application/vnd.ms-powerpoint.comments+xml"/>
  <Override PartName="/ppt/notesSlides/notesSlide3.xml" ContentType="application/vnd.openxmlformats-officedocument.presentationml.notesSlide+xml"/>
  <Override PartName="/ppt/comments/modernComment_7FFFD6BE_C2F36A03.xml" ContentType="application/vnd.ms-powerpoint.comments+xml"/>
  <Override PartName="/ppt/comments/modernComment_7FFFD6D2_E166C796.xml" ContentType="application/vnd.ms-powerpoint.comments+xml"/>
  <Override PartName="/ppt/comments/modernComment_7FFFF026_5E69F687.xml" ContentType="application/vnd.ms-powerpoint.comments+xml"/>
  <Override PartName="/ppt/notesSlides/notesSlide4.xml" ContentType="application/vnd.openxmlformats-officedocument.presentationml.notesSlide+xml"/>
  <Override PartName="/ppt/comments/modernComment_7FFFF055_1F33BBDF.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7FFFF02F_8EC88590.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7FFFF061_A17F65D3.xml" ContentType="application/vnd.ms-powerpoint.comment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7FFFF063_2EE95CD7.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7FFFD715_B936028B.xml" ContentType="application/vnd.ms-powerpoint.comments+xml"/>
  <Override PartName="/ppt/comments/modernComment_7FFFF088_D0B726D7.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modernComment_7FFFF042_4338444F.xml" ContentType="application/vnd.ms-powerpoint.comments+xml"/>
  <Override PartName="/ppt/comments/modernComment_7FFFF08F_524E4443.xml" ContentType="application/vnd.ms-powerpoint.comments+xml"/>
  <Override PartName="/ppt/notesSlides/notesSlide27.xml" ContentType="application/vnd.openxmlformats-officedocument.presentationml.notesSlide+xml"/>
  <Override PartName="/ppt/comments/modernComment_7FFFF059_C7975E2.xml" ContentType="application/vnd.ms-powerpoint.comments+xml"/>
  <Override PartName="/ppt/comments/modernComment_7FFFF056_7ECA86C3.xml" ContentType="application/vnd.ms-powerpoint.comments+xml"/>
  <Override PartName="/ppt/comments/modernComment_7FFFF040_DAF34B9C.xml" ContentType="application/vnd.ms-powerpoint.comments+xml"/>
  <Override PartName="/ppt/comments/modernComment_7FFFD6CF_2121F4D6.xml" ContentType="application/vnd.ms-powerpoint.comments+xml"/>
  <Override PartName="/ppt/comments/modernComment_7FFFF050_512B4ECC.xml" ContentType="application/vnd.ms-powerpoint.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 id="2147483862" r:id="rId5"/>
    <p:sldMasterId id="2147483871" r:id="rId6"/>
    <p:sldMasterId id="2147483822" r:id="rId7"/>
    <p:sldMasterId id="2147483936" r:id="rId8"/>
  </p:sldMasterIdLst>
  <p:notesMasterIdLst>
    <p:notesMasterId r:id="rId127"/>
  </p:notesMasterIdLst>
  <p:handoutMasterIdLst>
    <p:handoutMasterId r:id="rId128"/>
  </p:handoutMasterIdLst>
  <p:sldIdLst>
    <p:sldId id="2147479657" r:id="rId9"/>
    <p:sldId id="728" r:id="rId10"/>
    <p:sldId id="2142535160" r:id="rId11"/>
    <p:sldId id="329" r:id="rId12"/>
    <p:sldId id="2147473095" r:id="rId13"/>
    <p:sldId id="2147479686" r:id="rId14"/>
    <p:sldId id="2142535109" r:id="rId15"/>
    <p:sldId id="2147473104" r:id="rId16"/>
    <p:sldId id="2147479583" r:id="rId17"/>
    <p:sldId id="2147479707" r:id="rId18"/>
    <p:sldId id="2147479708" r:id="rId19"/>
    <p:sldId id="2147473105" r:id="rId20"/>
    <p:sldId id="2147473085" r:id="rId21"/>
    <p:sldId id="2147473088" r:id="rId22"/>
    <p:sldId id="2147473087" r:id="rId23"/>
    <p:sldId id="2147473086" r:id="rId24"/>
    <p:sldId id="2147479721" r:id="rId25"/>
    <p:sldId id="2147473106" r:id="rId26"/>
    <p:sldId id="2147473113" r:id="rId27"/>
    <p:sldId id="2147479590" r:id="rId28"/>
    <p:sldId id="2147479555" r:id="rId29"/>
    <p:sldId id="2147473116" r:id="rId30"/>
    <p:sldId id="2147479591" r:id="rId31"/>
    <p:sldId id="2147473151" r:id="rId32"/>
    <p:sldId id="2147479637" r:id="rId33"/>
    <p:sldId id="2147479592" r:id="rId34"/>
    <p:sldId id="2147479621" r:id="rId35"/>
    <p:sldId id="2147479656" r:id="rId36"/>
    <p:sldId id="2147479594" r:id="rId37"/>
    <p:sldId id="2147479622" r:id="rId38"/>
    <p:sldId id="2147479619" r:id="rId39"/>
    <p:sldId id="2147479599" r:id="rId40"/>
    <p:sldId id="2147479623" r:id="rId41"/>
    <p:sldId id="2147479715" r:id="rId42"/>
    <p:sldId id="2147479700" r:id="rId43"/>
    <p:sldId id="2147479600" r:id="rId44"/>
    <p:sldId id="2147479629" r:id="rId45"/>
    <p:sldId id="2142535214" r:id="rId46"/>
    <p:sldId id="2147479684" r:id="rId47"/>
    <p:sldId id="2147479691" r:id="rId48"/>
    <p:sldId id="2147472971" r:id="rId49"/>
    <p:sldId id="2147472972" r:id="rId50"/>
    <p:sldId id="2147472973" r:id="rId51"/>
    <p:sldId id="2147472974" r:id="rId52"/>
    <p:sldId id="2147472975" r:id="rId53"/>
    <p:sldId id="2147472976" r:id="rId54"/>
    <p:sldId id="2147479720" r:id="rId55"/>
    <p:sldId id="2147479719" r:id="rId56"/>
    <p:sldId id="2147479710" r:id="rId57"/>
    <p:sldId id="2147479711" r:id="rId58"/>
    <p:sldId id="2142535228" r:id="rId59"/>
    <p:sldId id="2147479625" r:id="rId60"/>
    <p:sldId id="2147479712" r:id="rId61"/>
    <p:sldId id="2147479631" r:id="rId62"/>
    <p:sldId id="2147479626" r:id="rId63"/>
    <p:sldId id="2147479697" r:id="rId64"/>
    <p:sldId id="2147479650" r:id="rId65"/>
    <p:sldId id="2147479696" r:id="rId66"/>
    <p:sldId id="2147479649" r:id="rId67"/>
    <p:sldId id="2147479698" r:id="rId68"/>
    <p:sldId id="2147479706" r:id="rId69"/>
    <p:sldId id="2147473035" r:id="rId70"/>
    <p:sldId id="2147479701" r:id="rId71"/>
    <p:sldId id="2147473016" r:id="rId72"/>
    <p:sldId id="2147479633" r:id="rId73"/>
    <p:sldId id="2147473150" r:id="rId74"/>
    <p:sldId id="2147479564" r:id="rId75"/>
    <p:sldId id="2147479552" r:id="rId76"/>
    <p:sldId id="2147479558" r:id="rId77"/>
    <p:sldId id="2147479651" r:id="rId78"/>
    <p:sldId id="2147479566" r:id="rId79"/>
    <p:sldId id="2147479584" r:id="rId80"/>
    <p:sldId id="2147479556" r:id="rId81"/>
    <p:sldId id="2147479563" r:id="rId82"/>
    <p:sldId id="2147479702" r:id="rId83"/>
    <p:sldId id="2147473161" r:id="rId84"/>
    <p:sldId id="2147473164" r:id="rId85"/>
    <p:sldId id="2147479716" r:id="rId86"/>
    <p:sldId id="2147479717" r:id="rId87"/>
    <p:sldId id="2147479703" r:id="rId88"/>
    <p:sldId id="2147473173" r:id="rId89"/>
    <p:sldId id="2147479646" r:id="rId90"/>
    <p:sldId id="2147479607" r:id="rId91"/>
    <p:sldId id="2147479694" r:id="rId92"/>
    <p:sldId id="2147479704" r:id="rId93"/>
    <p:sldId id="2147479688" r:id="rId94"/>
    <p:sldId id="2147479613" r:id="rId95"/>
    <p:sldId id="2147473160" r:id="rId96"/>
    <p:sldId id="2147479692" r:id="rId97"/>
    <p:sldId id="2147479640" r:id="rId98"/>
    <p:sldId id="2147479617" r:id="rId99"/>
    <p:sldId id="2147479618" r:id="rId100"/>
    <p:sldId id="2147479695" r:id="rId101"/>
    <p:sldId id="2147479693" r:id="rId102"/>
    <p:sldId id="2147479641" r:id="rId103"/>
    <p:sldId id="2147479638" r:id="rId104"/>
    <p:sldId id="2147479616" r:id="rId105"/>
    <p:sldId id="2147479690" r:id="rId106"/>
    <p:sldId id="2147479586" r:id="rId107"/>
    <p:sldId id="2147473103" r:id="rId108"/>
    <p:sldId id="2147479642" r:id="rId109"/>
    <p:sldId id="2147479644" r:id="rId110"/>
    <p:sldId id="2147479705" r:id="rId111"/>
    <p:sldId id="2147479632" r:id="rId112"/>
    <p:sldId id="2147479634" r:id="rId113"/>
    <p:sldId id="2147479668" r:id="rId114"/>
    <p:sldId id="2147479669" r:id="rId115"/>
    <p:sldId id="2147479670" r:id="rId116"/>
    <p:sldId id="2147479671" r:id="rId117"/>
    <p:sldId id="2147479672" r:id="rId118"/>
    <p:sldId id="2147479673" r:id="rId119"/>
    <p:sldId id="2147479674" r:id="rId120"/>
    <p:sldId id="2147479675" r:id="rId121"/>
    <p:sldId id="2147479680" r:id="rId122"/>
    <p:sldId id="2147479679" r:id="rId123"/>
    <p:sldId id="2147479678" r:id="rId124"/>
    <p:sldId id="2147479681" r:id="rId125"/>
    <p:sldId id="272" r:id="rId126"/>
  </p:sldIdLst>
  <p:sldSz cx="12192000" cy="6858000"/>
  <p:notesSz cx="6858000" cy="9144000"/>
  <p:custDataLst>
    <p:tags r:id="rId1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110BE0-F950-4AE8-A146-5535004D6ED4}">
          <p14:sldIdLst>
            <p14:sldId id="2147479657"/>
            <p14:sldId id="728"/>
            <p14:sldId id="2142535160"/>
          </p14:sldIdLst>
        </p14:section>
        <p14:section name="A - Executive Summary" id="{2626B243-679B-46DE-8D8B-32F9E28830F2}">
          <p14:sldIdLst>
            <p14:sldId id="329"/>
            <p14:sldId id="2147473095"/>
            <p14:sldId id="2147479686"/>
          </p14:sldIdLst>
        </p14:section>
        <p14:section name="B - Vendor Background and Credentials" id="{405EC90F-A59F-49FE-A4F2-AF2F49EDC321}">
          <p14:sldIdLst>
            <p14:sldId id="2142535109"/>
            <p14:sldId id="2147473104"/>
            <p14:sldId id="2147479583"/>
            <p14:sldId id="2147479707"/>
            <p14:sldId id="2147479708"/>
            <p14:sldId id="2147473105"/>
            <p14:sldId id="2147473085"/>
            <p14:sldId id="2147473088"/>
            <p14:sldId id="2147473087"/>
            <p14:sldId id="2147473086"/>
            <p14:sldId id="2147479721"/>
          </p14:sldIdLst>
        </p14:section>
        <p14:section name="C - Proposal" id="{7A8E0065-4544-4201-85BF-8EFE4022CDDA}">
          <p14:sldIdLst>
            <p14:sldId id="2147473106"/>
            <p14:sldId id="2147473113"/>
            <p14:sldId id="2147479590"/>
            <p14:sldId id="2147479555"/>
            <p14:sldId id="2147473116"/>
          </p14:sldIdLst>
        </p14:section>
        <p14:section name="D - Detailed Solution" id="{0CF063F8-37F4-4D2D-93CA-3B0CEE0C58CD}">
          <p14:sldIdLst>
            <p14:sldId id="2147479591"/>
            <p14:sldId id="2147473151"/>
            <p14:sldId id="2147479637"/>
            <p14:sldId id="2147479592"/>
            <p14:sldId id="2147479621"/>
            <p14:sldId id="2147479656"/>
            <p14:sldId id="2147479594"/>
            <p14:sldId id="2147479622"/>
            <p14:sldId id="2147479619"/>
            <p14:sldId id="2147479599"/>
            <p14:sldId id="2147479623"/>
            <p14:sldId id="2147479715"/>
          </p14:sldIdLst>
        </p14:section>
        <p14:section name="E - Detailed Delivery Approach" id="{4188FC8E-2B0E-4960-A536-848219F98C46}">
          <p14:sldIdLst>
            <p14:sldId id="2147479700"/>
            <p14:sldId id="2147479600"/>
            <p14:sldId id="2147479629"/>
            <p14:sldId id="2142535214"/>
            <p14:sldId id="2147479684"/>
            <p14:sldId id="2147479691"/>
            <p14:sldId id="2147472971"/>
            <p14:sldId id="2147472972"/>
            <p14:sldId id="2147472973"/>
            <p14:sldId id="2147472974"/>
            <p14:sldId id="2147472975"/>
            <p14:sldId id="2147472976"/>
            <p14:sldId id="2147479720"/>
            <p14:sldId id="2147479719"/>
          </p14:sldIdLst>
        </p14:section>
        <p14:section name="F - Contract Management &amp; Quality Assurance" id="{7D19274C-8F4E-4E6A-9118-5AF646CD0927}">
          <p14:sldIdLst>
            <p14:sldId id="2147479710"/>
            <p14:sldId id="2147479711"/>
            <p14:sldId id="2142535228"/>
            <p14:sldId id="2147479625"/>
            <p14:sldId id="2147479712"/>
            <p14:sldId id="2147479631"/>
            <p14:sldId id="2147479626"/>
            <p14:sldId id="2147479697"/>
            <p14:sldId id="2147479650"/>
            <p14:sldId id="2147479696"/>
            <p14:sldId id="2147479649"/>
            <p14:sldId id="2147479698"/>
            <p14:sldId id="2147479706"/>
            <p14:sldId id="2147473035"/>
            <p14:sldId id="2147479701"/>
            <p14:sldId id="2147473016"/>
            <p14:sldId id="2147479633"/>
          </p14:sldIdLst>
        </p14:section>
        <p14:section name="F - Managed Service" id="{29C19B25-E87C-4F57-B84E-13B233159F54}">
          <p14:sldIdLst>
            <p14:sldId id="2147473150"/>
            <p14:sldId id="2147479564"/>
            <p14:sldId id="2147479552"/>
            <p14:sldId id="2147479558"/>
            <p14:sldId id="2147479651"/>
            <p14:sldId id="2147479566"/>
            <p14:sldId id="2147479584"/>
            <p14:sldId id="2147479556"/>
            <p14:sldId id="2147479563"/>
          </p14:sldIdLst>
        </p14:section>
        <p14:section name="G - Assumptions" id="{486B7095-1585-40C0-9B1C-AEB3595450C6}">
          <p14:sldIdLst>
            <p14:sldId id="2147479702"/>
            <p14:sldId id="2147473161"/>
            <p14:sldId id="2147473164"/>
            <p14:sldId id="2147479716"/>
            <p14:sldId id="2147479717"/>
          </p14:sldIdLst>
        </p14:section>
        <p14:section name="H - Credentials" id="{370C1212-C5B5-4A1C-96F1-29A4EAD1F5AC}">
          <p14:sldIdLst>
            <p14:sldId id="2147479703"/>
            <p14:sldId id="2147473173"/>
            <p14:sldId id="2147479646"/>
            <p14:sldId id="2147479607"/>
            <p14:sldId id="2147479694"/>
          </p14:sldIdLst>
        </p14:section>
        <p14:section name="I - Our Team" id="{627FE94B-C7BC-4079-A9BE-72C10906D8C5}">
          <p14:sldIdLst>
            <p14:sldId id="2147479704"/>
            <p14:sldId id="2147479688"/>
            <p14:sldId id="2147479613"/>
            <p14:sldId id="2147473160"/>
            <p14:sldId id="2147479692"/>
            <p14:sldId id="2147479640"/>
            <p14:sldId id="2147479617"/>
            <p14:sldId id="2147479618"/>
            <p14:sldId id="2147479695"/>
            <p14:sldId id="2147479693"/>
            <p14:sldId id="2147479641"/>
            <p14:sldId id="2147479638"/>
            <p14:sldId id="2147479616"/>
            <p14:sldId id="2147479690"/>
          </p14:sldIdLst>
        </p14:section>
        <p14:section name="J - Quality Assurance" id="{EE2E0A15-75D9-4249-B6EF-8D6D13EF9BE8}">
          <p14:sldIdLst>
            <p14:sldId id="2147479586"/>
            <p14:sldId id="2147473103"/>
            <p14:sldId id="2147479642"/>
            <p14:sldId id="2147479644"/>
          </p14:sldIdLst>
        </p14:section>
        <p14:section name="K - ISO Certifications" id="{F7ADEAC3-58A1-470F-90A5-855CA49B3419}">
          <p14:sldIdLst>
            <p14:sldId id="2147479705"/>
            <p14:sldId id="2147479632"/>
          </p14:sldIdLst>
        </p14:section>
        <p14:section name="L - Appendix" id="{7EF3DAF6-17DE-4951-BC89-08803713C580}">
          <p14:sldIdLst>
            <p14:sldId id="2147479634"/>
            <p14:sldId id="2147479668"/>
            <p14:sldId id="2147479669"/>
            <p14:sldId id="2147479670"/>
            <p14:sldId id="2147479671"/>
            <p14:sldId id="2147479672"/>
            <p14:sldId id="2147479673"/>
            <p14:sldId id="2147479674"/>
            <p14:sldId id="2147479675"/>
            <p14:sldId id="2147479680"/>
            <p14:sldId id="2147479679"/>
            <p14:sldId id="2147479678"/>
            <p14:sldId id="2147479681"/>
            <p14:sldId id="272"/>
          </p14:sldIdLst>
        </p14:section>
      </p14:sectionLst>
    </p:ext>
    <p:ext uri="{EFAFB233-063F-42B5-8137-9DF3F51BA10A}">
      <p15:sldGuideLst xmlns:p15="http://schemas.microsoft.com/office/powerpoint/2012/main">
        <p15:guide id="1" orient="horz" pos="34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E02102-A22F-D06B-E9E9-F9BA1CCAB09D}" name="Plunkett Kelly" initials="PK" userId="S::Plunkett.Kelly@uk.ey.com::cdb012e4-69ac-4954-928c-e33ec36f5eba" providerId="AD"/>
  <p188:author id="{EC6DFC0E-34D9-DA25-FA2F-0506010E6802}" name="Matthew Macfarlane" initials="MM" userId="S::Matthew.Macfarlane@ie.ey.com::52a8a487-b9c7-41a3-9714-e63e5480b1c7" providerId="AD"/>
  <p188:author id="{D9730D20-9693-B279-3B55-3E49B120B039}" name="Immanuel J Daniel" initials="ID" userId="S::immanuel.johnston.daniel@ie.ey.com::b9141605-49ff-443e-8af4-0c21e2766a66" providerId="AD"/>
  <p188:author id="{A502332A-7302-D403-B17B-9EF1DA01F005}" name="Immanuel J Daniel" initials="IJD" userId="S::Immanuel.Johnston.Daniel@ie.ey.com::b9141605-49ff-443e-8af4-0c21e2766a66" providerId="AD"/>
  <p188:author id="{750B0335-F334-9E54-A4E2-73132CED306D}" name="Ahmed Helmy" initials="AH" userId="S::ahmed.helmy@ie.ey.com::00ab2dc9-190a-451b-8f35-a658adf790b2" providerId="AD"/>
  <p188:author id="{47EA7E3B-FFA5-9DD7-F09B-65427C4B1586}" name="David Lynch" initials="DL" userId="S::David.Lynch2@ie.ey.com::666a0384-f147-414d-9e35-a983301ea6cb" providerId="AD"/>
  <p188:author id="{DDDF3EC4-635C-937A-6DF5-BBDD5E2D15C0}" name="Mick Mooney" initials="MM" userId="S::Mick.Mooney@ie.ey.com::e6518e4e-af4a-4bea-b39c-20489a1e5519" providerId="AD"/>
  <p188:author id="{FEB00BD1-4E3E-8996-191D-8DB66C790BA4}" name="Brian Bambrick" initials="BB" userId="S::Brian.Bambrick@ie.ey.com::4a0d11bd-e942-4df0-b3ad-ad9bac78bbb3" providerId="AD"/>
  <p188:author id="{3916B8DD-280A-5613-E642-2DA3C64C8423}" name="Abhishek Danalakota" initials="AD" userId="S::Abhishek.Danalakota@ie.ey.com::139ae11c-37c1-494d-966a-606ba81d5a81" providerId="AD"/>
  <p188:author id="{5234D9FA-46B5-D7EF-AA5A-4864A6EFA8C8}" name="Plunkett Kelly" initials="PK" userId="S::plunkett.kelly@uk.ey.com::cdb012e4-69ac-4954-928c-e33ec36f5eb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ole Dempster" initials="ND" lastIdx="1" clrIdx="0">
    <p:extLst>
      <p:ext uri="{19B8F6BF-5375-455C-9EA6-DF929625EA0E}">
        <p15:presenceInfo xmlns:p15="http://schemas.microsoft.com/office/powerpoint/2012/main" userId="S::Nicole.Dempster@ie.ey.com::3d6e393b-38b5-4771-bcc9-7a8e351eaf89" providerId="AD"/>
      </p:ext>
    </p:extLst>
  </p:cmAuthor>
  <p:cmAuthor id="2" name="Declan" initials="D" lastIdx="13" clrIdx="1">
    <p:extLst>
      <p:ext uri="{19B8F6BF-5375-455C-9EA6-DF929625EA0E}">
        <p15:presenceInfo xmlns:p15="http://schemas.microsoft.com/office/powerpoint/2012/main" userId="S::Declan.Bond@ie.ey.com::0ff6e25e-2753-4543-9526-375a4d1a0f8c" providerId="AD"/>
      </p:ext>
    </p:extLst>
  </p:cmAuthor>
  <p:cmAuthor id="3" name="Katie Burns" initials="KB" lastIdx="15" clrIdx="2">
    <p:extLst>
      <p:ext uri="{19B8F6BF-5375-455C-9EA6-DF929625EA0E}">
        <p15:presenceInfo xmlns:p15="http://schemas.microsoft.com/office/powerpoint/2012/main" userId="S::Katie.Burns@ie.ey.com::0dd45b61-ef2c-44fd-9d43-820602336c1a" providerId="AD"/>
      </p:ext>
    </p:extLst>
  </p:cmAuthor>
  <p:cmAuthor id="4" name="Emma Faye" initials="EF" lastIdx="11" clrIdx="3">
    <p:extLst>
      <p:ext uri="{19B8F6BF-5375-455C-9EA6-DF929625EA0E}">
        <p15:presenceInfo xmlns:p15="http://schemas.microsoft.com/office/powerpoint/2012/main" userId="S::Emma.Faye@ie.ey.com::e3877b55-adb8-446b-9279-82fa547d95d4" providerId="AD"/>
      </p:ext>
    </p:extLst>
  </p:cmAuthor>
  <p:cmAuthor id="5" name="Simon MacAllister" initials="SM" lastIdx="9" clrIdx="4">
    <p:extLst>
      <p:ext uri="{19B8F6BF-5375-455C-9EA6-DF929625EA0E}">
        <p15:presenceInfo xmlns:p15="http://schemas.microsoft.com/office/powerpoint/2012/main" userId="S::Simon.MacAllister@ie.ey.com::34439db9-ba2e-4fe7-8346-e7e01eed1ab1" providerId="AD"/>
      </p:ext>
    </p:extLst>
  </p:cmAuthor>
  <p:cmAuthor id="6" name="Sinead Hickey" initials="SH" lastIdx="6" clrIdx="5">
    <p:extLst>
      <p:ext uri="{19B8F6BF-5375-455C-9EA6-DF929625EA0E}">
        <p15:presenceInfo xmlns:p15="http://schemas.microsoft.com/office/powerpoint/2012/main" userId="S::Sinead.Hickey1@ie.ey.com::67a0d9db-a30b-4fa1-a738-07207ffc37af" providerId="AD"/>
      </p:ext>
    </p:extLst>
  </p:cmAuthor>
  <p:cmAuthor id="7" name="Louise Keating" initials="LK" lastIdx="3" clrIdx="6">
    <p:extLst>
      <p:ext uri="{19B8F6BF-5375-455C-9EA6-DF929625EA0E}">
        <p15:presenceInfo xmlns:p15="http://schemas.microsoft.com/office/powerpoint/2012/main" userId="S::Louise.Keating@ie.ey.com::9ee82738-9a01-4fc3-b362-f59dc52a66fa" providerId="AD"/>
      </p:ext>
    </p:extLst>
  </p:cmAuthor>
  <p:cmAuthor id="8" name="Harry Corbally" initials="HC" lastIdx="19" clrIdx="7">
    <p:extLst>
      <p:ext uri="{19B8F6BF-5375-455C-9EA6-DF929625EA0E}">
        <p15:presenceInfo xmlns:p15="http://schemas.microsoft.com/office/powerpoint/2012/main" userId="S::Harry.Corbally@ie.ey.com::7bf95c23-a0bd-431a-959d-3e4cf5bc55cb" providerId="AD"/>
      </p:ext>
    </p:extLst>
  </p:cmAuthor>
  <p:cmAuthor id="9" name="David Lynch" initials="DL" lastIdx="19" clrIdx="8">
    <p:extLst>
      <p:ext uri="{19B8F6BF-5375-455C-9EA6-DF929625EA0E}">
        <p15:presenceInfo xmlns:p15="http://schemas.microsoft.com/office/powerpoint/2012/main" userId="S::David.Lynch2@ie.ey.com::666a0384-f147-414d-9e35-a983301ea6cb" providerId="AD"/>
      </p:ext>
    </p:extLst>
  </p:cmAuthor>
  <p:cmAuthor id="10" name="Uros Djordjevic" initials="UD" lastIdx="50" clrIdx="9">
    <p:extLst>
      <p:ext uri="{19B8F6BF-5375-455C-9EA6-DF929625EA0E}">
        <p15:presenceInfo xmlns:p15="http://schemas.microsoft.com/office/powerpoint/2012/main" userId="S::Uros.Djordjevic@ie.ey.com::09eae9ca-0f8e-49e0-bbba-0d0545b127c8" providerId="AD"/>
      </p:ext>
    </p:extLst>
  </p:cmAuthor>
  <p:cmAuthor id="11" name="Paul Browne" initials="PB" lastIdx="4" clrIdx="10">
    <p:extLst>
      <p:ext uri="{19B8F6BF-5375-455C-9EA6-DF929625EA0E}">
        <p15:presenceInfo xmlns:p15="http://schemas.microsoft.com/office/powerpoint/2012/main" userId="S::Paul.Browne@ie.ey.com::454025d3-a6e9-4992-968a-01d28be10bb4" providerId="AD"/>
      </p:ext>
    </p:extLst>
  </p:cmAuthor>
  <p:cmAuthor id="12" name="Brian Moroney" initials="BM" lastIdx="4" clrIdx="11">
    <p:extLst>
      <p:ext uri="{19B8F6BF-5375-455C-9EA6-DF929625EA0E}">
        <p15:presenceInfo xmlns:p15="http://schemas.microsoft.com/office/powerpoint/2012/main" userId="S::brian.moroney@ie.ey.com::64cd420a-a00c-4d51-bc12-70b3658234dd" providerId="AD"/>
      </p:ext>
    </p:extLst>
  </p:cmAuthor>
  <p:cmAuthor id="13" name="Terry Maguire" initials="TM" lastIdx="1" clrIdx="12">
    <p:extLst>
      <p:ext uri="{19B8F6BF-5375-455C-9EA6-DF929625EA0E}">
        <p15:presenceInfo xmlns:p15="http://schemas.microsoft.com/office/powerpoint/2012/main" userId="S::Terry.Maguire@ie.ey.com::2249fb97-a567-4f7b-b39b-1c4ca33163f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066"/>
    <a:srgbClr val="F6DF09"/>
    <a:srgbClr val="FFE600"/>
    <a:srgbClr val="42424C"/>
    <a:srgbClr val="9A830B"/>
    <a:srgbClr val="E1E1E6"/>
    <a:srgbClr val="C4C4CD"/>
    <a:srgbClr val="2E2E38"/>
    <a:srgbClr val="D2D2DA"/>
    <a:srgbClr val="FE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E36DE3-4CF0-A9D3-8F29-09BC3E1DDF48}" v="3" dt="2023-08-15T10:44:41.943"/>
    <p1510:client id="{0D70AE22-D2EE-7AA9-A2BF-B63C686068B2}" v="352" dt="2023-08-15T10:41:25.063"/>
    <p1510:client id="{11E97BFB-743D-4AE5-969D-4F36318F3B0A}" v="4" dt="2023-08-15T13:54:16.225"/>
    <p1510:client id="{12068727-2694-40B1-8894-C4855D958E1B}" v="119" dt="2023-08-15T14:07:13.072"/>
    <p1510:client id="{26BAF539-AA3A-4FD3-912B-FF65AC990800}" vWet="4" dt="2023-08-15T13:53:55.088"/>
    <p1510:client id="{3014DE50-B07B-4776-BEAC-0F779D92A13E}" v="4308" vWet="4310" dt="2023-08-15T09:45:28.888"/>
    <p1510:client id="{3BACFCE3-C35B-2826-EFEB-3AB948669A9B}" v="2492" dt="2023-08-15T13:56:22.112"/>
    <p1510:client id="{62C1B4FA-36BD-9635-CB0D-1B0AE140B331}" v="1046" dt="2023-08-14T16:14:54.643"/>
    <p1510:client id="{7E1AD189-A8EC-3834-67ED-AECA7F82F027}" v="1297" vWet="1348" dt="2023-08-15T14:04:47.581"/>
    <p1510:client id="{9FDD1B4B-08E7-9B14-044D-BA94EB95032A}" v="208" dt="2023-08-14T21:32:03.884"/>
    <p1510:client id="{AC3BC922-7468-4B33-A761-2B7046E5E3DB}" v="1174" dt="2023-08-15T14:04:15.652"/>
    <p1510:client id="{B7C42C39-F44A-4B6B-B9BF-7A73B87E6790}" vWet="2" dt="2023-08-15T14:19:33.396"/>
    <p1510:client id="{BBB34D2C-4BB8-46F0-ACA0-0E3F9D00DA23}" v="1329" vWet="1333" dt="2023-08-15T14:04:27.338"/>
    <p1510:client id="{CDF63375-607F-42DE-93F8-C478169F6FE4}" v="1134" dt="2023-08-15T14:21:22.551"/>
    <p1510:client id="{D919AE57-AB5C-0208-6A99-CDDE5A1BE01E}" v="82" dt="2023-08-15T13:36:59.1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44" y="258"/>
      </p:cViewPr>
      <p:guideLst>
        <p:guide orient="horz" pos="3498"/>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theme" Target="theme/theme1.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28"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13" Type="http://schemas.openxmlformats.org/officeDocument/2006/relationships/slide" Target="slides/slide105.xml"/><Relationship Id="rId118" Type="http://schemas.openxmlformats.org/officeDocument/2006/relationships/slide" Target="slides/slide110.xml"/><Relationship Id="rId126" Type="http://schemas.openxmlformats.org/officeDocument/2006/relationships/slide" Target="slides/slide118.xml"/><Relationship Id="rId13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slide" Target="slides/slide100.xml"/><Relationship Id="rId116" Type="http://schemas.openxmlformats.org/officeDocument/2006/relationships/slide" Target="slides/slide108.xml"/><Relationship Id="rId124" Type="http://schemas.openxmlformats.org/officeDocument/2006/relationships/slide" Target="slides/slide116.xml"/><Relationship Id="rId129" Type="http://schemas.openxmlformats.org/officeDocument/2006/relationships/tags" Target="tags/tag1.xml"/><Relationship Id="rId137"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slide" Target="slides/slide103.xml"/><Relationship Id="rId13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slide" Target="slides/slide106.xml"/><Relationship Id="rId119" Type="http://schemas.openxmlformats.org/officeDocument/2006/relationships/slide" Target="slides/slide111.xml"/><Relationship Id="rId12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30" Type="http://schemas.openxmlformats.org/officeDocument/2006/relationships/commentAuthors" Target="commentAuthors.xml"/><Relationship Id="rId13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presProps" Target="presProps.xml"/><Relationship Id="rId136" Type="http://schemas.microsoft.com/office/2015/10/relationships/revisionInfo" Target="revisionInfo.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rey Obi" userId="S::jeffrey.obi@ie.ey.com::488f269d-1fa2-455e-bf95-7695136a100d" providerId="AD" clId="Web-{8B780EF8-B8F4-6BA0-71AC-C587F54930E5}"/>
    <pc:docChg chg="modSld">
      <pc:chgData name="Jeffrey Obi" userId="S::jeffrey.obi@ie.ey.com::488f269d-1fa2-455e-bf95-7695136a100d" providerId="AD" clId="Web-{8B780EF8-B8F4-6BA0-71AC-C587F54930E5}" dt="2023-08-01T08:01:03.446" v="6" actId="20577"/>
      <pc:docMkLst>
        <pc:docMk/>
      </pc:docMkLst>
      <pc:sldChg chg="modSp">
        <pc:chgData name="Jeffrey Obi" userId="S::jeffrey.obi@ie.ey.com::488f269d-1fa2-455e-bf95-7695136a100d" providerId="AD" clId="Web-{8B780EF8-B8F4-6BA0-71AC-C587F54930E5}" dt="2023-08-01T08:01:03.446" v="6" actId="20577"/>
        <pc:sldMkLst>
          <pc:docMk/>
          <pc:sldMk cId="2192119907" sldId="2147479608"/>
        </pc:sldMkLst>
        <pc:spChg chg="mod">
          <ac:chgData name="Jeffrey Obi" userId="S::jeffrey.obi@ie.ey.com::488f269d-1fa2-455e-bf95-7695136a100d" providerId="AD" clId="Web-{8B780EF8-B8F4-6BA0-71AC-C587F54930E5}" dt="2023-08-01T08:01:03.446" v="6" actId="20577"/>
          <ac:spMkLst>
            <pc:docMk/>
            <pc:sldMk cId="2192119907" sldId="2147479608"/>
            <ac:spMk id="11" creationId="{9EE04F04-F794-4453-963E-5CFBB6620A43}"/>
          </ac:spMkLst>
        </pc:spChg>
      </pc:sldChg>
      <pc:sldChg chg="modSp">
        <pc:chgData name="Jeffrey Obi" userId="S::jeffrey.obi@ie.ey.com::488f269d-1fa2-455e-bf95-7695136a100d" providerId="AD" clId="Web-{8B780EF8-B8F4-6BA0-71AC-C587F54930E5}" dt="2023-07-31T15:26:43.960" v="0" actId="14100"/>
        <pc:sldMkLst>
          <pc:docMk/>
          <pc:sldMk cId="2127201987" sldId="2147479638"/>
        </pc:sldMkLst>
        <pc:spChg chg="mod">
          <ac:chgData name="Jeffrey Obi" userId="S::jeffrey.obi@ie.ey.com::488f269d-1fa2-455e-bf95-7695136a100d" providerId="AD" clId="Web-{8B780EF8-B8F4-6BA0-71AC-C587F54930E5}" dt="2023-07-31T15:26:43.960" v="0" actId="14100"/>
          <ac:spMkLst>
            <pc:docMk/>
            <pc:sldMk cId="2127201987" sldId="2147479638"/>
            <ac:spMk id="16" creationId="{1EE50A2F-BB66-4023-A19E-4AC1F49CB477}"/>
          </ac:spMkLst>
        </pc:spChg>
      </pc:sldChg>
    </pc:docChg>
  </pc:docChgLst>
  <pc:docChgLst>
    <pc:chgData name="Uros Djordjevic" userId="09eae9ca-0f8e-49e0-bbba-0d0545b127c8" providerId="ADAL" clId="{EF3FAA05-D426-4BF6-B204-AE342A0CD79A}"/>
    <pc:docChg chg="undo custSel addSld delSld modSld modSection">
      <pc:chgData name="Uros Djordjevic" userId="09eae9ca-0f8e-49e0-bbba-0d0545b127c8" providerId="ADAL" clId="{EF3FAA05-D426-4BF6-B204-AE342A0CD79A}" dt="2023-04-28T13:08:50.131" v="43" actId="2696"/>
      <pc:docMkLst>
        <pc:docMk/>
      </pc:docMkLst>
      <pc:sldChg chg="addSp modSp mod">
        <pc:chgData name="Uros Djordjevic" userId="09eae9ca-0f8e-49e0-bbba-0d0545b127c8" providerId="ADAL" clId="{EF3FAA05-D426-4BF6-B204-AE342A0CD79A}" dt="2023-04-25T10:22:07.603" v="41" actId="1076"/>
        <pc:sldMkLst>
          <pc:docMk/>
          <pc:sldMk cId="2692628411" sldId="728"/>
        </pc:sldMkLst>
        <pc:spChg chg="mod">
          <ac:chgData name="Uros Djordjevic" userId="09eae9ca-0f8e-49e0-bbba-0d0545b127c8" providerId="ADAL" clId="{EF3FAA05-D426-4BF6-B204-AE342A0CD79A}" dt="2023-04-25T10:21:55.980" v="39"/>
          <ac:spMkLst>
            <pc:docMk/>
            <pc:sldMk cId="2692628411" sldId="728"/>
            <ac:spMk id="9" creationId="{00000000-0000-0000-0000-000000000000}"/>
          </ac:spMkLst>
        </pc:spChg>
        <pc:spChg chg="mod">
          <ac:chgData name="Uros Djordjevic" userId="09eae9ca-0f8e-49e0-bbba-0d0545b127c8" providerId="ADAL" clId="{EF3FAA05-D426-4BF6-B204-AE342A0CD79A}" dt="2023-04-25T10:19:37.933" v="0"/>
          <ac:spMkLst>
            <pc:docMk/>
            <pc:sldMk cId="2692628411" sldId="728"/>
            <ac:spMk id="26" creationId="{CFC42381-D141-437E-82F7-79A767A41D2C}"/>
          </ac:spMkLst>
        </pc:spChg>
        <pc:picChg chg="mod">
          <ac:chgData name="Uros Djordjevic" userId="09eae9ca-0f8e-49e0-bbba-0d0545b127c8" providerId="ADAL" clId="{EF3FAA05-D426-4BF6-B204-AE342A0CD79A}" dt="2023-04-25T10:21:21.482" v="33" actId="1076"/>
          <ac:picMkLst>
            <pc:docMk/>
            <pc:sldMk cId="2692628411" sldId="728"/>
            <ac:picMk id="3" creationId="{F556333C-0E35-4A92-A854-8B93FA45FF31}"/>
          </ac:picMkLst>
        </pc:picChg>
        <pc:picChg chg="mod">
          <ac:chgData name="Uros Djordjevic" userId="09eae9ca-0f8e-49e0-bbba-0d0545b127c8" providerId="ADAL" clId="{EF3FAA05-D426-4BF6-B204-AE342A0CD79A}" dt="2023-04-25T10:21:25.869" v="34" actId="1076"/>
          <ac:picMkLst>
            <pc:docMk/>
            <pc:sldMk cId="2692628411" sldId="728"/>
            <ac:picMk id="7" creationId="{56332148-F504-469E-A7BE-E9E3E9FDC19E}"/>
          </ac:picMkLst>
        </pc:picChg>
        <pc:picChg chg="mod">
          <ac:chgData name="Uros Djordjevic" userId="09eae9ca-0f8e-49e0-bbba-0d0545b127c8" providerId="ADAL" clId="{EF3FAA05-D426-4BF6-B204-AE342A0CD79A}" dt="2023-04-25T10:21:18.909" v="32" actId="1076"/>
          <ac:picMkLst>
            <pc:docMk/>
            <pc:sldMk cId="2692628411" sldId="728"/>
            <ac:picMk id="11" creationId="{BE9FB165-A0C4-4BC6-818B-C10661B95CC6}"/>
          </ac:picMkLst>
        </pc:picChg>
        <pc:picChg chg="mod">
          <ac:chgData name="Uros Djordjevic" userId="09eae9ca-0f8e-49e0-bbba-0d0545b127c8" providerId="ADAL" clId="{EF3FAA05-D426-4BF6-B204-AE342A0CD79A}" dt="2023-04-25T10:21:29.956" v="35" actId="1076"/>
          <ac:picMkLst>
            <pc:docMk/>
            <pc:sldMk cId="2692628411" sldId="728"/>
            <ac:picMk id="20" creationId="{1BC32020-A786-4F29-AC56-D7B34044189B}"/>
          </ac:picMkLst>
        </pc:picChg>
        <pc:inkChg chg="add mod">
          <ac:chgData name="Uros Djordjevic" userId="09eae9ca-0f8e-49e0-bbba-0d0545b127c8" providerId="ADAL" clId="{EF3FAA05-D426-4BF6-B204-AE342A0CD79A}" dt="2023-04-25T10:22:07.603" v="41" actId="1076"/>
          <ac:inkMkLst>
            <pc:docMk/>
            <pc:sldMk cId="2692628411" sldId="728"/>
            <ac:inkMk id="18" creationId="{8DB569DD-34AA-494F-B7FD-49533582E82D}"/>
          </ac:inkMkLst>
        </pc:inkChg>
      </pc:sldChg>
      <pc:sldChg chg="add del">
        <pc:chgData name="Uros Djordjevic" userId="09eae9ca-0f8e-49e0-bbba-0d0545b127c8" providerId="ADAL" clId="{EF3FAA05-D426-4BF6-B204-AE342A0CD79A}" dt="2023-04-28T13:08:50.131" v="43" actId="2696"/>
        <pc:sldMkLst>
          <pc:docMk/>
          <pc:sldMk cId="2621398256" sldId="2147473156"/>
        </pc:sldMkLst>
      </pc:sldChg>
    </pc:docChg>
  </pc:docChgLst>
  <pc:docChgLst>
    <pc:chgData name="Volodymyr Shatalov" userId="56ecc6a1-3bd9-41df-9439-0eced550ded8" providerId="ADAL" clId="{B7C42C39-F44A-4B6B-B9BF-7A73B87E6790}"/>
    <pc:docChg chg="undo custSel addSld delSld modSld modSection">
      <pc:chgData name="Volodymyr Shatalov" userId="56ecc6a1-3bd9-41df-9439-0eced550ded8" providerId="ADAL" clId="{B7C42C39-F44A-4B6B-B9BF-7A73B87E6790}" dt="2023-08-15T13:56:14.762" v="367" actId="20577"/>
      <pc:docMkLst>
        <pc:docMk/>
      </pc:docMkLst>
      <pc:sldChg chg="del">
        <pc:chgData name="Volodymyr Shatalov" userId="56ecc6a1-3bd9-41df-9439-0eced550ded8" providerId="ADAL" clId="{B7C42C39-F44A-4B6B-B9BF-7A73B87E6790}" dt="2023-08-15T13:53:54.333" v="355" actId="2696"/>
        <pc:sldMkLst>
          <pc:docMk/>
          <pc:sldMk cId="2943416714" sldId="2147473090"/>
        </pc:sldMkLst>
      </pc:sldChg>
      <pc:sldChg chg="addSp delSp modSp mod">
        <pc:chgData name="Volodymyr Shatalov" userId="56ecc6a1-3bd9-41df-9439-0eced550ded8" providerId="ADAL" clId="{B7C42C39-F44A-4B6B-B9BF-7A73B87E6790}" dt="2023-08-14T15:34:53.614" v="37" actId="552"/>
        <pc:sldMkLst>
          <pc:docMk/>
          <pc:sldMk cId="3107324555" sldId="2147473173"/>
        </pc:sldMkLst>
        <pc:spChg chg="mod">
          <ac:chgData name="Volodymyr Shatalov" userId="56ecc6a1-3bd9-41df-9439-0eced550ded8" providerId="ADAL" clId="{B7C42C39-F44A-4B6B-B9BF-7A73B87E6790}" dt="2023-08-14T15:34:01.766" v="6" actId="20577"/>
          <ac:spMkLst>
            <pc:docMk/>
            <pc:sldMk cId="3107324555" sldId="2147473173"/>
            <ac:spMk id="16" creationId="{99598303-3493-44C8-A697-2DB710DCD143}"/>
          </ac:spMkLst>
        </pc:spChg>
        <pc:picChg chg="mod">
          <ac:chgData name="Volodymyr Shatalov" userId="56ecc6a1-3bd9-41df-9439-0eced550ded8" providerId="ADAL" clId="{B7C42C39-F44A-4B6B-B9BF-7A73B87E6790}" dt="2023-08-14T15:34:53.614" v="37" actId="552"/>
          <ac:picMkLst>
            <pc:docMk/>
            <pc:sldMk cId="3107324555" sldId="2147473173"/>
            <ac:picMk id="3" creationId="{AA975C4F-840E-49B1-964A-5E55E535E4D7}"/>
          </ac:picMkLst>
        </pc:picChg>
        <pc:picChg chg="mod">
          <ac:chgData name="Volodymyr Shatalov" userId="56ecc6a1-3bd9-41df-9439-0eced550ded8" providerId="ADAL" clId="{B7C42C39-F44A-4B6B-B9BF-7A73B87E6790}" dt="2023-08-14T15:34:53.614" v="37" actId="552"/>
          <ac:picMkLst>
            <pc:docMk/>
            <pc:sldMk cId="3107324555" sldId="2147473173"/>
            <ac:picMk id="9" creationId="{07F1C5B2-08F7-8B7F-2426-6577C3B420C5}"/>
          </ac:picMkLst>
        </pc:picChg>
        <pc:picChg chg="del">
          <ac:chgData name="Volodymyr Shatalov" userId="56ecc6a1-3bd9-41df-9439-0eced550ded8" providerId="ADAL" clId="{B7C42C39-F44A-4B6B-B9BF-7A73B87E6790}" dt="2023-08-14T15:34:14.134" v="7" actId="478"/>
          <ac:picMkLst>
            <pc:docMk/>
            <pc:sldMk cId="3107324555" sldId="2147473173"/>
            <ac:picMk id="10" creationId="{CDFC4A11-7000-42A4-9C7B-738E11FF2B48}"/>
          </ac:picMkLst>
        </pc:picChg>
        <pc:picChg chg="add mod">
          <ac:chgData name="Volodymyr Shatalov" userId="56ecc6a1-3bd9-41df-9439-0eced550ded8" providerId="ADAL" clId="{B7C42C39-F44A-4B6B-B9BF-7A73B87E6790}" dt="2023-08-14T15:34:53.614" v="37" actId="552"/>
          <ac:picMkLst>
            <pc:docMk/>
            <pc:sldMk cId="3107324555" sldId="2147473173"/>
            <ac:picMk id="13" creationId="{C1545331-4015-464E-962A-B3B6847FC396}"/>
          </ac:picMkLst>
        </pc:picChg>
      </pc:sldChg>
      <pc:sldChg chg="modSp">
        <pc:chgData name="Volodymyr Shatalov" userId="56ecc6a1-3bd9-41df-9439-0eced550ded8" providerId="ADAL" clId="{B7C42C39-F44A-4B6B-B9BF-7A73B87E6790}" dt="2023-07-24T09:57:15.544" v="3"/>
        <pc:sldMkLst>
          <pc:docMk/>
          <pc:sldMk cId="2093568246" sldId="2147479583"/>
        </pc:sldMkLst>
        <pc:graphicFrameChg chg="mod">
          <ac:chgData name="Volodymyr Shatalov" userId="56ecc6a1-3bd9-41df-9439-0eced550ded8" providerId="ADAL" clId="{B7C42C39-F44A-4B6B-B9BF-7A73B87E6790}" dt="2023-07-24T09:57:15.544" v="3"/>
          <ac:graphicFrameMkLst>
            <pc:docMk/>
            <pc:sldMk cId="2093568246" sldId="2147479583"/>
            <ac:graphicFrameMk id="583" creationId="{4389C1C3-590E-4CBB-8B1F-4091CF529785}"/>
          </ac:graphicFrameMkLst>
        </pc:graphicFrameChg>
      </pc:sldChg>
      <pc:sldChg chg="addSp delSp modSp mod">
        <pc:chgData name="Volodymyr Shatalov" userId="56ecc6a1-3bd9-41df-9439-0eced550ded8" providerId="ADAL" clId="{B7C42C39-F44A-4B6B-B9BF-7A73B87E6790}" dt="2023-08-14T15:37:38.700" v="60" actId="20577"/>
        <pc:sldMkLst>
          <pc:docMk/>
          <pc:sldMk cId="1066138" sldId="2147479646"/>
        </pc:sldMkLst>
        <pc:spChg chg="mod">
          <ac:chgData name="Volodymyr Shatalov" userId="56ecc6a1-3bd9-41df-9439-0eced550ded8" providerId="ADAL" clId="{B7C42C39-F44A-4B6B-B9BF-7A73B87E6790}" dt="2023-08-14T15:35:46.121" v="41" actId="6549"/>
          <ac:spMkLst>
            <pc:docMk/>
            <pc:sldMk cId="1066138" sldId="2147479646"/>
            <ac:spMk id="6" creationId="{375A8375-8BDA-8591-7CD2-CF1F98D8E40F}"/>
          </ac:spMkLst>
        </pc:spChg>
        <pc:spChg chg="mod">
          <ac:chgData name="Volodymyr Shatalov" userId="56ecc6a1-3bd9-41df-9439-0eced550ded8" providerId="ADAL" clId="{B7C42C39-F44A-4B6B-B9BF-7A73B87E6790}" dt="2023-08-14T15:37:05.447" v="57" actId="20577"/>
          <ac:spMkLst>
            <pc:docMk/>
            <pc:sldMk cId="1066138" sldId="2147479646"/>
            <ac:spMk id="14" creationId="{E8A55644-11AD-FD70-1A30-6A95013BD141}"/>
          </ac:spMkLst>
        </pc:spChg>
        <pc:spChg chg="mod">
          <ac:chgData name="Volodymyr Shatalov" userId="56ecc6a1-3bd9-41df-9439-0eced550ded8" providerId="ADAL" clId="{B7C42C39-F44A-4B6B-B9BF-7A73B87E6790}" dt="2023-08-14T15:37:38.700" v="60" actId="20577"/>
          <ac:spMkLst>
            <pc:docMk/>
            <pc:sldMk cId="1066138" sldId="2147479646"/>
            <ac:spMk id="16" creationId="{E1F487BF-2DB8-5EDD-C394-30A9E2FAAF66}"/>
          </ac:spMkLst>
        </pc:spChg>
        <pc:spChg chg="mod">
          <ac:chgData name="Volodymyr Shatalov" userId="56ecc6a1-3bd9-41df-9439-0eced550ded8" providerId="ADAL" clId="{B7C42C39-F44A-4B6B-B9BF-7A73B87E6790}" dt="2023-08-14T15:36:32.851" v="51" actId="20577"/>
          <ac:spMkLst>
            <pc:docMk/>
            <pc:sldMk cId="1066138" sldId="2147479646"/>
            <ac:spMk id="18" creationId="{CF0BC8A6-1F16-21B1-A715-9879FE7EE926}"/>
          </ac:spMkLst>
        </pc:spChg>
        <pc:picChg chg="del">
          <ac:chgData name="Volodymyr Shatalov" userId="56ecc6a1-3bd9-41df-9439-0eced550ded8" providerId="ADAL" clId="{B7C42C39-F44A-4B6B-B9BF-7A73B87E6790}" dt="2023-08-14T15:35:56.286" v="42" actId="478"/>
          <ac:picMkLst>
            <pc:docMk/>
            <pc:sldMk cId="1066138" sldId="2147479646"/>
            <ac:picMk id="11" creationId="{230E2BD5-3EB9-4227-8E86-EB65CD3F80DC}"/>
          </ac:picMkLst>
        </pc:picChg>
        <pc:picChg chg="add mod">
          <ac:chgData name="Volodymyr Shatalov" userId="56ecc6a1-3bd9-41df-9439-0eced550ded8" providerId="ADAL" clId="{B7C42C39-F44A-4B6B-B9BF-7A73B87E6790}" dt="2023-08-14T15:36:08.730" v="45" actId="1076"/>
          <ac:picMkLst>
            <pc:docMk/>
            <pc:sldMk cId="1066138" sldId="2147479646"/>
            <ac:picMk id="13" creationId="{7803A464-F5B7-4E4A-8C95-876576CA9008}"/>
          </ac:picMkLst>
        </pc:picChg>
      </pc:sldChg>
      <pc:sldChg chg="addSp delSp modSp add mod">
        <pc:chgData name="Volodymyr Shatalov" userId="56ecc6a1-3bd9-41df-9439-0eced550ded8" providerId="ADAL" clId="{B7C42C39-F44A-4B6B-B9BF-7A73B87E6790}" dt="2023-08-15T13:47:06.477" v="266"/>
        <pc:sldMkLst>
          <pc:docMk/>
          <pc:sldMk cId="1395362026" sldId="2147479707"/>
        </pc:sldMkLst>
        <pc:spChg chg="mod">
          <ac:chgData name="Volodymyr Shatalov" userId="56ecc6a1-3bd9-41df-9439-0eced550ded8" providerId="ADAL" clId="{B7C42C39-F44A-4B6B-B9BF-7A73B87E6790}" dt="2023-08-15T13:38:44.083" v="197" actId="1076"/>
          <ac:spMkLst>
            <pc:docMk/>
            <pc:sldMk cId="1395362026" sldId="2147479707"/>
            <ac:spMk id="3" creationId="{9951EFB0-7B3D-96BC-83B4-3B960443107D}"/>
          </ac:spMkLst>
        </pc:spChg>
        <pc:spChg chg="mod">
          <ac:chgData name="Volodymyr Shatalov" userId="56ecc6a1-3bd9-41df-9439-0eced550ded8" providerId="ADAL" clId="{B7C42C39-F44A-4B6B-B9BF-7A73B87E6790}" dt="2023-08-15T13:38:21.467" v="193" actId="552"/>
          <ac:spMkLst>
            <pc:docMk/>
            <pc:sldMk cId="1395362026" sldId="2147479707"/>
            <ac:spMk id="4" creationId="{B716F3FF-38A4-035F-27E5-715A2567EBBE}"/>
          </ac:spMkLst>
        </pc:spChg>
        <pc:spChg chg="mod">
          <ac:chgData name="Volodymyr Shatalov" userId="56ecc6a1-3bd9-41df-9439-0eced550ded8" providerId="ADAL" clId="{B7C42C39-F44A-4B6B-B9BF-7A73B87E6790}" dt="2023-08-15T13:39:11.907" v="199" actId="552"/>
          <ac:spMkLst>
            <pc:docMk/>
            <pc:sldMk cId="1395362026" sldId="2147479707"/>
            <ac:spMk id="5" creationId="{0ECED729-D269-16E8-1F43-FB004AD16204}"/>
          </ac:spMkLst>
        </pc:spChg>
        <pc:spChg chg="mod">
          <ac:chgData name="Volodymyr Shatalov" userId="56ecc6a1-3bd9-41df-9439-0eced550ded8" providerId="ADAL" clId="{B7C42C39-F44A-4B6B-B9BF-7A73B87E6790}" dt="2023-08-15T13:40:53.250" v="202" actId="14100"/>
          <ac:spMkLst>
            <pc:docMk/>
            <pc:sldMk cId="1395362026" sldId="2147479707"/>
            <ac:spMk id="9" creationId="{1AA8578C-FC01-73BD-A1D1-DA0222EE8BAD}"/>
          </ac:spMkLst>
        </pc:spChg>
        <pc:spChg chg="mod">
          <ac:chgData name="Volodymyr Shatalov" userId="56ecc6a1-3bd9-41df-9439-0eced550ded8" providerId="ADAL" clId="{B7C42C39-F44A-4B6B-B9BF-7A73B87E6790}" dt="2023-08-15T13:47:06.477" v="266"/>
          <ac:spMkLst>
            <pc:docMk/>
            <pc:sldMk cId="1395362026" sldId="2147479707"/>
            <ac:spMk id="10" creationId="{33168099-D8CE-DD57-1E4B-F3A2399F2DD0}"/>
          </ac:spMkLst>
        </pc:spChg>
        <pc:spChg chg="mod">
          <ac:chgData name="Volodymyr Shatalov" userId="56ecc6a1-3bd9-41df-9439-0eced550ded8" providerId="ADAL" clId="{B7C42C39-F44A-4B6B-B9BF-7A73B87E6790}" dt="2023-08-15T13:46:05.333" v="264" actId="14100"/>
          <ac:spMkLst>
            <pc:docMk/>
            <pc:sldMk cId="1395362026" sldId="2147479707"/>
            <ac:spMk id="11" creationId="{94845A60-586B-F3C3-AB90-0CF1122CAAB4}"/>
          </ac:spMkLst>
        </pc:spChg>
        <pc:spChg chg="mod">
          <ac:chgData name="Volodymyr Shatalov" userId="56ecc6a1-3bd9-41df-9439-0eced550ded8" providerId="ADAL" clId="{B7C42C39-F44A-4B6B-B9BF-7A73B87E6790}" dt="2023-08-15T13:45:55.458" v="263" actId="14100"/>
          <ac:spMkLst>
            <pc:docMk/>
            <pc:sldMk cId="1395362026" sldId="2147479707"/>
            <ac:spMk id="12" creationId="{E94DEAE3-7687-AA25-DA27-B9EA77B9AAB7}"/>
          </ac:spMkLst>
        </pc:spChg>
        <pc:spChg chg="add mod">
          <ac:chgData name="Volodymyr Shatalov" userId="56ecc6a1-3bd9-41df-9439-0eced550ded8" providerId="ADAL" clId="{B7C42C39-F44A-4B6B-B9BF-7A73B87E6790}" dt="2023-08-15T13:43:13.744" v="216" actId="20577"/>
          <ac:spMkLst>
            <pc:docMk/>
            <pc:sldMk cId="1395362026" sldId="2147479707"/>
            <ac:spMk id="17" creationId="{9E3DE483-722F-4D76-B982-0190AE0CE482}"/>
          </ac:spMkLst>
        </pc:spChg>
        <pc:spChg chg="add mod">
          <ac:chgData name="Volodymyr Shatalov" userId="56ecc6a1-3bd9-41df-9439-0eced550ded8" providerId="ADAL" clId="{B7C42C39-F44A-4B6B-B9BF-7A73B87E6790}" dt="2023-08-15T13:39:21.289" v="200" actId="14100"/>
          <ac:spMkLst>
            <pc:docMk/>
            <pc:sldMk cId="1395362026" sldId="2147479707"/>
            <ac:spMk id="18" creationId="{F5694277-828A-48AE-BEF0-E7127EF232CC}"/>
          </ac:spMkLst>
        </pc:spChg>
        <pc:spChg chg="add mod">
          <ac:chgData name="Volodymyr Shatalov" userId="56ecc6a1-3bd9-41df-9439-0eced550ded8" providerId="ADAL" clId="{B7C42C39-F44A-4B6B-B9BF-7A73B87E6790}" dt="2023-08-15T13:38:29.509" v="194" actId="14100"/>
          <ac:spMkLst>
            <pc:docMk/>
            <pc:sldMk cId="1395362026" sldId="2147479707"/>
            <ac:spMk id="19" creationId="{2EAFE425-BECE-4548-9A92-2778C93E9E88}"/>
          </ac:spMkLst>
        </pc:spChg>
        <pc:spChg chg="add del mod">
          <ac:chgData name="Volodymyr Shatalov" userId="56ecc6a1-3bd9-41df-9439-0eced550ded8" providerId="ADAL" clId="{B7C42C39-F44A-4B6B-B9BF-7A73B87E6790}" dt="2023-08-15T13:36:32.810" v="158" actId="21"/>
          <ac:spMkLst>
            <pc:docMk/>
            <pc:sldMk cId="1395362026" sldId="2147479707"/>
            <ac:spMk id="20" creationId="{479AF93D-56E8-4413-9B5F-CFB1D9B9CC1D}"/>
          </ac:spMkLst>
        </pc:spChg>
        <pc:spChg chg="add del mod">
          <ac:chgData name="Volodymyr Shatalov" userId="56ecc6a1-3bd9-41df-9439-0eced550ded8" providerId="ADAL" clId="{B7C42C39-F44A-4B6B-B9BF-7A73B87E6790}" dt="2023-08-15T13:36:32.810" v="158" actId="21"/>
          <ac:spMkLst>
            <pc:docMk/>
            <pc:sldMk cId="1395362026" sldId="2147479707"/>
            <ac:spMk id="21" creationId="{CA7FD289-5036-4029-B6A8-F54AF16D85FE}"/>
          </ac:spMkLst>
        </pc:spChg>
        <pc:spChg chg="add del mod">
          <ac:chgData name="Volodymyr Shatalov" userId="56ecc6a1-3bd9-41df-9439-0eced550ded8" providerId="ADAL" clId="{B7C42C39-F44A-4B6B-B9BF-7A73B87E6790}" dt="2023-08-15T13:36:32.810" v="158" actId="21"/>
          <ac:spMkLst>
            <pc:docMk/>
            <pc:sldMk cId="1395362026" sldId="2147479707"/>
            <ac:spMk id="22" creationId="{550AC7FA-285B-4EE2-B1BC-F14E8E64772B}"/>
          </ac:spMkLst>
        </pc:spChg>
      </pc:sldChg>
      <pc:sldChg chg="modSp mod">
        <pc:chgData name="Volodymyr Shatalov" userId="56ecc6a1-3bd9-41df-9439-0eced550ded8" providerId="ADAL" clId="{B7C42C39-F44A-4B6B-B9BF-7A73B87E6790}" dt="2023-08-15T13:53:12.356" v="354" actId="14100"/>
        <pc:sldMkLst>
          <pc:docMk/>
          <pc:sldMk cId="1395362026" sldId="2147479719"/>
        </pc:sldMkLst>
        <pc:spChg chg="mod">
          <ac:chgData name="Volodymyr Shatalov" userId="56ecc6a1-3bd9-41df-9439-0eced550ded8" providerId="ADAL" clId="{B7C42C39-F44A-4B6B-B9BF-7A73B87E6790}" dt="2023-08-15T13:53:06.100" v="352" actId="14100"/>
          <ac:spMkLst>
            <pc:docMk/>
            <pc:sldMk cId="1395362026" sldId="2147479719"/>
            <ac:spMk id="4" creationId="{B716F3FF-38A4-035F-27E5-715A2567EBBE}"/>
          </ac:spMkLst>
        </pc:spChg>
        <pc:spChg chg="mod">
          <ac:chgData name="Volodymyr Shatalov" userId="56ecc6a1-3bd9-41df-9439-0eced550ded8" providerId="ADAL" clId="{B7C42C39-F44A-4B6B-B9BF-7A73B87E6790}" dt="2023-08-15T13:52:54.883" v="349" actId="14100"/>
          <ac:spMkLst>
            <pc:docMk/>
            <pc:sldMk cId="1395362026" sldId="2147479719"/>
            <ac:spMk id="5" creationId="{0ECED729-D269-16E8-1F43-FB004AD16204}"/>
          </ac:spMkLst>
        </pc:spChg>
        <pc:spChg chg="mod">
          <ac:chgData name="Volodymyr Shatalov" userId="56ecc6a1-3bd9-41df-9439-0eced550ded8" providerId="ADAL" clId="{B7C42C39-F44A-4B6B-B9BF-7A73B87E6790}" dt="2023-08-15T13:52:41.436" v="348" actId="14100"/>
          <ac:spMkLst>
            <pc:docMk/>
            <pc:sldMk cId="1395362026" sldId="2147479719"/>
            <ac:spMk id="9" creationId="{1AA8578C-FC01-73BD-A1D1-DA0222EE8BAD}"/>
          </ac:spMkLst>
        </pc:spChg>
        <pc:spChg chg="mod">
          <ac:chgData name="Volodymyr Shatalov" userId="56ecc6a1-3bd9-41df-9439-0eced550ded8" providerId="ADAL" clId="{B7C42C39-F44A-4B6B-B9BF-7A73B87E6790}" dt="2023-08-15T13:52:29.524" v="346" actId="14100"/>
          <ac:spMkLst>
            <pc:docMk/>
            <pc:sldMk cId="1395362026" sldId="2147479719"/>
            <ac:spMk id="10" creationId="{33168099-D8CE-DD57-1E4B-F3A2399F2DD0}"/>
          </ac:spMkLst>
        </pc:spChg>
        <pc:spChg chg="mod">
          <ac:chgData name="Volodymyr Shatalov" userId="56ecc6a1-3bd9-41df-9439-0eced550ded8" providerId="ADAL" clId="{B7C42C39-F44A-4B6B-B9BF-7A73B87E6790}" dt="2023-08-15T13:53:01.783" v="351" actId="14100"/>
          <ac:spMkLst>
            <pc:docMk/>
            <pc:sldMk cId="1395362026" sldId="2147479719"/>
            <ac:spMk id="11" creationId="{94845A60-586B-F3C3-AB90-0CF1122CAAB4}"/>
          </ac:spMkLst>
        </pc:spChg>
        <pc:spChg chg="mod">
          <ac:chgData name="Volodymyr Shatalov" userId="56ecc6a1-3bd9-41df-9439-0eced550ded8" providerId="ADAL" clId="{B7C42C39-F44A-4B6B-B9BF-7A73B87E6790}" dt="2023-08-15T13:53:12.356" v="354" actId="14100"/>
          <ac:spMkLst>
            <pc:docMk/>
            <pc:sldMk cId="1395362026" sldId="2147479719"/>
            <ac:spMk id="12" creationId="{E94DEAE3-7687-AA25-DA27-B9EA77B9AAB7}"/>
          </ac:spMkLst>
        </pc:spChg>
        <pc:spChg chg="mod">
          <ac:chgData name="Volodymyr Shatalov" userId="56ecc6a1-3bd9-41df-9439-0eced550ded8" providerId="ADAL" clId="{B7C42C39-F44A-4B6B-B9BF-7A73B87E6790}" dt="2023-08-15T13:52:38.339" v="347" actId="14100"/>
          <ac:spMkLst>
            <pc:docMk/>
            <pc:sldMk cId="1395362026" sldId="2147479719"/>
            <ac:spMk id="17" creationId="{9E3DE483-722F-4D76-B982-0190AE0CE482}"/>
          </ac:spMkLst>
        </pc:spChg>
        <pc:spChg chg="mod">
          <ac:chgData name="Volodymyr Shatalov" userId="56ecc6a1-3bd9-41df-9439-0eced550ded8" providerId="ADAL" clId="{B7C42C39-F44A-4B6B-B9BF-7A73B87E6790}" dt="2023-08-15T13:52:58.839" v="350" actId="14100"/>
          <ac:spMkLst>
            <pc:docMk/>
            <pc:sldMk cId="1395362026" sldId="2147479719"/>
            <ac:spMk id="18" creationId="{F5694277-828A-48AE-BEF0-E7127EF232CC}"/>
          </ac:spMkLst>
        </pc:spChg>
        <pc:spChg chg="mod">
          <ac:chgData name="Volodymyr Shatalov" userId="56ecc6a1-3bd9-41df-9439-0eced550ded8" providerId="ADAL" clId="{B7C42C39-F44A-4B6B-B9BF-7A73B87E6790}" dt="2023-08-15T13:53:09.526" v="353" actId="14100"/>
          <ac:spMkLst>
            <pc:docMk/>
            <pc:sldMk cId="1395362026" sldId="2147479719"/>
            <ac:spMk id="19" creationId="{2EAFE425-BECE-4548-9A92-2778C93E9E88}"/>
          </ac:spMkLst>
        </pc:spChg>
      </pc:sldChg>
      <pc:sldChg chg="modSp mod">
        <pc:chgData name="Volodymyr Shatalov" userId="56ecc6a1-3bd9-41df-9439-0eced550ded8" providerId="ADAL" clId="{B7C42C39-F44A-4B6B-B9BF-7A73B87E6790}" dt="2023-08-15T13:56:14.762" v="367" actId="20577"/>
        <pc:sldMkLst>
          <pc:docMk/>
          <pc:sldMk cId="1395362026" sldId="2147479721"/>
        </pc:sldMkLst>
        <pc:spChg chg="mod">
          <ac:chgData name="Volodymyr Shatalov" userId="56ecc6a1-3bd9-41df-9439-0eced550ded8" providerId="ADAL" clId="{B7C42C39-F44A-4B6B-B9BF-7A73B87E6790}" dt="2023-08-15T13:54:46.367" v="359" actId="14100"/>
          <ac:spMkLst>
            <pc:docMk/>
            <pc:sldMk cId="1395362026" sldId="2147479721"/>
            <ac:spMk id="3" creationId="{9951EFB0-7B3D-96BC-83B4-3B960443107D}"/>
          </ac:spMkLst>
        </pc:spChg>
        <pc:spChg chg="mod">
          <ac:chgData name="Volodymyr Shatalov" userId="56ecc6a1-3bd9-41df-9439-0eced550ded8" providerId="ADAL" clId="{B7C42C39-F44A-4B6B-B9BF-7A73B87E6790}" dt="2023-08-15T13:55:02.136" v="361" actId="14100"/>
          <ac:spMkLst>
            <pc:docMk/>
            <pc:sldMk cId="1395362026" sldId="2147479721"/>
            <ac:spMk id="4" creationId="{B716F3FF-38A4-035F-27E5-715A2567EBBE}"/>
          </ac:spMkLst>
        </pc:spChg>
        <pc:spChg chg="mod">
          <ac:chgData name="Volodymyr Shatalov" userId="56ecc6a1-3bd9-41df-9439-0eced550ded8" providerId="ADAL" clId="{B7C42C39-F44A-4B6B-B9BF-7A73B87E6790}" dt="2023-08-15T13:55:06.206" v="362" actId="14100"/>
          <ac:spMkLst>
            <pc:docMk/>
            <pc:sldMk cId="1395362026" sldId="2147479721"/>
            <ac:spMk id="5" creationId="{0ECED729-D269-16E8-1F43-FB004AD16204}"/>
          </ac:spMkLst>
        </pc:spChg>
        <pc:spChg chg="mod">
          <ac:chgData name="Volodymyr Shatalov" userId="56ecc6a1-3bd9-41df-9439-0eced550ded8" providerId="ADAL" clId="{B7C42C39-F44A-4B6B-B9BF-7A73B87E6790}" dt="2023-08-15T13:55:14.486" v="364" actId="14100"/>
          <ac:spMkLst>
            <pc:docMk/>
            <pc:sldMk cId="1395362026" sldId="2147479721"/>
            <ac:spMk id="9" creationId="{1AA8578C-FC01-73BD-A1D1-DA0222EE8BAD}"/>
          </ac:spMkLst>
        </pc:spChg>
        <pc:spChg chg="mod">
          <ac:chgData name="Volodymyr Shatalov" userId="56ecc6a1-3bd9-41df-9439-0eced550ded8" providerId="ADAL" clId="{B7C42C39-F44A-4B6B-B9BF-7A73B87E6790}" dt="2023-08-15T13:56:14.762" v="367" actId="20577"/>
          <ac:spMkLst>
            <pc:docMk/>
            <pc:sldMk cId="1395362026" sldId="2147479721"/>
            <ac:spMk id="10" creationId="{33168099-D8CE-DD57-1E4B-F3A2399F2DD0}"/>
          </ac:spMkLst>
        </pc:spChg>
        <pc:spChg chg="mod">
          <ac:chgData name="Volodymyr Shatalov" userId="56ecc6a1-3bd9-41df-9439-0eced550ded8" providerId="ADAL" clId="{B7C42C39-F44A-4B6B-B9BF-7A73B87E6790}" dt="2023-08-15T13:54:38.009" v="357" actId="14100"/>
          <ac:spMkLst>
            <pc:docMk/>
            <pc:sldMk cId="1395362026" sldId="2147479721"/>
            <ac:spMk id="11" creationId="{94845A60-586B-F3C3-AB90-0CF1122CAAB4}"/>
          </ac:spMkLst>
        </pc:spChg>
        <pc:spChg chg="mod">
          <ac:chgData name="Volodymyr Shatalov" userId="56ecc6a1-3bd9-41df-9439-0eced550ded8" providerId="ADAL" clId="{B7C42C39-F44A-4B6B-B9BF-7A73B87E6790}" dt="2023-08-15T13:54:42.374" v="358" actId="14100"/>
          <ac:spMkLst>
            <pc:docMk/>
            <pc:sldMk cId="1395362026" sldId="2147479721"/>
            <ac:spMk id="12" creationId="{E94DEAE3-7687-AA25-DA27-B9EA77B9AAB7}"/>
          </ac:spMkLst>
        </pc:spChg>
        <pc:spChg chg="mod">
          <ac:chgData name="Volodymyr Shatalov" userId="56ecc6a1-3bd9-41df-9439-0eced550ded8" providerId="ADAL" clId="{B7C42C39-F44A-4B6B-B9BF-7A73B87E6790}" dt="2023-08-15T13:55:17.916" v="365" actId="14100"/>
          <ac:spMkLst>
            <pc:docMk/>
            <pc:sldMk cId="1395362026" sldId="2147479721"/>
            <ac:spMk id="17" creationId="{9E3DE483-722F-4D76-B982-0190AE0CE482}"/>
          </ac:spMkLst>
        </pc:spChg>
        <pc:spChg chg="mod">
          <ac:chgData name="Volodymyr Shatalov" userId="56ecc6a1-3bd9-41df-9439-0eced550ded8" providerId="ADAL" clId="{B7C42C39-F44A-4B6B-B9BF-7A73B87E6790}" dt="2023-08-15T13:55:09.859" v="363" actId="14100"/>
          <ac:spMkLst>
            <pc:docMk/>
            <pc:sldMk cId="1395362026" sldId="2147479721"/>
            <ac:spMk id="18" creationId="{F5694277-828A-48AE-BEF0-E7127EF232CC}"/>
          </ac:spMkLst>
        </pc:spChg>
        <pc:spChg chg="mod">
          <ac:chgData name="Volodymyr Shatalov" userId="56ecc6a1-3bd9-41df-9439-0eced550ded8" providerId="ADAL" clId="{B7C42C39-F44A-4B6B-B9BF-7A73B87E6790}" dt="2023-08-15T13:54:56.778" v="360" actId="14100"/>
          <ac:spMkLst>
            <pc:docMk/>
            <pc:sldMk cId="1395362026" sldId="2147479721"/>
            <ac:spMk id="19" creationId="{2EAFE425-BECE-4548-9A92-2778C93E9E88}"/>
          </ac:spMkLst>
        </pc:spChg>
      </pc:sldChg>
    </pc:docChg>
  </pc:docChgLst>
  <pc:docChgLst>
    <pc:chgData name="Jeffrey Obi" userId="S::jeffrey.obi@ie.ey.com::488f269d-1fa2-455e-bf95-7695136a100d" providerId="AD" clId="Web-{F8CD9497-5134-98B1-7435-A4136E2B92B3}"/>
    <pc:docChg chg="modSld">
      <pc:chgData name="Jeffrey Obi" userId="S::jeffrey.obi@ie.ey.com::488f269d-1fa2-455e-bf95-7695136a100d" providerId="AD" clId="Web-{F8CD9497-5134-98B1-7435-A4136E2B92B3}" dt="2023-08-09T09:39:38.032" v="192" actId="14100"/>
      <pc:docMkLst>
        <pc:docMk/>
      </pc:docMkLst>
      <pc:sldChg chg="addSp delSp modSp">
        <pc:chgData name="Jeffrey Obi" userId="S::jeffrey.obi@ie.ey.com::488f269d-1fa2-455e-bf95-7695136a100d" providerId="AD" clId="Web-{F8CD9497-5134-98B1-7435-A4136E2B92B3}" dt="2023-08-09T09:32:35.669" v="161"/>
        <pc:sldMkLst>
          <pc:docMk/>
          <pc:sldMk cId="2915504962" sldId="2147479644"/>
        </pc:sldMkLst>
        <pc:graphicFrameChg chg="add del mod modGraphic">
          <ac:chgData name="Jeffrey Obi" userId="S::jeffrey.obi@ie.ey.com::488f269d-1fa2-455e-bf95-7695136a100d" providerId="AD" clId="Web-{F8CD9497-5134-98B1-7435-A4136E2B92B3}" dt="2023-08-09T09:32:35.669" v="161"/>
          <ac:graphicFrameMkLst>
            <pc:docMk/>
            <pc:sldMk cId="2915504962" sldId="2147479644"/>
            <ac:graphicFrameMk id="10" creationId="{C373DE96-CF83-C1C7-EAE3-76F41D608563}"/>
          </ac:graphicFrameMkLst>
        </pc:graphicFrameChg>
      </pc:sldChg>
      <pc:sldChg chg="modSp">
        <pc:chgData name="Jeffrey Obi" userId="S::jeffrey.obi@ie.ey.com::488f269d-1fa2-455e-bf95-7695136a100d" providerId="AD" clId="Web-{F8CD9497-5134-98B1-7435-A4136E2B92B3}" dt="2023-08-09T09:39:38.032" v="192" actId="14100"/>
        <pc:sldMkLst>
          <pc:docMk/>
          <pc:sldMk cId="3501663959" sldId="2147479688"/>
        </pc:sldMkLst>
        <pc:spChg chg="mod">
          <ac:chgData name="Jeffrey Obi" userId="S::jeffrey.obi@ie.ey.com::488f269d-1fa2-455e-bf95-7695136a100d" providerId="AD" clId="Web-{F8CD9497-5134-98B1-7435-A4136E2B92B3}" dt="2023-08-09T09:39:38.032" v="192" actId="14100"/>
          <ac:spMkLst>
            <pc:docMk/>
            <pc:sldMk cId="3501663959" sldId="2147479688"/>
            <ac:spMk id="17" creationId="{5C291E92-BF7E-FF28-0AC8-F1CE7470716D}"/>
          </ac:spMkLst>
        </pc:spChg>
      </pc:sldChg>
      <pc:sldChg chg="modSp">
        <pc:chgData name="Jeffrey Obi" userId="S::jeffrey.obi@ie.ey.com::488f269d-1fa2-455e-bf95-7695136a100d" providerId="AD" clId="Web-{F8CD9497-5134-98B1-7435-A4136E2B92B3}" dt="2023-08-09T09:36:36.805" v="191" actId="1076"/>
        <pc:sldMkLst>
          <pc:docMk/>
          <pc:sldMk cId="1313391205" sldId="2147479690"/>
        </pc:sldMkLst>
        <pc:spChg chg="mod">
          <ac:chgData name="Jeffrey Obi" userId="S::jeffrey.obi@ie.ey.com::488f269d-1fa2-455e-bf95-7695136a100d" providerId="AD" clId="Web-{F8CD9497-5134-98B1-7435-A4136E2B92B3}" dt="2023-08-09T09:35:50.850" v="184" actId="20577"/>
          <ac:spMkLst>
            <pc:docMk/>
            <pc:sldMk cId="1313391205" sldId="2147479690"/>
            <ac:spMk id="5" creationId="{BDE47C88-9E3C-4980-C403-263854BB37E2}"/>
          </ac:spMkLst>
        </pc:spChg>
        <pc:spChg chg="mod">
          <ac:chgData name="Jeffrey Obi" userId="S::jeffrey.obi@ie.ey.com::488f269d-1fa2-455e-bf95-7695136a100d" providerId="AD" clId="Web-{F8CD9497-5134-98B1-7435-A4136E2B92B3}" dt="2023-08-09T09:35:44.912" v="162" actId="20577"/>
          <ac:spMkLst>
            <pc:docMk/>
            <pc:sldMk cId="1313391205" sldId="2147479690"/>
            <ac:spMk id="6" creationId="{489D7E36-E5EC-111E-AE3B-B05ADA2650CA}"/>
          </ac:spMkLst>
        </pc:spChg>
        <pc:spChg chg="mod">
          <ac:chgData name="Jeffrey Obi" userId="S::jeffrey.obi@ie.ey.com::488f269d-1fa2-455e-bf95-7695136a100d" providerId="AD" clId="Web-{F8CD9497-5134-98B1-7435-A4136E2B92B3}" dt="2023-08-09T09:35:44.975" v="163" actId="20577"/>
          <ac:spMkLst>
            <pc:docMk/>
            <pc:sldMk cId="1313391205" sldId="2147479690"/>
            <ac:spMk id="8" creationId="{CF4624E7-2012-177F-42FD-075B529C96E2}"/>
          </ac:spMkLst>
        </pc:spChg>
        <pc:spChg chg="mod">
          <ac:chgData name="Jeffrey Obi" userId="S::jeffrey.obi@ie.ey.com::488f269d-1fa2-455e-bf95-7695136a100d" providerId="AD" clId="Web-{F8CD9497-5134-98B1-7435-A4136E2B92B3}" dt="2023-08-09T09:35:50.928" v="185" actId="20577"/>
          <ac:spMkLst>
            <pc:docMk/>
            <pc:sldMk cId="1313391205" sldId="2147479690"/>
            <ac:spMk id="9" creationId="{DAF26290-6595-85BF-EBDA-ECDB1152DE27}"/>
          </ac:spMkLst>
        </pc:spChg>
        <pc:spChg chg="mod">
          <ac:chgData name="Jeffrey Obi" userId="S::jeffrey.obi@ie.ey.com::488f269d-1fa2-455e-bf95-7695136a100d" providerId="AD" clId="Web-{F8CD9497-5134-98B1-7435-A4136E2B92B3}" dt="2023-08-09T09:35:49.694" v="176" actId="20577"/>
          <ac:spMkLst>
            <pc:docMk/>
            <pc:sldMk cId="1313391205" sldId="2147479690"/>
            <ac:spMk id="10" creationId="{A9930A43-D411-994C-F0E8-7D9582857EF9}"/>
          </ac:spMkLst>
        </pc:spChg>
        <pc:spChg chg="mod">
          <ac:chgData name="Jeffrey Obi" userId="S::jeffrey.obi@ie.ey.com::488f269d-1fa2-455e-bf95-7695136a100d" providerId="AD" clId="Web-{F8CD9497-5134-98B1-7435-A4136E2B92B3}" dt="2023-08-09T09:36:36.805" v="191" actId="1076"/>
          <ac:spMkLst>
            <pc:docMk/>
            <pc:sldMk cId="1313391205" sldId="2147479690"/>
            <ac:spMk id="12" creationId="{213C6BCD-69D2-90ED-2BC4-196EF5E3F298}"/>
          </ac:spMkLst>
        </pc:spChg>
        <pc:spChg chg="mod">
          <ac:chgData name="Jeffrey Obi" userId="S::jeffrey.obi@ie.ey.com::488f269d-1fa2-455e-bf95-7695136a100d" providerId="AD" clId="Web-{F8CD9497-5134-98B1-7435-A4136E2B92B3}" dt="2023-08-09T09:35:45.319" v="166" actId="20577"/>
          <ac:spMkLst>
            <pc:docMk/>
            <pc:sldMk cId="1313391205" sldId="2147479690"/>
            <ac:spMk id="14" creationId="{1B4891F9-FC37-F82A-520C-548C6F536DE2}"/>
          </ac:spMkLst>
        </pc:spChg>
        <pc:spChg chg="mod">
          <ac:chgData name="Jeffrey Obi" userId="S::jeffrey.obi@ie.ey.com::488f269d-1fa2-455e-bf95-7695136a100d" providerId="AD" clId="Web-{F8CD9497-5134-98B1-7435-A4136E2B92B3}" dt="2023-08-09T09:35:45.412" v="167" actId="20577"/>
          <ac:spMkLst>
            <pc:docMk/>
            <pc:sldMk cId="1313391205" sldId="2147479690"/>
            <ac:spMk id="18" creationId="{26DBC6F2-B27C-8EA3-B4A4-A720416361DC}"/>
          </ac:spMkLst>
        </pc:spChg>
        <pc:spChg chg="mod">
          <ac:chgData name="Jeffrey Obi" userId="S::jeffrey.obi@ie.ey.com::488f269d-1fa2-455e-bf95-7695136a100d" providerId="AD" clId="Web-{F8CD9497-5134-98B1-7435-A4136E2B92B3}" dt="2023-08-09T09:35:50.303" v="178" actId="20577"/>
          <ac:spMkLst>
            <pc:docMk/>
            <pc:sldMk cId="1313391205" sldId="2147479690"/>
            <ac:spMk id="20" creationId="{71597D73-FC0D-0F7C-BC32-B2FA32899DF9}"/>
          </ac:spMkLst>
        </pc:spChg>
        <pc:spChg chg="mod">
          <ac:chgData name="Jeffrey Obi" userId="S::jeffrey.obi@ie.ey.com::488f269d-1fa2-455e-bf95-7695136a100d" providerId="AD" clId="Web-{F8CD9497-5134-98B1-7435-A4136E2B92B3}" dt="2023-08-09T09:35:50.381" v="179" actId="20577"/>
          <ac:spMkLst>
            <pc:docMk/>
            <pc:sldMk cId="1313391205" sldId="2147479690"/>
            <ac:spMk id="22" creationId="{9A4AB788-397F-A777-536A-71E510E11985}"/>
          </ac:spMkLst>
        </pc:spChg>
        <pc:spChg chg="mod">
          <ac:chgData name="Jeffrey Obi" userId="S::jeffrey.obi@ie.ey.com::488f269d-1fa2-455e-bf95-7695136a100d" providerId="AD" clId="Web-{F8CD9497-5134-98B1-7435-A4136E2B92B3}" dt="2023-08-09T09:35:50.444" v="180" actId="20577"/>
          <ac:spMkLst>
            <pc:docMk/>
            <pc:sldMk cId="1313391205" sldId="2147479690"/>
            <ac:spMk id="24" creationId="{F157CDD7-E4B0-DBE6-3BF9-A80704C2E8E2}"/>
          </ac:spMkLst>
        </pc:spChg>
        <pc:spChg chg="mod">
          <ac:chgData name="Jeffrey Obi" userId="S::jeffrey.obi@ie.ey.com::488f269d-1fa2-455e-bf95-7695136a100d" providerId="AD" clId="Web-{F8CD9497-5134-98B1-7435-A4136E2B92B3}" dt="2023-08-09T09:35:50.522" v="181" actId="20577"/>
          <ac:spMkLst>
            <pc:docMk/>
            <pc:sldMk cId="1313391205" sldId="2147479690"/>
            <ac:spMk id="26" creationId="{CE8179ED-1E75-8A00-A70C-EF944AB7261F}"/>
          </ac:spMkLst>
        </pc:spChg>
        <pc:spChg chg="mod">
          <ac:chgData name="Jeffrey Obi" userId="S::jeffrey.obi@ie.ey.com::488f269d-1fa2-455e-bf95-7695136a100d" providerId="AD" clId="Web-{F8CD9497-5134-98B1-7435-A4136E2B92B3}" dt="2023-08-09T09:35:50.631" v="182" actId="20577"/>
          <ac:spMkLst>
            <pc:docMk/>
            <pc:sldMk cId="1313391205" sldId="2147479690"/>
            <ac:spMk id="28" creationId="{3C2A5434-720E-4AA9-21BF-0B0E8A76CA06}"/>
          </ac:spMkLst>
        </pc:spChg>
        <pc:spChg chg="mod">
          <ac:chgData name="Jeffrey Obi" userId="S::jeffrey.obi@ie.ey.com::488f269d-1fa2-455e-bf95-7695136a100d" providerId="AD" clId="Web-{F8CD9497-5134-98B1-7435-A4136E2B92B3}" dt="2023-08-09T09:35:50.772" v="183" actId="20577"/>
          <ac:spMkLst>
            <pc:docMk/>
            <pc:sldMk cId="1313391205" sldId="2147479690"/>
            <ac:spMk id="30" creationId="{D93FAA2B-249B-226A-0A9D-DF62EFC7C39A}"/>
          </ac:spMkLst>
        </pc:spChg>
      </pc:sldChg>
    </pc:docChg>
  </pc:docChgLst>
  <pc:docChgLst>
    <pc:chgData name="Jeffrey Obi" userId="S::jeffrey.obi@ie.ey.com::488f269d-1fa2-455e-bf95-7695136a100d" providerId="AD" clId="Web-{F3C80E2F-765E-3791-ED94-F634783DF743}"/>
    <pc:docChg chg="modSld">
      <pc:chgData name="Jeffrey Obi" userId="S::jeffrey.obi@ie.ey.com::488f269d-1fa2-455e-bf95-7695136a100d" providerId="AD" clId="Web-{F3C80E2F-765E-3791-ED94-F634783DF743}" dt="2023-07-31T13:40:21.519" v="39" actId="20577"/>
      <pc:docMkLst>
        <pc:docMk/>
      </pc:docMkLst>
      <pc:sldChg chg="modSp">
        <pc:chgData name="Jeffrey Obi" userId="S::jeffrey.obi@ie.ey.com::488f269d-1fa2-455e-bf95-7695136a100d" providerId="AD" clId="Web-{F3C80E2F-765E-3791-ED94-F634783DF743}" dt="2023-07-31T13:40:21.519" v="39" actId="20577"/>
        <pc:sldMkLst>
          <pc:docMk/>
          <pc:sldMk cId="4281992946" sldId="2147479607"/>
        </pc:sldMkLst>
        <pc:spChg chg="mod">
          <ac:chgData name="Jeffrey Obi" userId="S::jeffrey.obi@ie.ey.com::488f269d-1fa2-455e-bf95-7695136a100d" providerId="AD" clId="Web-{F3C80E2F-765E-3791-ED94-F634783DF743}" dt="2023-07-31T13:40:21.519" v="39" actId="20577"/>
          <ac:spMkLst>
            <pc:docMk/>
            <pc:sldMk cId="4281992946" sldId="2147479607"/>
            <ac:spMk id="11" creationId="{9EE04F04-F794-4453-963E-5CFBB6620A43}"/>
          </ac:spMkLst>
        </pc:spChg>
        <pc:spChg chg="mod">
          <ac:chgData name="Jeffrey Obi" userId="S::jeffrey.obi@ie.ey.com::488f269d-1fa2-455e-bf95-7695136a100d" providerId="AD" clId="Web-{F3C80E2F-765E-3791-ED94-F634783DF743}" dt="2023-07-31T13:37:31.247" v="27" actId="20577"/>
          <ac:spMkLst>
            <pc:docMk/>
            <pc:sldMk cId="4281992946" sldId="2147479607"/>
            <ac:spMk id="12" creationId="{FB93CF21-DAD5-4B79-9666-F5B05BE3DD14}"/>
          </ac:spMkLst>
        </pc:spChg>
        <pc:spChg chg="mod">
          <ac:chgData name="Jeffrey Obi" userId="S::jeffrey.obi@ie.ey.com::488f269d-1fa2-455e-bf95-7695136a100d" providerId="AD" clId="Web-{F3C80E2F-765E-3791-ED94-F634783DF743}" dt="2023-07-31T13:36:29.948" v="1" actId="20577"/>
          <ac:spMkLst>
            <pc:docMk/>
            <pc:sldMk cId="4281992946" sldId="2147479607"/>
            <ac:spMk id="13" creationId="{D642F10C-58A5-4B16-A89B-076AEE9416C7}"/>
          </ac:spMkLst>
        </pc:spChg>
      </pc:sldChg>
    </pc:docChg>
  </pc:docChgLst>
  <pc:docChgLst>
    <pc:chgData name="Immanuel J Daniel" userId="S::immanuel.johnston.daniel@ie.ey.com::b9141605-49ff-443e-8af4-0c21e2766a66" providerId="AD" clId="Web-{F1D88C6E-58D3-4379-293B-4BF7124749E6}"/>
    <pc:docChg chg="addSld delSld modSld modSection">
      <pc:chgData name="Immanuel J Daniel" userId="S::immanuel.johnston.daniel@ie.ey.com::b9141605-49ff-443e-8af4-0c21e2766a66" providerId="AD" clId="Web-{F1D88C6E-58D3-4379-293B-4BF7124749E6}" dt="2023-08-11T14:06:33.449" v="143"/>
      <pc:docMkLst>
        <pc:docMk/>
      </pc:docMkLst>
      <pc:sldChg chg="addSp delSp modSp">
        <pc:chgData name="Immanuel J Daniel" userId="S::immanuel.johnston.daniel@ie.ey.com::b9141605-49ff-443e-8af4-0c21e2766a66" providerId="AD" clId="Web-{F1D88C6E-58D3-4379-293B-4BF7124749E6}" dt="2023-08-11T13:31:03.711" v="88" actId="1076"/>
        <pc:sldMkLst>
          <pc:docMk/>
          <pc:sldMk cId="2692628411" sldId="728"/>
        </pc:sldMkLst>
        <pc:spChg chg="mod">
          <ac:chgData name="Immanuel J Daniel" userId="S::immanuel.johnston.daniel@ie.ey.com::b9141605-49ff-443e-8af4-0c21e2766a66" providerId="AD" clId="Web-{F1D88C6E-58D3-4379-293B-4BF7124749E6}" dt="2023-08-11T13:31:03.664" v="87" actId="1076"/>
          <ac:spMkLst>
            <pc:docMk/>
            <pc:sldMk cId="2692628411" sldId="728"/>
            <ac:spMk id="5" creationId="{45825331-530C-461D-8A14-E6577811EA19}"/>
          </ac:spMkLst>
        </pc:spChg>
        <pc:spChg chg="mod">
          <ac:chgData name="Immanuel J Daniel" userId="S::immanuel.johnston.daniel@ie.ey.com::b9141605-49ff-443e-8af4-0c21e2766a66" providerId="AD" clId="Web-{F1D88C6E-58D3-4379-293B-4BF7124749E6}" dt="2023-08-11T13:29:46.568" v="81" actId="1076"/>
          <ac:spMkLst>
            <pc:docMk/>
            <pc:sldMk cId="2692628411" sldId="728"/>
            <ac:spMk id="6" creationId="{6E140539-078F-F10D-F5E5-DDDB9F7D7F51}"/>
          </ac:spMkLst>
        </pc:spChg>
        <pc:spChg chg="mod">
          <ac:chgData name="Immanuel J Daniel" userId="S::immanuel.johnston.daniel@ie.ey.com::b9141605-49ff-443e-8af4-0c21e2766a66" providerId="AD" clId="Web-{F1D88C6E-58D3-4379-293B-4BF7124749E6}" dt="2023-08-11T13:30:20.132" v="84" actId="20577"/>
          <ac:spMkLst>
            <pc:docMk/>
            <pc:sldMk cId="2692628411" sldId="728"/>
            <ac:spMk id="17" creationId="{D0E9ED39-559F-4069-AF9D-6D42599F6622}"/>
          </ac:spMkLst>
        </pc:spChg>
        <pc:picChg chg="add mod">
          <ac:chgData name="Immanuel J Daniel" userId="S::immanuel.johnston.daniel@ie.ey.com::b9141605-49ff-443e-8af4-0c21e2766a66" providerId="AD" clId="Web-{F1D88C6E-58D3-4379-293B-4BF7124749E6}" dt="2023-08-11T13:23:00.349" v="42"/>
          <ac:picMkLst>
            <pc:docMk/>
            <pc:sldMk cId="2692628411" sldId="728"/>
            <ac:picMk id="4" creationId="{B56FB8B2-733B-B5FB-CCB4-07316DBBB80C}"/>
          </ac:picMkLst>
        </pc:picChg>
        <pc:picChg chg="add del mod">
          <ac:chgData name="Immanuel J Daniel" userId="S::immanuel.johnston.daniel@ie.ey.com::b9141605-49ff-443e-8af4-0c21e2766a66" providerId="AD" clId="Web-{F1D88C6E-58D3-4379-293B-4BF7124749E6}" dt="2023-08-11T13:12:08.840" v="28"/>
          <ac:picMkLst>
            <pc:docMk/>
            <pc:sldMk cId="2692628411" sldId="728"/>
            <ac:picMk id="8" creationId="{17956D4A-29B5-8341-A1A2-EEB0E9DE813A}"/>
          </ac:picMkLst>
        </pc:picChg>
        <pc:picChg chg="add mod">
          <ac:chgData name="Immanuel J Daniel" userId="S::immanuel.johnston.daniel@ie.ey.com::b9141605-49ff-443e-8af4-0c21e2766a66" providerId="AD" clId="Web-{F1D88C6E-58D3-4379-293B-4BF7124749E6}" dt="2023-08-11T13:25:58.903" v="45"/>
          <ac:picMkLst>
            <pc:docMk/>
            <pc:sldMk cId="2692628411" sldId="728"/>
            <ac:picMk id="10" creationId="{DC2D2D4C-D5EC-4944-DB8D-D9B960735A84}"/>
          </ac:picMkLst>
        </pc:picChg>
        <pc:picChg chg="mod">
          <ac:chgData name="Immanuel J Daniel" userId="S::immanuel.johnston.daniel@ie.ey.com::b9141605-49ff-443e-8af4-0c21e2766a66" providerId="AD" clId="Web-{F1D88C6E-58D3-4379-293B-4BF7124749E6}" dt="2023-08-11T13:31:03.711" v="88" actId="1076"/>
          <ac:picMkLst>
            <pc:docMk/>
            <pc:sldMk cId="2692628411" sldId="728"/>
            <ac:picMk id="19" creationId="{1C522279-CFB9-4CED-9971-215D55C70DF6}"/>
          </ac:picMkLst>
        </pc:picChg>
      </pc:sldChg>
      <pc:sldChg chg="modSp">
        <pc:chgData name="Immanuel J Daniel" userId="S::immanuel.johnston.daniel@ie.ey.com::b9141605-49ff-443e-8af4-0c21e2766a66" providerId="AD" clId="Web-{F1D88C6E-58D3-4379-293B-4BF7124749E6}" dt="2023-08-11T13:40:25.951" v="91" actId="20577"/>
        <pc:sldMkLst>
          <pc:docMk/>
          <pc:sldMk cId="3987827024" sldId="2147473095"/>
        </pc:sldMkLst>
        <pc:spChg chg="mod">
          <ac:chgData name="Immanuel J Daniel" userId="S::immanuel.johnston.daniel@ie.ey.com::b9141605-49ff-443e-8af4-0c21e2766a66" providerId="AD" clId="Web-{F1D88C6E-58D3-4379-293B-4BF7124749E6}" dt="2023-08-11T13:40:25.951" v="91" actId="20577"/>
          <ac:spMkLst>
            <pc:docMk/>
            <pc:sldMk cId="3987827024" sldId="2147473095"/>
            <ac:spMk id="17" creationId="{ADD56C1B-C979-4732-A114-6F2187BB5E15}"/>
          </ac:spMkLst>
        </pc:spChg>
      </pc:sldChg>
      <pc:sldChg chg="modCm">
        <pc:chgData name="Immanuel J Daniel" userId="S::immanuel.johnston.daniel@ie.ey.com::b9141605-49ff-443e-8af4-0c21e2766a66" providerId="AD" clId="Web-{F1D88C6E-58D3-4379-293B-4BF7124749E6}" dt="2023-08-11T13:42:48.316" v="92"/>
        <pc:sldMkLst>
          <pc:docMk/>
          <pc:sldMk cId="3781609366" sldId="2147473106"/>
        </pc:sldMkLst>
        <pc:extLst>
          <p:ext xmlns:p="http://schemas.openxmlformats.org/presentationml/2006/main" uri="{D6D511B9-2390-475A-947B-AFAB55BFBCF1}">
            <pc226:cmChg xmlns="" xmlns:pc226="http://schemas.microsoft.com/office/powerpoint/2022/06/main/command" chg="mod">
              <pc226:chgData name="Immanuel J Daniel" userId="S::immanuel.johnston.daniel@ie.ey.com::b9141605-49ff-443e-8af4-0c21e2766a66" providerId="AD" clId="Web-{F1D88C6E-58D3-4379-293B-4BF7124749E6}" dt="2023-08-11T13:42:48.316" v="92"/>
              <pc2:cmMkLst xmlns:pc2="http://schemas.microsoft.com/office/powerpoint/2019/9/main/command">
                <pc:docMk/>
                <pc:sldMk cId="3781609366" sldId="2147473106"/>
                <pc2:cmMk id="{AC3759DB-D889-4A8B-AD43-D384706772CB}"/>
              </pc2:cmMkLst>
            </pc226:cmChg>
          </p:ext>
        </pc:extLst>
      </pc:sldChg>
      <pc:sldChg chg="modCm">
        <pc:chgData name="Immanuel J Daniel" userId="S::immanuel.johnston.daniel@ie.ey.com::b9141605-49ff-443e-8af4-0c21e2766a66" providerId="AD" clId="Web-{F1D88C6E-58D3-4379-293B-4BF7124749E6}" dt="2023-08-11T14:06:33.449" v="143"/>
        <pc:sldMkLst>
          <pc:docMk/>
          <pc:sldMk cId="1412110567" sldId="2147479649"/>
        </pc:sldMkLst>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F1D88C6E-58D3-4379-293B-4BF7124749E6}" dt="2023-08-11T14:06:33.449" v="143"/>
              <pc2:cmMkLst xmlns:pc2="http://schemas.microsoft.com/office/powerpoint/2019/9/main/command">
                <pc:docMk/>
                <pc:sldMk cId="1412110567" sldId="2147479649"/>
                <pc2:cmMk id="{A0A3A738-9BD2-49CA-94C5-7B6C0F35C7F2}"/>
              </pc2:cmMkLst>
              <pc226:cmRplyChg chg="add">
                <pc226:chgData name="Immanuel J Daniel" userId="S::immanuel.johnston.daniel@ie.ey.com::b9141605-49ff-443e-8af4-0c21e2766a66" providerId="AD" clId="Web-{F1D88C6E-58D3-4379-293B-4BF7124749E6}" dt="2023-08-11T14:06:33.449" v="143"/>
                <pc2:cmRplyMkLst xmlns:pc2="http://schemas.microsoft.com/office/powerpoint/2019/9/main/command">
                  <pc:docMk/>
                  <pc:sldMk cId="1412110567" sldId="2147479649"/>
                  <pc2:cmMk id="{A0A3A738-9BD2-49CA-94C5-7B6C0F35C7F2}"/>
                  <pc2:cmRplyMk id="{734CDE56-7100-47A4-937C-8058B89A4D60}"/>
                </pc2:cmRplyMkLst>
              </pc226:cmRplyChg>
            </pc226:cmChg>
          </p:ext>
        </pc:extLst>
      </pc:sldChg>
      <pc:sldChg chg="modCm">
        <pc:chgData name="Immanuel J Daniel" userId="S::immanuel.johnston.daniel@ie.ey.com::b9141605-49ff-443e-8af4-0c21e2766a66" providerId="AD" clId="Web-{F1D88C6E-58D3-4379-293B-4BF7124749E6}" dt="2023-08-11T14:03:41.004" v="142"/>
        <pc:sldMkLst>
          <pc:docMk/>
          <pc:sldMk cId="898990910" sldId="2147479652"/>
        </pc:sldMkLst>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F1D88C6E-58D3-4379-293B-4BF7124749E6}" dt="2023-08-11T14:03:41.004" v="142"/>
              <pc2:cmMkLst xmlns:pc2="http://schemas.microsoft.com/office/powerpoint/2019/9/main/command">
                <pc:docMk/>
                <pc:sldMk cId="898990910" sldId="2147479652"/>
                <pc2:cmMk id="{CA1AE6D2-7070-49AB-B270-E45A9B4010B8}"/>
              </pc2:cmMkLst>
              <pc226:cmRplyChg chg="add">
                <pc226:chgData name="Immanuel J Daniel" userId="S::immanuel.johnston.daniel@ie.ey.com::b9141605-49ff-443e-8af4-0c21e2766a66" providerId="AD" clId="Web-{F1D88C6E-58D3-4379-293B-4BF7124749E6}" dt="2023-08-11T14:03:41.004" v="142"/>
                <pc2:cmRplyMkLst xmlns:pc2="http://schemas.microsoft.com/office/powerpoint/2019/9/main/command">
                  <pc:docMk/>
                  <pc:sldMk cId="898990910" sldId="2147479652"/>
                  <pc2:cmMk id="{CA1AE6D2-7070-49AB-B270-E45A9B4010B8}"/>
                  <pc2:cmRplyMk id="{C21D8BAE-89E6-4BCC-84A0-0524CC6396B0}"/>
                </pc2:cmRplyMkLst>
              </pc226:cmRplyChg>
            </pc226:cmChg>
          </p:ext>
        </pc:extLst>
      </pc:sldChg>
      <pc:sldChg chg="modSp">
        <pc:chgData name="Immanuel J Daniel" userId="S::immanuel.johnston.daniel@ie.ey.com::b9141605-49ff-443e-8af4-0c21e2766a66" providerId="AD" clId="Web-{F1D88C6E-58D3-4379-293B-4BF7124749E6}" dt="2023-08-11T13:48:42.783" v="99"/>
        <pc:sldMkLst>
          <pc:docMk/>
          <pc:sldMk cId="3656600548" sldId="2147479654"/>
        </pc:sldMkLst>
        <pc:spChg chg="mod ord">
          <ac:chgData name="Immanuel J Daniel" userId="S::immanuel.johnston.daniel@ie.ey.com::b9141605-49ff-443e-8af4-0c21e2766a66" providerId="AD" clId="Web-{F1D88C6E-58D3-4379-293B-4BF7124749E6}" dt="2023-08-11T13:48:12.219" v="98"/>
          <ac:spMkLst>
            <pc:docMk/>
            <pc:sldMk cId="3656600548" sldId="2147479654"/>
            <ac:spMk id="10" creationId="{AECC769F-BC3C-5CF2-4BF9-72EA6D6FEA0E}"/>
          </ac:spMkLst>
        </pc:spChg>
        <pc:spChg chg="mod ord">
          <ac:chgData name="Immanuel J Daniel" userId="S::immanuel.johnston.daniel@ie.ey.com::b9141605-49ff-443e-8af4-0c21e2766a66" providerId="AD" clId="Web-{F1D88C6E-58D3-4379-293B-4BF7124749E6}" dt="2023-08-11T13:48:42.783" v="99"/>
          <ac:spMkLst>
            <pc:docMk/>
            <pc:sldMk cId="3656600548" sldId="2147479654"/>
            <ac:spMk id="133" creationId="{590A35AF-D334-6DA1-9B69-24A0FD6D2883}"/>
          </ac:spMkLst>
        </pc:spChg>
      </pc:sldChg>
      <pc:sldChg chg="addSp delSp modSp add mod replId modClrScheme chgLayout">
        <pc:chgData name="Immanuel J Daniel" userId="S::immanuel.johnston.daniel@ie.ey.com::b9141605-49ff-443e-8af4-0c21e2766a66" providerId="AD" clId="Web-{F1D88C6E-58D3-4379-293B-4BF7124749E6}" dt="2023-08-11T13:54:37.203" v="141" actId="1076"/>
        <pc:sldMkLst>
          <pc:docMk/>
          <pc:sldMk cId="1378313707" sldId="2147479696"/>
        </pc:sldMkLst>
        <pc:spChg chg="add del">
          <ac:chgData name="Immanuel J Daniel" userId="S::immanuel.johnston.daniel@ie.ey.com::b9141605-49ff-443e-8af4-0c21e2766a66" providerId="AD" clId="Web-{F1D88C6E-58D3-4379-293B-4BF7124749E6}" dt="2023-08-11T13:49:51.207" v="107"/>
          <ac:spMkLst>
            <pc:docMk/>
            <pc:sldMk cId="1378313707" sldId="2147479696"/>
            <ac:spMk id="2" creationId="{83B90E14-A1E7-76B9-10CD-E56C18AC2D0A}"/>
          </ac:spMkLst>
        </pc:spChg>
        <pc:spChg chg="add del mod">
          <ac:chgData name="Immanuel J Daniel" userId="S::immanuel.johnston.daniel@ie.ey.com::b9141605-49ff-443e-8af4-0c21e2766a66" providerId="AD" clId="Web-{F1D88C6E-58D3-4379-293B-4BF7124749E6}" dt="2023-08-11T13:49:58.895" v="111"/>
          <ac:spMkLst>
            <pc:docMk/>
            <pc:sldMk cId="1378313707" sldId="2147479696"/>
            <ac:spMk id="3" creationId="{7343B1C4-0456-5502-AE37-3F8A1CF11DA7}"/>
          </ac:spMkLst>
        </pc:spChg>
        <pc:spChg chg="add mod ord">
          <ac:chgData name="Immanuel J Daniel" userId="S::immanuel.johnston.daniel@ie.ey.com::b9141605-49ff-443e-8af4-0c21e2766a66" providerId="AD" clId="Web-{F1D88C6E-58D3-4379-293B-4BF7124749E6}" dt="2023-08-11T13:54:37.203" v="141" actId="1076"/>
          <ac:spMkLst>
            <pc:docMk/>
            <pc:sldMk cId="1378313707" sldId="2147479696"/>
            <ac:spMk id="4" creationId="{0B4CC64C-67DA-1ABD-ACB7-07CC600F8BCF}"/>
          </ac:spMkLst>
        </pc:spChg>
        <pc:spChg chg="add del mod">
          <ac:chgData name="Immanuel J Daniel" userId="S::immanuel.johnston.daniel@ie.ey.com::b9141605-49ff-443e-8af4-0c21e2766a66" providerId="AD" clId="Web-{F1D88C6E-58D3-4379-293B-4BF7124749E6}" dt="2023-08-11T13:51:48.024" v="126"/>
          <ac:spMkLst>
            <pc:docMk/>
            <pc:sldMk cId="1378313707" sldId="2147479696"/>
            <ac:spMk id="5" creationId="{46CEFD08-5024-5041-C6E2-2A61E06C03CA}"/>
          </ac:spMkLst>
        </pc:spChg>
        <pc:spChg chg="add mod">
          <ac:chgData name="Immanuel J Daniel" userId="S::immanuel.johnston.daniel@ie.ey.com::b9141605-49ff-443e-8af4-0c21e2766a66" providerId="AD" clId="Web-{F1D88C6E-58D3-4379-293B-4BF7124749E6}" dt="2023-08-11T13:54:10.655" v="137" actId="14100"/>
          <ac:spMkLst>
            <pc:docMk/>
            <pc:sldMk cId="1378313707" sldId="2147479696"/>
            <ac:spMk id="7" creationId="{0D0A6A9B-AE9C-253E-CDB4-EB871490D02C}"/>
          </ac:spMkLst>
        </pc:spChg>
        <pc:spChg chg="mod ord">
          <ac:chgData name="Immanuel J Daniel" userId="S::immanuel.johnston.daniel@ie.ey.com::b9141605-49ff-443e-8af4-0c21e2766a66" providerId="AD" clId="Web-{F1D88C6E-58D3-4379-293B-4BF7124749E6}" dt="2023-08-11T13:50:18.208" v="112"/>
          <ac:spMkLst>
            <pc:docMk/>
            <pc:sldMk cId="1378313707" sldId="2147479696"/>
            <ac:spMk id="8" creationId="{7824D54C-15D2-467C-A016-166944D0781C}"/>
          </ac:spMkLst>
        </pc:spChg>
        <pc:spChg chg="del mod">
          <ac:chgData name="Immanuel J Daniel" userId="S::immanuel.johnston.daniel@ie.ey.com::b9141605-49ff-443e-8af4-0c21e2766a66" providerId="AD" clId="Web-{F1D88C6E-58D3-4379-293B-4BF7124749E6}" dt="2023-08-11T13:51:00.710" v="119"/>
          <ac:spMkLst>
            <pc:docMk/>
            <pc:sldMk cId="1378313707" sldId="2147479696"/>
            <ac:spMk id="10" creationId="{AECC769F-BC3C-5CF2-4BF9-72EA6D6FEA0E}"/>
          </ac:spMkLst>
        </pc:spChg>
        <pc:spChg chg="add del mod">
          <ac:chgData name="Immanuel J Daniel" userId="S::immanuel.johnston.daniel@ie.ey.com::b9141605-49ff-443e-8af4-0c21e2766a66" providerId="AD" clId="Web-{F1D88C6E-58D3-4379-293B-4BF7124749E6}" dt="2023-08-11T13:49:38.019" v="105"/>
          <ac:spMkLst>
            <pc:docMk/>
            <pc:sldMk cId="1378313707" sldId="2147479696"/>
            <ac:spMk id="133" creationId="{590A35AF-D334-6DA1-9B69-24A0FD6D2883}"/>
          </ac:spMkLst>
        </pc:spChg>
        <pc:spChg chg="mod ord">
          <ac:chgData name="Immanuel J Daniel" userId="S::immanuel.johnston.daniel@ie.ey.com::b9141605-49ff-443e-8af4-0c21e2766a66" providerId="AD" clId="Web-{F1D88C6E-58D3-4379-293B-4BF7124749E6}" dt="2023-08-11T13:54:23.390" v="138" actId="1076"/>
          <ac:spMkLst>
            <pc:docMk/>
            <pc:sldMk cId="1378313707" sldId="2147479696"/>
            <ac:spMk id="134" creationId="{18E877D6-E49E-DFEA-F0B5-BB1AC0F95365}"/>
          </ac:spMkLst>
        </pc:spChg>
      </pc:sldChg>
      <pc:sldChg chg="new del">
        <pc:chgData name="Immanuel J Daniel" userId="S::immanuel.johnston.daniel@ie.ey.com::b9141605-49ff-443e-8af4-0c21e2766a66" providerId="AD" clId="Web-{F1D88C6E-58D3-4379-293B-4BF7124749E6}" dt="2023-08-11T13:53:38.638" v="134"/>
        <pc:sldMkLst>
          <pc:docMk/>
          <pc:sldMk cId="355285267" sldId="2147479697"/>
        </pc:sldMkLst>
      </pc:sldChg>
    </pc:docChg>
  </pc:docChgLst>
  <pc:docChgLst>
    <pc:chgData name="Saransh Sharma" userId="794448f8-8690-4bb3-88df-a986ba4dae3a" providerId="ADAL" clId="{A38B5280-7B90-454B-BD65-90CE15E3EFA5}"/>
    <pc:docChg chg="undo redo custSel modSld">
      <pc:chgData name="Saransh Sharma" userId="794448f8-8690-4bb3-88df-a986ba4dae3a" providerId="ADAL" clId="{A38B5280-7B90-454B-BD65-90CE15E3EFA5}" dt="2023-08-01T08:38:46.665" v="2367" actId="1035"/>
      <pc:docMkLst>
        <pc:docMk/>
      </pc:docMkLst>
      <pc:sldChg chg="modSp mod">
        <pc:chgData name="Saransh Sharma" userId="794448f8-8690-4bb3-88df-a986ba4dae3a" providerId="ADAL" clId="{A38B5280-7B90-454B-BD65-90CE15E3EFA5}" dt="2023-07-24T10:58:48.621" v="3" actId="20577"/>
        <pc:sldMkLst>
          <pc:docMk/>
          <pc:sldMk cId="3168648727" sldId="2147479555"/>
        </pc:sldMkLst>
        <pc:spChg chg="mod">
          <ac:chgData name="Saransh Sharma" userId="794448f8-8690-4bb3-88df-a986ba4dae3a" providerId="ADAL" clId="{A38B5280-7B90-454B-BD65-90CE15E3EFA5}" dt="2023-07-24T10:58:48.621" v="3" actId="20577"/>
          <ac:spMkLst>
            <pc:docMk/>
            <pc:sldMk cId="3168648727" sldId="2147479555"/>
            <ac:spMk id="1031" creationId="{F34B1A3B-43D1-3BB3-3686-C533AC5F9F8F}"/>
          </ac:spMkLst>
        </pc:spChg>
      </pc:sldChg>
      <pc:sldChg chg="modSp mod">
        <pc:chgData name="Saransh Sharma" userId="794448f8-8690-4bb3-88df-a986ba4dae3a" providerId="ADAL" clId="{A38B5280-7B90-454B-BD65-90CE15E3EFA5}" dt="2023-07-24T13:42:14.130" v="4" actId="20577"/>
        <pc:sldMkLst>
          <pc:docMk/>
          <pc:sldMk cId="3133713017" sldId="2147479596"/>
        </pc:sldMkLst>
        <pc:spChg chg="mod">
          <ac:chgData name="Saransh Sharma" userId="794448f8-8690-4bb3-88df-a986ba4dae3a" providerId="ADAL" clId="{A38B5280-7B90-454B-BD65-90CE15E3EFA5}" dt="2023-07-24T13:42:14.130" v="4" actId="20577"/>
          <ac:spMkLst>
            <pc:docMk/>
            <pc:sldMk cId="3133713017" sldId="2147479596"/>
            <ac:spMk id="83" creationId="{38BA1687-496F-4C8F-AF0B-DB160EEA7CE5}"/>
          </ac:spMkLst>
        </pc:spChg>
      </pc:sldChg>
      <pc:sldChg chg="addSp delSp modSp mod">
        <pc:chgData name="Saransh Sharma" userId="794448f8-8690-4bb3-88df-a986ba4dae3a" providerId="ADAL" clId="{A38B5280-7B90-454B-BD65-90CE15E3EFA5}" dt="2023-08-01T08:38:46.665" v="2367" actId="1035"/>
        <pc:sldMkLst>
          <pc:docMk/>
          <pc:sldMk cId="2395506064" sldId="2147479599"/>
        </pc:sldMkLst>
        <pc:spChg chg="del">
          <ac:chgData name="Saransh Sharma" userId="794448f8-8690-4bb3-88df-a986ba4dae3a" providerId="ADAL" clId="{A38B5280-7B90-454B-BD65-90CE15E3EFA5}" dt="2023-07-25T13:40:17.118" v="253" actId="478"/>
          <ac:spMkLst>
            <pc:docMk/>
            <pc:sldMk cId="2395506064" sldId="2147479599"/>
            <ac:spMk id="2" creationId="{625525EB-FC28-C8C5-48E4-EA4A7BF0AB52}"/>
          </ac:spMkLst>
        </pc:spChg>
        <pc:spChg chg="del mod">
          <ac:chgData name="Saransh Sharma" userId="794448f8-8690-4bb3-88df-a986ba4dae3a" providerId="ADAL" clId="{A38B5280-7B90-454B-BD65-90CE15E3EFA5}" dt="2023-07-25T13:40:37.316" v="254" actId="478"/>
          <ac:spMkLst>
            <pc:docMk/>
            <pc:sldMk cId="2395506064" sldId="2147479599"/>
            <ac:spMk id="3" creationId="{A3E0401D-34B9-84E0-1877-7D73E3473042}"/>
          </ac:spMkLst>
        </pc:spChg>
        <pc:spChg chg="ord">
          <ac:chgData name="Saransh Sharma" userId="794448f8-8690-4bb3-88df-a986ba4dae3a" providerId="ADAL" clId="{A38B5280-7B90-454B-BD65-90CE15E3EFA5}" dt="2023-07-25T13:44:20.583" v="290" actId="167"/>
          <ac:spMkLst>
            <pc:docMk/>
            <pc:sldMk cId="2395506064" sldId="2147479599"/>
            <ac:spMk id="4" creationId="{9D9421DD-DB00-CF7A-A121-3D0BD2C32607}"/>
          </ac:spMkLst>
        </pc:spChg>
        <pc:spChg chg="mod">
          <ac:chgData name="Saransh Sharma" userId="794448f8-8690-4bb3-88df-a986ba4dae3a" providerId="ADAL" clId="{A38B5280-7B90-454B-BD65-90CE15E3EFA5}" dt="2023-08-01T08:38:46.665" v="2367" actId="1035"/>
          <ac:spMkLst>
            <pc:docMk/>
            <pc:sldMk cId="2395506064" sldId="2147479599"/>
            <ac:spMk id="5" creationId="{F8007DC7-5179-B343-0DEF-125DA6E392A7}"/>
          </ac:spMkLst>
        </pc:spChg>
        <pc:spChg chg="mod">
          <ac:chgData name="Saransh Sharma" userId="794448f8-8690-4bb3-88df-a986ba4dae3a" providerId="ADAL" clId="{A38B5280-7B90-454B-BD65-90CE15E3EFA5}" dt="2023-08-01T08:26:22.411" v="2209" actId="21"/>
          <ac:spMkLst>
            <pc:docMk/>
            <pc:sldMk cId="2395506064" sldId="2147479599"/>
            <ac:spMk id="6" creationId="{DB57BDEC-391C-BDCB-C111-D57C96DB51A4}"/>
          </ac:spMkLst>
        </pc:spChg>
        <pc:spChg chg="add mod ord">
          <ac:chgData name="Saransh Sharma" userId="794448f8-8690-4bb3-88df-a986ba4dae3a" providerId="ADAL" clId="{A38B5280-7B90-454B-BD65-90CE15E3EFA5}" dt="2023-07-25T14:46:03.003" v="515" actId="14100"/>
          <ac:spMkLst>
            <pc:docMk/>
            <pc:sldMk cId="2395506064" sldId="2147479599"/>
            <ac:spMk id="12" creationId="{80889B00-4FD8-8059-E493-7D07B88CEFD2}"/>
          </ac:spMkLst>
        </pc:spChg>
        <pc:picChg chg="add del mod">
          <ac:chgData name="Saransh Sharma" userId="794448f8-8690-4bb3-88df-a986ba4dae3a" providerId="ADAL" clId="{A38B5280-7B90-454B-BD65-90CE15E3EFA5}" dt="2023-07-25T15:40:43.163" v="692" actId="478"/>
          <ac:picMkLst>
            <pc:docMk/>
            <pc:sldMk cId="2395506064" sldId="2147479599"/>
            <ac:picMk id="7" creationId="{78805F73-B130-4984-7A5C-4A417725D1DE}"/>
          </ac:picMkLst>
        </pc:picChg>
        <pc:picChg chg="ord">
          <ac:chgData name="Saransh Sharma" userId="794448f8-8690-4bb3-88df-a986ba4dae3a" providerId="ADAL" clId="{A38B5280-7B90-454B-BD65-90CE15E3EFA5}" dt="2023-07-25T13:44:08.957" v="289" actId="166"/>
          <ac:picMkLst>
            <pc:docMk/>
            <pc:sldMk cId="2395506064" sldId="2147479599"/>
            <ac:picMk id="11" creationId="{AA575DDD-FA6C-40EF-A94D-2A038203954B}"/>
          </ac:picMkLst>
        </pc:picChg>
        <pc:picChg chg="add del mod">
          <ac:chgData name="Saransh Sharma" userId="794448f8-8690-4bb3-88df-a986ba4dae3a" providerId="ADAL" clId="{A38B5280-7B90-454B-BD65-90CE15E3EFA5}" dt="2023-07-25T15:42:18.416" v="704" actId="478"/>
          <ac:picMkLst>
            <pc:docMk/>
            <pc:sldMk cId="2395506064" sldId="2147479599"/>
            <ac:picMk id="46082" creationId="{49ED4630-9278-58D6-6DDE-546B4BDEDA85}"/>
          </ac:picMkLst>
        </pc:picChg>
        <pc:picChg chg="add mod">
          <ac:chgData name="Saransh Sharma" userId="794448f8-8690-4bb3-88df-a986ba4dae3a" providerId="ADAL" clId="{A38B5280-7B90-454B-BD65-90CE15E3EFA5}" dt="2023-07-25T15:42:26.288" v="707" actId="1076"/>
          <ac:picMkLst>
            <pc:docMk/>
            <pc:sldMk cId="2395506064" sldId="2147479599"/>
            <ac:picMk id="46084" creationId="{76A46844-6D61-BE13-BDE9-208837D4E32B}"/>
          </ac:picMkLst>
        </pc:picChg>
      </pc:sldChg>
      <pc:sldChg chg="modSp mod">
        <pc:chgData name="Saransh Sharma" userId="794448f8-8690-4bb3-88df-a986ba4dae3a" providerId="ADAL" clId="{A38B5280-7B90-454B-BD65-90CE15E3EFA5}" dt="2023-07-26T10:46:14.790" v="2014" actId="20577"/>
        <pc:sldMkLst>
          <pc:docMk/>
          <pc:sldMk cId="708211554" sldId="2147479620"/>
        </pc:sldMkLst>
        <pc:spChg chg="mod">
          <ac:chgData name="Saransh Sharma" userId="794448f8-8690-4bb3-88df-a986ba4dae3a" providerId="ADAL" clId="{A38B5280-7B90-454B-BD65-90CE15E3EFA5}" dt="2023-07-26T10:46:14.790" v="2014" actId="20577"/>
          <ac:spMkLst>
            <pc:docMk/>
            <pc:sldMk cId="708211554" sldId="2147479620"/>
            <ac:spMk id="7" creationId="{A363E02E-F8EA-D923-9477-A1BB92AE3601}"/>
          </ac:spMkLst>
        </pc:spChg>
      </pc:sldChg>
    </pc:docChg>
  </pc:docChgLst>
  <pc:docChgLst>
    <pc:chgData name="Jeffrey Obi" userId="488f269d-1fa2-455e-bf95-7695136a100d" providerId="ADAL" clId="{0614888A-C273-4FFA-BC41-2B5FECBE28DF}"/>
    <pc:docChg chg="undo redo custSel addSld delSld modSld sldOrd modSection">
      <pc:chgData name="Jeffrey Obi" userId="488f269d-1fa2-455e-bf95-7695136a100d" providerId="ADAL" clId="{0614888A-C273-4FFA-BC41-2B5FECBE28DF}" dt="2023-08-14T08:37:04.165" v="9991" actId="20577"/>
      <pc:docMkLst>
        <pc:docMk/>
      </pc:docMkLst>
      <pc:sldChg chg="ord">
        <pc:chgData name="Jeffrey Obi" userId="488f269d-1fa2-455e-bf95-7695136a100d" providerId="ADAL" clId="{0614888A-C273-4FFA-BC41-2B5FECBE28DF}" dt="2023-08-14T08:36:26.460" v="9984"/>
        <pc:sldMkLst>
          <pc:docMk/>
          <pc:sldMk cId="3207142972" sldId="2147473102"/>
        </pc:sldMkLst>
      </pc:sldChg>
      <pc:sldChg chg="delSp modSp mod">
        <pc:chgData name="Jeffrey Obi" userId="488f269d-1fa2-455e-bf95-7695136a100d" providerId="ADAL" clId="{0614888A-C273-4FFA-BC41-2B5FECBE28DF}" dt="2023-08-08T14:04:30.236" v="4306" actId="1076"/>
        <pc:sldMkLst>
          <pc:docMk/>
          <pc:sldMk cId="236134785" sldId="2147473160"/>
        </pc:sldMkLst>
        <pc:picChg chg="del mod">
          <ac:chgData name="Jeffrey Obi" userId="488f269d-1fa2-455e-bf95-7695136a100d" providerId="ADAL" clId="{0614888A-C273-4FFA-BC41-2B5FECBE28DF}" dt="2023-08-08T14:03:57.468" v="4305" actId="478"/>
          <ac:picMkLst>
            <pc:docMk/>
            <pc:sldMk cId="236134785" sldId="2147473160"/>
            <ac:picMk id="5" creationId="{C255C689-8AD0-E474-A667-0F4A8F53F0C5}"/>
          </ac:picMkLst>
        </pc:picChg>
        <pc:picChg chg="mod">
          <ac:chgData name="Jeffrey Obi" userId="488f269d-1fa2-455e-bf95-7695136a100d" providerId="ADAL" clId="{0614888A-C273-4FFA-BC41-2B5FECBE28DF}" dt="2023-08-08T14:04:30.236" v="4306" actId="1076"/>
          <ac:picMkLst>
            <pc:docMk/>
            <pc:sldMk cId="236134785" sldId="2147473160"/>
            <ac:picMk id="6" creationId="{9276487C-A754-60D5-42DE-36FA8AA95380}"/>
          </ac:picMkLst>
        </pc:picChg>
        <pc:picChg chg="del mod">
          <ac:chgData name="Jeffrey Obi" userId="488f269d-1fa2-455e-bf95-7695136a100d" providerId="ADAL" clId="{0614888A-C273-4FFA-BC41-2B5FECBE28DF}" dt="2023-08-08T14:03:53.775" v="4303" actId="478"/>
          <ac:picMkLst>
            <pc:docMk/>
            <pc:sldMk cId="236134785" sldId="2147473160"/>
            <ac:picMk id="26" creationId="{A7637767-B882-4FCA-8771-B7612DA7D3EA}"/>
          </ac:picMkLst>
        </pc:picChg>
      </pc:sldChg>
      <pc:sldChg chg="modSp mod ord">
        <pc:chgData name="Jeffrey Obi" userId="488f269d-1fa2-455e-bf95-7695136a100d" providerId="ADAL" clId="{0614888A-C273-4FFA-BC41-2B5FECBE28DF}" dt="2023-08-14T08:36:26.460" v="9984"/>
        <pc:sldMkLst>
          <pc:docMk/>
          <pc:sldMk cId="3107324555" sldId="2147473173"/>
        </pc:sldMkLst>
        <pc:spChg chg="mod">
          <ac:chgData name="Jeffrey Obi" userId="488f269d-1fa2-455e-bf95-7695136a100d" providerId="ADAL" clId="{0614888A-C273-4FFA-BC41-2B5FECBE28DF}" dt="2023-08-11T14:42:21.801" v="9631" actId="20577"/>
          <ac:spMkLst>
            <pc:docMk/>
            <pc:sldMk cId="3107324555" sldId="2147473173"/>
            <ac:spMk id="5" creationId="{242793DE-A96D-4BD0-A86A-8082B3CAE589}"/>
          </ac:spMkLst>
        </pc:spChg>
        <pc:spChg chg="mod">
          <ac:chgData name="Jeffrey Obi" userId="488f269d-1fa2-455e-bf95-7695136a100d" providerId="ADAL" clId="{0614888A-C273-4FFA-BC41-2B5FECBE28DF}" dt="2023-08-11T08:13:45.733" v="7138" actId="20577"/>
          <ac:spMkLst>
            <pc:docMk/>
            <pc:sldMk cId="3107324555" sldId="2147473173"/>
            <ac:spMk id="7" creationId="{CC82D0FD-5CAF-FDC1-ED30-0C5776218BA5}"/>
          </ac:spMkLst>
        </pc:spChg>
        <pc:picChg chg="mod">
          <ac:chgData name="Jeffrey Obi" userId="488f269d-1fa2-455e-bf95-7695136a100d" providerId="ADAL" clId="{0614888A-C273-4FFA-BC41-2B5FECBE28DF}" dt="2023-08-11T08:12:52.554" v="7099" actId="1076"/>
          <ac:picMkLst>
            <pc:docMk/>
            <pc:sldMk cId="3107324555" sldId="2147473173"/>
            <ac:picMk id="3" creationId="{AA975C4F-840E-49B1-964A-5E55E535E4D7}"/>
          </ac:picMkLst>
        </pc:picChg>
        <pc:picChg chg="mod">
          <ac:chgData name="Jeffrey Obi" userId="488f269d-1fa2-455e-bf95-7695136a100d" providerId="ADAL" clId="{0614888A-C273-4FFA-BC41-2B5FECBE28DF}" dt="2023-08-11T08:12:19.354" v="7092" actId="1076"/>
          <ac:picMkLst>
            <pc:docMk/>
            <pc:sldMk cId="3107324555" sldId="2147473173"/>
            <ac:picMk id="9" creationId="{07F1C5B2-08F7-8B7F-2426-6577C3B420C5}"/>
          </ac:picMkLst>
        </pc:picChg>
        <pc:picChg chg="mod">
          <ac:chgData name="Jeffrey Obi" userId="488f269d-1fa2-455e-bf95-7695136a100d" providerId="ADAL" clId="{0614888A-C273-4FFA-BC41-2B5FECBE28DF}" dt="2023-08-11T08:12:14.449" v="7091" actId="1076"/>
          <ac:picMkLst>
            <pc:docMk/>
            <pc:sldMk cId="3107324555" sldId="2147473173"/>
            <ac:picMk id="10" creationId="{CDFC4A11-7000-42A4-9C7B-738E11FF2B48}"/>
          </ac:picMkLst>
        </pc:picChg>
      </pc:sldChg>
      <pc:sldChg chg="modSp mod ord">
        <pc:chgData name="Jeffrey Obi" userId="488f269d-1fa2-455e-bf95-7695136a100d" providerId="ADAL" clId="{0614888A-C273-4FFA-BC41-2B5FECBE28DF}" dt="2023-08-14T08:36:26.460" v="9984"/>
        <pc:sldMkLst>
          <pc:docMk/>
          <pc:sldMk cId="4281992946" sldId="2147479607"/>
        </pc:sldMkLst>
        <pc:picChg chg="mod">
          <ac:chgData name="Jeffrey Obi" userId="488f269d-1fa2-455e-bf95-7695136a100d" providerId="ADAL" clId="{0614888A-C273-4FFA-BC41-2B5FECBE28DF}" dt="2023-08-11T08:04:46.973" v="7055" actId="1076"/>
          <ac:picMkLst>
            <pc:docMk/>
            <pc:sldMk cId="4281992946" sldId="2147479607"/>
            <ac:picMk id="3" creationId="{C5287439-7A6A-D54D-9BDF-3CC622D472DC}"/>
          </ac:picMkLst>
        </pc:picChg>
      </pc:sldChg>
      <pc:sldChg chg="del">
        <pc:chgData name="Jeffrey Obi" userId="488f269d-1fa2-455e-bf95-7695136a100d" providerId="ADAL" clId="{0614888A-C273-4FFA-BC41-2B5FECBE28DF}" dt="2023-08-11T08:01:40.076" v="7052" actId="2696"/>
        <pc:sldMkLst>
          <pc:docMk/>
          <pc:sldMk cId="2192119907" sldId="2147479608"/>
        </pc:sldMkLst>
      </pc:sldChg>
      <pc:sldChg chg="modSp mod modShow">
        <pc:chgData name="Jeffrey Obi" userId="488f269d-1fa2-455e-bf95-7695136a100d" providerId="ADAL" clId="{0614888A-C273-4FFA-BC41-2B5FECBE28DF}" dt="2023-08-11T09:43:47.436" v="7381" actId="20577"/>
        <pc:sldMkLst>
          <pc:docMk/>
          <pc:sldMk cId="2074381867" sldId="2147479609"/>
        </pc:sldMkLst>
        <pc:graphicFrameChg chg="mod modGraphic">
          <ac:chgData name="Jeffrey Obi" userId="488f269d-1fa2-455e-bf95-7695136a100d" providerId="ADAL" clId="{0614888A-C273-4FFA-BC41-2B5FECBE28DF}" dt="2023-08-11T09:43:47.436" v="7381" actId="20577"/>
          <ac:graphicFrameMkLst>
            <pc:docMk/>
            <pc:sldMk cId="2074381867" sldId="2147479609"/>
            <ac:graphicFrameMk id="3" creationId="{A8C79D6C-A7C9-DB57-D69D-756EB168AE4F}"/>
          </ac:graphicFrameMkLst>
        </pc:graphicFrameChg>
      </pc:sldChg>
      <pc:sldChg chg="addSp delSp modSp add del mod modCm">
        <pc:chgData name="Jeffrey Obi" userId="488f269d-1fa2-455e-bf95-7695136a100d" providerId="ADAL" clId="{0614888A-C273-4FFA-BC41-2B5FECBE28DF}" dt="2023-08-11T13:01:40.566" v="7388" actId="2696"/>
        <pc:sldMkLst>
          <pc:docMk/>
          <pc:sldMk cId="3046752737" sldId="2147479614"/>
        </pc:sldMkLst>
        <pc:spChg chg="add mod">
          <ac:chgData name="Jeffrey Obi" userId="488f269d-1fa2-455e-bf95-7695136a100d" providerId="ADAL" clId="{0614888A-C273-4FFA-BC41-2B5FECBE28DF}" dt="2023-08-10T13:37:10.821" v="5860" actId="1076"/>
          <ac:spMkLst>
            <pc:docMk/>
            <pc:sldMk cId="3046752737" sldId="2147479614"/>
            <ac:spMk id="2" creationId="{C9C16608-1B9D-B0B2-F186-488B7EDA1B1B}"/>
          </ac:spMkLst>
        </pc:spChg>
        <pc:spChg chg="mod">
          <ac:chgData name="Jeffrey Obi" userId="488f269d-1fa2-455e-bf95-7695136a100d" providerId="ADAL" clId="{0614888A-C273-4FFA-BC41-2B5FECBE28DF}" dt="2023-08-10T13:30:19.277" v="5317" actId="20577"/>
          <ac:spMkLst>
            <pc:docMk/>
            <pc:sldMk cId="3046752737" sldId="2147479614"/>
            <ac:spMk id="10" creationId="{A9930A43-D411-994C-F0E8-7D9582857EF9}"/>
          </ac:spMkLst>
        </pc:spChg>
        <pc:spChg chg="mod">
          <ac:chgData name="Jeffrey Obi" userId="488f269d-1fa2-455e-bf95-7695136a100d" providerId="ADAL" clId="{0614888A-C273-4FFA-BC41-2B5FECBE28DF}" dt="2023-08-10T13:46:00.472" v="6439" actId="20577"/>
          <ac:spMkLst>
            <pc:docMk/>
            <pc:sldMk cId="3046752737" sldId="2147479614"/>
            <ac:spMk id="12" creationId="{213C6BCD-69D2-90ED-2BC4-196EF5E3F298}"/>
          </ac:spMkLst>
        </pc:spChg>
        <pc:spChg chg="mod">
          <ac:chgData name="Jeffrey Obi" userId="488f269d-1fa2-455e-bf95-7695136a100d" providerId="ADAL" clId="{0614888A-C273-4FFA-BC41-2B5FECBE28DF}" dt="2023-08-10T13:33:30.191" v="5827" actId="1035"/>
          <ac:spMkLst>
            <pc:docMk/>
            <pc:sldMk cId="3046752737" sldId="2147479614"/>
            <ac:spMk id="16" creationId="{1EE50A2F-BB66-4023-A19E-4AC1F49CB477}"/>
          </ac:spMkLst>
        </pc:spChg>
        <pc:spChg chg="mod">
          <ac:chgData name="Jeffrey Obi" userId="488f269d-1fa2-455e-bf95-7695136a100d" providerId="ADAL" clId="{0614888A-C273-4FFA-BC41-2B5FECBE28DF}" dt="2023-08-10T13:26:04.162" v="5245" actId="20577"/>
          <ac:spMkLst>
            <pc:docMk/>
            <pc:sldMk cId="3046752737" sldId="2147479614"/>
            <ac:spMk id="20" creationId="{71597D73-FC0D-0F7C-BC32-B2FA32899DF9}"/>
          </ac:spMkLst>
        </pc:spChg>
        <pc:spChg chg="mod">
          <ac:chgData name="Jeffrey Obi" userId="488f269d-1fa2-455e-bf95-7695136a100d" providerId="ADAL" clId="{0614888A-C273-4FFA-BC41-2B5FECBE28DF}" dt="2023-08-10T13:25:25.548" v="5238" actId="20577"/>
          <ac:spMkLst>
            <pc:docMk/>
            <pc:sldMk cId="3046752737" sldId="2147479614"/>
            <ac:spMk id="22" creationId="{9A4AB788-397F-A777-536A-71E510E11985}"/>
          </ac:spMkLst>
        </pc:spChg>
        <pc:spChg chg="mod">
          <ac:chgData name="Jeffrey Obi" userId="488f269d-1fa2-455e-bf95-7695136a100d" providerId="ADAL" clId="{0614888A-C273-4FFA-BC41-2B5FECBE28DF}" dt="2023-08-10T13:26:23.252" v="5261" actId="20577"/>
          <ac:spMkLst>
            <pc:docMk/>
            <pc:sldMk cId="3046752737" sldId="2147479614"/>
            <ac:spMk id="28" creationId="{3C2A5434-720E-4AA9-21BF-0B0E8A76CA06}"/>
          </ac:spMkLst>
        </pc:spChg>
        <pc:picChg chg="add del mod">
          <ac:chgData name="Jeffrey Obi" userId="488f269d-1fa2-455e-bf95-7695136a100d" providerId="ADAL" clId="{0614888A-C273-4FFA-BC41-2B5FECBE28DF}" dt="2023-08-10T15:16:13.342" v="6613" actId="478"/>
          <ac:picMkLst>
            <pc:docMk/>
            <pc:sldMk cId="3046752737" sldId="2147479614"/>
            <ac:picMk id="3" creationId="{915A7E98-6F18-5AE7-833E-17A545E646A7}"/>
          </ac:picMkLst>
        </pc:picChg>
        <pc:picChg chg="add mod">
          <ac:chgData name="Jeffrey Obi" userId="488f269d-1fa2-455e-bf95-7695136a100d" providerId="ADAL" clId="{0614888A-C273-4FFA-BC41-2B5FECBE28DF}" dt="2023-08-10T15:16:23.490" v="6615" actId="1076"/>
          <ac:picMkLst>
            <pc:docMk/>
            <pc:sldMk cId="3046752737" sldId="2147479614"/>
            <ac:picMk id="4" creationId="{86A502A4-A3AF-838F-1A36-E5B2FE6AC6B1}"/>
          </ac:picMkLst>
        </pc:picChg>
        <pc:picChg chg="add del">
          <ac:chgData name="Jeffrey Obi" userId="488f269d-1fa2-455e-bf95-7695136a100d" providerId="ADAL" clId="{0614888A-C273-4FFA-BC41-2B5FECBE28DF}" dt="2023-08-10T13:37:47.894" v="5863" actId="478"/>
          <ac:picMkLst>
            <pc:docMk/>
            <pc:sldMk cId="3046752737" sldId="2147479614"/>
            <ac:picMk id="34" creationId="{1B881CE2-4E5C-5F3F-C232-D168A47D428D}"/>
          </ac:picMkLst>
        </pc:picChg>
      </pc:sldChg>
      <pc:sldChg chg="modSp mod">
        <pc:chgData name="Jeffrey Obi" userId="488f269d-1fa2-455e-bf95-7695136a100d" providerId="ADAL" clId="{0614888A-C273-4FFA-BC41-2B5FECBE28DF}" dt="2023-08-10T21:01:09.203" v="6953" actId="2711"/>
        <pc:sldMkLst>
          <pc:docMk/>
          <pc:sldMk cId="3673377692" sldId="2147479616"/>
        </pc:sldMkLst>
        <pc:spChg chg="mod">
          <ac:chgData name="Jeffrey Obi" userId="488f269d-1fa2-455e-bf95-7695136a100d" providerId="ADAL" clId="{0614888A-C273-4FFA-BC41-2B5FECBE28DF}" dt="2023-08-10T21:01:09.203" v="6953" actId="2711"/>
          <ac:spMkLst>
            <pc:docMk/>
            <pc:sldMk cId="3673377692" sldId="2147479616"/>
            <ac:spMk id="5" creationId="{BDE47C88-9E3C-4980-C403-263854BB37E2}"/>
          </ac:spMkLst>
        </pc:spChg>
        <pc:spChg chg="mod">
          <ac:chgData name="Jeffrey Obi" userId="488f269d-1fa2-455e-bf95-7695136a100d" providerId="ADAL" clId="{0614888A-C273-4FFA-BC41-2B5FECBE28DF}" dt="2023-08-10T21:01:09.203" v="6953" actId="2711"/>
          <ac:spMkLst>
            <pc:docMk/>
            <pc:sldMk cId="3673377692" sldId="2147479616"/>
            <ac:spMk id="6" creationId="{489D7E36-E5EC-111E-AE3B-B05ADA2650CA}"/>
          </ac:spMkLst>
        </pc:spChg>
        <pc:spChg chg="mod">
          <ac:chgData name="Jeffrey Obi" userId="488f269d-1fa2-455e-bf95-7695136a100d" providerId="ADAL" clId="{0614888A-C273-4FFA-BC41-2B5FECBE28DF}" dt="2023-08-10T21:01:09.203" v="6953" actId="2711"/>
          <ac:spMkLst>
            <pc:docMk/>
            <pc:sldMk cId="3673377692" sldId="2147479616"/>
            <ac:spMk id="8" creationId="{CF4624E7-2012-177F-42FD-075B529C96E2}"/>
          </ac:spMkLst>
        </pc:spChg>
        <pc:spChg chg="mod">
          <ac:chgData name="Jeffrey Obi" userId="488f269d-1fa2-455e-bf95-7695136a100d" providerId="ADAL" clId="{0614888A-C273-4FFA-BC41-2B5FECBE28DF}" dt="2023-08-10T21:01:09.203" v="6953" actId="2711"/>
          <ac:spMkLst>
            <pc:docMk/>
            <pc:sldMk cId="3673377692" sldId="2147479616"/>
            <ac:spMk id="9" creationId="{DAF26290-6595-85BF-EBDA-ECDB1152DE27}"/>
          </ac:spMkLst>
        </pc:spChg>
        <pc:spChg chg="mod">
          <ac:chgData name="Jeffrey Obi" userId="488f269d-1fa2-455e-bf95-7695136a100d" providerId="ADAL" clId="{0614888A-C273-4FFA-BC41-2B5FECBE28DF}" dt="2023-08-10T21:01:09.203" v="6953" actId="2711"/>
          <ac:spMkLst>
            <pc:docMk/>
            <pc:sldMk cId="3673377692" sldId="2147479616"/>
            <ac:spMk id="10" creationId="{A9930A43-D411-994C-F0E8-7D9582857EF9}"/>
          </ac:spMkLst>
        </pc:spChg>
        <pc:spChg chg="mod">
          <ac:chgData name="Jeffrey Obi" userId="488f269d-1fa2-455e-bf95-7695136a100d" providerId="ADAL" clId="{0614888A-C273-4FFA-BC41-2B5FECBE28DF}" dt="2023-08-10T21:01:09.203" v="6953" actId="2711"/>
          <ac:spMkLst>
            <pc:docMk/>
            <pc:sldMk cId="3673377692" sldId="2147479616"/>
            <ac:spMk id="12" creationId="{213C6BCD-69D2-90ED-2BC4-196EF5E3F298}"/>
          </ac:spMkLst>
        </pc:spChg>
        <pc:spChg chg="mod">
          <ac:chgData name="Jeffrey Obi" userId="488f269d-1fa2-455e-bf95-7695136a100d" providerId="ADAL" clId="{0614888A-C273-4FFA-BC41-2B5FECBE28DF}" dt="2023-08-10T21:01:09.203" v="6953" actId="2711"/>
          <ac:spMkLst>
            <pc:docMk/>
            <pc:sldMk cId="3673377692" sldId="2147479616"/>
            <ac:spMk id="14" creationId="{1B4891F9-FC37-F82A-520C-548C6F536DE2}"/>
          </ac:spMkLst>
        </pc:spChg>
        <pc:spChg chg="mod">
          <ac:chgData name="Jeffrey Obi" userId="488f269d-1fa2-455e-bf95-7695136a100d" providerId="ADAL" clId="{0614888A-C273-4FFA-BC41-2B5FECBE28DF}" dt="2023-08-10T21:01:09.203" v="6953" actId="2711"/>
          <ac:spMkLst>
            <pc:docMk/>
            <pc:sldMk cId="3673377692" sldId="2147479616"/>
            <ac:spMk id="18" creationId="{26DBC6F2-B27C-8EA3-B4A4-A720416361DC}"/>
          </ac:spMkLst>
        </pc:spChg>
        <pc:spChg chg="mod">
          <ac:chgData name="Jeffrey Obi" userId="488f269d-1fa2-455e-bf95-7695136a100d" providerId="ADAL" clId="{0614888A-C273-4FFA-BC41-2B5FECBE28DF}" dt="2023-08-10T21:01:09.203" v="6953" actId="2711"/>
          <ac:spMkLst>
            <pc:docMk/>
            <pc:sldMk cId="3673377692" sldId="2147479616"/>
            <ac:spMk id="20" creationId="{71597D73-FC0D-0F7C-BC32-B2FA32899DF9}"/>
          </ac:spMkLst>
        </pc:spChg>
        <pc:spChg chg="mod">
          <ac:chgData name="Jeffrey Obi" userId="488f269d-1fa2-455e-bf95-7695136a100d" providerId="ADAL" clId="{0614888A-C273-4FFA-BC41-2B5FECBE28DF}" dt="2023-08-10T21:01:09.203" v="6953" actId="2711"/>
          <ac:spMkLst>
            <pc:docMk/>
            <pc:sldMk cId="3673377692" sldId="2147479616"/>
            <ac:spMk id="22" creationId="{9A4AB788-397F-A777-536A-71E510E11985}"/>
          </ac:spMkLst>
        </pc:spChg>
        <pc:spChg chg="mod">
          <ac:chgData name="Jeffrey Obi" userId="488f269d-1fa2-455e-bf95-7695136a100d" providerId="ADAL" clId="{0614888A-C273-4FFA-BC41-2B5FECBE28DF}" dt="2023-08-10T21:01:09.203" v="6953" actId="2711"/>
          <ac:spMkLst>
            <pc:docMk/>
            <pc:sldMk cId="3673377692" sldId="2147479616"/>
            <ac:spMk id="24" creationId="{F157CDD7-E4B0-DBE6-3BF9-A80704C2E8E2}"/>
          </ac:spMkLst>
        </pc:spChg>
        <pc:spChg chg="mod">
          <ac:chgData name="Jeffrey Obi" userId="488f269d-1fa2-455e-bf95-7695136a100d" providerId="ADAL" clId="{0614888A-C273-4FFA-BC41-2B5FECBE28DF}" dt="2023-08-10T21:01:09.203" v="6953" actId="2711"/>
          <ac:spMkLst>
            <pc:docMk/>
            <pc:sldMk cId="3673377692" sldId="2147479616"/>
            <ac:spMk id="26" creationId="{CE8179ED-1E75-8A00-A70C-EF944AB7261F}"/>
          </ac:spMkLst>
        </pc:spChg>
        <pc:spChg chg="mod">
          <ac:chgData name="Jeffrey Obi" userId="488f269d-1fa2-455e-bf95-7695136a100d" providerId="ADAL" clId="{0614888A-C273-4FFA-BC41-2B5FECBE28DF}" dt="2023-08-10T21:01:09.203" v="6953" actId="2711"/>
          <ac:spMkLst>
            <pc:docMk/>
            <pc:sldMk cId="3673377692" sldId="2147479616"/>
            <ac:spMk id="28" creationId="{3C2A5434-720E-4AA9-21BF-0B0E8A76CA06}"/>
          </ac:spMkLst>
        </pc:spChg>
        <pc:spChg chg="mod">
          <ac:chgData name="Jeffrey Obi" userId="488f269d-1fa2-455e-bf95-7695136a100d" providerId="ADAL" clId="{0614888A-C273-4FFA-BC41-2B5FECBE28DF}" dt="2023-08-10T21:01:09.203" v="6953" actId="2711"/>
          <ac:spMkLst>
            <pc:docMk/>
            <pc:sldMk cId="3673377692" sldId="2147479616"/>
            <ac:spMk id="30" creationId="{D93FAA2B-249B-226A-0A9D-DF62EFC7C39A}"/>
          </ac:spMkLst>
        </pc:spChg>
      </pc:sldChg>
      <pc:sldChg chg="modSp mod">
        <pc:chgData name="Jeffrey Obi" userId="488f269d-1fa2-455e-bf95-7695136a100d" providerId="ADAL" clId="{0614888A-C273-4FFA-BC41-2B5FECBE28DF}" dt="2023-08-10T13:37:52.501" v="5864" actId="1076"/>
        <pc:sldMkLst>
          <pc:docMk/>
          <pc:sldMk cId="554842699" sldId="2147479617"/>
        </pc:sldMkLst>
        <pc:picChg chg="mod">
          <ac:chgData name="Jeffrey Obi" userId="488f269d-1fa2-455e-bf95-7695136a100d" providerId="ADAL" clId="{0614888A-C273-4FFA-BC41-2B5FECBE28DF}" dt="2023-08-10T13:37:52.501" v="5864" actId="1076"/>
          <ac:picMkLst>
            <pc:docMk/>
            <pc:sldMk cId="554842699" sldId="2147479617"/>
            <ac:picMk id="2" creationId="{AD00B404-6657-FE90-AF81-8C217C5C6F4E}"/>
          </ac:picMkLst>
        </pc:picChg>
      </pc:sldChg>
      <pc:sldChg chg="modSp mod">
        <pc:chgData name="Jeffrey Obi" userId="488f269d-1fa2-455e-bf95-7695136a100d" providerId="ADAL" clId="{0614888A-C273-4FFA-BC41-2B5FECBE28DF}" dt="2023-08-10T13:38:36.662" v="5865" actId="1076"/>
        <pc:sldMkLst>
          <pc:docMk/>
          <pc:sldMk cId="1127760975" sldId="2147479618"/>
        </pc:sldMkLst>
        <pc:picChg chg="mod">
          <ac:chgData name="Jeffrey Obi" userId="488f269d-1fa2-455e-bf95-7695136a100d" providerId="ADAL" clId="{0614888A-C273-4FFA-BC41-2B5FECBE28DF}" dt="2023-08-10T13:38:36.662" v="5865" actId="1076"/>
          <ac:picMkLst>
            <pc:docMk/>
            <pc:sldMk cId="1127760975" sldId="2147479618"/>
            <ac:picMk id="2" creationId="{CA0EB169-F38B-2E55-2336-865B273BB63E}"/>
          </ac:picMkLst>
        </pc:picChg>
      </pc:sldChg>
      <pc:sldChg chg="modSp mod">
        <pc:chgData name="Jeffrey Obi" userId="488f269d-1fa2-455e-bf95-7695136a100d" providerId="ADAL" clId="{0614888A-C273-4FFA-BC41-2B5FECBE28DF}" dt="2023-08-10T13:39:20.741" v="5867"/>
        <pc:sldMkLst>
          <pc:docMk/>
          <pc:sldMk cId="209286626" sldId="2147479641"/>
        </pc:sldMkLst>
        <pc:picChg chg="mod">
          <ac:chgData name="Jeffrey Obi" userId="488f269d-1fa2-455e-bf95-7695136a100d" providerId="ADAL" clId="{0614888A-C273-4FFA-BC41-2B5FECBE28DF}" dt="2023-08-10T13:39:20.741" v="5867"/>
          <ac:picMkLst>
            <pc:docMk/>
            <pc:sldMk cId="209286626" sldId="2147479641"/>
            <ac:picMk id="3" creationId="{3EE88C9F-1616-1FAE-0272-D9A8B91B03A4}"/>
          </ac:picMkLst>
        </pc:picChg>
      </pc:sldChg>
      <pc:sldChg chg="ord">
        <pc:chgData name="Jeffrey Obi" userId="488f269d-1fa2-455e-bf95-7695136a100d" providerId="ADAL" clId="{0614888A-C273-4FFA-BC41-2B5FECBE28DF}" dt="2023-08-14T08:36:26.460" v="9984"/>
        <pc:sldMkLst>
          <pc:docMk/>
          <pc:sldMk cId="1066138" sldId="2147479646"/>
        </pc:sldMkLst>
      </pc:sldChg>
      <pc:sldChg chg="addSp delSp modSp mod">
        <pc:chgData name="Jeffrey Obi" userId="488f269d-1fa2-455e-bf95-7695136a100d" providerId="ADAL" clId="{0614888A-C273-4FFA-BC41-2B5FECBE28DF}" dt="2023-08-03T15:08:18.854" v="14" actId="207"/>
        <pc:sldMkLst>
          <pc:docMk/>
          <pc:sldMk cId="3988806097" sldId="2147479687"/>
        </pc:sldMkLst>
        <pc:spChg chg="mod">
          <ac:chgData name="Jeffrey Obi" userId="488f269d-1fa2-455e-bf95-7695136a100d" providerId="ADAL" clId="{0614888A-C273-4FFA-BC41-2B5FECBE28DF}" dt="2023-08-03T15:07:05.942" v="3" actId="2711"/>
          <ac:spMkLst>
            <pc:docMk/>
            <pc:sldMk cId="3988806097" sldId="2147479687"/>
            <ac:spMk id="3" creationId="{D2FF72AF-9783-DFFC-9A7A-6D57999F6F0C}"/>
          </ac:spMkLst>
        </pc:spChg>
        <pc:spChg chg="mod">
          <ac:chgData name="Jeffrey Obi" userId="488f269d-1fa2-455e-bf95-7695136a100d" providerId="ADAL" clId="{0614888A-C273-4FFA-BC41-2B5FECBE28DF}" dt="2023-08-03T15:08:01.445" v="11" actId="207"/>
          <ac:spMkLst>
            <pc:docMk/>
            <pc:sldMk cId="3988806097" sldId="2147479687"/>
            <ac:spMk id="4" creationId="{4435D697-E63C-08C0-1CF2-D8D8315A44FC}"/>
          </ac:spMkLst>
        </pc:spChg>
        <pc:spChg chg="mod">
          <ac:chgData name="Jeffrey Obi" userId="488f269d-1fa2-455e-bf95-7695136a100d" providerId="ADAL" clId="{0614888A-C273-4FFA-BC41-2B5FECBE28DF}" dt="2023-08-03T15:05:57.231" v="2"/>
          <ac:spMkLst>
            <pc:docMk/>
            <pc:sldMk cId="3988806097" sldId="2147479687"/>
            <ac:spMk id="5" creationId="{A87A36FE-07DE-B5E5-6FC6-D9D53DA13237}"/>
          </ac:spMkLst>
        </pc:spChg>
        <pc:spChg chg="add mod">
          <ac:chgData name="Jeffrey Obi" userId="488f269d-1fa2-455e-bf95-7695136a100d" providerId="ADAL" clId="{0614888A-C273-4FFA-BC41-2B5FECBE28DF}" dt="2023-08-03T15:07:05.942" v="3" actId="2711"/>
          <ac:spMkLst>
            <pc:docMk/>
            <pc:sldMk cId="3988806097" sldId="2147479687"/>
            <ac:spMk id="7" creationId="{61470C4C-350B-06C6-ED17-E7590629A30E}"/>
          </ac:spMkLst>
        </pc:spChg>
        <pc:spChg chg="add mod">
          <ac:chgData name="Jeffrey Obi" userId="488f269d-1fa2-455e-bf95-7695136a100d" providerId="ADAL" clId="{0614888A-C273-4FFA-BC41-2B5FECBE28DF}" dt="2023-08-03T15:07:35.716" v="9" actId="2711"/>
          <ac:spMkLst>
            <pc:docMk/>
            <pc:sldMk cId="3988806097" sldId="2147479687"/>
            <ac:spMk id="8" creationId="{578F019D-04B4-6D22-0B09-C02808C472FD}"/>
          </ac:spMkLst>
        </pc:spChg>
        <pc:spChg chg="mod">
          <ac:chgData name="Jeffrey Obi" userId="488f269d-1fa2-455e-bf95-7695136a100d" providerId="ADAL" clId="{0614888A-C273-4FFA-BC41-2B5FECBE28DF}" dt="2023-08-03T15:08:18.854" v="14" actId="207"/>
          <ac:spMkLst>
            <pc:docMk/>
            <pc:sldMk cId="3988806097" sldId="2147479687"/>
            <ac:spMk id="10" creationId="{803D2091-CA92-BD16-5508-60D0ECEB76E9}"/>
          </ac:spMkLst>
        </pc:spChg>
        <pc:spChg chg="mod">
          <ac:chgData name="Jeffrey Obi" userId="488f269d-1fa2-455e-bf95-7695136a100d" providerId="ADAL" clId="{0614888A-C273-4FFA-BC41-2B5FECBE28DF}" dt="2023-08-03T15:05:57.231" v="2"/>
          <ac:spMkLst>
            <pc:docMk/>
            <pc:sldMk cId="3988806097" sldId="2147479687"/>
            <ac:spMk id="11" creationId="{E3A7EA1A-9049-50F6-5D86-F22B5914AAD4}"/>
          </ac:spMkLst>
        </pc:spChg>
        <pc:spChg chg="mod">
          <ac:chgData name="Jeffrey Obi" userId="488f269d-1fa2-455e-bf95-7695136a100d" providerId="ADAL" clId="{0614888A-C273-4FFA-BC41-2B5FECBE28DF}" dt="2023-08-03T15:08:13.674" v="13" actId="207"/>
          <ac:spMkLst>
            <pc:docMk/>
            <pc:sldMk cId="3988806097" sldId="2147479687"/>
            <ac:spMk id="14" creationId="{FC55A752-5269-0D2D-010D-B9D8F3A3D936}"/>
          </ac:spMkLst>
        </pc:spChg>
        <pc:spChg chg="mod">
          <ac:chgData name="Jeffrey Obi" userId="488f269d-1fa2-455e-bf95-7695136a100d" providerId="ADAL" clId="{0614888A-C273-4FFA-BC41-2B5FECBE28DF}" dt="2023-08-03T15:05:57.231" v="2"/>
          <ac:spMkLst>
            <pc:docMk/>
            <pc:sldMk cId="3988806097" sldId="2147479687"/>
            <ac:spMk id="15" creationId="{70FEBA19-6592-E4E9-6A5B-9B2CED4AFF28}"/>
          </ac:spMkLst>
        </pc:spChg>
        <pc:spChg chg="add mod">
          <ac:chgData name="Jeffrey Obi" userId="488f269d-1fa2-455e-bf95-7695136a100d" providerId="ADAL" clId="{0614888A-C273-4FFA-BC41-2B5FECBE28DF}" dt="2023-08-03T15:07:31.040" v="7" actId="1076"/>
          <ac:spMkLst>
            <pc:docMk/>
            <pc:sldMk cId="3988806097" sldId="2147479687"/>
            <ac:spMk id="17" creationId="{5C291E92-BF7E-FF28-0AC8-F1CE7470716D}"/>
          </ac:spMkLst>
        </pc:spChg>
        <pc:spChg chg="add mod">
          <ac:chgData name="Jeffrey Obi" userId="488f269d-1fa2-455e-bf95-7695136a100d" providerId="ADAL" clId="{0614888A-C273-4FFA-BC41-2B5FECBE28DF}" dt="2023-08-03T15:07:05.942" v="3" actId="2711"/>
          <ac:spMkLst>
            <pc:docMk/>
            <pc:sldMk cId="3988806097" sldId="2147479687"/>
            <ac:spMk id="18" creationId="{B91DAE18-1548-66D8-92DB-719C770B5E62}"/>
          </ac:spMkLst>
        </pc:spChg>
        <pc:spChg chg="del mod">
          <ac:chgData name="Jeffrey Obi" userId="488f269d-1fa2-455e-bf95-7695136a100d" providerId="ADAL" clId="{0614888A-C273-4FFA-BC41-2B5FECBE28DF}" dt="2023-08-03T15:04:22.950" v="1" actId="478"/>
          <ac:spMkLst>
            <pc:docMk/>
            <pc:sldMk cId="3988806097" sldId="2147479687"/>
            <ac:spMk id="21" creationId="{74E9D9EB-B7D3-2C44-6CC2-AFD79A69ED1F}"/>
          </ac:spMkLst>
        </pc:spChg>
        <pc:spChg chg="mod">
          <ac:chgData name="Jeffrey Obi" userId="488f269d-1fa2-455e-bf95-7695136a100d" providerId="ADAL" clId="{0614888A-C273-4FFA-BC41-2B5FECBE28DF}" dt="2023-08-03T15:08:06.998" v="12" actId="207"/>
          <ac:spMkLst>
            <pc:docMk/>
            <pc:sldMk cId="3988806097" sldId="2147479687"/>
            <ac:spMk id="22" creationId="{48D2E3F5-B07D-CAE1-35D4-13770C9175B4}"/>
          </ac:spMkLst>
        </pc:spChg>
        <pc:spChg chg="mod">
          <ac:chgData name="Jeffrey Obi" userId="488f269d-1fa2-455e-bf95-7695136a100d" providerId="ADAL" clId="{0614888A-C273-4FFA-BC41-2B5FECBE28DF}" dt="2023-08-03T15:05:57.231" v="2"/>
          <ac:spMkLst>
            <pc:docMk/>
            <pc:sldMk cId="3988806097" sldId="2147479687"/>
            <ac:spMk id="23" creationId="{7B5682E4-383A-0645-2501-9E0B55CCBCF7}"/>
          </ac:spMkLst>
        </pc:spChg>
        <pc:spChg chg="mod">
          <ac:chgData name="Jeffrey Obi" userId="488f269d-1fa2-455e-bf95-7695136a100d" providerId="ADAL" clId="{0614888A-C273-4FFA-BC41-2B5FECBE28DF}" dt="2023-08-03T15:07:55.476" v="10" actId="207"/>
          <ac:spMkLst>
            <pc:docMk/>
            <pc:sldMk cId="3988806097" sldId="2147479687"/>
            <ac:spMk id="26" creationId="{CD2E8E15-765F-827A-520D-48CA04F33D04}"/>
          </ac:spMkLst>
        </pc:spChg>
        <pc:spChg chg="mod">
          <ac:chgData name="Jeffrey Obi" userId="488f269d-1fa2-455e-bf95-7695136a100d" providerId="ADAL" clId="{0614888A-C273-4FFA-BC41-2B5FECBE28DF}" dt="2023-08-03T15:05:57.231" v="2"/>
          <ac:spMkLst>
            <pc:docMk/>
            <pc:sldMk cId="3988806097" sldId="2147479687"/>
            <ac:spMk id="27" creationId="{DADD8F11-4570-DDA9-9ADE-2DAC24BA16DA}"/>
          </ac:spMkLst>
        </pc:spChg>
        <pc:spChg chg="mod">
          <ac:chgData name="Jeffrey Obi" userId="488f269d-1fa2-455e-bf95-7695136a100d" providerId="ADAL" clId="{0614888A-C273-4FFA-BC41-2B5FECBE28DF}" dt="2023-08-03T15:05:57.231" v="2"/>
          <ac:spMkLst>
            <pc:docMk/>
            <pc:sldMk cId="3988806097" sldId="2147479687"/>
            <ac:spMk id="32" creationId="{7B590369-5F5C-E143-0456-CB64F95BB1BB}"/>
          </ac:spMkLst>
        </pc:spChg>
        <pc:spChg chg="mod">
          <ac:chgData name="Jeffrey Obi" userId="488f269d-1fa2-455e-bf95-7695136a100d" providerId="ADAL" clId="{0614888A-C273-4FFA-BC41-2B5FECBE28DF}" dt="2023-08-03T15:05:57.231" v="2"/>
          <ac:spMkLst>
            <pc:docMk/>
            <pc:sldMk cId="3988806097" sldId="2147479687"/>
            <ac:spMk id="33" creationId="{5C1BC795-DDDD-5300-664D-A4B79E4C9707}"/>
          </ac:spMkLst>
        </pc:spChg>
        <pc:spChg chg="mod">
          <ac:chgData name="Jeffrey Obi" userId="488f269d-1fa2-455e-bf95-7695136a100d" providerId="ADAL" clId="{0614888A-C273-4FFA-BC41-2B5FECBE28DF}" dt="2023-08-03T15:05:57.231" v="2"/>
          <ac:spMkLst>
            <pc:docMk/>
            <pc:sldMk cId="3988806097" sldId="2147479687"/>
            <ac:spMk id="37" creationId="{336FBFED-D5E0-D65D-DD9B-358C917B5603}"/>
          </ac:spMkLst>
        </pc:spChg>
        <pc:spChg chg="mod">
          <ac:chgData name="Jeffrey Obi" userId="488f269d-1fa2-455e-bf95-7695136a100d" providerId="ADAL" clId="{0614888A-C273-4FFA-BC41-2B5FECBE28DF}" dt="2023-08-03T15:05:57.231" v="2"/>
          <ac:spMkLst>
            <pc:docMk/>
            <pc:sldMk cId="3988806097" sldId="2147479687"/>
            <ac:spMk id="38" creationId="{562226F6-490E-94FE-210B-260B2DBA982C}"/>
          </ac:spMkLst>
        </pc:spChg>
        <pc:spChg chg="mod">
          <ac:chgData name="Jeffrey Obi" userId="488f269d-1fa2-455e-bf95-7695136a100d" providerId="ADAL" clId="{0614888A-C273-4FFA-BC41-2B5FECBE28DF}" dt="2023-08-03T15:05:57.231" v="2"/>
          <ac:spMkLst>
            <pc:docMk/>
            <pc:sldMk cId="3988806097" sldId="2147479687"/>
            <ac:spMk id="42" creationId="{446B1DCA-7F71-A45E-E1A7-15049C8A8EF8}"/>
          </ac:spMkLst>
        </pc:spChg>
        <pc:spChg chg="mod">
          <ac:chgData name="Jeffrey Obi" userId="488f269d-1fa2-455e-bf95-7695136a100d" providerId="ADAL" clId="{0614888A-C273-4FFA-BC41-2B5FECBE28DF}" dt="2023-08-03T15:05:57.231" v="2"/>
          <ac:spMkLst>
            <pc:docMk/>
            <pc:sldMk cId="3988806097" sldId="2147479687"/>
            <ac:spMk id="43" creationId="{54251119-A919-DB42-8EEB-3BA69EB35C18}"/>
          </ac:spMkLst>
        </pc:spChg>
        <pc:spChg chg="mod">
          <ac:chgData name="Jeffrey Obi" userId="488f269d-1fa2-455e-bf95-7695136a100d" providerId="ADAL" clId="{0614888A-C273-4FFA-BC41-2B5FECBE28DF}" dt="2023-08-03T15:05:57.231" v="2"/>
          <ac:spMkLst>
            <pc:docMk/>
            <pc:sldMk cId="3988806097" sldId="2147479687"/>
            <ac:spMk id="47" creationId="{848EB147-E914-126D-AD41-E06B5A3D891F}"/>
          </ac:spMkLst>
        </pc:spChg>
        <pc:spChg chg="mod">
          <ac:chgData name="Jeffrey Obi" userId="488f269d-1fa2-455e-bf95-7695136a100d" providerId="ADAL" clId="{0614888A-C273-4FFA-BC41-2B5FECBE28DF}" dt="2023-08-03T15:05:57.231" v="2"/>
          <ac:spMkLst>
            <pc:docMk/>
            <pc:sldMk cId="3988806097" sldId="2147479687"/>
            <ac:spMk id="48" creationId="{6BB23C40-1B74-308A-667A-AC00D6FA85B9}"/>
          </ac:spMkLst>
        </pc:spChg>
        <pc:spChg chg="mod">
          <ac:chgData name="Jeffrey Obi" userId="488f269d-1fa2-455e-bf95-7695136a100d" providerId="ADAL" clId="{0614888A-C273-4FFA-BC41-2B5FECBE28DF}" dt="2023-08-03T15:05:57.231" v="2"/>
          <ac:spMkLst>
            <pc:docMk/>
            <pc:sldMk cId="3988806097" sldId="2147479687"/>
            <ac:spMk id="52" creationId="{C53B99EB-C952-6FB9-4E80-2DDAA319A8EB}"/>
          </ac:spMkLst>
        </pc:spChg>
        <pc:spChg chg="mod">
          <ac:chgData name="Jeffrey Obi" userId="488f269d-1fa2-455e-bf95-7695136a100d" providerId="ADAL" clId="{0614888A-C273-4FFA-BC41-2B5FECBE28DF}" dt="2023-08-03T15:05:57.231" v="2"/>
          <ac:spMkLst>
            <pc:docMk/>
            <pc:sldMk cId="3988806097" sldId="2147479687"/>
            <ac:spMk id="53" creationId="{F98E6C95-19BE-DCBB-4100-77AE0760AD23}"/>
          </ac:spMkLst>
        </pc:spChg>
        <pc:grpChg chg="add mod">
          <ac:chgData name="Jeffrey Obi" userId="488f269d-1fa2-455e-bf95-7695136a100d" providerId="ADAL" clId="{0614888A-C273-4FFA-BC41-2B5FECBE28DF}" dt="2023-08-03T15:07:05.942" v="3" actId="2711"/>
          <ac:grpSpMkLst>
            <pc:docMk/>
            <pc:sldMk cId="3988806097" sldId="2147479687"/>
            <ac:grpSpMk id="2" creationId="{C9A189C6-FE15-5204-E223-0F669C49B75E}"/>
          </ac:grpSpMkLst>
        </pc:grpChg>
        <pc:grpChg chg="add mod">
          <ac:chgData name="Jeffrey Obi" userId="488f269d-1fa2-455e-bf95-7695136a100d" providerId="ADAL" clId="{0614888A-C273-4FFA-BC41-2B5FECBE28DF}" dt="2023-08-03T15:07:05.942" v="3" actId="2711"/>
          <ac:grpSpMkLst>
            <pc:docMk/>
            <pc:sldMk cId="3988806097" sldId="2147479687"/>
            <ac:grpSpMk id="9" creationId="{01C22F6D-1370-F58D-5870-154F91FDF647}"/>
          </ac:grpSpMkLst>
        </pc:grpChg>
        <pc:grpChg chg="add mod">
          <ac:chgData name="Jeffrey Obi" userId="488f269d-1fa2-455e-bf95-7695136a100d" providerId="ADAL" clId="{0614888A-C273-4FFA-BC41-2B5FECBE28DF}" dt="2023-08-03T15:07:05.942" v="3" actId="2711"/>
          <ac:grpSpMkLst>
            <pc:docMk/>
            <pc:sldMk cId="3988806097" sldId="2147479687"/>
            <ac:grpSpMk id="13" creationId="{918F3AA7-4747-AECC-FA7E-74B73005160F}"/>
          </ac:grpSpMkLst>
        </pc:grpChg>
        <pc:grpChg chg="add mod">
          <ac:chgData name="Jeffrey Obi" userId="488f269d-1fa2-455e-bf95-7695136a100d" providerId="ADAL" clId="{0614888A-C273-4FFA-BC41-2B5FECBE28DF}" dt="2023-08-03T15:07:05.942" v="3" actId="2711"/>
          <ac:grpSpMkLst>
            <pc:docMk/>
            <pc:sldMk cId="3988806097" sldId="2147479687"/>
            <ac:grpSpMk id="20" creationId="{1F02EF7E-B60D-49E3-E0E7-E9688EE25870}"/>
          </ac:grpSpMkLst>
        </pc:grpChg>
        <pc:grpChg chg="add mod">
          <ac:chgData name="Jeffrey Obi" userId="488f269d-1fa2-455e-bf95-7695136a100d" providerId="ADAL" clId="{0614888A-C273-4FFA-BC41-2B5FECBE28DF}" dt="2023-08-03T15:07:28.414" v="6" actId="1076"/>
          <ac:grpSpMkLst>
            <pc:docMk/>
            <pc:sldMk cId="3988806097" sldId="2147479687"/>
            <ac:grpSpMk id="25" creationId="{9769B5A9-4389-6C76-9AE9-D753D278DED7}"/>
          </ac:grpSpMkLst>
        </pc:grpChg>
        <pc:grpChg chg="add mod">
          <ac:chgData name="Jeffrey Obi" userId="488f269d-1fa2-455e-bf95-7695136a100d" providerId="ADAL" clId="{0614888A-C273-4FFA-BC41-2B5FECBE28DF}" dt="2023-08-03T15:07:05.942" v="3" actId="2711"/>
          <ac:grpSpMkLst>
            <pc:docMk/>
            <pc:sldMk cId="3988806097" sldId="2147479687"/>
            <ac:grpSpMk id="29" creationId="{1DF8BFEE-5D9F-DB91-0F13-64845820216D}"/>
          </ac:grpSpMkLst>
        </pc:grpChg>
        <pc:grpChg chg="mod">
          <ac:chgData name="Jeffrey Obi" userId="488f269d-1fa2-455e-bf95-7695136a100d" providerId="ADAL" clId="{0614888A-C273-4FFA-BC41-2B5FECBE28DF}" dt="2023-08-03T15:05:57.231" v="2"/>
          <ac:grpSpMkLst>
            <pc:docMk/>
            <pc:sldMk cId="3988806097" sldId="2147479687"/>
            <ac:grpSpMk id="30" creationId="{8196CD99-E761-ACB0-4AE2-E9E975DDC40B}"/>
          </ac:grpSpMkLst>
        </pc:grpChg>
        <pc:grpChg chg="add mod">
          <ac:chgData name="Jeffrey Obi" userId="488f269d-1fa2-455e-bf95-7695136a100d" providerId="ADAL" clId="{0614888A-C273-4FFA-BC41-2B5FECBE28DF}" dt="2023-08-03T15:07:05.942" v="3" actId="2711"/>
          <ac:grpSpMkLst>
            <pc:docMk/>
            <pc:sldMk cId="3988806097" sldId="2147479687"/>
            <ac:grpSpMk id="34" creationId="{770185BD-9F2F-43B6-73D4-21B70E116EE8}"/>
          </ac:grpSpMkLst>
        </pc:grpChg>
        <pc:grpChg chg="mod">
          <ac:chgData name="Jeffrey Obi" userId="488f269d-1fa2-455e-bf95-7695136a100d" providerId="ADAL" clId="{0614888A-C273-4FFA-BC41-2B5FECBE28DF}" dt="2023-08-03T15:05:57.231" v="2"/>
          <ac:grpSpMkLst>
            <pc:docMk/>
            <pc:sldMk cId="3988806097" sldId="2147479687"/>
            <ac:grpSpMk id="35" creationId="{F5244F31-8665-FC29-BEE7-304DFE5720DB}"/>
          </ac:grpSpMkLst>
        </pc:grpChg>
        <pc:grpChg chg="add mod">
          <ac:chgData name="Jeffrey Obi" userId="488f269d-1fa2-455e-bf95-7695136a100d" providerId="ADAL" clId="{0614888A-C273-4FFA-BC41-2B5FECBE28DF}" dt="2023-08-03T15:07:05.942" v="3" actId="2711"/>
          <ac:grpSpMkLst>
            <pc:docMk/>
            <pc:sldMk cId="3988806097" sldId="2147479687"/>
            <ac:grpSpMk id="39" creationId="{544E2040-489A-A50C-0FCF-A262F88EC753}"/>
          </ac:grpSpMkLst>
        </pc:grpChg>
        <pc:grpChg chg="mod">
          <ac:chgData name="Jeffrey Obi" userId="488f269d-1fa2-455e-bf95-7695136a100d" providerId="ADAL" clId="{0614888A-C273-4FFA-BC41-2B5FECBE28DF}" dt="2023-08-03T15:05:57.231" v="2"/>
          <ac:grpSpMkLst>
            <pc:docMk/>
            <pc:sldMk cId="3988806097" sldId="2147479687"/>
            <ac:grpSpMk id="40" creationId="{625F8C84-07B0-DBAA-1BA2-3B5A3E790EB1}"/>
          </ac:grpSpMkLst>
        </pc:grpChg>
        <pc:grpChg chg="add mod">
          <ac:chgData name="Jeffrey Obi" userId="488f269d-1fa2-455e-bf95-7695136a100d" providerId="ADAL" clId="{0614888A-C273-4FFA-BC41-2B5FECBE28DF}" dt="2023-08-03T15:07:05.942" v="3" actId="2711"/>
          <ac:grpSpMkLst>
            <pc:docMk/>
            <pc:sldMk cId="3988806097" sldId="2147479687"/>
            <ac:grpSpMk id="44" creationId="{3F74983B-4A9D-B74E-425A-547CF2F415EF}"/>
          </ac:grpSpMkLst>
        </pc:grpChg>
        <pc:grpChg chg="mod">
          <ac:chgData name="Jeffrey Obi" userId="488f269d-1fa2-455e-bf95-7695136a100d" providerId="ADAL" clId="{0614888A-C273-4FFA-BC41-2B5FECBE28DF}" dt="2023-08-03T15:05:57.231" v="2"/>
          <ac:grpSpMkLst>
            <pc:docMk/>
            <pc:sldMk cId="3988806097" sldId="2147479687"/>
            <ac:grpSpMk id="45" creationId="{E6AD829A-C6EA-21BC-1562-C1BFBC40D003}"/>
          </ac:grpSpMkLst>
        </pc:grpChg>
        <pc:grpChg chg="add mod">
          <ac:chgData name="Jeffrey Obi" userId="488f269d-1fa2-455e-bf95-7695136a100d" providerId="ADAL" clId="{0614888A-C273-4FFA-BC41-2B5FECBE28DF}" dt="2023-08-03T15:07:05.942" v="3" actId="2711"/>
          <ac:grpSpMkLst>
            <pc:docMk/>
            <pc:sldMk cId="3988806097" sldId="2147479687"/>
            <ac:grpSpMk id="49" creationId="{D59D3EDD-3CAB-5140-F5C6-2B5F062A2F4D}"/>
          </ac:grpSpMkLst>
        </pc:grpChg>
        <pc:grpChg chg="mod">
          <ac:chgData name="Jeffrey Obi" userId="488f269d-1fa2-455e-bf95-7695136a100d" providerId="ADAL" clId="{0614888A-C273-4FFA-BC41-2B5FECBE28DF}" dt="2023-08-03T15:05:57.231" v="2"/>
          <ac:grpSpMkLst>
            <pc:docMk/>
            <pc:sldMk cId="3988806097" sldId="2147479687"/>
            <ac:grpSpMk id="50" creationId="{4A6D38AD-CAFD-1902-E40E-51684E18B2A7}"/>
          </ac:grpSpMkLst>
        </pc:grpChg>
        <pc:picChg chg="mod">
          <ac:chgData name="Jeffrey Obi" userId="488f269d-1fa2-455e-bf95-7695136a100d" providerId="ADAL" clId="{0614888A-C273-4FFA-BC41-2B5FECBE28DF}" dt="2023-08-03T15:05:57.231" v="2"/>
          <ac:picMkLst>
            <pc:docMk/>
            <pc:sldMk cId="3988806097" sldId="2147479687"/>
            <ac:picMk id="6" creationId="{632C2579-EDAE-2D61-94A4-0E86D2D98E0B}"/>
          </ac:picMkLst>
        </pc:picChg>
        <pc:picChg chg="mod">
          <ac:chgData name="Jeffrey Obi" userId="488f269d-1fa2-455e-bf95-7695136a100d" providerId="ADAL" clId="{0614888A-C273-4FFA-BC41-2B5FECBE28DF}" dt="2023-08-03T15:05:57.231" v="2"/>
          <ac:picMkLst>
            <pc:docMk/>
            <pc:sldMk cId="3988806097" sldId="2147479687"/>
            <ac:picMk id="12" creationId="{A9A73ABE-AD2C-4F13-02EB-481F1083CD41}"/>
          </ac:picMkLst>
        </pc:picChg>
        <pc:picChg chg="mod">
          <ac:chgData name="Jeffrey Obi" userId="488f269d-1fa2-455e-bf95-7695136a100d" providerId="ADAL" clId="{0614888A-C273-4FFA-BC41-2B5FECBE28DF}" dt="2023-08-03T15:05:57.231" v="2"/>
          <ac:picMkLst>
            <pc:docMk/>
            <pc:sldMk cId="3988806097" sldId="2147479687"/>
            <ac:picMk id="16" creationId="{5CC17911-5932-DBD3-6BB4-2DC23BE5842B}"/>
          </ac:picMkLst>
        </pc:picChg>
        <pc:picChg chg="mod">
          <ac:chgData name="Jeffrey Obi" userId="488f269d-1fa2-455e-bf95-7695136a100d" providerId="ADAL" clId="{0614888A-C273-4FFA-BC41-2B5FECBE28DF}" dt="2023-08-03T15:05:57.231" v="2"/>
          <ac:picMkLst>
            <pc:docMk/>
            <pc:sldMk cId="3988806097" sldId="2147479687"/>
            <ac:picMk id="24" creationId="{3C88D7A8-7F7C-C897-3F40-DF0ECE0B4D63}"/>
          </ac:picMkLst>
        </pc:picChg>
        <pc:picChg chg="mod">
          <ac:chgData name="Jeffrey Obi" userId="488f269d-1fa2-455e-bf95-7695136a100d" providerId="ADAL" clId="{0614888A-C273-4FFA-BC41-2B5FECBE28DF}" dt="2023-08-03T15:05:57.231" v="2"/>
          <ac:picMkLst>
            <pc:docMk/>
            <pc:sldMk cId="3988806097" sldId="2147479687"/>
            <ac:picMk id="28" creationId="{21A70F99-AF04-A18D-F46A-4648F6D04C1A}"/>
          </ac:picMkLst>
        </pc:picChg>
        <pc:picChg chg="mod">
          <ac:chgData name="Jeffrey Obi" userId="488f269d-1fa2-455e-bf95-7695136a100d" providerId="ADAL" clId="{0614888A-C273-4FFA-BC41-2B5FECBE28DF}" dt="2023-08-03T15:05:57.231" v="2"/>
          <ac:picMkLst>
            <pc:docMk/>
            <pc:sldMk cId="3988806097" sldId="2147479687"/>
            <ac:picMk id="31" creationId="{141776B2-6636-CEB7-A42F-4D9A32BE6B88}"/>
          </ac:picMkLst>
        </pc:picChg>
        <pc:picChg chg="mod">
          <ac:chgData name="Jeffrey Obi" userId="488f269d-1fa2-455e-bf95-7695136a100d" providerId="ADAL" clId="{0614888A-C273-4FFA-BC41-2B5FECBE28DF}" dt="2023-08-03T15:05:57.231" v="2"/>
          <ac:picMkLst>
            <pc:docMk/>
            <pc:sldMk cId="3988806097" sldId="2147479687"/>
            <ac:picMk id="36" creationId="{6E2EE13F-FBB7-B30F-13C7-E283EBD1B6BC}"/>
          </ac:picMkLst>
        </pc:picChg>
        <pc:picChg chg="mod">
          <ac:chgData name="Jeffrey Obi" userId="488f269d-1fa2-455e-bf95-7695136a100d" providerId="ADAL" clId="{0614888A-C273-4FFA-BC41-2B5FECBE28DF}" dt="2023-08-03T15:05:57.231" v="2"/>
          <ac:picMkLst>
            <pc:docMk/>
            <pc:sldMk cId="3988806097" sldId="2147479687"/>
            <ac:picMk id="41" creationId="{9F8F1AC8-8DA5-E8B8-1A15-66E2C50AC4A6}"/>
          </ac:picMkLst>
        </pc:picChg>
        <pc:picChg chg="mod">
          <ac:chgData name="Jeffrey Obi" userId="488f269d-1fa2-455e-bf95-7695136a100d" providerId="ADAL" clId="{0614888A-C273-4FFA-BC41-2B5FECBE28DF}" dt="2023-08-03T15:05:57.231" v="2"/>
          <ac:picMkLst>
            <pc:docMk/>
            <pc:sldMk cId="3988806097" sldId="2147479687"/>
            <ac:picMk id="46" creationId="{39FDE6D0-5B04-C43E-7D04-FF2513A9970B}"/>
          </ac:picMkLst>
        </pc:picChg>
        <pc:picChg chg="mod">
          <ac:chgData name="Jeffrey Obi" userId="488f269d-1fa2-455e-bf95-7695136a100d" providerId="ADAL" clId="{0614888A-C273-4FFA-BC41-2B5FECBE28DF}" dt="2023-08-03T15:05:57.231" v="2"/>
          <ac:picMkLst>
            <pc:docMk/>
            <pc:sldMk cId="3988806097" sldId="2147479687"/>
            <ac:picMk id="51" creationId="{DBF80030-3B22-E065-CAF3-586C787E7FD5}"/>
          </ac:picMkLst>
        </pc:picChg>
        <pc:cxnChg chg="add mod">
          <ac:chgData name="Jeffrey Obi" userId="488f269d-1fa2-455e-bf95-7695136a100d" providerId="ADAL" clId="{0614888A-C273-4FFA-BC41-2B5FECBE28DF}" dt="2023-08-03T15:07:05.942" v="3" actId="2711"/>
          <ac:cxnSpMkLst>
            <pc:docMk/>
            <pc:sldMk cId="3988806097" sldId="2147479687"/>
            <ac:cxnSpMk id="19" creationId="{0040AF5B-2976-7B7D-5B7E-9D516DA7CFF3}"/>
          </ac:cxnSpMkLst>
        </pc:cxnChg>
        <pc:cxnChg chg="add mod">
          <ac:chgData name="Jeffrey Obi" userId="488f269d-1fa2-455e-bf95-7695136a100d" providerId="ADAL" clId="{0614888A-C273-4FFA-BC41-2B5FECBE28DF}" dt="2023-08-03T15:07:05.942" v="3" actId="2711"/>
          <ac:cxnSpMkLst>
            <pc:docMk/>
            <pc:sldMk cId="3988806097" sldId="2147479687"/>
            <ac:cxnSpMk id="54" creationId="{453C381D-189F-38E0-62F9-0520FEB0224D}"/>
          </ac:cxnSpMkLst>
        </pc:cxnChg>
        <pc:cxnChg chg="add mod">
          <ac:chgData name="Jeffrey Obi" userId="488f269d-1fa2-455e-bf95-7695136a100d" providerId="ADAL" clId="{0614888A-C273-4FFA-BC41-2B5FECBE28DF}" dt="2023-08-03T15:07:05.942" v="3" actId="2711"/>
          <ac:cxnSpMkLst>
            <pc:docMk/>
            <pc:sldMk cId="3988806097" sldId="2147479687"/>
            <ac:cxnSpMk id="55" creationId="{B8371244-1FE4-A6EF-A202-CC7DE77364A1}"/>
          </ac:cxnSpMkLst>
        </pc:cxnChg>
      </pc:sldChg>
      <pc:sldChg chg="addSp delSp modSp mod">
        <pc:chgData name="Jeffrey Obi" userId="488f269d-1fa2-455e-bf95-7695136a100d" providerId="ADAL" clId="{0614888A-C273-4FFA-BC41-2B5FECBE28DF}" dt="2023-08-11T09:43:02.611" v="7329" actId="20577"/>
        <pc:sldMkLst>
          <pc:docMk/>
          <pc:sldMk cId="3501663959" sldId="2147479688"/>
        </pc:sldMkLst>
        <pc:spChg chg="mod">
          <ac:chgData name="Jeffrey Obi" userId="488f269d-1fa2-455e-bf95-7695136a100d" providerId="ADAL" clId="{0614888A-C273-4FFA-BC41-2B5FECBE28DF}" dt="2023-08-08T13:56:37.458" v="4255" actId="14100"/>
          <ac:spMkLst>
            <pc:docMk/>
            <pc:sldMk cId="3501663959" sldId="2147479688"/>
            <ac:spMk id="17" creationId="{5C291E92-BF7E-FF28-0AC8-F1CE7470716D}"/>
          </ac:spMkLst>
        </pc:spChg>
        <pc:spChg chg="mod">
          <ac:chgData name="Jeffrey Obi" userId="488f269d-1fa2-455e-bf95-7695136a100d" providerId="ADAL" clId="{0614888A-C273-4FFA-BC41-2B5FECBE28DF}" dt="2023-08-11T09:43:02.611" v="7329" actId="20577"/>
          <ac:spMkLst>
            <pc:docMk/>
            <pc:sldMk cId="3501663959" sldId="2147479688"/>
            <ac:spMk id="42" creationId="{446B1DCA-7F71-A45E-E1A7-15049C8A8EF8}"/>
          </ac:spMkLst>
        </pc:spChg>
        <pc:spChg chg="mod">
          <ac:chgData name="Jeffrey Obi" userId="488f269d-1fa2-455e-bf95-7695136a100d" providerId="ADAL" clId="{0614888A-C273-4FFA-BC41-2B5FECBE28DF}" dt="2023-08-11T09:42:46.100" v="7302" actId="14826"/>
          <ac:spMkLst>
            <pc:docMk/>
            <pc:sldMk cId="3501663959" sldId="2147479688"/>
            <ac:spMk id="43" creationId="{54251119-A919-DB42-8EEB-3BA69EB35C18}"/>
          </ac:spMkLst>
        </pc:spChg>
        <pc:spChg chg="mod">
          <ac:chgData name="Jeffrey Obi" userId="488f269d-1fa2-455e-bf95-7695136a100d" providerId="ADAL" clId="{0614888A-C273-4FFA-BC41-2B5FECBE28DF}" dt="2023-08-08T13:44:50.817" v="3979"/>
          <ac:spMkLst>
            <pc:docMk/>
            <pc:sldMk cId="3501663959" sldId="2147479688"/>
            <ac:spMk id="57" creationId="{5B3EDC4A-CDEA-135E-C934-7C382271418B}"/>
          </ac:spMkLst>
        </pc:spChg>
        <pc:spChg chg="mod">
          <ac:chgData name="Jeffrey Obi" userId="488f269d-1fa2-455e-bf95-7695136a100d" providerId="ADAL" clId="{0614888A-C273-4FFA-BC41-2B5FECBE28DF}" dt="2023-08-10T11:01:45.800" v="4315" actId="1076"/>
          <ac:spMkLst>
            <pc:docMk/>
            <pc:sldMk cId="3501663959" sldId="2147479688"/>
            <ac:spMk id="58" creationId="{4A0DB7C0-47B9-FD65-4B6D-7E5B083BA57D}"/>
          </ac:spMkLst>
        </pc:spChg>
        <pc:spChg chg="mod">
          <ac:chgData name="Jeffrey Obi" userId="488f269d-1fa2-455e-bf95-7695136a100d" providerId="ADAL" clId="{0614888A-C273-4FFA-BC41-2B5FECBE28DF}" dt="2023-08-03T16:44:13.682" v="17" actId="1037"/>
          <ac:spMkLst>
            <pc:docMk/>
            <pc:sldMk cId="3501663959" sldId="2147479688"/>
            <ac:spMk id="59" creationId="{D1C142DC-9B83-3B31-AEFA-B42A6B633579}"/>
          </ac:spMkLst>
        </pc:spChg>
        <pc:spChg chg="mod">
          <ac:chgData name="Jeffrey Obi" userId="488f269d-1fa2-455e-bf95-7695136a100d" providerId="ADAL" clId="{0614888A-C273-4FFA-BC41-2B5FECBE28DF}" dt="2023-08-08T13:44:50.817" v="3979"/>
          <ac:spMkLst>
            <pc:docMk/>
            <pc:sldMk cId="3501663959" sldId="2147479688"/>
            <ac:spMk id="60" creationId="{35BDBAFD-95E8-50F1-5F53-D74979DCB368}"/>
          </ac:spMkLst>
        </pc:spChg>
        <pc:spChg chg="mod">
          <ac:chgData name="Jeffrey Obi" userId="488f269d-1fa2-455e-bf95-7695136a100d" providerId="ADAL" clId="{0614888A-C273-4FFA-BC41-2B5FECBE28DF}" dt="2023-08-03T16:44:27.051" v="21" actId="1035"/>
          <ac:spMkLst>
            <pc:docMk/>
            <pc:sldMk cId="3501663959" sldId="2147479688"/>
            <ac:spMk id="63" creationId="{8DD6790E-6D10-38D0-29D7-F738AB636AE5}"/>
          </ac:spMkLst>
        </pc:spChg>
        <pc:spChg chg="mod">
          <ac:chgData name="Jeffrey Obi" userId="488f269d-1fa2-455e-bf95-7695136a100d" providerId="ADAL" clId="{0614888A-C273-4FFA-BC41-2B5FECBE28DF}" dt="2023-08-08T13:44:50.817" v="3979"/>
          <ac:spMkLst>
            <pc:docMk/>
            <pc:sldMk cId="3501663959" sldId="2147479688"/>
            <ac:spMk id="66" creationId="{65357A7E-D209-0991-85F7-276018F9C4CC}"/>
          </ac:spMkLst>
        </pc:spChg>
        <pc:spChg chg="mod">
          <ac:chgData name="Jeffrey Obi" userId="488f269d-1fa2-455e-bf95-7695136a100d" providerId="ADAL" clId="{0614888A-C273-4FFA-BC41-2B5FECBE28DF}" dt="2023-08-10T13:24:54.782" v="5227" actId="1076"/>
          <ac:spMkLst>
            <pc:docMk/>
            <pc:sldMk cId="3501663959" sldId="2147479688"/>
            <ac:spMk id="66" creationId="{FCC7E14F-C701-87EC-EF42-24C4F0F3200C}"/>
          </ac:spMkLst>
        </pc:spChg>
        <pc:spChg chg="mod">
          <ac:chgData name="Jeffrey Obi" userId="488f269d-1fa2-455e-bf95-7695136a100d" providerId="ADAL" clId="{0614888A-C273-4FFA-BC41-2B5FECBE28DF}" dt="2023-08-10T13:24:54.782" v="5227" actId="1076"/>
          <ac:spMkLst>
            <pc:docMk/>
            <pc:sldMk cId="3501663959" sldId="2147479688"/>
            <ac:spMk id="67" creationId="{A7AA5959-ED47-D6E4-3C2D-4E5290B8BDFA}"/>
          </ac:spMkLst>
        </pc:spChg>
        <pc:spChg chg="mod">
          <ac:chgData name="Jeffrey Obi" userId="488f269d-1fa2-455e-bf95-7695136a100d" providerId="ADAL" clId="{0614888A-C273-4FFA-BC41-2B5FECBE28DF}" dt="2023-08-08T13:44:50.817" v="3979"/>
          <ac:spMkLst>
            <pc:docMk/>
            <pc:sldMk cId="3501663959" sldId="2147479688"/>
            <ac:spMk id="67" creationId="{AD8F8A4F-FDAC-7B0A-CD03-C0429881D803}"/>
          </ac:spMkLst>
        </pc:spChg>
        <pc:spChg chg="add mod">
          <ac:chgData name="Jeffrey Obi" userId="488f269d-1fa2-455e-bf95-7695136a100d" providerId="ADAL" clId="{0614888A-C273-4FFA-BC41-2B5FECBE28DF}" dt="2023-08-10T11:02:30.742" v="4322" actId="1076"/>
          <ac:spMkLst>
            <pc:docMk/>
            <pc:sldMk cId="3501663959" sldId="2147479688"/>
            <ac:spMk id="69" creationId="{A72DAED8-F8E3-256F-9A74-B12468DA088B}"/>
          </ac:spMkLst>
        </pc:spChg>
        <pc:spChg chg="mod">
          <ac:chgData name="Jeffrey Obi" userId="488f269d-1fa2-455e-bf95-7695136a100d" providerId="ADAL" clId="{0614888A-C273-4FFA-BC41-2B5FECBE28DF}" dt="2023-08-08T13:44:50.817" v="3979"/>
          <ac:spMkLst>
            <pc:docMk/>
            <pc:sldMk cId="3501663959" sldId="2147479688"/>
            <ac:spMk id="70" creationId="{C7DE427E-BE42-272F-1EEB-4A2570C81BA0}"/>
          </ac:spMkLst>
        </pc:spChg>
        <pc:spChg chg="mod">
          <ac:chgData name="Jeffrey Obi" userId="488f269d-1fa2-455e-bf95-7695136a100d" providerId="ADAL" clId="{0614888A-C273-4FFA-BC41-2B5FECBE28DF}" dt="2023-08-08T13:44:50.817" v="3979"/>
          <ac:spMkLst>
            <pc:docMk/>
            <pc:sldMk cId="3501663959" sldId="2147479688"/>
            <ac:spMk id="71" creationId="{1A7BF00F-0171-7C8C-C9CD-5EBFEC6D60A9}"/>
          </ac:spMkLst>
        </pc:spChg>
        <pc:spChg chg="add del mod">
          <ac:chgData name="Jeffrey Obi" userId="488f269d-1fa2-455e-bf95-7695136a100d" providerId="ADAL" clId="{0614888A-C273-4FFA-BC41-2B5FECBE28DF}" dt="2023-08-08T13:45:15.129" v="3984"/>
          <ac:spMkLst>
            <pc:docMk/>
            <pc:sldMk cId="3501663959" sldId="2147479688"/>
            <ac:spMk id="73" creationId="{F50D8DE2-10F2-FCC5-A58D-142541A12904}"/>
          </ac:spMkLst>
        </pc:spChg>
        <pc:spChg chg="add del mod">
          <ac:chgData name="Jeffrey Obi" userId="488f269d-1fa2-455e-bf95-7695136a100d" providerId="ADAL" clId="{0614888A-C273-4FFA-BC41-2B5FECBE28DF}" dt="2023-08-08T13:45:15.129" v="3984"/>
          <ac:spMkLst>
            <pc:docMk/>
            <pc:sldMk cId="3501663959" sldId="2147479688"/>
            <ac:spMk id="74" creationId="{9F2341C0-93EB-C0A0-01DF-44BA820EFF47}"/>
          </ac:spMkLst>
        </pc:spChg>
        <pc:spChg chg="mod">
          <ac:chgData name="Jeffrey Obi" userId="488f269d-1fa2-455e-bf95-7695136a100d" providerId="ADAL" clId="{0614888A-C273-4FFA-BC41-2B5FECBE28DF}" dt="2023-08-08T13:44:50.817" v="3979"/>
          <ac:spMkLst>
            <pc:docMk/>
            <pc:sldMk cId="3501663959" sldId="2147479688"/>
            <ac:spMk id="77" creationId="{B8C2414E-8347-788E-951F-0A5A9B08B276}"/>
          </ac:spMkLst>
        </pc:spChg>
        <pc:spChg chg="mod">
          <ac:chgData name="Jeffrey Obi" userId="488f269d-1fa2-455e-bf95-7695136a100d" providerId="ADAL" clId="{0614888A-C273-4FFA-BC41-2B5FECBE28DF}" dt="2023-08-08T13:44:50.817" v="3979"/>
          <ac:spMkLst>
            <pc:docMk/>
            <pc:sldMk cId="3501663959" sldId="2147479688"/>
            <ac:spMk id="78" creationId="{5AC14B55-89DB-1882-64E4-FA7A019482C8}"/>
          </ac:spMkLst>
        </pc:spChg>
        <pc:spChg chg="mod">
          <ac:chgData name="Jeffrey Obi" userId="488f269d-1fa2-455e-bf95-7695136a100d" providerId="ADAL" clId="{0614888A-C273-4FFA-BC41-2B5FECBE28DF}" dt="2023-08-08T13:44:50.817" v="3979"/>
          <ac:spMkLst>
            <pc:docMk/>
            <pc:sldMk cId="3501663959" sldId="2147479688"/>
            <ac:spMk id="81" creationId="{CF30D097-1517-A7AC-6DF5-CC5D2492A76A}"/>
          </ac:spMkLst>
        </pc:spChg>
        <pc:spChg chg="mod">
          <ac:chgData name="Jeffrey Obi" userId="488f269d-1fa2-455e-bf95-7695136a100d" providerId="ADAL" clId="{0614888A-C273-4FFA-BC41-2B5FECBE28DF}" dt="2023-08-08T13:44:50.817" v="3979"/>
          <ac:spMkLst>
            <pc:docMk/>
            <pc:sldMk cId="3501663959" sldId="2147479688"/>
            <ac:spMk id="82" creationId="{0C54B3F1-1743-52BC-E5C5-C86EAD8E7F44}"/>
          </ac:spMkLst>
        </pc:spChg>
        <pc:spChg chg="add del mod">
          <ac:chgData name="Jeffrey Obi" userId="488f269d-1fa2-455e-bf95-7695136a100d" providerId="ADAL" clId="{0614888A-C273-4FFA-BC41-2B5FECBE28DF}" dt="2023-08-08T13:45:15.129" v="3984"/>
          <ac:spMkLst>
            <pc:docMk/>
            <pc:sldMk cId="3501663959" sldId="2147479688"/>
            <ac:spMk id="86" creationId="{1C78EE8D-3336-8B5A-0DBF-C1C7C89BFF12}"/>
          </ac:spMkLst>
        </pc:spChg>
        <pc:spChg chg="add del mod">
          <ac:chgData name="Jeffrey Obi" userId="488f269d-1fa2-455e-bf95-7695136a100d" providerId="ADAL" clId="{0614888A-C273-4FFA-BC41-2B5FECBE28DF}" dt="2023-08-08T13:45:15.129" v="3984"/>
          <ac:spMkLst>
            <pc:docMk/>
            <pc:sldMk cId="3501663959" sldId="2147479688"/>
            <ac:spMk id="87" creationId="{9EB8B02D-0F40-D5A3-6FF4-7C37E26D5663}"/>
          </ac:spMkLst>
        </pc:spChg>
        <pc:spChg chg="add del mod">
          <ac:chgData name="Jeffrey Obi" userId="488f269d-1fa2-455e-bf95-7695136a100d" providerId="ADAL" clId="{0614888A-C273-4FFA-BC41-2B5FECBE28DF}" dt="2023-08-08T13:45:15.129" v="3984"/>
          <ac:spMkLst>
            <pc:docMk/>
            <pc:sldMk cId="3501663959" sldId="2147479688"/>
            <ac:spMk id="88" creationId="{49CC148A-8064-C231-BBC4-FB260E56500F}"/>
          </ac:spMkLst>
        </pc:spChg>
        <pc:spChg chg="add del mod">
          <ac:chgData name="Jeffrey Obi" userId="488f269d-1fa2-455e-bf95-7695136a100d" providerId="ADAL" clId="{0614888A-C273-4FFA-BC41-2B5FECBE28DF}" dt="2023-08-08T13:45:15.129" v="3984"/>
          <ac:spMkLst>
            <pc:docMk/>
            <pc:sldMk cId="3501663959" sldId="2147479688"/>
            <ac:spMk id="89" creationId="{808041BC-8142-81C6-5A96-BDFDF9FFE800}"/>
          </ac:spMkLst>
        </pc:spChg>
        <pc:spChg chg="add del mod">
          <ac:chgData name="Jeffrey Obi" userId="488f269d-1fa2-455e-bf95-7695136a100d" providerId="ADAL" clId="{0614888A-C273-4FFA-BC41-2B5FECBE28DF}" dt="2023-08-08T13:45:15.129" v="3984"/>
          <ac:spMkLst>
            <pc:docMk/>
            <pc:sldMk cId="3501663959" sldId="2147479688"/>
            <ac:spMk id="90" creationId="{06B390F6-7BC6-4937-558F-B873A76417A5}"/>
          </ac:spMkLst>
        </pc:spChg>
        <pc:spChg chg="add mod">
          <ac:chgData name="Jeffrey Obi" userId="488f269d-1fa2-455e-bf95-7695136a100d" providerId="ADAL" clId="{0614888A-C273-4FFA-BC41-2B5FECBE28DF}" dt="2023-08-08T13:54:17.776" v="4251" actId="1076"/>
          <ac:spMkLst>
            <pc:docMk/>
            <pc:sldMk cId="3501663959" sldId="2147479688"/>
            <ac:spMk id="91" creationId="{1D13E171-80C4-296A-2370-F79DC256B49A}"/>
          </ac:spMkLst>
        </pc:spChg>
        <pc:spChg chg="add mod">
          <ac:chgData name="Jeffrey Obi" userId="488f269d-1fa2-455e-bf95-7695136a100d" providerId="ADAL" clId="{0614888A-C273-4FFA-BC41-2B5FECBE28DF}" dt="2023-08-08T13:54:17.776" v="4251" actId="1076"/>
          <ac:spMkLst>
            <pc:docMk/>
            <pc:sldMk cId="3501663959" sldId="2147479688"/>
            <ac:spMk id="92" creationId="{5F60805D-E2A5-1066-CB7B-0E4AC90E0F76}"/>
          </ac:spMkLst>
        </pc:spChg>
        <pc:spChg chg="mod">
          <ac:chgData name="Jeffrey Obi" userId="488f269d-1fa2-455e-bf95-7695136a100d" providerId="ADAL" clId="{0614888A-C273-4FFA-BC41-2B5FECBE28DF}" dt="2023-08-08T13:51:41.059" v="4190"/>
          <ac:spMkLst>
            <pc:docMk/>
            <pc:sldMk cId="3501663959" sldId="2147479688"/>
            <ac:spMk id="94" creationId="{5A5B1628-7D2E-90A3-91AE-72A7A3A053CE}"/>
          </ac:spMkLst>
        </pc:spChg>
        <pc:spChg chg="mod">
          <ac:chgData name="Jeffrey Obi" userId="488f269d-1fa2-455e-bf95-7695136a100d" providerId="ADAL" clId="{0614888A-C273-4FFA-BC41-2B5FECBE28DF}" dt="2023-08-08T13:51:41.059" v="4190"/>
          <ac:spMkLst>
            <pc:docMk/>
            <pc:sldMk cId="3501663959" sldId="2147479688"/>
            <ac:spMk id="95" creationId="{E3328028-7C53-A5A7-7131-F514A1641030}"/>
          </ac:spMkLst>
        </pc:spChg>
        <pc:spChg chg="add mod">
          <ac:chgData name="Jeffrey Obi" userId="488f269d-1fa2-455e-bf95-7695136a100d" providerId="ADAL" clId="{0614888A-C273-4FFA-BC41-2B5FECBE28DF}" dt="2023-08-08T13:54:33.251" v="4254" actId="1038"/>
          <ac:spMkLst>
            <pc:docMk/>
            <pc:sldMk cId="3501663959" sldId="2147479688"/>
            <ac:spMk id="97" creationId="{94C4CF30-1F33-D9FD-B42C-6D0A0E6C2492}"/>
          </ac:spMkLst>
        </pc:spChg>
        <pc:grpChg chg="add del mod">
          <ac:chgData name="Jeffrey Obi" userId="488f269d-1fa2-455e-bf95-7695136a100d" providerId="ADAL" clId="{0614888A-C273-4FFA-BC41-2B5FECBE28DF}" dt="2023-08-08T13:45:15.129" v="3984"/>
          <ac:grpSpMkLst>
            <pc:docMk/>
            <pc:sldMk cId="3501663959" sldId="2147479688"/>
            <ac:grpSpMk id="21" creationId="{559A20C2-4A76-B7F9-2DE9-AEE8F6A2E2F6}"/>
          </ac:grpSpMkLst>
        </pc:grpChg>
        <pc:grpChg chg="mod">
          <ac:chgData name="Jeffrey Obi" userId="488f269d-1fa2-455e-bf95-7695136a100d" providerId="ADAL" clId="{0614888A-C273-4FFA-BC41-2B5FECBE28DF}" dt="2023-08-10T11:01:15.766" v="4311" actId="1076"/>
          <ac:grpSpMkLst>
            <pc:docMk/>
            <pc:sldMk cId="3501663959" sldId="2147479688"/>
            <ac:grpSpMk id="25" creationId="{9769B5A9-4389-6C76-9AE9-D753D278DED7}"/>
          </ac:grpSpMkLst>
        </pc:grpChg>
        <pc:grpChg chg="mod">
          <ac:chgData name="Jeffrey Obi" userId="488f269d-1fa2-455e-bf95-7695136a100d" providerId="ADAL" clId="{0614888A-C273-4FFA-BC41-2B5FECBE28DF}" dt="2023-08-11T09:42:46.100" v="7302" actId="14826"/>
          <ac:grpSpMkLst>
            <pc:docMk/>
            <pc:sldMk cId="3501663959" sldId="2147479688"/>
            <ac:grpSpMk id="39" creationId="{544E2040-489A-A50C-0FCF-A262F88EC753}"/>
          </ac:grpSpMkLst>
        </pc:grpChg>
        <pc:grpChg chg="mod">
          <ac:chgData name="Jeffrey Obi" userId="488f269d-1fa2-455e-bf95-7695136a100d" providerId="ADAL" clId="{0614888A-C273-4FFA-BC41-2B5FECBE28DF}" dt="2023-08-11T09:42:46.100" v="7302" actId="14826"/>
          <ac:grpSpMkLst>
            <pc:docMk/>
            <pc:sldMk cId="3501663959" sldId="2147479688"/>
            <ac:grpSpMk id="40" creationId="{625F8C84-07B0-DBAA-1BA2-3B5A3E790EB1}"/>
          </ac:grpSpMkLst>
        </pc:grpChg>
        <pc:grpChg chg="mod">
          <ac:chgData name="Jeffrey Obi" userId="488f269d-1fa2-455e-bf95-7695136a100d" providerId="ADAL" clId="{0614888A-C273-4FFA-BC41-2B5FECBE28DF}" dt="2023-08-10T13:24:54.782" v="5227" actId="1076"/>
          <ac:grpSpMkLst>
            <pc:docMk/>
            <pc:sldMk cId="3501663959" sldId="2147479688"/>
            <ac:grpSpMk id="60" creationId="{71F3B364-1CC1-2F7A-266F-B96EB6D69675}"/>
          </ac:grpSpMkLst>
        </pc:grpChg>
        <pc:grpChg chg="mod">
          <ac:chgData name="Jeffrey Obi" userId="488f269d-1fa2-455e-bf95-7695136a100d" providerId="ADAL" clId="{0614888A-C273-4FFA-BC41-2B5FECBE28DF}" dt="2023-08-10T13:24:54.782" v="5227" actId="1076"/>
          <ac:grpSpMkLst>
            <pc:docMk/>
            <pc:sldMk cId="3501663959" sldId="2147479688"/>
            <ac:grpSpMk id="64" creationId="{05AB49D7-CF56-8081-818F-18AC22C7C9AF}"/>
          </ac:grpSpMkLst>
        </pc:grpChg>
        <pc:grpChg chg="add del mod">
          <ac:chgData name="Jeffrey Obi" userId="488f269d-1fa2-455e-bf95-7695136a100d" providerId="ADAL" clId="{0614888A-C273-4FFA-BC41-2B5FECBE28DF}" dt="2023-08-08T13:45:15.129" v="3984"/>
          <ac:grpSpMkLst>
            <pc:docMk/>
            <pc:sldMk cId="3501663959" sldId="2147479688"/>
            <ac:grpSpMk id="65" creationId="{8E704517-533A-EC68-91BD-FB2504CE0C23}"/>
          </ac:grpSpMkLst>
        </pc:grpChg>
        <pc:grpChg chg="add del mod">
          <ac:chgData name="Jeffrey Obi" userId="488f269d-1fa2-455e-bf95-7695136a100d" providerId="ADAL" clId="{0614888A-C273-4FFA-BC41-2B5FECBE28DF}" dt="2023-08-08T13:45:15.129" v="3984"/>
          <ac:grpSpMkLst>
            <pc:docMk/>
            <pc:sldMk cId="3501663959" sldId="2147479688"/>
            <ac:grpSpMk id="69" creationId="{C81D29F8-9D1A-0D27-5976-EB16B7BC9A6A}"/>
          </ac:grpSpMkLst>
        </pc:grpChg>
        <pc:grpChg chg="add del mod">
          <ac:chgData name="Jeffrey Obi" userId="488f269d-1fa2-455e-bf95-7695136a100d" providerId="ADAL" clId="{0614888A-C273-4FFA-BC41-2B5FECBE28DF}" dt="2023-08-08T13:45:15.129" v="3984"/>
          <ac:grpSpMkLst>
            <pc:docMk/>
            <pc:sldMk cId="3501663959" sldId="2147479688"/>
            <ac:grpSpMk id="76" creationId="{86D1532A-0C56-6F56-12E1-6A09F71B189C}"/>
          </ac:grpSpMkLst>
        </pc:grpChg>
        <pc:grpChg chg="add del mod">
          <ac:chgData name="Jeffrey Obi" userId="488f269d-1fa2-455e-bf95-7695136a100d" providerId="ADAL" clId="{0614888A-C273-4FFA-BC41-2B5FECBE28DF}" dt="2023-08-08T13:45:15.129" v="3984"/>
          <ac:grpSpMkLst>
            <pc:docMk/>
            <pc:sldMk cId="3501663959" sldId="2147479688"/>
            <ac:grpSpMk id="80" creationId="{1E929CC8-3492-147F-33F2-ED68881AD095}"/>
          </ac:grpSpMkLst>
        </pc:grpChg>
        <pc:grpChg chg="add mod">
          <ac:chgData name="Jeffrey Obi" userId="488f269d-1fa2-455e-bf95-7695136a100d" providerId="ADAL" clId="{0614888A-C273-4FFA-BC41-2B5FECBE28DF}" dt="2023-08-08T13:54:33.251" v="4254" actId="1038"/>
          <ac:grpSpMkLst>
            <pc:docMk/>
            <pc:sldMk cId="3501663959" sldId="2147479688"/>
            <ac:grpSpMk id="93" creationId="{0A1BD2C1-22EC-2A83-2DF5-4BE0515C173F}"/>
          </ac:grpSpMkLst>
        </pc:grpChg>
        <pc:picChg chg="mod">
          <ac:chgData name="Jeffrey Obi" userId="488f269d-1fa2-455e-bf95-7695136a100d" providerId="ADAL" clId="{0614888A-C273-4FFA-BC41-2B5FECBE28DF}" dt="2023-08-10T11:01:27.184" v="4312" actId="14826"/>
          <ac:picMkLst>
            <pc:docMk/>
            <pc:sldMk cId="3501663959" sldId="2147479688"/>
            <ac:picMk id="28" creationId="{21A70F99-AF04-A18D-F46A-4648F6D04C1A}"/>
          </ac:picMkLst>
        </pc:picChg>
        <pc:picChg chg="mod">
          <ac:chgData name="Jeffrey Obi" userId="488f269d-1fa2-455e-bf95-7695136a100d" providerId="ADAL" clId="{0614888A-C273-4FFA-BC41-2B5FECBE28DF}" dt="2023-08-11T09:42:46.100" v="7302" actId="14826"/>
          <ac:picMkLst>
            <pc:docMk/>
            <pc:sldMk cId="3501663959" sldId="2147479688"/>
            <ac:picMk id="41" creationId="{9F8F1AC8-8DA5-E8B8-1A15-66E2C50AC4A6}"/>
          </ac:picMkLst>
        </pc:picChg>
        <pc:picChg chg="mod">
          <ac:chgData name="Jeffrey Obi" userId="488f269d-1fa2-455e-bf95-7695136a100d" providerId="ADAL" clId="{0614888A-C273-4FFA-BC41-2B5FECBE28DF}" dt="2023-08-08T13:44:50.817" v="3979"/>
          <ac:picMkLst>
            <pc:docMk/>
            <pc:sldMk cId="3501663959" sldId="2147479688"/>
            <ac:picMk id="64" creationId="{1CC75793-1CD1-9455-FCDC-D0F941120392}"/>
          </ac:picMkLst>
        </pc:picChg>
        <pc:picChg chg="mod">
          <ac:chgData name="Jeffrey Obi" userId="488f269d-1fa2-455e-bf95-7695136a100d" providerId="ADAL" clId="{0614888A-C273-4FFA-BC41-2B5FECBE28DF}" dt="2023-08-10T13:24:54.782" v="5227" actId="1076"/>
          <ac:picMkLst>
            <pc:docMk/>
            <pc:sldMk cId="3501663959" sldId="2147479688"/>
            <ac:picMk id="65" creationId="{A7535F15-D989-F0E1-2AAA-A758591BD62A}"/>
          </ac:picMkLst>
        </pc:picChg>
        <pc:picChg chg="mod">
          <ac:chgData name="Jeffrey Obi" userId="488f269d-1fa2-455e-bf95-7695136a100d" providerId="ADAL" clId="{0614888A-C273-4FFA-BC41-2B5FECBE28DF}" dt="2023-08-08T13:44:50.817" v="3979"/>
          <ac:picMkLst>
            <pc:docMk/>
            <pc:sldMk cId="3501663959" sldId="2147479688"/>
            <ac:picMk id="68" creationId="{7EBCA35F-9F36-E2F4-AF29-5F58666B368E}"/>
          </ac:picMkLst>
        </pc:picChg>
        <pc:picChg chg="add del mod">
          <ac:chgData name="Jeffrey Obi" userId="488f269d-1fa2-455e-bf95-7695136a100d" providerId="ADAL" clId="{0614888A-C273-4FFA-BC41-2B5FECBE28DF}" dt="2023-08-10T11:02:00.795" v="4319" actId="478"/>
          <ac:picMkLst>
            <pc:docMk/>
            <pc:sldMk cId="3501663959" sldId="2147479688"/>
            <ac:picMk id="68" creationId="{BF7D1519-8F19-D720-FFAE-A1F4A02CD07F}"/>
          </ac:picMkLst>
        </pc:picChg>
        <pc:picChg chg="mod">
          <ac:chgData name="Jeffrey Obi" userId="488f269d-1fa2-455e-bf95-7695136a100d" providerId="ADAL" clId="{0614888A-C273-4FFA-BC41-2B5FECBE28DF}" dt="2023-08-08T13:44:50.817" v="3979"/>
          <ac:picMkLst>
            <pc:docMk/>
            <pc:sldMk cId="3501663959" sldId="2147479688"/>
            <ac:picMk id="72" creationId="{02F679CC-D638-BC7F-B58E-7792AD35C4DB}"/>
          </ac:picMkLst>
        </pc:picChg>
        <pc:picChg chg="mod">
          <ac:chgData name="Jeffrey Obi" userId="488f269d-1fa2-455e-bf95-7695136a100d" providerId="ADAL" clId="{0614888A-C273-4FFA-BC41-2B5FECBE28DF}" dt="2023-08-08T13:44:50.817" v="3979"/>
          <ac:picMkLst>
            <pc:docMk/>
            <pc:sldMk cId="3501663959" sldId="2147479688"/>
            <ac:picMk id="79" creationId="{492DE99F-F985-A6D1-2EFB-39EEB43B0CC9}"/>
          </ac:picMkLst>
        </pc:picChg>
        <pc:picChg chg="mod">
          <ac:chgData name="Jeffrey Obi" userId="488f269d-1fa2-455e-bf95-7695136a100d" providerId="ADAL" clId="{0614888A-C273-4FFA-BC41-2B5FECBE28DF}" dt="2023-08-08T13:44:50.817" v="3979"/>
          <ac:picMkLst>
            <pc:docMk/>
            <pc:sldMk cId="3501663959" sldId="2147479688"/>
            <ac:picMk id="83" creationId="{8DD15075-3D37-916E-2536-C3BFC2E6C376}"/>
          </ac:picMkLst>
        </pc:picChg>
        <pc:picChg chg="mod">
          <ac:chgData name="Jeffrey Obi" userId="488f269d-1fa2-455e-bf95-7695136a100d" providerId="ADAL" clId="{0614888A-C273-4FFA-BC41-2B5FECBE28DF}" dt="2023-08-08T13:51:41.059" v="4190"/>
          <ac:picMkLst>
            <pc:docMk/>
            <pc:sldMk cId="3501663959" sldId="2147479688"/>
            <ac:picMk id="96" creationId="{435E3EE9-CD79-128A-4BCF-6DF9DD49745D}"/>
          </ac:picMkLst>
        </pc:picChg>
        <pc:picChg chg="add del mod">
          <ac:chgData name="Jeffrey Obi" userId="488f269d-1fa2-455e-bf95-7695136a100d" providerId="ADAL" clId="{0614888A-C273-4FFA-BC41-2B5FECBE28DF}" dt="2023-08-10T13:19:09.585" v="5104" actId="478"/>
          <ac:picMkLst>
            <pc:docMk/>
            <pc:sldMk cId="3501663959" sldId="2147479688"/>
            <ac:picMk id="1026" creationId="{C61367CE-545F-7378-1F13-EB2B00998AF5}"/>
          </ac:picMkLst>
        </pc:picChg>
        <pc:picChg chg="add del mod">
          <ac:chgData name="Jeffrey Obi" userId="488f269d-1fa2-455e-bf95-7695136a100d" providerId="ADAL" clId="{0614888A-C273-4FFA-BC41-2B5FECBE28DF}" dt="2023-08-10T15:15:53.402" v="6609" actId="21"/>
          <ac:picMkLst>
            <pc:docMk/>
            <pc:sldMk cId="3501663959" sldId="2147479688"/>
            <ac:picMk id="1028" creationId="{F12C9F6C-26CC-F606-A26E-94A52C421D8F}"/>
          </ac:picMkLst>
        </pc:picChg>
        <pc:cxnChg chg="mod">
          <ac:chgData name="Jeffrey Obi" userId="488f269d-1fa2-455e-bf95-7695136a100d" providerId="ADAL" clId="{0614888A-C273-4FFA-BC41-2B5FECBE28DF}" dt="2023-08-03T16:43:58.215" v="16" actId="208"/>
          <ac:cxnSpMkLst>
            <pc:docMk/>
            <pc:sldMk cId="3501663959" sldId="2147479688"/>
            <ac:cxnSpMk id="54" creationId="{453C381D-189F-38E0-62F9-0520FEB0224D}"/>
          </ac:cxnSpMkLst>
        </pc:cxnChg>
        <pc:cxnChg chg="mod">
          <ac:chgData name="Jeffrey Obi" userId="488f269d-1fa2-455e-bf95-7695136a100d" providerId="ADAL" clId="{0614888A-C273-4FFA-BC41-2B5FECBE28DF}" dt="2023-08-03T16:43:52.352" v="15" actId="208"/>
          <ac:cxnSpMkLst>
            <pc:docMk/>
            <pc:sldMk cId="3501663959" sldId="2147479688"/>
            <ac:cxnSpMk id="55" creationId="{B8371244-1FE4-A6EF-A202-CC7DE77364A1}"/>
          </ac:cxnSpMkLst>
        </pc:cxnChg>
        <pc:cxnChg chg="add del mod">
          <ac:chgData name="Jeffrey Obi" userId="488f269d-1fa2-455e-bf95-7695136a100d" providerId="ADAL" clId="{0614888A-C273-4FFA-BC41-2B5FECBE28DF}" dt="2023-08-08T13:45:15.129" v="3984"/>
          <ac:cxnSpMkLst>
            <pc:docMk/>
            <pc:sldMk cId="3501663959" sldId="2147479688"/>
            <ac:cxnSpMk id="75" creationId="{E09DA667-77B9-D33A-5679-6BAD0B78FEC2}"/>
          </ac:cxnSpMkLst>
        </pc:cxnChg>
        <pc:cxnChg chg="add del mod">
          <ac:chgData name="Jeffrey Obi" userId="488f269d-1fa2-455e-bf95-7695136a100d" providerId="ADAL" clId="{0614888A-C273-4FFA-BC41-2B5FECBE28DF}" dt="2023-08-08T13:45:15.129" v="3984"/>
          <ac:cxnSpMkLst>
            <pc:docMk/>
            <pc:sldMk cId="3501663959" sldId="2147479688"/>
            <ac:cxnSpMk id="84" creationId="{63E63CF7-FB0C-6D40-1FA8-7E5B125B1851}"/>
          </ac:cxnSpMkLst>
        </pc:cxnChg>
        <pc:cxnChg chg="add del mod">
          <ac:chgData name="Jeffrey Obi" userId="488f269d-1fa2-455e-bf95-7695136a100d" providerId="ADAL" clId="{0614888A-C273-4FFA-BC41-2B5FECBE28DF}" dt="2023-08-08T13:45:15.129" v="3984"/>
          <ac:cxnSpMkLst>
            <pc:docMk/>
            <pc:sldMk cId="3501663959" sldId="2147479688"/>
            <ac:cxnSpMk id="85" creationId="{CFE141E5-09E0-F796-B6DF-1051EF325172}"/>
          </ac:cxnSpMkLst>
        </pc:cxnChg>
      </pc:sldChg>
      <pc:sldChg chg="addSp delSp modSp mod">
        <pc:chgData name="Jeffrey Obi" userId="488f269d-1fa2-455e-bf95-7695136a100d" providerId="ADAL" clId="{0614888A-C273-4FFA-BC41-2B5FECBE28DF}" dt="2023-08-11T09:43:59.774" v="7383" actId="20577"/>
        <pc:sldMkLst>
          <pc:docMk/>
          <pc:sldMk cId="401458886" sldId="2147479689"/>
        </pc:sldMkLst>
        <pc:spChg chg="del mod">
          <ac:chgData name="Jeffrey Obi" userId="488f269d-1fa2-455e-bf95-7695136a100d" providerId="ADAL" clId="{0614888A-C273-4FFA-BC41-2B5FECBE28DF}" dt="2023-08-03T16:44:44.366" v="23" actId="478"/>
          <ac:spMkLst>
            <pc:docMk/>
            <pc:sldMk cId="401458886" sldId="2147479689"/>
            <ac:spMk id="2" creationId="{4ABB2EA0-0377-4234-2FAE-33FB4DD2931F}"/>
          </ac:spMkLst>
        </pc:spChg>
        <pc:spChg chg="del">
          <ac:chgData name="Jeffrey Obi" userId="488f269d-1fa2-455e-bf95-7695136a100d" providerId="ADAL" clId="{0614888A-C273-4FFA-BC41-2B5FECBE28DF}" dt="2023-08-03T16:44:47.497" v="24" actId="478"/>
          <ac:spMkLst>
            <pc:docMk/>
            <pc:sldMk cId="401458886" sldId="2147479689"/>
            <ac:spMk id="3" creationId="{E45D006A-FD5C-481C-484E-4641C0A5CC99}"/>
          </ac:spMkLst>
        </pc:spChg>
        <pc:spChg chg="del mod">
          <ac:chgData name="Jeffrey Obi" userId="488f269d-1fa2-455e-bf95-7695136a100d" providerId="ADAL" clId="{0614888A-C273-4FFA-BC41-2B5FECBE28DF}" dt="2023-08-03T16:44:54.215" v="26" actId="478"/>
          <ac:spMkLst>
            <pc:docMk/>
            <pc:sldMk cId="401458886" sldId="2147479689"/>
            <ac:spMk id="4" creationId="{98C747E5-38CE-2D6A-1039-98B3C60A5704}"/>
          </ac:spMkLst>
        </pc:spChg>
        <pc:spChg chg="add mod">
          <ac:chgData name="Jeffrey Obi" userId="488f269d-1fa2-455e-bf95-7695136a100d" providerId="ADAL" clId="{0614888A-C273-4FFA-BC41-2B5FECBE28DF}" dt="2023-08-03T17:43:04.661" v="669"/>
          <ac:spMkLst>
            <pc:docMk/>
            <pc:sldMk cId="401458886" sldId="2147479689"/>
            <ac:spMk id="6" creationId="{C383BFA9-0F85-D6BA-ADC6-FA6B0F82F5C9}"/>
          </ac:spMkLst>
        </pc:spChg>
        <pc:graphicFrameChg chg="add mod modGraphic">
          <ac:chgData name="Jeffrey Obi" userId="488f269d-1fa2-455e-bf95-7695136a100d" providerId="ADAL" clId="{0614888A-C273-4FFA-BC41-2B5FECBE28DF}" dt="2023-08-11T09:43:59.774" v="7383" actId="20577"/>
          <ac:graphicFrameMkLst>
            <pc:docMk/>
            <pc:sldMk cId="401458886" sldId="2147479689"/>
            <ac:graphicFrameMk id="5" creationId="{EF1C307F-4EFC-B92A-BE15-F3FA5F052439}"/>
          </ac:graphicFrameMkLst>
        </pc:graphicFrameChg>
      </pc:sldChg>
      <pc:sldChg chg="addSp delSp modSp add mod">
        <pc:chgData name="Jeffrey Obi" userId="488f269d-1fa2-455e-bf95-7695136a100d" providerId="ADAL" clId="{0614888A-C273-4FFA-BC41-2B5FECBE28DF}" dt="2023-08-08T13:58:21.824" v="4294" actId="20577"/>
        <pc:sldMkLst>
          <pc:docMk/>
          <pc:sldMk cId="1313391205" sldId="2147479690"/>
        </pc:sldMkLst>
        <pc:spChg chg="mod">
          <ac:chgData name="Jeffrey Obi" userId="488f269d-1fa2-455e-bf95-7695136a100d" providerId="ADAL" clId="{0614888A-C273-4FFA-BC41-2B5FECBE28DF}" dt="2023-08-08T12:33:29.413" v="1717" actId="1036"/>
          <ac:spMkLst>
            <pc:docMk/>
            <pc:sldMk cId="1313391205" sldId="2147479690"/>
            <ac:spMk id="5" creationId="{BDE47C88-9E3C-4980-C403-263854BB37E2}"/>
          </ac:spMkLst>
        </pc:spChg>
        <pc:spChg chg="mod">
          <ac:chgData name="Jeffrey Obi" userId="488f269d-1fa2-455e-bf95-7695136a100d" providerId="ADAL" clId="{0614888A-C273-4FFA-BC41-2B5FECBE28DF}" dt="2023-08-08T12:12:59.546" v="985"/>
          <ac:spMkLst>
            <pc:docMk/>
            <pc:sldMk cId="1313391205" sldId="2147479690"/>
            <ac:spMk id="8" creationId="{CF4624E7-2012-177F-42FD-075B529C96E2}"/>
          </ac:spMkLst>
        </pc:spChg>
        <pc:spChg chg="mod">
          <ac:chgData name="Jeffrey Obi" userId="488f269d-1fa2-455e-bf95-7695136a100d" providerId="ADAL" clId="{0614888A-C273-4FFA-BC41-2B5FECBE28DF}" dt="2023-08-08T12:28:34.185" v="1439" actId="20577"/>
          <ac:spMkLst>
            <pc:docMk/>
            <pc:sldMk cId="1313391205" sldId="2147479690"/>
            <ac:spMk id="9" creationId="{DAF26290-6595-85BF-EBDA-ECDB1152DE27}"/>
          </ac:spMkLst>
        </pc:spChg>
        <pc:spChg chg="mod">
          <ac:chgData name="Jeffrey Obi" userId="488f269d-1fa2-455e-bf95-7695136a100d" providerId="ADAL" clId="{0614888A-C273-4FFA-BC41-2B5FECBE28DF}" dt="2023-08-08T12:59:47.494" v="3288" actId="20577"/>
          <ac:spMkLst>
            <pc:docMk/>
            <pc:sldMk cId="1313391205" sldId="2147479690"/>
            <ac:spMk id="10" creationId="{A9930A43-D411-994C-F0E8-7D9582857EF9}"/>
          </ac:spMkLst>
        </pc:spChg>
        <pc:spChg chg="mod">
          <ac:chgData name="Jeffrey Obi" userId="488f269d-1fa2-455e-bf95-7695136a100d" providerId="ADAL" clId="{0614888A-C273-4FFA-BC41-2B5FECBE28DF}" dt="2023-08-08T13:58:21.824" v="4294" actId="20577"/>
          <ac:spMkLst>
            <pc:docMk/>
            <pc:sldMk cId="1313391205" sldId="2147479690"/>
            <ac:spMk id="12" creationId="{213C6BCD-69D2-90ED-2BC4-196EF5E3F298}"/>
          </ac:spMkLst>
        </pc:spChg>
        <pc:spChg chg="mod">
          <ac:chgData name="Jeffrey Obi" userId="488f269d-1fa2-455e-bf95-7695136a100d" providerId="ADAL" clId="{0614888A-C273-4FFA-BC41-2B5FECBE28DF}" dt="2023-08-08T12:11:16.271" v="965" actId="313"/>
          <ac:spMkLst>
            <pc:docMk/>
            <pc:sldMk cId="1313391205" sldId="2147479690"/>
            <ac:spMk id="20" creationId="{71597D73-FC0D-0F7C-BC32-B2FA32899DF9}"/>
          </ac:spMkLst>
        </pc:spChg>
        <pc:spChg chg="mod">
          <ac:chgData name="Jeffrey Obi" userId="488f269d-1fa2-455e-bf95-7695136a100d" providerId="ADAL" clId="{0614888A-C273-4FFA-BC41-2B5FECBE28DF}" dt="2023-08-08T12:10:33.234" v="899" actId="20577"/>
          <ac:spMkLst>
            <pc:docMk/>
            <pc:sldMk cId="1313391205" sldId="2147479690"/>
            <ac:spMk id="22" creationId="{9A4AB788-397F-A777-536A-71E510E11985}"/>
          </ac:spMkLst>
        </pc:spChg>
        <pc:spChg chg="mod">
          <ac:chgData name="Jeffrey Obi" userId="488f269d-1fa2-455e-bf95-7695136a100d" providerId="ADAL" clId="{0614888A-C273-4FFA-BC41-2B5FECBE28DF}" dt="2023-08-08T12:25:04.617" v="1107" actId="20577"/>
          <ac:spMkLst>
            <pc:docMk/>
            <pc:sldMk cId="1313391205" sldId="2147479690"/>
            <ac:spMk id="28" creationId="{3C2A5434-720E-4AA9-21BF-0B0E8A76CA06}"/>
          </ac:spMkLst>
        </pc:spChg>
        <pc:picChg chg="del mod">
          <ac:chgData name="Jeffrey Obi" userId="488f269d-1fa2-455e-bf95-7695136a100d" providerId="ADAL" clId="{0614888A-C273-4FFA-BC41-2B5FECBE28DF}" dt="2023-08-08T12:08:45.526" v="868" actId="478"/>
          <ac:picMkLst>
            <pc:docMk/>
            <pc:sldMk cId="1313391205" sldId="2147479690"/>
            <ac:picMk id="2" creationId="{F0859722-F918-7541-2398-E001E7EF6CB0}"/>
          </ac:picMkLst>
        </pc:picChg>
        <pc:picChg chg="add mod">
          <ac:chgData name="Jeffrey Obi" userId="488f269d-1fa2-455e-bf95-7695136a100d" providerId="ADAL" clId="{0614888A-C273-4FFA-BC41-2B5FECBE28DF}" dt="2023-08-08T12:10:01.046" v="870" actId="1076"/>
          <ac:picMkLst>
            <pc:docMk/>
            <pc:sldMk cId="1313391205" sldId="2147479690"/>
            <ac:picMk id="3" creationId="{764C1F73-E411-D8B4-6F5A-2CA0BFBB886C}"/>
          </ac:picMkLst>
        </pc:picChg>
      </pc:sldChg>
      <pc:sldChg chg="addSp delSp modSp new del mod">
        <pc:chgData name="Jeffrey Obi" userId="488f269d-1fa2-455e-bf95-7695136a100d" providerId="ADAL" clId="{0614888A-C273-4FFA-BC41-2B5FECBE28DF}" dt="2023-08-08T13:57:24.305" v="4256" actId="2696"/>
        <pc:sldMkLst>
          <pc:docMk/>
          <pc:sldMk cId="3322322367" sldId="2147479691"/>
        </pc:sldMkLst>
        <pc:spChg chg="del mod">
          <ac:chgData name="Jeffrey Obi" userId="488f269d-1fa2-455e-bf95-7695136a100d" providerId="ADAL" clId="{0614888A-C273-4FFA-BC41-2B5FECBE28DF}" dt="2023-08-08T13:45:55.193" v="3990" actId="478"/>
          <ac:spMkLst>
            <pc:docMk/>
            <pc:sldMk cId="3322322367" sldId="2147479691"/>
            <ac:spMk id="2" creationId="{77B3A575-64B4-F887-3170-0B86E571AD94}"/>
          </ac:spMkLst>
        </pc:spChg>
        <pc:spChg chg="del">
          <ac:chgData name="Jeffrey Obi" userId="488f269d-1fa2-455e-bf95-7695136a100d" providerId="ADAL" clId="{0614888A-C273-4FFA-BC41-2B5FECBE28DF}" dt="2023-08-08T13:45:58.898" v="3991" actId="478"/>
          <ac:spMkLst>
            <pc:docMk/>
            <pc:sldMk cId="3322322367" sldId="2147479691"/>
            <ac:spMk id="3" creationId="{68EE1F00-C6EB-6E43-40E5-EEE17898916A}"/>
          </ac:spMkLst>
        </pc:spChg>
        <pc:spChg chg="mod">
          <ac:chgData name="Jeffrey Obi" userId="488f269d-1fa2-455e-bf95-7695136a100d" providerId="ADAL" clId="{0614888A-C273-4FFA-BC41-2B5FECBE28DF}" dt="2023-08-08T13:46:01.547" v="3992"/>
          <ac:spMkLst>
            <pc:docMk/>
            <pc:sldMk cId="3322322367" sldId="2147479691"/>
            <ac:spMk id="6" creationId="{E17BF622-73B3-41E9-5110-1CE991FCA0DC}"/>
          </ac:spMkLst>
        </pc:spChg>
        <pc:spChg chg="mod">
          <ac:chgData name="Jeffrey Obi" userId="488f269d-1fa2-455e-bf95-7695136a100d" providerId="ADAL" clId="{0614888A-C273-4FFA-BC41-2B5FECBE28DF}" dt="2023-08-08T13:46:01.547" v="3992"/>
          <ac:spMkLst>
            <pc:docMk/>
            <pc:sldMk cId="3322322367" sldId="2147479691"/>
            <ac:spMk id="7" creationId="{31561F68-37CC-3D2F-8F91-6D386924B52A}"/>
          </ac:spMkLst>
        </pc:spChg>
        <pc:spChg chg="mod">
          <ac:chgData name="Jeffrey Obi" userId="488f269d-1fa2-455e-bf95-7695136a100d" providerId="ADAL" clId="{0614888A-C273-4FFA-BC41-2B5FECBE28DF}" dt="2023-08-08T13:46:01.547" v="3992"/>
          <ac:spMkLst>
            <pc:docMk/>
            <pc:sldMk cId="3322322367" sldId="2147479691"/>
            <ac:spMk id="10" creationId="{FAD33BDC-563D-202C-B517-206B5ACEC0F4}"/>
          </ac:spMkLst>
        </pc:spChg>
        <pc:spChg chg="mod">
          <ac:chgData name="Jeffrey Obi" userId="488f269d-1fa2-455e-bf95-7695136a100d" providerId="ADAL" clId="{0614888A-C273-4FFA-BC41-2B5FECBE28DF}" dt="2023-08-08T13:46:01.547" v="3992"/>
          <ac:spMkLst>
            <pc:docMk/>
            <pc:sldMk cId="3322322367" sldId="2147479691"/>
            <ac:spMk id="11" creationId="{C87EC7C8-2050-6C1D-A55E-58AC45B91EDD}"/>
          </ac:spMkLst>
        </pc:spChg>
        <pc:spChg chg="mod">
          <ac:chgData name="Jeffrey Obi" userId="488f269d-1fa2-455e-bf95-7695136a100d" providerId="ADAL" clId="{0614888A-C273-4FFA-BC41-2B5FECBE28DF}" dt="2023-08-08T13:46:01.547" v="3992"/>
          <ac:spMkLst>
            <pc:docMk/>
            <pc:sldMk cId="3322322367" sldId="2147479691"/>
            <ac:spMk id="14" creationId="{22B2706A-7A21-6C67-8F2F-625041671C6C}"/>
          </ac:spMkLst>
        </pc:spChg>
        <pc:spChg chg="mod">
          <ac:chgData name="Jeffrey Obi" userId="488f269d-1fa2-455e-bf95-7695136a100d" providerId="ADAL" clId="{0614888A-C273-4FFA-BC41-2B5FECBE28DF}" dt="2023-08-08T13:46:01.547" v="3992"/>
          <ac:spMkLst>
            <pc:docMk/>
            <pc:sldMk cId="3322322367" sldId="2147479691"/>
            <ac:spMk id="15" creationId="{5FAC8A92-F545-EBA4-289B-5F265E7A1C00}"/>
          </ac:spMkLst>
        </pc:spChg>
        <pc:spChg chg="add mod">
          <ac:chgData name="Jeffrey Obi" userId="488f269d-1fa2-455e-bf95-7695136a100d" providerId="ADAL" clId="{0614888A-C273-4FFA-BC41-2B5FECBE28DF}" dt="2023-08-08T13:46:21.953" v="3995" actId="14100"/>
          <ac:spMkLst>
            <pc:docMk/>
            <pc:sldMk cId="3322322367" sldId="2147479691"/>
            <ac:spMk id="17" creationId="{EC048812-C6E4-DF7C-7008-A6B638E36BE3}"/>
          </ac:spMkLst>
        </pc:spChg>
        <pc:spChg chg="add mod">
          <ac:chgData name="Jeffrey Obi" userId="488f269d-1fa2-455e-bf95-7695136a100d" providerId="ADAL" clId="{0614888A-C273-4FFA-BC41-2B5FECBE28DF}" dt="2023-08-08T13:50:43.985" v="4188" actId="1076"/>
          <ac:spMkLst>
            <pc:docMk/>
            <pc:sldMk cId="3322322367" sldId="2147479691"/>
            <ac:spMk id="18" creationId="{A8127CE6-240D-E13F-23A0-D3D3FCF80178}"/>
          </ac:spMkLst>
        </pc:spChg>
        <pc:spChg chg="mod">
          <ac:chgData name="Jeffrey Obi" userId="488f269d-1fa2-455e-bf95-7695136a100d" providerId="ADAL" clId="{0614888A-C273-4FFA-BC41-2B5FECBE28DF}" dt="2023-08-08T13:48:58.159" v="4130" actId="20577"/>
          <ac:spMkLst>
            <pc:docMk/>
            <pc:sldMk cId="3322322367" sldId="2147479691"/>
            <ac:spMk id="20" creationId="{9C73E7ED-56A4-F832-89CC-8AE0E2EA80B1}"/>
          </ac:spMkLst>
        </pc:spChg>
        <pc:spChg chg="mod">
          <ac:chgData name="Jeffrey Obi" userId="488f269d-1fa2-455e-bf95-7695136a100d" providerId="ADAL" clId="{0614888A-C273-4FFA-BC41-2B5FECBE28DF}" dt="2023-08-08T13:48:39.446" v="4103" actId="20577"/>
          <ac:spMkLst>
            <pc:docMk/>
            <pc:sldMk cId="3322322367" sldId="2147479691"/>
            <ac:spMk id="21" creationId="{35DE495F-D256-E7E2-24F0-97B750B1440C}"/>
          </ac:spMkLst>
        </pc:spChg>
        <pc:spChg chg="mod">
          <ac:chgData name="Jeffrey Obi" userId="488f269d-1fa2-455e-bf95-7695136a100d" providerId="ADAL" clId="{0614888A-C273-4FFA-BC41-2B5FECBE28DF}" dt="2023-08-08T13:46:01.547" v="3992"/>
          <ac:spMkLst>
            <pc:docMk/>
            <pc:sldMk cId="3322322367" sldId="2147479691"/>
            <ac:spMk id="24" creationId="{A0A166F1-EE4C-106A-F91F-0497EED72DDA}"/>
          </ac:spMkLst>
        </pc:spChg>
        <pc:spChg chg="mod">
          <ac:chgData name="Jeffrey Obi" userId="488f269d-1fa2-455e-bf95-7695136a100d" providerId="ADAL" clId="{0614888A-C273-4FFA-BC41-2B5FECBE28DF}" dt="2023-08-08T13:46:01.547" v="3992"/>
          <ac:spMkLst>
            <pc:docMk/>
            <pc:sldMk cId="3322322367" sldId="2147479691"/>
            <ac:spMk id="25" creationId="{9A8D3536-CE1A-D5FA-417F-5E7957027A8E}"/>
          </ac:spMkLst>
        </pc:spChg>
        <pc:spChg chg="add del mod">
          <ac:chgData name="Jeffrey Obi" userId="488f269d-1fa2-455e-bf95-7695136a100d" providerId="ADAL" clId="{0614888A-C273-4FFA-BC41-2B5FECBE28DF}" dt="2023-08-08T13:47:20.950" v="4047" actId="478"/>
          <ac:spMkLst>
            <pc:docMk/>
            <pc:sldMk cId="3322322367" sldId="2147479691"/>
            <ac:spMk id="29" creationId="{B89EEC66-5D9F-B386-AE40-351F4C4F0153}"/>
          </ac:spMkLst>
        </pc:spChg>
        <pc:spChg chg="add del mod">
          <ac:chgData name="Jeffrey Obi" userId="488f269d-1fa2-455e-bf95-7695136a100d" providerId="ADAL" clId="{0614888A-C273-4FFA-BC41-2B5FECBE28DF}" dt="2023-08-08T13:47:22.947" v="4048" actId="478"/>
          <ac:spMkLst>
            <pc:docMk/>
            <pc:sldMk cId="3322322367" sldId="2147479691"/>
            <ac:spMk id="30" creationId="{69EB3FFF-E3D9-D945-C843-19EB47CCA76E}"/>
          </ac:spMkLst>
        </pc:spChg>
        <pc:spChg chg="add del mod">
          <ac:chgData name="Jeffrey Obi" userId="488f269d-1fa2-455e-bf95-7695136a100d" providerId="ADAL" clId="{0614888A-C273-4FFA-BC41-2B5FECBE28DF}" dt="2023-08-08T13:47:25.418" v="4050" actId="478"/>
          <ac:spMkLst>
            <pc:docMk/>
            <pc:sldMk cId="3322322367" sldId="2147479691"/>
            <ac:spMk id="31" creationId="{3737B621-FA17-A1B8-DDE1-5E55F6D81C20}"/>
          </ac:spMkLst>
        </pc:spChg>
        <pc:spChg chg="add mod">
          <ac:chgData name="Jeffrey Obi" userId="488f269d-1fa2-455e-bf95-7695136a100d" providerId="ADAL" clId="{0614888A-C273-4FFA-BC41-2B5FECBE28DF}" dt="2023-08-08T13:46:01.547" v="3992"/>
          <ac:spMkLst>
            <pc:docMk/>
            <pc:sldMk cId="3322322367" sldId="2147479691"/>
            <ac:spMk id="32" creationId="{E9C25654-7AB1-AEDF-1100-A3462DAFF00C}"/>
          </ac:spMkLst>
        </pc:spChg>
        <pc:spChg chg="add del mod">
          <ac:chgData name="Jeffrey Obi" userId="488f269d-1fa2-455e-bf95-7695136a100d" providerId="ADAL" clId="{0614888A-C273-4FFA-BC41-2B5FECBE28DF}" dt="2023-08-08T13:48:10.565" v="4063" actId="478"/>
          <ac:spMkLst>
            <pc:docMk/>
            <pc:sldMk cId="3322322367" sldId="2147479691"/>
            <ac:spMk id="33" creationId="{3F06C673-F398-25ED-4CBA-67CC0293EC70}"/>
          </ac:spMkLst>
        </pc:spChg>
        <pc:grpChg chg="add del mod">
          <ac:chgData name="Jeffrey Obi" userId="488f269d-1fa2-455e-bf95-7695136a100d" providerId="ADAL" clId="{0614888A-C273-4FFA-BC41-2B5FECBE28DF}" dt="2023-08-08T13:47:10.512" v="4043" actId="478"/>
          <ac:grpSpMkLst>
            <pc:docMk/>
            <pc:sldMk cId="3322322367" sldId="2147479691"/>
            <ac:grpSpMk id="5" creationId="{DB4C900D-4C63-5E8D-5E1D-406B92EEF7E5}"/>
          </ac:grpSpMkLst>
        </pc:grpChg>
        <pc:grpChg chg="add del mod">
          <ac:chgData name="Jeffrey Obi" userId="488f269d-1fa2-455e-bf95-7695136a100d" providerId="ADAL" clId="{0614888A-C273-4FFA-BC41-2B5FECBE28DF}" dt="2023-08-08T13:47:17.904" v="4046" actId="478"/>
          <ac:grpSpMkLst>
            <pc:docMk/>
            <pc:sldMk cId="3322322367" sldId="2147479691"/>
            <ac:grpSpMk id="9" creationId="{755B0712-9FA5-1B5B-966F-05B02977F699}"/>
          </ac:grpSpMkLst>
        </pc:grpChg>
        <pc:grpChg chg="add del mod">
          <ac:chgData name="Jeffrey Obi" userId="488f269d-1fa2-455e-bf95-7695136a100d" providerId="ADAL" clId="{0614888A-C273-4FFA-BC41-2B5FECBE28DF}" dt="2023-08-08T13:46:59.268" v="4039" actId="478"/>
          <ac:grpSpMkLst>
            <pc:docMk/>
            <pc:sldMk cId="3322322367" sldId="2147479691"/>
            <ac:grpSpMk id="13" creationId="{D84E5C6E-4C18-C9B3-EF6F-7968D028FF3D}"/>
          </ac:grpSpMkLst>
        </pc:grpChg>
        <pc:grpChg chg="add mod">
          <ac:chgData name="Jeffrey Obi" userId="488f269d-1fa2-455e-bf95-7695136a100d" providerId="ADAL" clId="{0614888A-C273-4FFA-BC41-2B5FECBE28DF}" dt="2023-08-08T13:46:01.547" v="3992"/>
          <ac:grpSpMkLst>
            <pc:docMk/>
            <pc:sldMk cId="3322322367" sldId="2147479691"/>
            <ac:grpSpMk id="19" creationId="{92FCC659-A3E1-8950-F264-C117D2EC0447}"/>
          </ac:grpSpMkLst>
        </pc:grpChg>
        <pc:grpChg chg="add del mod">
          <ac:chgData name="Jeffrey Obi" userId="488f269d-1fa2-455e-bf95-7695136a100d" providerId="ADAL" clId="{0614888A-C273-4FFA-BC41-2B5FECBE28DF}" dt="2023-08-08T13:47:13.675" v="4044" actId="478"/>
          <ac:grpSpMkLst>
            <pc:docMk/>
            <pc:sldMk cId="3322322367" sldId="2147479691"/>
            <ac:grpSpMk id="23" creationId="{98266D31-39F9-1462-DF9D-ED1FC02FB6DD}"/>
          </ac:grpSpMkLst>
        </pc:grpChg>
        <pc:picChg chg="mod">
          <ac:chgData name="Jeffrey Obi" userId="488f269d-1fa2-455e-bf95-7695136a100d" providerId="ADAL" clId="{0614888A-C273-4FFA-BC41-2B5FECBE28DF}" dt="2023-08-08T13:46:01.547" v="3992"/>
          <ac:picMkLst>
            <pc:docMk/>
            <pc:sldMk cId="3322322367" sldId="2147479691"/>
            <ac:picMk id="8" creationId="{E427E2A2-2E14-BCD8-06C0-B39A86DB6073}"/>
          </ac:picMkLst>
        </pc:picChg>
        <pc:picChg chg="mod">
          <ac:chgData name="Jeffrey Obi" userId="488f269d-1fa2-455e-bf95-7695136a100d" providerId="ADAL" clId="{0614888A-C273-4FFA-BC41-2B5FECBE28DF}" dt="2023-08-08T13:46:01.547" v="3992"/>
          <ac:picMkLst>
            <pc:docMk/>
            <pc:sldMk cId="3322322367" sldId="2147479691"/>
            <ac:picMk id="12" creationId="{0D73F247-9C32-9AA1-8B92-3A7F3B57FBB9}"/>
          </ac:picMkLst>
        </pc:picChg>
        <pc:picChg chg="mod">
          <ac:chgData name="Jeffrey Obi" userId="488f269d-1fa2-455e-bf95-7695136a100d" providerId="ADAL" clId="{0614888A-C273-4FFA-BC41-2B5FECBE28DF}" dt="2023-08-08T13:46:01.547" v="3992"/>
          <ac:picMkLst>
            <pc:docMk/>
            <pc:sldMk cId="3322322367" sldId="2147479691"/>
            <ac:picMk id="16" creationId="{F6D3EA26-3065-1C35-5FC0-FECF7F8FE481}"/>
          </ac:picMkLst>
        </pc:picChg>
        <pc:picChg chg="mod">
          <ac:chgData name="Jeffrey Obi" userId="488f269d-1fa2-455e-bf95-7695136a100d" providerId="ADAL" clId="{0614888A-C273-4FFA-BC41-2B5FECBE28DF}" dt="2023-08-08T13:51:26.367" v="4189" actId="14826"/>
          <ac:picMkLst>
            <pc:docMk/>
            <pc:sldMk cId="3322322367" sldId="2147479691"/>
            <ac:picMk id="22" creationId="{AA59D702-A677-3112-C264-047933B679C0}"/>
          </ac:picMkLst>
        </pc:picChg>
        <pc:picChg chg="mod">
          <ac:chgData name="Jeffrey Obi" userId="488f269d-1fa2-455e-bf95-7695136a100d" providerId="ADAL" clId="{0614888A-C273-4FFA-BC41-2B5FECBE28DF}" dt="2023-08-08T13:46:01.547" v="3992"/>
          <ac:picMkLst>
            <pc:docMk/>
            <pc:sldMk cId="3322322367" sldId="2147479691"/>
            <ac:picMk id="26" creationId="{18020E1E-6EFD-6154-727D-65B7B70895EC}"/>
          </ac:picMkLst>
        </pc:picChg>
        <pc:cxnChg chg="add del mod">
          <ac:chgData name="Jeffrey Obi" userId="488f269d-1fa2-455e-bf95-7695136a100d" providerId="ADAL" clId="{0614888A-C273-4FFA-BC41-2B5FECBE28DF}" dt="2023-08-08T13:47:06.730" v="4042" actId="478"/>
          <ac:cxnSpMkLst>
            <pc:docMk/>
            <pc:sldMk cId="3322322367" sldId="2147479691"/>
            <ac:cxnSpMk id="27" creationId="{BB454D78-57F9-B3F5-9357-9B8AE11B198A}"/>
          </ac:cxnSpMkLst>
        </pc:cxnChg>
        <pc:cxnChg chg="add del mod">
          <ac:chgData name="Jeffrey Obi" userId="488f269d-1fa2-455e-bf95-7695136a100d" providerId="ADAL" clId="{0614888A-C273-4FFA-BC41-2B5FECBE28DF}" dt="2023-08-08T13:47:03.597" v="4041" actId="478"/>
          <ac:cxnSpMkLst>
            <pc:docMk/>
            <pc:sldMk cId="3322322367" sldId="2147479691"/>
            <ac:cxnSpMk id="28" creationId="{F6A77B58-EBDB-F71B-BF9E-6DD0C6992AC4}"/>
          </ac:cxnSpMkLst>
        </pc:cxnChg>
      </pc:sldChg>
      <pc:sldChg chg="addSp delSp modSp add mod">
        <pc:chgData name="Jeffrey Obi" userId="488f269d-1fa2-455e-bf95-7695136a100d" providerId="ADAL" clId="{0614888A-C273-4FFA-BC41-2B5FECBE28DF}" dt="2023-08-10T15:56:27.795" v="6949" actId="20577"/>
        <pc:sldMkLst>
          <pc:docMk/>
          <pc:sldMk cId="864295631" sldId="2147479692"/>
        </pc:sldMkLst>
        <pc:spChg chg="mod">
          <ac:chgData name="Jeffrey Obi" userId="488f269d-1fa2-455e-bf95-7695136a100d" providerId="ADAL" clId="{0614888A-C273-4FFA-BC41-2B5FECBE28DF}" dt="2023-08-10T12:52:29.923" v="4974" actId="2711"/>
          <ac:spMkLst>
            <pc:docMk/>
            <pc:sldMk cId="864295631" sldId="2147479692"/>
            <ac:spMk id="2" creationId="{4C0D5EA6-C599-F45A-0097-6FEC2DF12ED1}"/>
          </ac:spMkLst>
        </pc:spChg>
        <pc:spChg chg="add del mod">
          <ac:chgData name="Jeffrey Obi" userId="488f269d-1fa2-455e-bf95-7695136a100d" providerId="ADAL" clId="{0614888A-C273-4FFA-BC41-2B5FECBE28DF}" dt="2023-08-10T11:52:00.949" v="4888" actId="478"/>
          <ac:spMkLst>
            <pc:docMk/>
            <pc:sldMk cId="864295631" sldId="2147479692"/>
            <ac:spMk id="4" creationId="{2A32BA88-AE7C-6D07-A2F4-E64B4E78FC63}"/>
          </ac:spMkLst>
        </pc:spChg>
        <pc:spChg chg="mod">
          <ac:chgData name="Jeffrey Obi" userId="488f269d-1fa2-455e-bf95-7695136a100d" providerId="ADAL" clId="{0614888A-C273-4FFA-BC41-2B5FECBE28DF}" dt="2023-08-10T12:52:29.923" v="4974" actId="2711"/>
          <ac:spMkLst>
            <pc:docMk/>
            <pc:sldMk cId="864295631" sldId="2147479692"/>
            <ac:spMk id="15" creationId="{0618CDD8-7AF3-4229-B722-4B849071212A}"/>
          </ac:spMkLst>
        </pc:spChg>
        <pc:spChg chg="mod">
          <ac:chgData name="Jeffrey Obi" userId="488f269d-1fa2-455e-bf95-7695136a100d" providerId="ADAL" clId="{0614888A-C273-4FFA-BC41-2B5FECBE28DF}" dt="2023-08-10T12:52:29.923" v="4974" actId="2711"/>
          <ac:spMkLst>
            <pc:docMk/>
            <pc:sldMk cId="864295631" sldId="2147479692"/>
            <ac:spMk id="18" creationId="{7FB0034B-3602-4404-86B3-BD2E635CBFD9}"/>
          </ac:spMkLst>
        </pc:spChg>
        <pc:spChg chg="mod">
          <ac:chgData name="Jeffrey Obi" userId="488f269d-1fa2-455e-bf95-7695136a100d" providerId="ADAL" clId="{0614888A-C273-4FFA-BC41-2B5FECBE28DF}" dt="2023-08-10T12:52:29.923" v="4974" actId="2711"/>
          <ac:spMkLst>
            <pc:docMk/>
            <pc:sldMk cId="864295631" sldId="2147479692"/>
            <ac:spMk id="21" creationId="{014E59DE-9899-4AB4-9565-64D35AE09C49}"/>
          </ac:spMkLst>
        </pc:spChg>
        <pc:spChg chg="mod">
          <ac:chgData name="Jeffrey Obi" userId="488f269d-1fa2-455e-bf95-7695136a100d" providerId="ADAL" clId="{0614888A-C273-4FFA-BC41-2B5FECBE28DF}" dt="2023-08-10T12:52:29.923" v="4974" actId="2711"/>
          <ac:spMkLst>
            <pc:docMk/>
            <pc:sldMk cId="864295631" sldId="2147479692"/>
            <ac:spMk id="25" creationId="{4A4B2E5C-FC9B-4FB8-AA63-8409EA58DDCA}"/>
          </ac:spMkLst>
        </pc:spChg>
        <pc:spChg chg="mod">
          <ac:chgData name="Jeffrey Obi" userId="488f269d-1fa2-455e-bf95-7695136a100d" providerId="ADAL" clId="{0614888A-C273-4FFA-BC41-2B5FECBE28DF}" dt="2023-08-10T15:56:27.795" v="6949" actId="20577"/>
          <ac:spMkLst>
            <pc:docMk/>
            <pc:sldMk cId="864295631" sldId="2147479692"/>
            <ac:spMk id="31" creationId="{49B05FDE-10A0-4673-AF8E-BD272C2B834A}"/>
          </ac:spMkLst>
        </pc:spChg>
        <pc:spChg chg="mod">
          <ac:chgData name="Jeffrey Obi" userId="488f269d-1fa2-455e-bf95-7695136a100d" providerId="ADAL" clId="{0614888A-C273-4FFA-BC41-2B5FECBE28DF}" dt="2023-08-10T12:52:29.923" v="4974" actId="2711"/>
          <ac:spMkLst>
            <pc:docMk/>
            <pc:sldMk cId="864295631" sldId="2147479692"/>
            <ac:spMk id="32" creationId="{E48B5631-7ADE-40FD-8720-06F2A2D74132}"/>
          </ac:spMkLst>
        </pc:spChg>
        <pc:spChg chg="mod">
          <ac:chgData name="Jeffrey Obi" userId="488f269d-1fa2-455e-bf95-7695136a100d" providerId="ADAL" clId="{0614888A-C273-4FFA-BC41-2B5FECBE28DF}" dt="2023-08-10T12:52:29.923" v="4974" actId="2711"/>
          <ac:spMkLst>
            <pc:docMk/>
            <pc:sldMk cId="864295631" sldId="2147479692"/>
            <ac:spMk id="33" creationId="{F4423919-B865-48B0-8331-ECADBFE7D6FE}"/>
          </ac:spMkLst>
        </pc:spChg>
        <pc:spChg chg="mod">
          <ac:chgData name="Jeffrey Obi" userId="488f269d-1fa2-455e-bf95-7695136a100d" providerId="ADAL" clId="{0614888A-C273-4FFA-BC41-2B5FECBE28DF}" dt="2023-08-10T12:52:29.923" v="4974" actId="2711"/>
          <ac:spMkLst>
            <pc:docMk/>
            <pc:sldMk cId="864295631" sldId="2147479692"/>
            <ac:spMk id="34" creationId="{7C76F4C1-7ECE-439D-93FC-E64D8B29B392}"/>
          </ac:spMkLst>
        </pc:spChg>
        <pc:spChg chg="mod">
          <ac:chgData name="Jeffrey Obi" userId="488f269d-1fa2-455e-bf95-7695136a100d" providerId="ADAL" clId="{0614888A-C273-4FFA-BC41-2B5FECBE28DF}" dt="2023-08-10T15:51:29.795" v="6884" actId="1076"/>
          <ac:spMkLst>
            <pc:docMk/>
            <pc:sldMk cId="864295631" sldId="2147479692"/>
            <ac:spMk id="37" creationId="{02FB6310-6D18-4C23-A92B-0CC42809491D}"/>
          </ac:spMkLst>
        </pc:spChg>
        <pc:spChg chg="mod">
          <ac:chgData name="Jeffrey Obi" userId="488f269d-1fa2-455e-bf95-7695136a100d" providerId="ADAL" clId="{0614888A-C273-4FFA-BC41-2B5FECBE28DF}" dt="2023-08-10T12:52:29.923" v="4974" actId="2711"/>
          <ac:spMkLst>
            <pc:docMk/>
            <pc:sldMk cId="864295631" sldId="2147479692"/>
            <ac:spMk id="40" creationId="{FDB73202-AAFA-4398-A29A-83DEEB9F67A5}"/>
          </ac:spMkLst>
        </pc:spChg>
        <pc:spChg chg="mod">
          <ac:chgData name="Jeffrey Obi" userId="488f269d-1fa2-455e-bf95-7695136a100d" providerId="ADAL" clId="{0614888A-C273-4FFA-BC41-2B5FECBE28DF}" dt="2023-08-10T12:52:29.923" v="4974" actId="2711"/>
          <ac:spMkLst>
            <pc:docMk/>
            <pc:sldMk cId="864295631" sldId="2147479692"/>
            <ac:spMk id="48" creationId="{CA51C545-28ED-4B37-9829-ED19C05848DE}"/>
          </ac:spMkLst>
        </pc:spChg>
        <pc:spChg chg="mod">
          <ac:chgData name="Jeffrey Obi" userId="488f269d-1fa2-455e-bf95-7695136a100d" providerId="ADAL" clId="{0614888A-C273-4FFA-BC41-2B5FECBE28DF}" dt="2023-08-10T12:52:29.923" v="4974" actId="2711"/>
          <ac:spMkLst>
            <pc:docMk/>
            <pc:sldMk cId="864295631" sldId="2147479692"/>
            <ac:spMk id="56" creationId="{27AEBF83-7F7A-4DFF-84A0-9767167FE88C}"/>
          </ac:spMkLst>
        </pc:spChg>
        <pc:picChg chg="add mod">
          <ac:chgData name="Jeffrey Obi" userId="488f269d-1fa2-455e-bf95-7695136a100d" providerId="ADAL" clId="{0614888A-C273-4FFA-BC41-2B5FECBE28DF}" dt="2023-08-10T11:13:12.026" v="4399" actId="1076"/>
          <ac:picMkLst>
            <pc:docMk/>
            <pc:sldMk cId="864295631" sldId="2147479692"/>
            <ac:picMk id="3" creationId="{6FF5FA5C-438B-2F2B-7DC6-F94FD33EFA91}"/>
          </ac:picMkLst>
        </pc:picChg>
        <pc:picChg chg="del">
          <ac:chgData name="Jeffrey Obi" userId="488f269d-1fa2-455e-bf95-7695136a100d" providerId="ADAL" clId="{0614888A-C273-4FFA-BC41-2B5FECBE28DF}" dt="2023-08-10T11:12:51.046" v="4398" actId="478"/>
          <ac:picMkLst>
            <pc:docMk/>
            <pc:sldMk cId="864295631" sldId="2147479692"/>
            <ac:picMk id="6" creationId="{9276487C-A754-60D5-42DE-36FA8AA95380}"/>
          </ac:picMkLst>
        </pc:picChg>
      </pc:sldChg>
      <pc:sldChg chg="addSp delSp modSp add mod">
        <pc:chgData name="Jeffrey Obi" userId="488f269d-1fa2-455e-bf95-7695136a100d" providerId="ADAL" clId="{0614888A-C273-4FFA-BC41-2B5FECBE28DF}" dt="2023-08-10T14:01:13.748" v="6599" actId="1076"/>
        <pc:sldMkLst>
          <pc:docMk/>
          <pc:sldMk cId="3766478621" sldId="2147479693"/>
        </pc:sldMkLst>
        <pc:spChg chg="del">
          <ac:chgData name="Jeffrey Obi" userId="488f269d-1fa2-455e-bf95-7695136a100d" providerId="ADAL" clId="{0614888A-C273-4FFA-BC41-2B5FECBE28DF}" dt="2023-08-10T13:51:25.924" v="6513" actId="478"/>
          <ac:spMkLst>
            <pc:docMk/>
            <pc:sldMk cId="3766478621" sldId="2147479693"/>
            <ac:spMk id="2" creationId="{C9C16608-1B9D-B0B2-F186-488B7EDA1B1B}"/>
          </ac:spMkLst>
        </pc:spChg>
        <pc:spChg chg="mod">
          <ac:chgData name="Jeffrey Obi" userId="488f269d-1fa2-455e-bf95-7695136a100d" providerId="ADAL" clId="{0614888A-C273-4FFA-BC41-2B5FECBE28DF}" dt="2023-08-10T13:50:05.376" v="6491" actId="20577"/>
          <ac:spMkLst>
            <pc:docMk/>
            <pc:sldMk cId="3766478621" sldId="2147479693"/>
            <ac:spMk id="10" creationId="{A9930A43-D411-994C-F0E8-7D9582857EF9}"/>
          </ac:spMkLst>
        </pc:spChg>
        <pc:spChg chg="mod">
          <ac:chgData name="Jeffrey Obi" userId="488f269d-1fa2-455e-bf95-7695136a100d" providerId="ADAL" clId="{0614888A-C273-4FFA-BC41-2B5FECBE28DF}" dt="2023-08-10T13:59:12.266" v="6589"/>
          <ac:spMkLst>
            <pc:docMk/>
            <pc:sldMk cId="3766478621" sldId="2147479693"/>
            <ac:spMk id="12" creationId="{213C6BCD-69D2-90ED-2BC4-196EF5E3F298}"/>
          </ac:spMkLst>
        </pc:spChg>
        <pc:spChg chg="mod">
          <ac:chgData name="Jeffrey Obi" userId="488f269d-1fa2-455e-bf95-7695136a100d" providerId="ADAL" clId="{0614888A-C273-4FFA-BC41-2B5FECBE28DF}" dt="2023-08-10T13:51:17.290" v="6512" actId="20577"/>
          <ac:spMkLst>
            <pc:docMk/>
            <pc:sldMk cId="3766478621" sldId="2147479693"/>
            <ac:spMk id="16" creationId="{1EE50A2F-BB66-4023-A19E-4AC1F49CB477}"/>
          </ac:spMkLst>
        </pc:spChg>
        <pc:spChg chg="mod">
          <ac:chgData name="Jeffrey Obi" userId="488f269d-1fa2-455e-bf95-7695136a100d" providerId="ADAL" clId="{0614888A-C273-4FFA-BC41-2B5FECBE28DF}" dt="2023-08-10T13:48:44.057" v="6478" actId="20577"/>
          <ac:spMkLst>
            <pc:docMk/>
            <pc:sldMk cId="3766478621" sldId="2147479693"/>
            <ac:spMk id="20" creationId="{71597D73-FC0D-0F7C-BC32-B2FA32899DF9}"/>
          </ac:spMkLst>
        </pc:spChg>
        <pc:spChg chg="mod">
          <ac:chgData name="Jeffrey Obi" userId="488f269d-1fa2-455e-bf95-7695136a100d" providerId="ADAL" clId="{0614888A-C273-4FFA-BC41-2B5FECBE28DF}" dt="2023-08-10T13:48:20.509" v="6448" actId="14100"/>
          <ac:spMkLst>
            <pc:docMk/>
            <pc:sldMk cId="3766478621" sldId="2147479693"/>
            <ac:spMk id="22" creationId="{9A4AB788-397F-A777-536A-71E510E11985}"/>
          </ac:spMkLst>
        </pc:spChg>
        <pc:spChg chg="mod">
          <ac:chgData name="Jeffrey Obi" userId="488f269d-1fa2-455e-bf95-7695136a100d" providerId="ADAL" clId="{0614888A-C273-4FFA-BC41-2B5FECBE28DF}" dt="2023-08-10T13:50:23.301" v="6503" actId="20577"/>
          <ac:spMkLst>
            <pc:docMk/>
            <pc:sldMk cId="3766478621" sldId="2147479693"/>
            <ac:spMk id="28" creationId="{3C2A5434-720E-4AA9-21BF-0B0E8A76CA06}"/>
          </ac:spMkLst>
        </pc:spChg>
        <pc:picChg chg="del">
          <ac:chgData name="Jeffrey Obi" userId="488f269d-1fa2-455e-bf95-7695136a100d" providerId="ADAL" clId="{0614888A-C273-4FFA-BC41-2B5FECBE28DF}" dt="2023-08-10T13:46:49.620" v="6441" actId="478"/>
          <ac:picMkLst>
            <pc:docMk/>
            <pc:sldMk cId="3766478621" sldId="2147479693"/>
            <ac:picMk id="3" creationId="{915A7E98-6F18-5AE7-833E-17A545E646A7}"/>
          </ac:picMkLst>
        </pc:picChg>
        <pc:picChg chg="add mod">
          <ac:chgData name="Jeffrey Obi" userId="488f269d-1fa2-455e-bf95-7695136a100d" providerId="ADAL" clId="{0614888A-C273-4FFA-BC41-2B5FECBE28DF}" dt="2023-08-10T14:01:13.748" v="6599" actId="1076"/>
          <ac:picMkLst>
            <pc:docMk/>
            <pc:sldMk cId="3766478621" sldId="2147479693"/>
            <ac:picMk id="2050" creationId="{B4808691-42E3-408C-9830-B1E1D2FF461C}"/>
          </ac:picMkLst>
        </pc:picChg>
      </pc:sldChg>
      <pc:sldChg chg="addSp delSp modSp add mod ord modShow">
        <pc:chgData name="Jeffrey Obi" userId="488f269d-1fa2-455e-bf95-7695136a100d" providerId="ADAL" clId="{0614888A-C273-4FFA-BC41-2B5FECBE28DF}" dt="2023-08-14T08:37:04.165" v="9991" actId="20577"/>
        <pc:sldMkLst>
          <pc:docMk/>
          <pc:sldMk cId="4040668140" sldId="2147479694"/>
        </pc:sldMkLst>
        <pc:spChg chg="mod">
          <ac:chgData name="Jeffrey Obi" userId="488f269d-1fa2-455e-bf95-7695136a100d" providerId="ADAL" clId="{0614888A-C273-4FFA-BC41-2B5FECBE28DF}" dt="2023-08-11T08:10:29.033" v="7081" actId="1076"/>
          <ac:spMkLst>
            <pc:docMk/>
            <pc:sldMk cId="4040668140" sldId="2147479694"/>
            <ac:spMk id="8" creationId="{7824D54C-15D2-467C-A016-166944D0781C}"/>
          </ac:spMkLst>
        </pc:spChg>
        <pc:spChg chg="mod">
          <ac:chgData name="Jeffrey Obi" userId="488f269d-1fa2-455e-bf95-7695136a100d" providerId="ADAL" clId="{0614888A-C273-4FFA-BC41-2B5FECBE28DF}" dt="2023-08-11T15:02:40.199" v="9943" actId="20577"/>
          <ac:spMkLst>
            <pc:docMk/>
            <pc:sldMk cId="4040668140" sldId="2147479694"/>
            <ac:spMk id="11" creationId="{9EE04F04-F794-4453-963E-5CFBB6620A43}"/>
          </ac:spMkLst>
        </pc:spChg>
        <pc:spChg chg="mod">
          <ac:chgData name="Jeffrey Obi" userId="488f269d-1fa2-455e-bf95-7695136a100d" providerId="ADAL" clId="{0614888A-C273-4FFA-BC41-2B5FECBE28DF}" dt="2023-08-14T08:37:04.165" v="9991" actId="20577"/>
          <ac:spMkLst>
            <pc:docMk/>
            <pc:sldMk cId="4040668140" sldId="2147479694"/>
            <ac:spMk id="12" creationId="{FB93CF21-DAD5-4B79-9666-F5B05BE3DD14}"/>
          </ac:spMkLst>
        </pc:spChg>
        <pc:spChg chg="mod">
          <ac:chgData name="Jeffrey Obi" userId="488f269d-1fa2-455e-bf95-7695136a100d" providerId="ADAL" clId="{0614888A-C273-4FFA-BC41-2B5FECBE28DF}" dt="2023-08-11T14:49:30.637" v="9707" actId="20577"/>
          <ac:spMkLst>
            <pc:docMk/>
            <pc:sldMk cId="4040668140" sldId="2147479694"/>
            <ac:spMk id="13" creationId="{D642F10C-58A5-4B16-A89B-076AEE9416C7}"/>
          </ac:spMkLst>
        </pc:spChg>
        <pc:picChg chg="del">
          <ac:chgData name="Jeffrey Obi" userId="488f269d-1fa2-455e-bf95-7695136a100d" providerId="ADAL" clId="{0614888A-C273-4FFA-BC41-2B5FECBE28DF}" dt="2023-08-10T21:56:46.040" v="7050" actId="478"/>
          <ac:picMkLst>
            <pc:docMk/>
            <pc:sldMk cId="4040668140" sldId="2147479694"/>
            <ac:picMk id="3" creationId="{C5287439-7A6A-D54D-9BDF-3CC622D472DC}"/>
          </ac:picMkLst>
        </pc:picChg>
        <pc:picChg chg="add del mod">
          <ac:chgData name="Jeffrey Obi" userId="488f269d-1fa2-455e-bf95-7695136a100d" providerId="ADAL" clId="{0614888A-C273-4FFA-BC41-2B5FECBE28DF}" dt="2023-08-11T08:09:53.231" v="7075" actId="478"/>
          <ac:picMkLst>
            <pc:docMk/>
            <pc:sldMk cId="4040668140" sldId="2147479694"/>
            <ac:picMk id="3074" creationId="{1E5F5991-DC15-D63F-E1EE-D3DE3ADEFD62}"/>
          </ac:picMkLst>
        </pc:picChg>
        <pc:picChg chg="add del mod">
          <ac:chgData name="Jeffrey Obi" userId="488f269d-1fa2-455e-bf95-7695136a100d" providerId="ADAL" clId="{0614888A-C273-4FFA-BC41-2B5FECBE28DF}" dt="2023-08-11T08:09:56.281" v="7076" actId="478"/>
          <ac:picMkLst>
            <pc:docMk/>
            <pc:sldMk cId="4040668140" sldId="2147479694"/>
            <ac:picMk id="3076" creationId="{F3466EB1-67EF-FE95-0BAE-51DAC6CBD7EB}"/>
          </ac:picMkLst>
        </pc:picChg>
        <pc:picChg chg="add mod">
          <ac:chgData name="Jeffrey Obi" userId="488f269d-1fa2-455e-bf95-7695136a100d" providerId="ADAL" clId="{0614888A-C273-4FFA-BC41-2B5FECBE28DF}" dt="2023-08-11T08:10:21.654" v="7079" actId="14100"/>
          <ac:picMkLst>
            <pc:docMk/>
            <pc:sldMk cId="4040668140" sldId="2147479694"/>
            <ac:picMk id="3078" creationId="{688354BC-D7CE-103F-2DB3-0BA19A92D4E8}"/>
          </ac:picMkLst>
        </pc:picChg>
      </pc:sldChg>
      <pc:sldChg chg="modSp add mod">
        <pc:chgData name="Jeffrey Obi" userId="488f269d-1fa2-455e-bf95-7695136a100d" providerId="ADAL" clId="{0614888A-C273-4FFA-BC41-2B5FECBE28DF}" dt="2023-08-11T09:41:49.276" v="7300" actId="2711"/>
        <pc:sldMkLst>
          <pc:docMk/>
          <pc:sldMk cId="1380860995" sldId="2147479695"/>
        </pc:sldMkLst>
        <pc:spChg chg="mod">
          <ac:chgData name="Jeffrey Obi" userId="488f269d-1fa2-455e-bf95-7695136a100d" providerId="ADAL" clId="{0614888A-C273-4FFA-BC41-2B5FECBE28DF}" dt="2023-08-11T09:41:49.276" v="7300" actId="2711"/>
          <ac:spMkLst>
            <pc:docMk/>
            <pc:sldMk cId="1380860995" sldId="2147479695"/>
            <ac:spMk id="6" creationId="{489D7E36-E5EC-111E-AE3B-B05ADA2650CA}"/>
          </ac:spMkLst>
        </pc:spChg>
        <pc:spChg chg="mod">
          <ac:chgData name="Jeffrey Obi" userId="488f269d-1fa2-455e-bf95-7695136a100d" providerId="ADAL" clId="{0614888A-C273-4FFA-BC41-2B5FECBE28DF}" dt="2023-08-11T09:41:49.276" v="7300" actId="2711"/>
          <ac:spMkLst>
            <pc:docMk/>
            <pc:sldMk cId="1380860995" sldId="2147479695"/>
            <ac:spMk id="8" creationId="{CF4624E7-2012-177F-42FD-075B529C96E2}"/>
          </ac:spMkLst>
        </pc:spChg>
        <pc:spChg chg="mod">
          <ac:chgData name="Jeffrey Obi" userId="488f269d-1fa2-455e-bf95-7695136a100d" providerId="ADAL" clId="{0614888A-C273-4FFA-BC41-2B5FECBE28DF}" dt="2023-08-11T09:41:49.276" v="7300" actId="2711"/>
          <ac:spMkLst>
            <pc:docMk/>
            <pc:sldMk cId="1380860995" sldId="2147479695"/>
            <ac:spMk id="10" creationId="{A9930A43-D411-994C-F0E8-7D9582857EF9}"/>
          </ac:spMkLst>
        </pc:spChg>
        <pc:spChg chg="mod">
          <ac:chgData name="Jeffrey Obi" userId="488f269d-1fa2-455e-bf95-7695136a100d" providerId="ADAL" clId="{0614888A-C273-4FFA-BC41-2B5FECBE28DF}" dt="2023-08-11T09:41:49.276" v="7300" actId="2711"/>
          <ac:spMkLst>
            <pc:docMk/>
            <pc:sldMk cId="1380860995" sldId="2147479695"/>
            <ac:spMk id="12" creationId="{213C6BCD-69D2-90ED-2BC4-196EF5E3F298}"/>
          </ac:spMkLst>
        </pc:spChg>
        <pc:spChg chg="mod">
          <ac:chgData name="Jeffrey Obi" userId="488f269d-1fa2-455e-bf95-7695136a100d" providerId="ADAL" clId="{0614888A-C273-4FFA-BC41-2B5FECBE28DF}" dt="2023-08-11T09:41:49.276" v="7300" actId="2711"/>
          <ac:spMkLst>
            <pc:docMk/>
            <pc:sldMk cId="1380860995" sldId="2147479695"/>
            <ac:spMk id="14" creationId="{1B4891F9-FC37-F82A-520C-548C6F536DE2}"/>
          </ac:spMkLst>
        </pc:spChg>
        <pc:spChg chg="mod">
          <ac:chgData name="Jeffrey Obi" userId="488f269d-1fa2-455e-bf95-7695136a100d" providerId="ADAL" clId="{0614888A-C273-4FFA-BC41-2B5FECBE28DF}" dt="2023-08-11T09:41:49.276" v="7300" actId="2711"/>
          <ac:spMkLst>
            <pc:docMk/>
            <pc:sldMk cId="1380860995" sldId="2147479695"/>
            <ac:spMk id="16" creationId="{1EE50A2F-BB66-4023-A19E-4AC1F49CB477}"/>
          </ac:spMkLst>
        </pc:spChg>
        <pc:spChg chg="mod">
          <ac:chgData name="Jeffrey Obi" userId="488f269d-1fa2-455e-bf95-7695136a100d" providerId="ADAL" clId="{0614888A-C273-4FFA-BC41-2B5FECBE28DF}" dt="2023-08-11T09:41:49.276" v="7300" actId="2711"/>
          <ac:spMkLst>
            <pc:docMk/>
            <pc:sldMk cId="1380860995" sldId="2147479695"/>
            <ac:spMk id="18" creationId="{26DBC6F2-B27C-8EA3-B4A4-A720416361DC}"/>
          </ac:spMkLst>
        </pc:spChg>
        <pc:spChg chg="mod">
          <ac:chgData name="Jeffrey Obi" userId="488f269d-1fa2-455e-bf95-7695136a100d" providerId="ADAL" clId="{0614888A-C273-4FFA-BC41-2B5FECBE28DF}" dt="2023-08-11T09:41:49.276" v="7300" actId="2711"/>
          <ac:spMkLst>
            <pc:docMk/>
            <pc:sldMk cId="1380860995" sldId="2147479695"/>
            <ac:spMk id="20" creationId="{71597D73-FC0D-0F7C-BC32-B2FA32899DF9}"/>
          </ac:spMkLst>
        </pc:spChg>
        <pc:spChg chg="mod">
          <ac:chgData name="Jeffrey Obi" userId="488f269d-1fa2-455e-bf95-7695136a100d" providerId="ADAL" clId="{0614888A-C273-4FFA-BC41-2B5FECBE28DF}" dt="2023-08-11T09:41:49.276" v="7300" actId="2711"/>
          <ac:spMkLst>
            <pc:docMk/>
            <pc:sldMk cId="1380860995" sldId="2147479695"/>
            <ac:spMk id="22" creationId="{9A4AB788-397F-A777-536A-71E510E11985}"/>
          </ac:spMkLst>
        </pc:spChg>
        <pc:spChg chg="mod">
          <ac:chgData name="Jeffrey Obi" userId="488f269d-1fa2-455e-bf95-7695136a100d" providerId="ADAL" clId="{0614888A-C273-4FFA-BC41-2B5FECBE28DF}" dt="2023-08-11T09:41:49.276" v="7300" actId="2711"/>
          <ac:spMkLst>
            <pc:docMk/>
            <pc:sldMk cId="1380860995" sldId="2147479695"/>
            <ac:spMk id="24" creationId="{F157CDD7-E4B0-DBE6-3BF9-A80704C2E8E2}"/>
          </ac:spMkLst>
        </pc:spChg>
        <pc:spChg chg="mod">
          <ac:chgData name="Jeffrey Obi" userId="488f269d-1fa2-455e-bf95-7695136a100d" providerId="ADAL" clId="{0614888A-C273-4FFA-BC41-2B5FECBE28DF}" dt="2023-08-11T09:41:49.276" v="7300" actId="2711"/>
          <ac:spMkLst>
            <pc:docMk/>
            <pc:sldMk cId="1380860995" sldId="2147479695"/>
            <ac:spMk id="26" creationId="{CE8179ED-1E75-8A00-A70C-EF944AB7261F}"/>
          </ac:spMkLst>
        </pc:spChg>
        <pc:spChg chg="mod">
          <ac:chgData name="Jeffrey Obi" userId="488f269d-1fa2-455e-bf95-7695136a100d" providerId="ADAL" clId="{0614888A-C273-4FFA-BC41-2B5FECBE28DF}" dt="2023-08-11T09:41:49.276" v="7300" actId="2711"/>
          <ac:spMkLst>
            <pc:docMk/>
            <pc:sldMk cId="1380860995" sldId="2147479695"/>
            <ac:spMk id="28" creationId="{3C2A5434-720E-4AA9-21BF-0B0E8A76CA06}"/>
          </ac:spMkLst>
        </pc:spChg>
        <pc:spChg chg="mod">
          <ac:chgData name="Jeffrey Obi" userId="488f269d-1fa2-455e-bf95-7695136a100d" providerId="ADAL" clId="{0614888A-C273-4FFA-BC41-2B5FECBE28DF}" dt="2023-08-11T09:41:49.276" v="7300" actId="2711"/>
          <ac:spMkLst>
            <pc:docMk/>
            <pc:sldMk cId="1380860995" sldId="2147479695"/>
            <ac:spMk id="30" creationId="{D93FAA2B-249B-226A-0A9D-DF62EFC7C39A}"/>
          </ac:spMkLst>
        </pc:spChg>
      </pc:sldChg>
    </pc:docChg>
  </pc:docChgLst>
  <pc:docChgLst>
    <pc:chgData name="Jeffrey Obi" userId="S::jeffrey.obi@ie.ey.com::488f269d-1fa2-455e-bf95-7695136a100d" providerId="AD" clId="Web-{E903064C-31A9-C84E-BA5D-0F800590E932}"/>
    <pc:docChg chg="addSld delSld modSld modSection">
      <pc:chgData name="Jeffrey Obi" userId="S::jeffrey.obi@ie.ey.com::488f269d-1fa2-455e-bf95-7695136a100d" providerId="AD" clId="Web-{E903064C-31A9-C84E-BA5D-0F800590E932}" dt="2023-08-03T12:39:37.373" v="83"/>
      <pc:docMkLst>
        <pc:docMk/>
      </pc:docMkLst>
      <pc:sldChg chg="addSp delSp modSp mod modClrScheme chgLayout">
        <pc:chgData name="Jeffrey Obi" userId="S::jeffrey.obi@ie.ey.com::488f269d-1fa2-455e-bf95-7695136a100d" providerId="AD" clId="Web-{E903064C-31A9-C84E-BA5D-0F800590E932}" dt="2023-08-03T12:39:37.373" v="83"/>
        <pc:sldMkLst>
          <pc:docMk/>
          <pc:sldMk cId="2915504962" sldId="2147479644"/>
        </pc:sldMkLst>
        <pc:spChg chg="mod">
          <ac:chgData name="Jeffrey Obi" userId="S::jeffrey.obi@ie.ey.com::488f269d-1fa2-455e-bf95-7695136a100d" providerId="AD" clId="Web-{E903064C-31A9-C84E-BA5D-0F800590E932}" dt="2023-08-03T12:39:00.684" v="77"/>
          <ac:spMkLst>
            <pc:docMk/>
            <pc:sldMk cId="2915504962" sldId="2147479644"/>
            <ac:spMk id="34" creationId="{810BA9CC-2C5C-4AE6-AD9A-085AE329CD3B}"/>
          </ac:spMkLst>
        </pc:spChg>
        <pc:spChg chg="add del">
          <ac:chgData name="Jeffrey Obi" userId="S::jeffrey.obi@ie.ey.com::488f269d-1fa2-455e-bf95-7695136a100d" providerId="AD" clId="Web-{E903064C-31A9-C84E-BA5D-0F800590E932}" dt="2023-08-03T12:39:33.498" v="80"/>
          <ac:spMkLst>
            <pc:docMk/>
            <pc:sldMk cId="2915504962" sldId="2147479644"/>
            <ac:spMk id="36" creationId="{CBE1FF7C-DD0E-69A7-8FE3-B26832BB52E9}"/>
          </ac:spMkLst>
        </pc:spChg>
        <pc:spChg chg="add del">
          <ac:chgData name="Jeffrey Obi" userId="S::jeffrey.obi@ie.ey.com::488f269d-1fa2-455e-bf95-7695136a100d" providerId="AD" clId="Web-{E903064C-31A9-C84E-BA5D-0F800590E932}" dt="2023-08-03T12:39:37.358" v="82"/>
          <ac:spMkLst>
            <pc:docMk/>
            <pc:sldMk cId="2915504962" sldId="2147479644"/>
            <ac:spMk id="38" creationId="{9FE04687-5EBC-9D8B-345D-CE7F245E3DC6}"/>
          </ac:spMkLst>
        </pc:spChg>
        <pc:spChg chg="add del mod">
          <ac:chgData name="Jeffrey Obi" userId="S::jeffrey.obi@ie.ey.com::488f269d-1fa2-455e-bf95-7695136a100d" providerId="AD" clId="Web-{E903064C-31A9-C84E-BA5D-0F800590E932}" dt="2023-08-03T12:38:36.449" v="66"/>
          <ac:spMkLst>
            <pc:docMk/>
            <pc:sldMk cId="2915504962" sldId="2147479644"/>
            <ac:spMk id="39" creationId="{5B607256-F409-38B8-30A5-3948B6A08445}"/>
          </ac:spMkLst>
        </pc:spChg>
        <pc:spChg chg="add">
          <ac:chgData name="Jeffrey Obi" userId="S::jeffrey.obi@ie.ey.com::488f269d-1fa2-455e-bf95-7695136a100d" providerId="AD" clId="Web-{E903064C-31A9-C84E-BA5D-0F800590E932}" dt="2023-08-03T12:39:37.373" v="83"/>
          <ac:spMkLst>
            <pc:docMk/>
            <pc:sldMk cId="2915504962" sldId="2147479644"/>
            <ac:spMk id="40" creationId="{CBE1FF7C-DD0E-69A7-8FE3-B26832BB52E9}"/>
          </ac:spMkLst>
        </pc:spChg>
        <pc:spChg chg="add del mod">
          <ac:chgData name="Jeffrey Obi" userId="S::jeffrey.obi@ie.ey.com::488f269d-1fa2-455e-bf95-7695136a100d" providerId="AD" clId="Web-{E903064C-31A9-C84E-BA5D-0F800590E932}" dt="2023-08-03T12:38:40.387" v="68"/>
          <ac:spMkLst>
            <pc:docMk/>
            <pc:sldMk cId="2915504962" sldId="2147479644"/>
            <ac:spMk id="41" creationId="{2E60C3A2-7847-04EA-144E-62F491A2163F}"/>
          </ac:spMkLst>
        </pc:spChg>
        <pc:spChg chg="add del mod">
          <ac:chgData name="Jeffrey Obi" userId="S::jeffrey.obi@ie.ey.com::488f269d-1fa2-455e-bf95-7695136a100d" providerId="AD" clId="Web-{E903064C-31A9-C84E-BA5D-0F800590E932}" dt="2023-08-03T12:38:46.059" v="70"/>
          <ac:spMkLst>
            <pc:docMk/>
            <pc:sldMk cId="2915504962" sldId="2147479644"/>
            <ac:spMk id="43" creationId="{5B607256-F409-38B8-30A5-3948B6A08445}"/>
          </ac:spMkLst>
        </pc:spChg>
        <pc:spChg chg="add del mod">
          <ac:chgData name="Jeffrey Obi" userId="S::jeffrey.obi@ie.ey.com::488f269d-1fa2-455e-bf95-7695136a100d" providerId="AD" clId="Web-{E903064C-31A9-C84E-BA5D-0F800590E932}" dt="2023-08-03T12:38:50.059" v="72"/>
          <ac:spMkLst>
            <pc:docMk/>
            <pc:sldMk cId="2915504962" sldId="2147479644"/>
            <ac:spMk id="45" creationId="{2E60C3A2-7847-04EA-144E-62F491A2163F}"/>
          </ac:spMkLst>
        </pc:spChg>
        <pc:spChg chg="add del mod">
          <ac:chgData name="Jeffrey Obi" userId="S::jeffrey.obi@ie.ey.com::488f269d-1fa2-455e-bf95-7695136a100d" providerId="AD" clId="Web-{E903064C-31A9-C84E-BA5D-0F800590E932}" dt="2023-08-03T12:38:55.075" v="74"/>
          <ac:spMkLst>
            <pc:docMk/>
            <pc:sldMk cId="2915504962" sldId="2147479644"/>
            <ac:spMk id="47" creationId="{5B607256-F409-38B8-30A5-3948B6A08445}"/>
          </ac:spMkLst>
        </pc:spChg>
        <pc:spChg chg="add del mod">
          <ac:chgData name="Jeffrey Obi" userId="S::jeffrey.obi@ie.ey.com::488f269d-1fa2-455e-bf95-7695136a100d" providerId="AD" clId="Web-{E903064C-31A9-C84E-BA5D-0F800590E932}" dt="2023-08-03T12:39:00.638" v="76"/>
          <ac:spMkLst>
            <pc:docMk/>
            <pc:sldMk cId="2915504962" sldId="2147479644"/>
            <ac:spMk id="49" creationId="{2E60C3A2-7847-04EA-144E-62F491A2163F}"/>
          </ac:spMkLst>
        </pc:spChg>
        <pc:spChg chg="add del mod">
          <ac:chgData name="Jeffrey Obi" userId="S::jeffrey.obi@ie.ey.com::488f269d-1fa2-455e-bf95-7695136a100d" providerId="AD" clId="Web-{E903064C-31A9-C84E-BA5D-0F800590E932}" dt="2023-08-03T12:39:11.529" v="78"/>
          <ac:spMkLst>
            <pc:docMk/>
            <pc:sldMk cId="2915504962" sldId="2147479644"/>
            <ac:spMk id="51" creationId="{5B607256-F409-38B8-30A5-3948B6A08445}"/>
          </ac:spMkLst>
        </pc:spChg>
        <pc:graphicFrameChg chg="mod modGraphic">
          <ac:chgData name="Jeffrey Obi" userId="S::jeffrey.obi@ie.ey.com::488f269d-1fa2-455e-bf95-7695136a100d" providerId="AD" clId="Web-{E903064C-31A9-C84E-BA5D-0F800590E932}" dt="2023-08-03T12:39:37.373" v="83"/>
          <ac:graphicFrameMkLst>
            <pc:docMk/>
            <pc:sldMk cId="2915504962" sldId="2147479644"/>
            <ac:graphicFrameMk id="10" creationId="{C373DE96-CF83-C1C7-EAE3-76F41D608563}"/>
          </ac:graphicFrameMkLst>
        </pc:graphicFrameChg>
      </pc:sldChg>
      <pc:sldChg chg="addSp delSp modSp add del mod replId modClrScheme modShow chgLayout">
        <pc:chgData name="Jeffrey Obi" userId="S::jeffrey.obi@ie.ey.com::488f269d-1fa2-455e-bf95-7695136a100d" providerId="AD" clId="Web-{E903064C-31A9-C84E-BA5D-0F800590E932}" dt="2023-08-03T12:37:48.042" v="64"/>
        <pc:sldMkLst>
          <pc:docMk/>
          <pc:sldMk cId="3380302115" sldId="2147479687"/>
        </pc:sldMkLst>
        <pc:spChg chg="mod ord">
          <ac:chgData name="Jeffrey Obi" userId="S::jeffrey.obi@ie.ey.com::488f269d-1fa2-455e-bf95-7695136a100d" providerId="AD" clId="Web-{E903064C-31A9-C84E-BA5D-0F800590E932}" dt="2023-08-03T12:37:48.042" v="64"/>
          <ac:spMkLst>
            <pc:docMk/>
            <pc:sldMk cId="3380302115" sldId="2147479687"/>
            <ac:spMk id="3" creationId="{D2FF72AF-9783-DFFC-9A7A-6D57999F6F0C}"/>
          </ac:spMkLst>
        </pc:spChg>
        <pc:spChg chg="del">
          <ac:chgData name="Jeffrey Obi" userId="S::jeffrey.obi@ie.ey.com::488f269d-1fa2-455e-bf95-7695136a100d" providerId="AD" clId="Web-{E903064C-31A9-C84E-BA5D-0F800590E932}" dt="2023-08-03T12:36:52.649" v="56"/>
          <ac:spMkLst>
            <pc:docMk/>
            <pc:sldMk cId="3380302115" sldId="2147479687"/>
            <ac:spMk id="5" creationId="{9984D8A5-636C-881D-9820-71C03BAA623C}"/>
          </ac:spMkLst>
        </pc:spChg>
        <pc:spChg chg="del">
          <ac:chgData name="Jeffrey Obi" userId="S::jeffrey.obi@ie.ey.com::488f269d-1fa2-455e-bf95-7695136a100d" providerId="AD" clId="Web-{E903064C-31A9-C84E-BA5D-0F800590E932}" dt="2023-08-03T12:36:52.649" v="55"/>
          <ac:spMkLst>
            <pc:docMk/>
            <pc:sldMk cId="3380302115" sldId="2147479687"/>
            <ac:spMk id="6" creationId="{B78D0F4E-34E3-BCFD-F109-7E2A68C41474}"/>
          </ac:spMkLst>
        </pc:spChg>
        <pc:spChg chg="del">
          <ac:chgData name="Jeffrey Obi" userId="S::jeffrey.obi@ie.ey.com::488f269d-1fa2-455e-bf95-7695136a100d" providerId="AD" clId="Web-{E903064C-31A9-C84E-BA5D-0F800590E932}" dt="2023-08-03T12:36:52.649" v="53"/>
          <ac:spMkLst>
            <pc:docMk/>
            <pc:sldMk cId="3380302115" sldId="2147479687"/>
            <ac:spMk id="9" creationId="{55A7352A-AFB9-9175-7E34-489B2230EB82}"/>
          </ac:spMkLst>
        </pc:spChg>
        <pc:spChg chg="del">
          <ac:chgData name="Jeffrey Obi" userId="S::jeffrey.obi@ie.ey.com::488f269d-1fa2-455e-bf95-7695136a100d" providerId="AD" clId="Web-{E903064C-31A9-C84E-BA5D-0F800590E932}" dt="2023-08-03T12:36:52.649" v="52"/>
          <ac:spMkLst>
            <pc:docMk/>
            <pc:sldMk cId="3380302115" sldId="2147479687"/>
            <ac:spMk id="10" creationId="{A2319A91-2417-FAA1-C38C-3AA9702D1DAE}"/>
          </ac:spMkLst>
        </pc:spChg>
        <pc:spChg chg="del">
          <ac:chgData name="Jeffrey Obi" userId="S::jeffrey.obi@ie.ey.com::488f269d-1fa2-455e-bf95-7695136a100d" providerId="AD" clId="Web-{E903064C-31A9-C84E-BA5D-0F800590E932}" dt="2023-08-03T12:36:52.649" v="51"/>
          <ac:spMkLst>
            <pc:docMk/>
            <pc:sldMk cId="3380302115" sldId="2147479687"/>
            <ac:spMk id="12" creationId="{F5135AC3-0A33-3661-E019-525018A94710}"/>
          </ac:spMkLst>
        </pc:spChg>
        <pc:spChg chg="del">
          <ac:chgData name="Jeffrey Obi" userId="S::jeffrey.obi@ie.ey.com::488f269d-1fa2-455e-bf95-7695136a100d" providerId="AD" clId="Web-{E903064C-31A9-C84E-BA5D-0F800590E932}" dt="2023-08-03T12:36:57.743" v="62"/>
          <ac:spMkLst>
            <pc:docMk/>
            <pc:sldMk cId="3380302115" sldId="2147479687"/>
            <ac:spMk id="13" creationId="{8DBDC67C-629C-23E8-F066-65B8BEFF9B16}"/>
          </ac:spMkLst>
        </pc:spChg>
        <pc:spChg chg="del">
          <ac:chgData name="Jeffrey Obi" userId="S::jeffrey.obi@ie.ey.com::488f269d-1fa2-455e-bf95-7695136a100d" providerId="AD" clId="Web-{E903064C-31A9-C84E-BA5D-0F800590E932}" dt="2023-08-03T12:36:57.743" v="60"/>
          <ac:spMkLst>
            <pc:docMk/>
            <pc:sldMk cId="3380302115" sldId="2147479687"/>
            <ac:spMk id="17" creationId="{12EC5FBB-092F-C9E8-C17C-6A46600F0275}"/>
          </ac:spMkLst>
        </pc:spChg>
        <pc:spChg chg="del">
          <ac:chgData name="Jeffrey Obi" userId="S::jeffrey.obi@ie.ey.com::488f269d-1fa2-455e-bf95-7695136a100d" providerId="AD" clId="Web-{E903064C-31A9-C84E-BA5D-0F800590E932}" dt="2023-08-03T12:36:52.649" v="50"/>
          <ac:spMkLst>
            <pc:docMk/>
            <pc:sldMk cId="3380302115" sldId="2147479687"/>
            <ac:spMk id="18" creationId="{DC0C62D4-515A-A36E-E2E6-B760F9D6F16F}"/>
          </ac:spMkLst>
        </pc:spChg>
        <pc:spChg chg="add mod">
          <ac:chgData name="Jeffrey Obi" userId="S::jeffrey.obi@ie.ey.com::488f269d-1fa2-455e-bf95-7695136a100d" providerId="AD" clId="Web-{E903064C-31A9-C84E-BA5D-0F800590E932}" dt="2023-08-03T12:37:48.042" v="64"/>
          <ac:spMkLst>
            <pc:docMk/>
            <pc:sldMk cId="3380302115" sldId="2147479687"/>
            <ac:spMk id="19" creationId="{4EE3859D-708D-00B9-5D94-9DCD66DCC21A}"/>
          </ac:spMkLst>
        </pc:spChg>
        <pc:spChg chg="del">
          <ac:chgData name="Jeffrey Obi" userId="S::jeffrey.obi@ie.ey.com::488f269d-1fa2-455e-bf95-7695136a100d" providerId="AD" clId="Web-{E903064C-31A9-C84E-BA5D-0F800590E932}" dt="2023-08-03T12:36:52.649" v="49"/>
          <ac:spMkLst>
            <pc:docMk/>
            <pc:sldMk cId="3380302115" sldId="2147479687"/>
            <ac:spMk id="24" creationId="{9D15BA5A-6437-0CB3-334B-FFFFAE7108D3}"/>
          </ac:spMkLst>
        </pc:spChg>
        <pc:spChg chg="del">
          <ac:chgData name="Jeffrey Obi" userId="S::jeffrey.obi@ie.ey.com::488f269d-1fa2-455e-bf95-7695136a100d" providerId="AD" clId="Web-{E903064C-31A9-C84E-BA5D-0F800590E932}" dt="2023-08-03T12:36:52.649" v="48"/>
          <ac:spMkLst>
            <pc:docMk/>
            <pc:sldMk cId="3380302115" sldId="2147479687"/>
            <ac:spMk id="25" creationId="{20FF0EBA-9FB1-61E1-30E3-1DD0319DAA5F}"/>
          </ac:spMkLst>
        </pc:spChg>
        <pc:spChg chg="del">
          <ac:chgData name="Jeffrey Obi" userId="S::jeffrey.obi@ie.ey.com::488f269d-1fa2-455e-bf95-7695136a100d" providerId="AD" clId="Web-{E903064C-31A9-C84E-BA5D-0F800590E932}" dt="2023-08-03T12:36:52.649" v="46"/>
          <ac:spMkLst>
            <pc:docMk/>
            <pc:sldMk cId="3380302115" sldId="2147479687"/>
            <ac:spMk id="30" creationId="{FFCCCB1C-5E9A-C94A-1550-AD1B44920A2B}"/>
          </ac:spMkLst>
        </pc:spChg>
        <pc:spChg chg="del">
          <ac:chgData name="Jeffrey Obi" userId="S::jeffrey.obi@ie.ey.com::488f269d-1fa2-455e-bf95-7695136a100d" providerId="AD" clId="Web-{E903064C-31A9-C84E-BA5D-0F800590E932}" dt="2023-08-03T12:36:52.649" v="45"/>
          <ac:spMkLst>
            <pc:docMk/>
            <pc:sldMk cId="3380302115" sldId="2147479687"/>
            <ac:spMk id="31" creationId="{0236D5AD-985B-5A67-DE6B-BE81EE675A6E}"/>
          </ac:spMkLst>
        </pc:spChg>
        <pc:spChg chg="del">
          <ac:chgData name="Jeffrey Obi" userId="S::jeffrey.obi@ie.ey.com::488f269d-1fa2-455e-bf95-7695136a100d" providerId="AD" clId="Web-{E903064C-31A9-C84E-BA5D-0F800590E932}" dt="2023-08-03T12:36:52.634" v="40"/>
          <ac:spMkLst>
            <pc:docMk/>
            <pc:sldMk cId="3380302115" sldId="2147479687"/>
            <ac:spMk id="49" creationId="{33B2D960-1F40-BF75-5913-8850D4986A54}"/>
          </ac:spMkLst>
        </pc:spChg>
        <pc:spChg chg="del">
          <ac:chgData name="Jeffrey Obi" userId="S::jeffrey.obi@ie.ey.com::488f269d-1fa2-455e-bf95-7695136a100d" providerId="AD" clId="Web-{E903064C-31A9-C84E-BA5D-0F800590E932}" dt="2023-08-03T12:36:52.634" v="39"/>
          <ac:spMkLst>
            <pc:docMk/>
            <pc:sldMk cId="3380302115" sldId="2147479687"/>
            <ac:spMk id="50" creationId="{22949D0F-AAB2-B659-103A-CA1B509C14EF}"/>
          </ac:spMkLst>
        </pc:spChg>
        <pc:spChg chg="del">
          <ac:chgData name="Jeffrey Obi" userId="S::jeffrey.obi@ie.ey.com::488f269d-1fa2-455e-bf95-7695136a100d" providerId="AD" clId="Web-{E903064C-31A9-C84E-BA5D-0F800590E932}" dt="2023-08-03T12:36:52.634" v="35"/>
          <ac:spMkLst>
            <pc:docMk/>
            <pc:sldMk cId="3380302115" sldId="2147479687"/>
            <ac:spMk id="60" creationId="{5E43228B-D513-50ED-9406-EEF3C49196E4}"/>
          </ac:spMkLst>
        </pc:spChg>
        <pc:spChg chg="del">
          <ac:chgData name="Jeffrey Obi" userId="S::jeffrey.obi@ie.ey.com::488f269d-1fa2-455e-bf95-7695136a100d" providerId="AD" clId="Web-{E903064C-31A9-C84E-BA5D-0F800590E932}" dt="2023-08-03T12:36:52.634" v="34"/>
          <ac:spMkLst>
            <pc:docMk/>
            <pc:sldMk cId="3380302115" sldId="2147479687"/>
            <ac:spMk id="61" creationId="{721AF924-E162-AC97-4716-8003E9BD9BD3}"/>
          </ac:spMkLst>
        </pc:spChg>
        <pc:spChg chg="del">
          <ac:chgData name="Jeffrey Obi" userId="S::jeffrey.obi@ie.ey.com::488f269d-1fa2-455e-bf95-7695136a100d" providerId="AD" clId="Web-{E903064C-31A9-C84E-BA5D-0F800590E932}" dt="2023-08-03T12:36:52.634" v="33"/>
          <ac:spMkLst>
            <pc:docMk/>
            <pc:sldMk cId="3380302115" sldId="2147479687"/>
            <ac:spMk id="62" creationId="{1347974E-5655-0B03-431C-CE2C5B2DA14C}"/>
          </ac:spMkLst>
        </pc:spChg>
        <pc:spChg chg="del">
          <ac:chgData name="Jeffrey Obi" userId="S::jeffrey.obi@ie.ey.com::488f269d-1fa2-455e-bf95-7695136a100d" providerId="AD" clId="Web-{E903064C-31A9-C84E-BA5D-0F800590E932}" dt="2023-08-03T12:36:52.634" v="31"/>
          <ac:spMkLst>
            <pc:docMk/>
            <pc:sldMk cId="3380302115" sldId="2147479687"/>
            <ac:spMk id="68" creationId="{0802C5AB-F44A-5417-CA71-E7CA7DF12F83}"/>
          </ac:spMkLst>
        </pc:spChg>
        <pc:spChg chg="del">
          <ac:chgData name="Jeffrey Obi" userId="S::jeffrey.obi@ie.ey.com::488f269d-1fa2-455e-bf95-7695136a100d" providerId="AD" clId="Web-{E903064C-31A9-C84E-BA5D-0F800590E932}" dt="2023-08-03T12:36:52.634" v="30"/>
          <ac:spMkLst>
            <pc:docMk/>
            <pc:sldMk cId="3380302115" sldId="2147479687"/>
            <ac:spMk id="69" creationId="{E38A4052-0CCB-0787-848A-662B39D1E89D}"/>
          </ac:spMkLst>
        </pc:spChg>
        <pc:spChg chg="del">
          <ac:chgData name="Jeffrey Obi" userId="S::jeffrey.obi@ie.ey.com::488f269d-1fa2-455e-bf95-7695136a100d" providerId="AD" clId="Web-{E903064C-31A9-C84E-BA5D-0F800590E932}" dt="2023-08-03T12:36:52.634" v="28"/>
          <ac:spMkLst>
            <pc:docMk/>
            <pc:sldMk cId="3380302115" sldId="2147479687"/>
            <ac:spMk id="71" creationId="{01FE1892-4A20-F8B6-3F75-37433117BDF3}"/>
          </ac:spMkLst>
        </pc:spChg>
        <pc:spChg chg="del">
          <ac:chgData name="Jeffrey Obi" userId="S::jeffrey.obi@ie.ey.com::488f269d-1fa2-455e-bf95-7695136a100d" providerId="AD" clId="Web-{E903064C-31A9-C84E-BA5D-0F800590E932}" dt="2023-08-03T12:36:52.634" v="27"/>
          <ac:spMkLst>
            <pc:docMk/>
            <pc:sldMk cId="3380302115" sldId="2147479687"/>
            <ac:spMk id="72" creationId="{7F475AB1-09E7-10F0-F083-B7CB8D628A58}"/>
          </ac:spMkLst>
        </pc:spChg>
        <pc:spChg chg="del">
          <ac:chgData name="Jeffrey Obi" userId="S::jeffrey.obi@ie.ey.com::488f269d-1fa2-455e-bf95-7695136a100d" providerId="AD" clId="Web-{E903064C-31A9-C84E-BA5D-0F800590E932}" dt="2023-08-03T12:36:52.634" v="26"/>
          <ac:spMkLst>
            <pc:docMk/>
            <pc:sldMk cId="3380302115" sldId="2147479687"/>
            <ac:spMk id="73" creationId="{1523D974-4F35-7655-E0B4-2DF9CB3F4D74}"/>
          </ac:spMkLst>
        </pc:spChg>
        <pc:spChg chg="del">
          <ac:chgData name="Jeffrey Obi" userId="S::jeffrey.obi@ie.ey.com::488f269d-1fa2-455e-bf95-7695136a100d" providerId="AD" clId="Web-{E903064C-31A9-C84E-BA5D-0F800590E932}" dt="2023-08-03T12:36:52.634" v="25"/>
          <ac:spMkLst>
            <pc:docMk/>
            <pc:sldMk cId="3380302115" sldId="2147479687"/>
            <ac:spMk id="74" creationId="{A798CABD-46B4-8CA1-AA45-0525F1AA8ECA}"/>
          </ac:spMkLst>
        </pc:spChg>
        <pc:spChg chg="del">
          <ac:chgData name="Jeffrey Obi" userId="S::jeffrey.obi@ie.ey.com::488f269d-1fa2-455e-bf95-7695136a100d" providerId="AD" clId="Web-{E903064C-31A9-C84E-BA5D-0F800590E932}" dt="2023-08-03T12:36:52.634" v="24"/>
          <ac:spMkLst>
            <pc:docMk/>
            <pc:sldMk cId="3380302115" sldId="2147479687"/>
            <ac:spMk id="75" creationId="{6C791505-B4BF-D747-216E-083492D33672}"/>
          </ac:spMkLst>
        </pc:spChg>
        <pc:spChg chg="del">
          <ac:chgData name="Jeffrey Obi" userId="S::jeffrey.obi@ie.ey.com::488f269d-1fa2-455e-bf95-7695136a100d" providerId="AD" clId="Web-{E903064C-31A9-C84E-BA5D-0F800590E932}" dt="2023-08-03T12:36:52.634" v="23"/>
          <ac:spMkLst>
            <pc:docMk/>
            <pc:sldMk cId="3380302115" sldId="2147479687"/>
            <ac:spMk id="82" creationId="{E5D1FF68-AD82-19D9-CBDD-4AC2AFE7EC01}"/>
          </ac:spMkLst>
        </pc:spChg>
        <pc:spChg chg="del">
          <ac:chgData name="Jeffrey Obi" userId="S::jeffrey.obi@ie.ey.com::488f269d-1fa2-455e-bf95-7695136a100d" providerId="AD" clId="Web-{E903064C-31A9-C84E-BA5D-0F800590E932}" dt="2023-08-03T12:36:52.634" v="22"/>
          <ac:spMkLst>
            <pc:docMk/>
            <pc:sldMk cId="3380302115" sldId="2147479687"/>
            <ac:spMk id="83" creationId="{F0392758-BEE4-8D19-FADB-63C58396A227}"/>
          </ac:spMkLst>
        </pc:spChg>
        <pc:spChg chg="del">
          <ac:chgData name="Jeffrey Obi" userId="S::jeffrey.obi@ie.ey.com::488f269d-1fa2-455e-bf95-7695136a100d" providerId="AD" clId="Web-{E903064C-31A9-C84E-BA5D-0F800590E932}" dt="2023-08-03T12:36:52.634" v="21"/>
          <ac:spMkLst>
            <pc:docMk/>
            <pc:sldMk cId="3380302115" sldId="2147479687"/>
            <ac:spMk id="84" creationId="{5CC937B5-E7F4-F291-90CB-38CFBD6B0B37}"/>
          </ac:spMkLst>
        </pc:spChg>
        <pc:spChg chg="del">
          <ac:chgData name="Jeffrey Obi" userId="S::jeffrey.obi@ie.ey.com::488f269d-1fa2-455e-bf95-7695136a100d" providerId="AD" clId="Web-{E903064C-31A9-C84E-BA5D-0F800590E932}" dt="2023-08-03T12:36:52.634" v="20"/>
          <ac:spMkLst>
            <pc:docMk/>
            <pc:sldMk cId="3380302115" sldId="2147479687"/>
            <ac:spMk id="85" creationId="{0E2162CC-E0C1-2D84-EAE8-D3882CCDBEE9}"/>
          </ac:spMkLst>
        </pc:spChg>
        <pc:spChg chg="del">
          <ac:chgData name="Jeffrey Obi" userId="S::jeffrey.obi@ie.ey.com::488f269d-1fa2-455e-bf95-7695136a100d" providerId="AD" clId="Web-{E903064C-31A9-C84E-BA5D-0F800590E932}" dt="2023-08-03T12:36:52.634" v="19"/>
          <ac:spMkLst>
            <pc:docMk/>
            <pc:sldMk cId="3380302115" sldId="2147479687"/>
            <ac:spMk id="86" creationId="{8370F938-DB18-B083-AD0C-D33B7295C9D5}"/>
          </ac:spMkLst>
        </pc:spChg>
        <pc:spChg chg="del">
          <ac:chgData name="Jeffrey Obi" userId="S::jeffrey.obi@ie.ey.com::488f269d-1fa2-455e-bf95-7695136a100d" providerId="AD" clId="Web-{E903064C-31A9-C84E-BA5D-0F800590E932}" dt="2023-08-03T12:36:52.634" v="18"/>
          <ac:spMkLst>
            <pc:docMk/>
            <pc:sldMk cId="3380302115" sldId="2147479687"/>
            <ac:spMk id="87" creationId="{BD348819-F721-77A7-D50E-42785185C127}"/>
          </ac:spMkLst>
        </pc:spChg>
        <pc:spChg chg="del">
          <ac:chgData name="Jeffrey Obi" userId="S::jeffrey.obi@ie.ey.com::488f269d-1fa2-455e-bf95-7695136a100d" providerId="AD" clId="Web-{E903064C-31A9-C84E-BA5D-0F800590E932}" dt="2023-08-03T12:36:52.634" v="17"/>
          <ac:spMkLst>
            <pc:docMk/>
            <pc:sldMk cId="3380302115" sldId="2147479687"/>
            <ac:spMk id="88" creationId="{5E4E2FBC-F696-A1BA-9355-54E09666394F}"/>
          </ac:spMkLst>
        </pc:spChg>
        <pc:spChg chg="del">
          <ac:chgData name="Jeffrey Obi" userId="S::jeffrey.obi@ie.ey.com::488f269d-1fa2-455e-bf95-7695136a100d" providerId="AD" clId="Web-{E903064C-31A9-C84E-BA5D-0F800590E932}" dt="2023-08-03T12:36:52.634" v="14"/>
          <ac:spMkLst>
            <pc:docMk/>
            <pc:sldMk cId="3380302115" sldId="2147479687"/>
            <ac:spMk id="103" creationId="{D739ADE7-E800-8EB0-F4FA-35C8190192F5}"/>
          </ac:spMkLst>
        </pc:spChg>
        <pc:grpChg chg="del">
          <ac:chgData name="Jeffrey Obi" userId="S::jeffrey.obi@ie.ey.com::488f269d-1fa2-455e-bf95-7695136a100d" providerId="AD" clId="Web-{E903064C-31A9-C84E-BA5D-0F800590E932}" dt="2023-08-03T12:36:57.743" v="61"/>
          <ac:grpSpMkLst>
            <pc:docMk/>
            <pc:sldMk cId="3380302115" sldId="2147479687"/>
            <ac:grpSpMk id="14" creationId="{81FBAE6D-AB79-91F8-5AF4-8C7C615C08DC}"/>
          </ac:grpSpMkLst>
        </pc:grpChg>
        <pc:grpChg chg="del">
          <ac:chgData name="Jeffrey Obi" userId="S::jeffrey.obi@ie.ey.com::488f269d-1fa2-455e-bf95-7695136a100d" providerId="AD" clId="Web-{E903064C-31A9-C84E-BA5D-0F800590E932}" dt="2023-08-03T12:36:52.649" v="47"/>
          <ac:grpSpMkLst>
            <pc:docMk/>
            <pc:sldMk cId="3380302115" sldId="2147479687"/>
            <ac:grpSpMk id="26" creationId="{C3656772-68D6-BC18-AE29-F2868EFAC3D5}"/>
          </ac:grpSpMkLst>
        </pc:grpChg>
        <pc:grpChg chg="del">
          <ac:chgData name="Jeffrey Obi" userId="S::jeffrey.obi@ie.ey.com::488f269d-1fa2-455e-bf95-7695136a100d" providerId="AD" clId="Web-{E903064C-31A9-C84E-BA5D-0F800590E932}" dt="2023-08-03T12:36:52.634" v="42"/>
          <ac:grpSpMkLst>
            <pc:docMk/>
            <pc:sldMk cId="3380302115" sldId="2147479687"/>
            <ac:grpSpMk id="40" creationId="{98A10B21-4292-24F1-6DF8-91300474FBA0}"/>
          </ac:grpSpMkLst>
        </pc:grpChg>
        <pc:grpChg chg="del">
          <ac:chgData name="Jeffrey Obi" userId="S::jeffrey.obi@ie.ey.com::488f269d-1fa2-455e-bf95-7695136a100d" providerId="AD" clId="Web-{E903064C-31A9-C84E-BA5D-0F800590E932}" dt="2023-08-03T12:36:52.634" v="41"/>
          <ac:grpSpMkLst>
            <pc:docMk/>
            <pc:sldMk cId="3380302115" sldId="2147479687"/>
            <ac:grpSpMk id="44" creationId="{E2E2F59F-ADF6-C59E-D3E8-A317F7262776}"/>
          </ac:grpSpMkLst>
        </pc:grpChg>
        <pc:grpChg chg="del">
          <ac:chgData name="Jeffrey Obi" userId="S::jeffrey.obi@ie.ey.com::488f269d-1fa2-455e-bf95-7695136a100d" providerId="AD" clId="Web-{E903064C-31A9-C84E-BA5D-0F800590E932}" dt="2023-08-03T12:36:52.634" v="37"/>
          <ac:grpSpMkLst>
            <pc:docMk/>
            <pc:sldMk cId="3380302115" sldId="2147479687"/>
            <ac:grpSpMk id="52" creationId="{F58CA350-41DD-1B60-4E0E-86A791763BE2}"/>
          </ac:grpSpMkLst>
        </pc:grpChg>
        <pc:grpChg chg="del">
          <ac:chgData name="Jeffrey Obi" userId="S::jeffrey.obi@ie.ey.com::488f269d-1fa2-455e-bf95-7695136a100d" providerId="AD" clId="Web-{E903064C-31A9-C84E-BA5D-0F800590E932}" dt="2023-08-03T12:36:57.743" v="59"/>
          <ac:grpSpMkLst>
            <pc:docMk/>
            <pc:sldMk cId="3380302115" sldId="2147479687"/>
            <ac:grpSpMk id="76" creationId="{A67994D0-B9D1-8C97-1908-731C44B4E74E}"/>
          </ac:grpSpMkLst>
        </pc:grpChg>
        <pc:grpChg chg="del">
          <ac:chgData name="Jeffrey Obi" userId="S::jeffrey.obi@ie.ey.com::488f269d-1fa2-455e-bf95-7695136a100d" providerId="AD" clId="Web-{E903064C-31A9-C84E-BA5D-0F800590E932}" dt="2023-08-03T12:36:52.634" v="16"/>
          <ac:grpSpMkLst>
            <pc:docMk/>
            <pc:sldMk cId="3380302115" sldId="2147479687"/>
            <ac:grpSpMk id="97" creationId="{A4AD4569-5406-37B4-E14E-6F4394A1182C}"/>
          </ac:grpSpMkLst>
        </pc:grpChg>
        <pc:grpChg chg="del">
          <ac:chgData name="Jeffrey Obi" userId="S::jeffrey.obi@ie.ey.com::488f269d-1fa2-455e-bf95-7695136a100d" providerId="AD" clId="Web-{E903064C-31A9-C84E-BA5D-0F800590E932}" dt="2023-08-03T12:36:52.634" v="15"/>
          <ac:grpSpMkLst>
            <pc:docMk/>
            <pc:sldMk cId="3380302115" sldId="2147479687"/>
            <ac:grpSpMk id="100" creationId="{67D59DD4-7A2E-2DCE-F7EF-66CDE373EEAD}"/>
          </ac:grpSpMkLst>
        </pc:grpChg>
        <pc:grpChg chg="del">
          <ac:chgData name="Jeffrey Obi" userId="S::jeffrey.obi@ie.ey.com::488f269d-1fa2-455e-bf95-7695136a100d" providerId="AD" clId="Web-{E903064C-31A9-C84E-BA5D-0F800590E932}" dt="2023-08-03T12:36:52.634" v="13"/>
          <ac:grpSpMkLst>
            <pc:docMk/>
            <pc:sldMk cId="3380302115" sldId="2147479687"/>
            <ac:grpSpMk id="104" creationId="{B4010633-A724-20AF-A8AA-9E034CACDBF2}"/>
          </ac:grpSpMkLst>
        </pc:grpChg>
        <pc:picChg chg="del">
          <ac:chgData name="Jeffrey Obi" userId="S::jeffrey.obi@ie.ey.com::488f269d-1fa2-455e-bf95-7695136a100d" providerId="AD" clId="Web-{E903064C-31A9-C84E-BA5D-0F800590E932}" dt="2023-08-03T12:36:52.634" v="8"/>
          <ac:picMkLst>
            <pc:docMk/>
            <pc:sldMk cId="3380302115" sldId="2147479687"/>
            <ac:picMk id="2" creationId="{12681521-D8DA-4530-BE84-7A7E88E3BA77}"/>
          </ac:picMkLst>
        </pc:picChg>
        <pc:picChg chg="del">
          <ac:chgData name="Jeffrey Obi" userId="S::jeffrey.obi@ie.ey.com::488f269d-1fa2-455e-bf95-7695136a100d" providerId="AD" clId="Web-{E903064C-31A9-C84E-BA5D-0F800590E932}" dt="2023-08-03T12:36:57.743" v="58"/>
          <ac:picMkLst>
            <pc:docMk/>
            <pc:sldMk cId="3380302115" sldId="2147479687"/>
            <ac:picMk id="4" creationId="{789FD3F6-2EFC-4751-8F25-099B3EA3DAF6}"/>
          </ac:picMkLst>
        </pc:picChg>
        <pc:picChg chg="add mod">
          <ac:chgData name="Jeffrey Obi" userId="S::jeffrey.obi@ie.ey.com::488f269d-1fa2-455e-bf95-7695136a100d" providerId="AD" clId="Web-{E903064C-31A9-C84E-BA5D-0F800590E932}" dt="2023-08-03T12:37:48.042" v="64"/>
          <ac:picMkLst>
            <pc:docMk/>
            <pc:sldMk cId="3380302115" sldId="2147479687"/>
            <ac:picMk id="8" creationId="{1E564600-24CA-82D2-3F64-D7B8F5BB1062}"/>
          </ac:picMkLst>
        </pc:picChg>
        <pc:picChg chg="del">
          <ac:chgData name="Jeffrey Obi" userId="S::jeffrey.obi@ie.ey.com::488f269d-1fa2-455e-bf95-7695136a100d" providerId="AD" clId="Web-{E903064C-31A9-C84E-BA5D-0F800590E932}" dt="2023-08-03T12:36:52.634" v="10"/>
          <ac:picMkLst>
            <pc:docMk/>
            <pc:sldMk cId="3380302115" sldId="2147479687"/>
            <ac:picMk id="11" creationId="{EC3AE51E-5A02-6F4A-EEB1-39D2CBF51249}"/>
          </ac:picMkLst>
        </pc:picChg>
        <pc:picChg chg="del">
          <ac:chgData name="Jeffrey Obi" userId="S::jeffrey.obi@ie.ey.com::488f269d-1fa2-455e-bf95-7695136a100d" providerId="AD" clId="Web-{E903064C-31A9-C84E-BA5D-0F800590E932}" dt="2023-08-03T12:36:52.634" v="44"/>
          <ac:picMkLst>
            <pc:docMk/>
            <pc:sldMk cId="3380302115" sldId="2147479687"/>
            <ac:picMk id="32" creationId="{7CA3334A-18A9-094E-4425-B3C6BCCE6502}"/>
          </ac:picMkLst>
        </pc:picChg>
        <pc:picChg chg="del">
          <ac:chgData name="Jeffrey Obi" userId="S::jeffrey.obi@ie.ey.com::488f269d-1fa2-455e-bf95-7695136a100d" providerId="AD" clId="Web-{E903064C-31A9-C84E-BA5D-0F800590E932}" dt="2023-08-03T12:36:52.634" v="43"/>
          <ac:picMkLst>
            <pc:docMk/>
            <pc:sldMk cId="3380302115" sldId="2147479687"/>
            <ac:picMk id="36" creationId="{643BED2A-71FB-5500-FF3F-489899AF8E9E}"/>
          </ac:picMkLst>
        </pc:picChg>
        <pc:picChg chg="del">
          <ac:chgData name="Jeffrey Obi" userId="S::jeffrey.obi@ie.ey.com::488f269d-1fa2-455e-bf95-7695136a100d" providerId="AD" clId="Web-{E903064C-31A9-C84E-BA5D-0F800590E932}" dt="2023-08-03T12:36:52.634" v="38"/>
          <ac:picMkLst>
            <pc:docMk/>
            <pc:sldMk cId="3380302115" sldId="2147479687"/>
            <ac:picMk id="51" creationId="{1281F069-D6CE-D379-9CF8-07087C683DC2}"/>
          </ac:picMkLst>
        </pc:picChg>
        <pc:picChg chg="del">
          <ac:chgData name="Jeffrey Obi" userId="S::jeffrey.obi@ie.ey.com::488f269d-1fa2-455e-bf95-7695136a100d" providerId="AD" clId="Web-{E903064C-31A9-C84E-BA5D-0F800590E932}" dt="2023-08-03T12:36:52.634" v="36"/>
          <ac:picMkLst>
            <pc:docMk/>
            <pc:sldMk cId="3380302115" sldId="2147479687"/>
            <ac:picMk id="56" creationId="{5F271462-6325-0E56-C47B-BEE4B4B0DD6B}"/>
          </ac:picMkLst>
        </pc:picChg>
        <pc:picChg chg="del">
          <ac:chgData name="Jeffrey Obi" userId="S::jeffrey.obi@ie.ey.com::488f269d-1fa2-455e-bf95-7695136a100d" providerId="AD" clId="Web-{E903064C-31A9-C84E-BA5D-0F800590E932}" dt="2023-08-03T12:36:52.634" v="29"/>
          <ac:picMkLst>
            <pc:docMk/>
            <pc:sldMk cId="3380302115" sldId="2147479687"/>
            <ac:picMk id="70" creationId="{0E423793-9482-D8CA-8BB9-43A651062178}"/>
          </ac:picMkLst>
        </pc:picChg>
        <pc:picChg chg="del">
          <ac:chgData name="Jeffrey Obi" userId="S::jeffrey.obi@ie.ey.com::488f269d-1fa2-455e-bf95-7695136a100d" providerId="AD" clId="Web-{E903064C-31A9-C84E-BA5D-0F800590E932}" dt="2023-08-03T12:36:52.634" v="12"/>
          <ac:picMkLst>
            <pc:docMk/>
            <pc:sldMk cId="3380302115" sldId="2147479687"/>
            <ac:picMk id="107" creationId="{279C1773-01FC-D62D-FBFD-54A60BBAD7BA}"/>
          </ac:picMkLst>
        </pc:picChg>
        <pc:picChg chg="del">
          <ac:chgData name="Jeffrey Obi" userId="S::jeffrey.obi@ie.ey.com::488f269d-1fa2-455e-bf95-7695136a100d" providerId="AD" clId="Web-{E903064C-31A9-C84E-BA5D-0F800590E932}" dt="2023-08-03T12:36:52.634" v="11"/>
          <ac:picMkLst>
            <pc:docMk/>
            <pc:sldMk cId="3380302115" sldId="2147479687"/>
            <ac:picMk id="110" creationId="{A4F8056F-F636-369A-EECE-D48DFB298690}"/>
          </ac:picMkLst>
        </pc:picChg>
        <pc:picChg chg="del">
          <ac:chgData name="Jeffrey Obi" userId="S::jeffrey.obi@ie.ey.com::488f269d-1fa2-455e-bf95-7695136a100d" providerId="AD" clId="Web-{E903064C-31A9-C84E-BA5D-0F800590E932}" dt="2023-08-03T12:36:52.634" v="9"/>
          <ac:picMkLst>
            <pc:docMk/>
            <pc:sldMk cId="3380302115" sldId="2147479687"/>
            <ac:picMk id="114" creationId="{7CB705C2-662D-45A8-96E8-6DA60584843A}"/>
          </ac:picMkLst>
        </pc:picChg>
        <pc:picChg chg="del">
          <ac:chgData name="Jeffrey Obi" userId="S::jeffrey.obi@ie.ey.com::488f269d-1fa2-455e-bf95-7695136a100d" providerId="AD" clId="Web-{E903064C-31A9-C84E-BA5D-0F800590E932}" dt="2023-08-03T12:36:57.743" v="57"/>
          <ac:picMkLst>
            <pc:docMk/>
            <pc:sldMk cId="3380302115" sldId="2147479687"/>
            <ac:picMk id="20482" creationId="{F6A5B93E-DDAC-4336-B1A3-1F3F8D2D5CF6}"/>
          </ac:picMkLst>
        </pc:picChg>
        <pc:picChg chg="del">
          <ac:chgData name="Jeffrey Obi" userId="S::jeffrey.obi@ie.ey.com::488f269d-1fa2-455e-bf95-7695136a100d" providerId="AD" clId="Web-{E903064C-31A9-C84E-BA5D-0F800590E932}" dt="2023-08-03T12:36:52.634" v="7"/>
          <ac:picMkLst>
            <pc:docMk/>
            <pc:sldMk cId="3380302115" sldId="2147479687"/>
            <ac:picMk id="20486" creationId="{0E372CEC-41F2-43A4-9D28-7492B183D87B}"/>
          </ac:picMkLst>
        </pc:picChg>
        <pc:picChg chg="del">
          <ac:chgData name="Jeffrey Obi" userId="S::jeffrey.obi@ie.ey.com::488f269d-1fa2-455e-bf95-7695136a100d" providerId="AD" clId="Web-{E903064C-31A9-C84E-BA5D-0F800590E932}" dt="2023-08-03T12:36:52.634" v="6"/>
          <ac:picMkLst>
            <pc:docMk/>
            <pc:sldMk cId="3380302115" sldId="2147479687"/>
            <ac:picMk id="20488" creationId="{42729DA6-B72D-4427-AD8B-328EAD889A0D}"/>
          </ac:picMkLst>
        </pc:picChg>
        <pc:cxnChg chg="del">
          <ac:chgData name="Jeffrey Obi" userId="S::jeffrey.obi@ie.ey.com::488f269d-1fa2-455e-bf95-7695136a100d" providerId="AD" clId="Web-{E903064C-31A9-C84E-BA5D-0F800590E932}" dt="2023-08-03T12:36:52.649" v="54"/>
          <ac:cxnSpMkLst>
            <pc:docMk/>
            <pc:sldMk cId="3380302115" sldId="2147479687"/>
            <ac:cxnSpMk id="7" creationId="{011E4A00-BAA7-ACBB-4A3B-EC9133CEFCBA}"/>
          </ac:cxnSpMkLst>
        </pc:cxnChg>
        <pc:cxnChg chg="del mod">
          <ac:chgData name="Jeffrey Obi" userId="S::jeffrey.obi@ie.ey.com::488f269d-1fa2-455e-bf95-7695136a100d" providerId="AD" clId="Web-{E903064C-31A9-C84E-BA5D-0F800590E932}" dt="2023-08-03T12:36:52.634" v="32"/>
          <ac:cxnSpMkLst>
            <pc:docMk/>
            <pc:sldMk cId="3380302115" sldId="2147479687"/>
            <ac:cxnSpMk id="63" creationId="{103E5FC9-BB35-537E-7FC1-24D4E7F48083}"/>
          </ac:cxnSpMkLst>
        </pc:cxnChg>
      </pc:sldChg>
    </pc:docChg>
  </pc:docChgLst>
  <pc:docChgLst>
    <pc:chgData name="Immanuel J Daniel" userId="b9141605-49ff-443e-8af4-0c21e2766a66" providerId="ADAL" clId="{BBB34D2C-4BB8-46F0-ACA0-0E3F9D00DA23}"/>
    <pc:docChg chg="undo redo custSel addSld delSld modSld sldOrd modSection">
      <pc:chgData name="Immanuel J Daniel" userId="b9141605-49ff-443e-8af4-0c21e2766a66" providerId="ADAL" clId="{BBB34D2C-4BB8-46F0-ACA0-0E3F9D00DA23}" dt="2023-08-15T14:02:13.950" v="1279" actId="700"/>
      <pc:docMkLst>
        <pc:docMk/>
      </pc:docMkLst>
      <pc:sldChg chg="modSp mod">
        <pc:chgData name="Immanuel J Daniel" userId="b9141605-49ff-443e-8af4-0c21e2766a66" providerId="ADAL" clId="{BBB34D2C-4BB8-46F0-ACA0-0E3F9D00DA23}" dt="2023-08-15T10:55:56.220" v="3" actId="1076"/>
        <pc:sldMkLst>
          <pc:docMk/>
          <pc:sldMk cId="1674630032" sldId="329"/>
        </pc:sldMkLst>
        <pc:spChg chg="mod">
          <ac:chgData name="Immanuel J Daniel" userId="b9141605-49ff-443e-8af4-0c21e2766a66" providerId="ADAL" clId="{BBB34D2C-4BB8-46F0-ACA0-0E3F9D00DA23}" dt="2023-08-15T10:55:56.220" v="3" actId="1076"/>
          <ac:spMkLst>
            <pc:docMk/>
            <pc:sldMk cId="1674630032" sldId="329"/>
            <ac:spMk id="4" creationId="{1A081074-81FC-4714-8D93-75333A22E593}"/>
          </ac:spMkLst>
        </pc:spChg>
      </pc:sldChg>
      <pc:sldChg chg="addSp modSp mod">
        <pc:chgData name="Immanuel J Daniel" userId="b9141605-49ff-443e-8af4-0c21e2766a66" providerId="ADAL" clId="{BBB34D2C-4BB8-46F0-ACA0-0E3F9D00DA23}" dt="2023-08-15T13:25:58.634" v="1259" actId="20577"/>
        <pc:sldMkLst>
          <pc:docMk/>
          <pc:sldMk cId="2692628411" sldId="728"/>
        </pc:sldMkLst>
        <pc:spChg chg="mod">
          <ac:chgData name="Immanuel J Daniel" userId="b9141605-49ff-443e-8af4-0c21e2766a66" providerId="ADAL" clId="{BBB34D2C-4BB8-46F0-ACA0-0E3F9D00DA23}" dt="2023-08-15T13:25:58.634" v="1259" actId="20577"/>
          <ac:spMkLst>
            <pc:docMk/>
            <pc:sldMk cId="2692628411" sldId="728"/>
            <ac:spMk id="9" creationId="{00000000-0000-0000-0000-000000000000}"/>
          </ac:spMkLst>
        </pc:spChg>
        <pc:picChg chg="add mod">
          <ac:chgData name="Immanuel J Daniel" userId="b9141605-49ff-443e-8af4-0c21e2766a66" providerId="ADAL" clId="{BBB34D2C-4BB8-46F0-ACA0-0E3F9D00DA23}" dt="2023-08-15T13:25:52.318" v="1258" actId="1076"/>
          <ac:picMkLst>
            <pc:docMk/>
            <pc:sldMk cId="2692628411" sldId="728"/>
            <ac:picMk id="20482" creationId="{548560C5-6824-F9BA-1EE3-AB78ECE01A4E}"/>
          </ac:picMkLst>
        </pc:picChg>
      </pc:sldChg>
      <pc:sldChg chg="addSp delSp modSp mod modClrScheme chgLayout">
        <pc:chgData name="Immanuel J Daniel" userId="b9141605-49ff-443e-8af4-0c21e2766a66" providerId="ADAL" clId="{BBB34D2C-4BB8-46F0-ACA0-0E3F9D00DA23}" dt="2023-08-15T14:02:13.950" v="1279" actId="700"/>
        <pc:sldMkLst>
          <pc:docMk/>
          <pc:sldMk cId="1569982749" sldId="2142535160"/>
        </pc:sldMkLst>
        <pc:spChg chg="mod ord">
          <ac:chgData name="Immanuel J Daniel" userId="b9141605-49ff-443e-8af4-0c21e2766a66" providerId="ADAL" clId="{BBB34D2C-4BB8-46F0-ACA0-0E3F9D00DA23}" dt="2023-08-15T14:02:13.950" v="1279" actId="700"/>
          <ac:spMkLst>
            <pc:docMk/>
            <pc:sldMk cId="1569982749" sldId="2142535160"/>
            <ac:spMk id="3" creationId="{A8980307-3BD1-45D9-93CC-5318A49838A0}"/>
          </ac:spMkLst>
        </pc:spChg>
        <pc:spChg chg="add del mod">
          <ac:chgData name="Immanuel J Daniel" userId="b9141605-49ff-443e-8af4-0c21e2766a66" providerId="ADAL" clId="{BBB34D2C-4BB8-46F0-ACA0-0E3F9D00DA23}" dt="2023-08-15T14:01:25.610" v="1275"/>
          <ac:spMkLst>
            <pc:docMk/>
            <pc:sldMk cId="1569982749" sldId="2142535160"/>
            <ac:spMk id="11" creationId="{F28FCDFA-F2A5-3C7F-809F-3B462DA00EDF}"/>
          </ac:spMkLst>
        </pc:spChg>
        <pc:spChg chg="add del mod">
          <ac:chgData name="Immanuel J Daniel" userId="b9141605-49ff-443e-8af4-0c21e2766a66" providerId="ADAL" clId="{BBB34D2C-4BB8-46F0-ACA0-0E3F9D00DA23}" dt="2023-08-15T14:01:32.624" v="1276"/>
          <ac:spMkLst>
            <pc:docMk/>
            <pc:sldMk cId="1569982749" sldId="2142535160"/>
            <ac:spMk id="12" creationId="{575DC6F0-AE00-B9ED-C1E6-1E23D6964B58}"/>
          </ac:spMkLst>
        </pc:spChg>
        <pc:spChg chg="add del mod">
          <ac:chgData name="Immanuel J Daniel" userId="b9141605-49ff-443e-8af4-0c21e2766a66" providerId="ADAL" clId="{BBB34D2C-4BB8-46F0-ACA0-0E3F9D00DA23}" dt="2023-08-15T14:01:32.624" v="1276"/>
          <ac:spMkLst>
            <pc:docMk/>
            <pc:sldMk cId="1569982749" sldId="2142535160"/>
            <ac:spMk id="13" creationId="{C6B54933-3E94-65C5-6A4A-EB6DE26B1FC1}"/>
          </ac:spMkLst>
        </pc:spChg>
        <pc:spChg chg="add del mod">
          <ac:chgData name="Immanuel J Daniel" userId="b9141605-49ff-443e-8af4-0c21e2766a66" providerId="ADAL" clId="{BBB34D2C-4BB8-46F0-ACA0-0E3F9D00DA23}" dt="2023-08-15T14:01:36.139" v="1277"/>
          <ac:spMkLst>
            <pc:docMk/>
            <pc:sldMk cId="1569982749" sldId="2142535160"/>
            <ac:spMk id="14" creationId="{82F4D91A-8080-5C5A-0106-98C90CD101F3}"/>
          </ac:spMkLst>
        </pc:spChg>
        <pc:spChg chg="add del mod">
          <ac:chgData name="Immanuel J Daniel" userId="b9141605-49ff-443e-8af4-0c21e2766a66" providerId="ADAL" clId="{BBB34D2C-4BB8-46F0-ACA0-0E3F9D00DA23}" dt="2023-08-15T14:01:36.139" v="1277"/>
          <ac:spMkLst>
            <pc:docMk/>
            <pc:sldMk cId="1569982749" sldId="2142535160"/>
            <ac:spMk id="15" creationId="{A6281261-0012-B6A8-0444-82F2A7508A13}"/>
          </ac:spMkLst>
        </pc:spChg>
        <pc:spChg chg="add del mod ord">
          <ac:chgData name="Immanuel J Daniel" userId="b9141605-49ff-443e-8af4-0c21e2766a66" providerId="ADAL" clId="{BBB34D2C-4BB8-46F0-ACA0-0E3F9D00DA23}" dt="2023-08-15T14:02:13.950" v="1279" actId="700"/>
          <ac:spMkLst>
            <pc:docMk/>
            <pc:sldMk cId="1569982749" sldId="2142535160"/>
            <ac:spMk id="16" creationId="{3CADC340-898D-BB97-05BF-627A5421ADA1}"/>
          </ac:spMkLst>
        </pc:spChg>
        <pc:spChg chg="add del mod ord">
          <ac:chgData name="Immanuel J Daniel" userId="b9141605-49ff-443e-8af4-0c21e2766a66" providerId="ADAL" clId="{BBB34D2C-4BB8-46F0-ACA0-0E3F9D00DA23}" dt="2023-08-15T14:02:13.950" v="1279" actId="700"/>
          <ac:spMkLst>
            <pc:docMk/>
            <pc:sldMk cId="1569982749" sldId="2142535160"/>
            <ac:spMk id="17" creationId="{A1204FAE-485A-3269-2456-0CFFE1C8576F}"/>
          </ac:spMkLst>
        </pc:spChg>
      </pc:sldChg>
      <pc:sldChg chg="del">
        <pc:chgData name="Immanuel J Daniel" userId="b9141605-49ff-443e-8af4-0c21e2766a66" providerId="ADAL" clId="{BBB34D2C-4BB8-46F0-ACA0-0E3F9D00DA23}" dt="2023-08-15T10:49:26.493" v="0" actId="2696"/>
        <pc:sldMkLst>
          <pc:docMk/>
          <pc:sldMk cId="899793934" sldId="2147473120"/>
        </pc:sldMkLst>
      </pc:sldChg>
      <pc:sldChg chg="modSp mod">
        <pc:chgData name="Immanuel J Daniel" userId="b9141605-49ff-443e-8af4-0c21e2766a66" providerId="ADAL" clId="{BBB34D2C-4BB8-46F0-ACA0-0E3F9D00DA23}" dt="2023-08-15T11:35:17.973" v="236"/>
        <pc:sldMkLst>
          <pc:docMk/>
          <pc:sldMk cId="1597229887" sldId="2147473161"/>
        </pc:sldMkLst>
        <pc:graphicFrameChg chg="mod">
          <ac:chgData name="Immanuel J Daniel" userId="b9141605-49ff-443e-8af4-0c21e2766a66" providerId="ADAL" clId="{BBB34D2C-4BB8-46F0-ACA0-0E3F9D00DA23}" dt="2023-08-15T11:35:17.973" v="236"/>
          <ac:graphicFrameMkLst>
            <pc:docMk/>
            <pc:sldMk cId="1597229887" sldId="2147473161"/>
            <ac:graphicFrameMk id="10" creationId="{DEF1C875-55F5-40A5-AF79-1EF6B560E6B8}"/>
          </ac:graphicFrameMkLst>
        </pc:graphicFrameChg>
      </pc:sldChg>
      <pc:sldChg chg="modSp mod">
        <pc:chgData name="Immanuel J Daniel" userId="b9141605-49ff-443e-8af4-0c21e2766a66" providerId="ADAL" clId="{BBB34D2C-4BB8-46F0-ACA0-0E3F9D00DA23}" dt="2023-08-15T12:58:57.565" v="1170"/>
        <pc:sldMkLst>
          <pc:docMk/>
          <pc:sldMk cId="653093163" sldId="2147473164"/>
        </pc:sldMkLst>
        <pc:graphicFrameChg chg="mod modGraphic">
          <ac:chgData name="Immanuel J Daniel" userId="b9141605-49ff-443e-8af4-0c21e2766a66" providerId="ADAL" clId="{BBB34D2C-4BB8-46F0-ACA0-0E3F9D00DA23}" dt="2023-08-15T12:58:57.565" v="1170"/>
          <ac:graphicFrameMkLst>
            <pc:docMk/>
            <pc:sldMk cId="653093163" sldId="2147473164"/>
            <ac:graphicFrameMk id="10" creationId="{DEF1C875-55F5-40A5-AF79-1EF6B560E6B8}"/>
          </ac:graphicFrameMkLst>
        </pc:graphicFrameChg>
      </pc:sldChg>
      <pc:sldChg chg="del">
        <pc:chgData name="Immanuel J Daniel" userId="b9141605-49ff-443e-8af4-0c21e2766a66" providerId="ADAL" clId="{BBB34D2C-4BB8-46F0-ACA0-0E3F9D00DA23}" dt="2023-08-15T10:49:33.228" v="1" actId="2696"/>
        <pc:sldMkLst>
          <pc:docMk/>
          <pc:sldMk cId="869705999" sldId="2147479559"/>
        </pc:sldMkLst>
      </pc:sldChg>
      <pc:sldChg chg="del">
        <pc:chgData name="Immanuel J Daniel" userId="b9141605-49ff-443e-8af4-0c21e2766a66" providerId="ADAL" clId="{BBB34D2C-4BB8-46F0-ACA0-0E3F9D00DA23}" dt="2023-08-15T11:06:20.440" v="4" actId="2696"/>
        <pc:sldMkLst>
          <pc:docMk/>
          <pc:sldMk cId="2074381867" sldId="2147479609"/>
        </pc:sldMkLst>
      </pc:sldChg>
      <pc:sldChg chg="del">
        <pc:chgData name="Immanuel J Daniel" userId="b9141605-49ff-443e-8af4-0c21e2766a66" providerId="ADAL" clId="{BBB34D2C-4BB8-46F0-ACA0-0E3F9D00DA23}" dt="2023-08-15T11:23:07.488" v="51" actId="2696"/>
        <pc:sldMkLst>
          <pc:docMk/>
          <pc:sldMk cId="1412110567" sldId="2147479649"/>
        </pc:sldMkLst>
      </pc:sldChg>
      <pc:sldChg chg="addSp delSp del mod">
        <pc:chgData name="Immanuel J Daniel" userId="b9141605-49ff-443e-8af4-0c21e2766a66" providerId="ADAL" clId="{BBB34D2C-4BB8-46F0-ACA0-0E3F9D00DA23}" dt="2023-08-15T11:23:07.488" v="51" actId="2696"/>
        <pc:sldMkLst>
          <pc:docMk/>
          <pc:sldMk cId="3733227749" sldId="2147479650"/>
        </pc:sldMkLst>
        <pc:spChg chg="add del">
          <ac:chgData name="Immanuel J Daniel" userId="b9141605-49ff-443e-8af4-0c21e2766a66" providerId="ADAL" clId="{BBB34D2C-4BB8-46F0-ACA0-0E3F9D00DA23}" dt="2023-08-15T11:18:10.487" v="6" actId="22"/>
          <ac:spMkLst>
            <pc:docMk/>
            <pc:sldMk cId="3733227749" sldId="2147479650"/>
            <ac:spMk id="3" creationId="{57541825-FEF7-8291-F402-62086F76FCE4}"/>
          </ac:spMkLst>
        </pc:spChg>
        <pc:spChg chg="add del">
          <ac:chgData name="Immanuel J Daniel" userId="b9141605-49ff-443e-8af4-0c21e2766a66" providerId="ADAL" clId="{BBB34D2C-4BB8-46F0-ACA0-0E3F9D00DA23}" dt="2023-08-15T11:18:16.528" v="8" actId="22"/>
          <ac:spMkLst>
            <pc:docMk/>
            <pc:sldMk cId="3733227749" sldId="2147479650"/>
            <ac:spMk id="5" creationId="{AD0F072B-FC40-FA6B-B259-A2F4AFE44825}"/>
          </ac:spMkLst>
        </pc:spChg>
      </pc:sldChg>
      <pc:sldChg chg="del">
        <pc:chgData name="Immanuel J Daniel" userId="b9141605-49ff-443e-8af4-0c21e2766a66" providerId="ADAL" clId="{BBB34D2C-4BB8-46F0-ACA0-0E3F9D00DA23}" dt="2023-08-15T11:19:31.366" v="10" actId="2696"/>
        <pc:sldMkLst>
          <pc:docMk/>
          <pc:sldMk cId="3656600548" sldId="2147479654"/>
        </pc:sldMkLst>
      </pc:sldChg>
      <pc:sldChg chg="addSp delSp modSp mod addCm">
        <pc:chgData name="Immanuel J Daniel" userId="b9141605-49ff-443e-8af4-0c21e2766a66" providerId="ADAL" clId="{BBB34D2C-4BB8-46F0-ACA0-0E3F9D00DA23}" dt="2023-08-15T13:15:03.116" v="1256"/>
        <pc:sldMkLst>
          <pc:docMk/>
          <pc:sldMk cId="3501663959" sldId="2147479688"/>
        </pc:sldMkLst>
        <pc:spChg chg="add del mod">
          <ac:chgData name="Immanuel J Daniel" userId="b9141605-49ff-443e-8af4-0c21e2766a66" providerId="ADAL" clId="{BBB34D2C-4BB8-46F0-ACA0-0E3F9D00DA23}" dt="2023-08-15T13:10:17.916" v="1216"/>
          <ac:spMkLst>
            <pc:docMk/>
            <pc:sldMk cId="3501663959" sldId="2147479688"/>
            <ac:spMk id="68" creationId="{5395A793-2A71-C476-32C1-FEB377A2E616}"/>
          </ac:spMkLst>
        </pc:spChg>
        <pc:spChg chg="mod">
          <ac:chgData name="Immanuel J Daniel" userId="b9141605-49ff-443e-8af4-0c21e2766a66" providerId="ADAL" clId="{BBB34D2C-4BB8-46F0-ACA0-0E3F9D00DA23}" dt="2023-08-15T13:12:22.910" v="1230" actId="20577"/>
          <ac:spMkLst>
            <pc:docMk/>
            <pc:sldMk cId="3501663959" sldId="2147479688"/>
            <ac:spMk id="71" creationId="{42DDC902-E9D7-2E68-8B23-6BB9E8027F1A}"/>
          </ac:spMkLst>
        </pc:spChg>
        <pc:spChg chg="mod">
          <ac:chgData name="Immanuel J Daniel" userId="b9141605-49ff-443e-8af4-0c21e2766a66" providerId="ADAL" clId="{BBB34D2C-4BB8-46F0-ACA0-0E3F9D00DA23}" dt="2023-08-15T13:13:39.012" v="1255" actId="20577"/>
          <ac:spMkLst>
            <pc:docMk/>
            <pc:sldMk cId="3501663959" sldId="2147479688"/>
            <ac:spMk id="72" creationId="{43B51091-BA4B-8F53-FA2F-5AD58744DF3F}"/>
          </ac:spMkLst>
        </pc:spChg>
        <pc:spChg chg="add mod">
          <ac:chgData name="Immanuel J Daniel" userId="b9141605-49ff-443e-8af4-0c21e2766a66" providerId="ADAL" clId="{BBB34D2C-4BB8-46F0-ACA0-0E3F9D00DA23}" dt="2023-08-15T13:10:31.054" v="1218" actId="1076"/>
          <ac:spMkLst>
            <pc:docMk/>
            <pc:sldMk cId="3501663959" sldId="2147479688"/>
            <ac:spMk id="74" creationId="{1248AFF0-EAF2-CF29-DADF-5099AD97D0E5}"/>
          </ac:spMkLst>
        </pc:spChg>
        <pc:spChg chg="mod">
          <ac:chgData name="Immanuel J Daniel" userId="b9141605-49ff-443e-8af4-0c21e2766a66" providerId="ADAL" clId="{BBB34D2C-4BB8-46F0-ACA0-0E3F9D00DA23}" dt="2023-08-15T13:13:09.337" v="1245" actId="20577"/>
          <ac:spMkLst>
            <pc:docMk/>
            <pc:sldMk cId="3501663959" sldId="2147479688"/>
            <ac:spMk id="76" creationId="{B5E8AE25-83B1-C9BD-3062-E3A377E56425}"/>
          </ac:spMkLst>
        </pc:spChg>
        <pc:spChg chg="mod">
          <ac:chgData name="Immanuel J Daniel" userId="b9141605-49ff-443e-8af4-0c21e2766a66" providerId="ADAL" clId="{BBB34D2C-4BB8-46F0-ACA0-0E3F9D00DA23}" dt="2023-08-15T13:10:33.387" v="1219"/>
          <ac:spMkLst>
            <pc:docMk/>
            <pc:sldMk cId="3501663959" sldId="2147479688"/>
            <ac:spMk id="77" creationId="{FB9BC1C9-9238-EDFD-CEAC-BB620E8D13F7}"/>
          </ac:spMkLst>
        </pc:spChg>
        <pc:spChg chg="add mod">
          <ac:chgData name="Immanuel J Daniel" userId="b9141605-49ff-443e-8af4-0c21e2766a66" providerId="ADAL" clId="{BBB34D2C-4BB8-46F0-ACA0-0E3F9D00DA23}" dt="2023-08-15T13:10:39.859" v="1220" actId="1076"/>
          <ac:spMkLst>
            <pc:docMk/>
            <pc:sldMk cId="3501663959" sldId="2147479688"/>
            <ac:spMk id="79" creationId="{88216D67-7690-1DCF-8305-DD3182737313}"/>
          </ac:spMkLst>
        </pc:spChg>
        <pc:spChg chg="mod">
          <ac:chgData name="Immanuel J Daniel" userId="b9141605-49ff-443e-8af4-0c21e2766a66" providerId="ADAL" clId="{BBB34D2C-4BB8-46F0-ACA0-0E3F9D00DA23}" dt="2023-08-15T13:10:14.660" v="1214" actId="1076"/>
          <ac:spMkLst>
            <pc:docMk/>
            <pc:sldMk cId="3501663959" sldId="2147479688"/>
            <ac:spMk id="94" creationId="{5A5B1628-7D2E-90A3-91AE-72A7A3A053CE}"/>
          </ac:spMkLst>
        </pc:spChg>
        <pc:grpChg chg="add mod">
          <ac:chgData name="Immanuel J Daniel" userId="b9141605-49ff-443e-8af4-0c21e2766a66" providerId="ADAL" clId="{BBB34D2C-4BB8-46F0-ACA0-0E3F9D00DA23}" dt="2023-08-15T13:10:31.054" v="1218" actId="1076"/>
          <ac:grpSpMkLst>
            <pc:docMk/>
            <pc:sldMk cId="3501663959" sldId="2147479688"/>
            <ac:grpSpMk id="70" creationId="{81AA2C7E-8340-2875-F29D-40AF53D664D7}"/>
          </ac:grpSpMkLst>
        </pc:grpChg>
        <pc:grpChg chg="add mod">
          <ac:chgData name="Immanuel J Daniel" userId="b9141605-49ff-443e-8af4-0c21e2766a66" providerId="ADAL" clId="{BBB34D2C-4BB8-46F0-ACA0-0E3F9D00DA23}" dt="2023-08-15T13:10:39.859" v="1220" actId="1076"/>
          <ac:grpSpMkLst>
            <pc:docMk/>
            <pc:sldMk cId="3501663959" sldId="2147479688"/>
            <ac:grpSpMk id="75" creationId="{47E71113-B975-6E4D-0F6F-C7220E92AF09}"/>
          </ac:grpSpMkLst>
        </pc:grpChg>
        <pc:picChg chg="mod">
          <ac:chgData name="Immanuel J Daniel" userId="b9141605-49ff-443e-8af4-0c21e2766a66" providerId="ADAL" clId="{BBB34D2C-4BB8-46F0-ACA0-0E3F9D00DA23}" dt="2023-08-15T13:10:28.054" v="1217"/>
          <ac:picMkLst>
            <pc:docMk/>
            <pc:sldMk cId="3501663959" sldId="2147479688"/>
            <ac:picMk id="73" creationId="{360660FF-DCDF-2E68-C52A-D2A89E56A611}"/>
          </ac:picMkLst>
        </pc:picChg>
        <pc:picChg chg="mod">
          <ac:chgData name="Immanuel J Daniel" userId="b9141605-49ff-443e-8af4-0c21e2766a66" providerId="ADAL" clId="{BBB34D2C-4BB8-46F0-ACA0-0E3F9D00DA23}" dt="2023-08-15T13:10:33.387" v="1219"/>
          <ac:picMkLst>
            <pc:docMk/>
            <pc:sldMk cId="3501663959" sldId="2147479688"/>
            <ac:picMk id="78" creationId="{7388DF70-98E9-94F5-AD51-A6B66694BE52}"/>
          </ac:picMkLst>
        </pc:picChg>
      </pc:sldChg>
      <pc:sldChg chg="add del">
        <pc:chgData name="Immanuel J Daniel" userId="b9141605-49ff-443e-8af4-0c21e2766a66" providerId="ADAL" clId="{BBB34D2C-4BB8-46F0-ACA0-0E3F9D00DA23}" dt="2023-08-15T11:23:07.488" v="51" actId="2696"/>
        <pc:sldMkLst>
          <pc:docMk/>
          <pc:sldMk cId="1378313707" sldId="2147479696"/>
        </pc:sldMkLst>
      </pc:sldChg>
      <pc:sldChg chg="modSp mod">
        <pc:chgData name="Immanuel J Daniel" userId="b9141605-49ff-443e-8af4-0c21e2766a66" providerId="ADAL" clId="{BBB34D2C-4BB8-46F0-ACA0-0E3F9D00DA23}" dt="2023-08-15T11:25:33.359" v="104" actId="20577"/>
        <pc:sldMkLst>
          <pc:docMk/>
          <pc:sldMk cId="1750436213" sldId="2147479701"/>
        </pc:sldMkLst>
        <pc:spChg chg="mod">
          <ac:chgData name="Immanuel J Daniel" userId="b9141605-49ff-443e-8af4-0c21e2766a66" providerId="ADAL" clId="{BBB34D2C-4BB8-46F0-ACA0-0E3F9D00DA23}" dt="2023-08-15T11:25:33.359" v="104" actId="20577"/>
          <ac:spMkLst>
            <pc:docMk/>
            <pc:sldMk cId="1750436213" sldId="2147479701"/>
            <ac:spMk id="4" creationId="{E432C490-8501-4DEB-9800-36DD8F00D9DA}"/>
          </ac:spMkLst>
        </pc:spChg>
      </pc:sldChg>
      <pc:sldChg chg="modSp add mod setBg">
        <pc:chgData name="Immanuel J Daniel" userId="b9141605-49ff-443e-8af4-0c21e2766a66" providerId="ADAL" clId="{BBB34D2C-4BB8-46F0-ACA0-0E3F9D00DA23}" dt="2023-08-15T11:25:51.805" v="134" actId="20577"/>
        <pc:sldMkLst>
          <pc:docMk/>
          <pc:sldMk cId="1324215169" sldId="2147479710"/>
        </pc:sldMkLst>
        <pc:spChg chg="mod">
          <ac:chgData name="Immanuel J Daniel" userId="b9141605-49ff-443e-8af4-0c21e2766a66" providerId="ADAL" clId="{BBB34D2C-4BB8-46F0-ACA0-0E3F9D00DA23}" dt="2023-08-15T11:25:51.805" v="134" actId="20577"/>
          <ac:spMkLst>
            <pc:docMk/>
            <pc:sldMk cId="1324215169" sldId="2147479710"/>
            <ac:spMk id="2" creationId="{35CD8BED-68CF-D983-C8AF-A9AD64B592B0}"/>
          </ac:spMkLst>
        </pc:spChg>
        <pc:spChg chg="mod">
          <ac:chgData name="Immanuel J Daniel" userId="b9141605-49ff-443e-8af4-0c21e2766a66" providerId="ADAL" clId="{BBB34D2C-4BB8-46F0-ACA0-0E3F9D00DA23}" dt="2023-08-15T11:21:51.088" v="47" actId="20577"/>
          <ac:spMkLst>
            <pc:docMk/>
            <pc:sldMk cId="1324215169" sldId="2147479710"/>
            <ac:spMk id="4" creationId="{E432C490-8501-4DEB-9800-36DD8F00D9DA}"/>
          </ac:spMkLst>
        </pc:spChg>
        <pc:spChg chg="mod">
          <ac:chgData name="Immanuel J Daniel" userId="b9141605-49ff-443e-8af4-0c21e2766a66" providerId="ADAL" clId="{BBB34D2C-4BB8-46F0-ACA0-0E3F9D00DA23}" dt="2023-08-15T11:22:02.977" v="49" actId="20577"/>
          <ac:spMkLst>
            <pc:docMk/>
            <pc:sldMk cId="1324215169" sldId="2147479710"/>
            <ac:spMk id="5" creationId="{82ACE101-9079-4B28-90D1-41FFC709BAB0}"/>
          </ac:spMkLst>
        </pc:spChg>
      </pc:sldChg>
      <pc:sldChg chg="modSp add mod setBg">
        <pc:chgData name="Immanuel J Daniel" userId="b9141605-49ff-443e-8af4-0c21e2766a66" providerId="ADAL" clId="{BBB34D2C-4BB8-46F0-ACA0-0E3F9D00DA23}" dt="2023-08-15T11:24:42.303" v="80" actId="20577"/>
        <pc:sldMkLst>
          <pc:docMk/>
          <pc:sldMk cId="178545981" sldId="2147479711"/>
        </pc:sldMkLst>
        <pc:spChg chg="mod">
          <ac:chgData name="Immanuel J Daniel" userId="b9141605-49ff-443e-8af4-0c21e2766a66" providerId="ADAL" clId="{BBB34D2C-4BB8-46F0-ACA0-0E3F9D00DA23}" dt="2023-08-15T11:24:42.303" v="80" actId="20577"/>
          <ac:spMkLst>
            <pc:docMk/>
            <pc:sldMk cId="178545981" sldId="2147479711"/>
            <ac:spMk id="4" creationId="{E432C490-8501-4DEB-9800-36DD8F00D9DA}"/>
          </ac:spMkLst>
        </pc:spChg>
      </pc:sldChg>
      <pc:sldChg chg="modSp add mod">
        <pc:chgData name="Immanuel J Daniel" userId="b9141605-49ff-443e-8af4-0c21e2766a66" providerId="ADAL" clId="{BBB34D2C-4BB8-46F0-ACA0-0E3F9D00DA23}" dt="2023-08-15T11:25:08.434" v="100" actId="20577"/>
        <pc:sldMkLst>
          <pc:docMk/>
          <pc:sldMk cId="564349434" sldId="2147479712"/>
        </pc:sldMkLst>
        <pc:spChg chg="mod">
          <ac:chgData name="Immanuel J Daniel" userId="b9141605-49ff-443e-8af4-0c21e2766a66" providerId="ADAL" clId="{BBB34D2C-4BB8-46F0-ACA0-0E3F9D00DA23}" dt="2023-08-15T11:25:08.434" v="100" actId="20577"/>
          <ac:spMkLst>
            <pc:docMk/>
            <pc:sldMk cId="564349434" sldId="2147479712"/>
            <ac:spMk id="4" creationId="{E432C490-8501-4DEB-9800-36DD8F00D9DA}"/>
          </ac:spMkLst>
        </pc:spChg>
      </pc:sldChg>
      <pc:sldChg chg="addSp delSp modSp new del mod ord">
        <pc:chgData name="Immanuel J Daniel" userId="b9141605-49ff-443e-8af4-0c21e2766a66" providerId="ADAL" clId="{BBB34D2C-4BB8-46F0-ACA0-0E3F9D00DA23}" dt="2023-08-15T13:06:22.436" v="1194" actId="2696"/>
        <pc:sldMkLst>
          <pc:docMk/>
          <pc:sldMk cId="367146974" sldId="2147479713"/>
        </pc:sldMkLst>
        <pc:spChg chg="add del">
          <ac:chgData name="Immanuel J Daniel" userId="b9141605-49ff-443e-8af4-0c21e2766a66" providerId="ADAL" clId="{BBB34D2C-4BB8-46F0-ACA0-0E3F9D00DA23}" dt="2023-08-15T11:27:33.708" v="167" actId="3680"/>
          <ac:spMkLst>
            <pc:docMk/>
            <pc:sldMk cId="367146974" sldId="2147479713"/>
            <ac:spMk id="2" creationId="{B67B4B93-D6C5-BC75-8CF4-8B59E4975961}"/>
          </ac:spMkLst>
        </pc:spChg>
        <pc:spChg chg="mod ord">
          <ac:chgData name="Immanuel J Daniel" userId="b9141605-49ff-443e-8af4-0c21e2766a66" providerId="ADAL" clId="{BBB34D2C-4BB8-46F0-ACA0-0E3F9D00DA23}" dt="2023-08-15T11:48:18.411" v="847"/>
          <ac:spMkLst>
            <pc:docMk/>
            <pc:sldMk cId="367146974" sldId="2147479713"/>
            <ac:spMk id="3" creationId="{2F85AD55-6809-C096-2725-463B8AB88CAD}"/>
          </ac:spMkLst>
        </pc:spChg>
        <pc:spChg chg="add del mod">
          <ac:chgData name="Immanuel J Daniel" userId="b9141605-49ff-443e-8af4-0c21e2766a66" providerId="ADAL" clId="{BBB34D2C-4BB8-46F0-ACA0-0E3F9D00DA23}" dt="2023-08-15T11:30:36.144" v="193" actId="3680"/>
          <ac:spMkLst>
            <pc:docMk/>
            <pc:sldMk cId="367146974" sldId="2147479713"/>
            <ac:spMk id="8" creationId="{15BB5D83-980E-2400-47A9-0075F996BAC1}"/>
          </ac:spMkLst>
        </pc:spChg>
        <pc:spChg chg="add del mod">
          <ac:chgData name="Immanuel J Daniel" userId="b9141605-49ff-443e-8af4-0c21e2766a66" providerId="ADAL" clId="{BBB34D2C-4BB8-46F0-ACA0-0E3F9D00DA23}" dt="2023-08-15T11:36:14.484" v="245" actId="3680"/>
          <ac:spMkLst>
            <pc:docMk/>
            <pc:sldMk cId="367146974" sldId="2147479713"/>
            <ac:spMk id="12" creationId="{10153ED3-907C-2EF6-8BC1-67279CBDB0A2}"/>
          </ac:spMkLst>
        </pc:spChg>
        <pc:graphicFrameChg chg="add del mod ord modGraphic">
          <ac:chgData name="Immanuel J Daniel" userId="b9141605-49ff-443e-8af4-0c21e2766a66" providerId="ADAL" clId="{BBB34D2C-4BB8-46F0-ACA0-0E3F9D00DA23}" dt="2023-08-15T11:30:17.138" v="190" actId="478"/>
          <ac:graphicFrameMkLst>
            <pc:docMk/>
            <pc:sldMk cId="367146974" sldId="2147479713"/>
            <ac:graphicFrameMk id="6" creationId="{C86CCFB0-5CA9-1376-47D9-F20D6AE754D0}"/>
          </ac:graphicFrameMkLst>
        </pc:graphicFrameChg>
        <pc:graphicFrameChg chg="add del mod ord modGraphic">
          <ac:chgData name="Immanuel J Daniel" userId="b9141605-49ff-443e-8af4-0c21e2766a66" providerId="ADAL" clId="{BBB34D2C-4BB8-46F0-ACA0-0E3F9D00DA23}" dt="2023-08-15T11:30:29.973" v="192" actId="3680"/>
          <ac:graphicFrameMkLst>
            <pc:docMk/>
            <pc:sldMk cId="367146974" sldId="2147479713"/>
            <ac:graphicFrameMk id="9" creationId="{8FD9F75E-7591-B390-B3BF-85C70554FAFA}"/>
          </ac:graphicFrameMkLst>
        </pc:graphicFrameChg>
        <pc:graphicFrameChg chg="add del mod ord modGraphic">
          <ac:chgData name="Immanuel J Daniel" userId="b9141605-49ff-443e-8af4-0c21e2766a66" providerId="ADAL" clId="{BBB34D2C-4BB8-46F0-ACA0-0E3F9D00DA23}" dt="2023-08-15T11:34:01.870" v="230" actId="478"/>
          <ac:graphicFrameMkLst>
            <pc:docMk/>
            <pc:sldMk cId="367146974" sldId="2147479713"/>
            <ac:graphicFrameMk id="10" creationId="{7603D895-64D7-7271-5E14-FD0AF881D831}"/>
          </ac:graphicFrameMkLst>
        </pc:graphicFrameChg>
        <pc:graphicFrameChg chg="add mod ord modGraphic">
          <ac:chgData name="Immanuel J Daniel" userId="b9141605-49ff-443e-8af4-0c21e2766a66" providerId="ADAL" clId="{BBB34D2C-4BB8-46F0-ACA0-0E3F9D00DA23}" dt="2023-08-15T13:02:46.779" v="1178" actId="122"/>
          <ac:graphicFrameMkLst>
            <pc:docMk/>
            <pc:sldMk cId="367146974" sldId="2147479713"/>
            <ac:graphicFrameMk id="15" creationId="{81CCA893-5405-A8E1-3AAF-1347E3F5144B}"/>
          </ac:graphicFrameMkLst>
        </pc:graphicFrameChg>
        <pc:picChg chg="add del mod ord">
          <ac:chgData name="Immanuel J Daniel" userId="b9141605-49ff-443e-8af4-0c21e2766a66" providerId="ADAL" clId="{BBB34D2C-4BB8-46F0-ACA0-0E3F9D00DA23}" dt="2023-08-15T11:27:13.058" v="166" actId="22"/>
          <ac:picMkLst>
            <pc:docMk/>
            <pc:sldMk cId="367146974" sldId="2147479713"/>
            <ac:picMk id="5" creationId="{58143023-7696-8352-9767-885F014A2B13}"/>
          </ac:picMkLst>
        </pc:picChg>
        <pc:picChg chg="add del mod ord">
          <ac:chgData name="Immanuel J Daniel" userId="b9141605-49ff-443e-8af4-0c21e2766a66" providerId="ADAL" clId="{BBB34D2C-4BB8-46F0-ACA0-0E3F9D00DA23}" dt="2023-08-15T11:34:33.812" v="234" actId="22"/>
          <ac:picMkLst>
            <pc:docMk/>
            <pc:sldMk cId="367146974" sldId="2147479713"/>
            <ac:picMk id="14" creationId="{855F1014-C3D1-AE7F-9842-C7FB7E0AD5A5}"/>
          </ac:picMkLst>
        </pc:picChg>
      </pc:sldChg>
      <pc:sldChg chg="addSp delSp modSp new del mod">
        <pc:chgData name="Immanuel J Daniel" userId="b9141605-49ff-443e-8af4-0c21e2766a66" providerId="ADAL" clId="{BBB34D2C-4BB8-46F0-ACA0-0E3F9D00DA23}" dt="2023-08-15T13:07:14.919" v="1211" actId="2696"/>
        <pc:sldMkLst>
          <pc:docMk/>
          <pc:sldMk cId="3432016600" sldId="2147479714"/>
        </pc:sldMkLst>
        <pc:spChg chg="del">
          <ac:chgData name="Immanuel J Daniel" userId="b9141605-49ff-443e-8af4-0c21e2766a66" providerId="ADAL" clId="{BBB34D2C-4BB8-46F0-ACA0-0E3F9D00DA23}" dt="2023-08-15T11:48:42.021" v="860" actId="3680"/>
          <ac:spMkLst>
            <pc:docMk/>
            <pc:sldMk cId="3432016600" sldId="2147479714"/>
            <ac:spMk id="2" creationId="{BA3278BA-4309-0B98-C483-3309F87FF8BB}"/>
          </ac:spMkLst>
        </pc:spChg>
        <pc:spChg chg="mod">
          <ac:chgData name="Immanuel J Daniel" userId="b9141605-49ff-443e-8af4-0c21e2766a66" providerId="ADAL" clId="{BBB34D2C-4BB8-46F0-ACA0-0E3F9D00DA23}" dt="2023-08-15T11:48:30.298" v="859" actId="20577"/>
          <ac:spMkLst>
            <pc:docMk/>
            <pc:sldMk cId="3432016600" sldId="2147479714"/>
            <ac:spMk id="3" creationId="{DC8834FA-4F9E-DEE0-9E93-ED611607AB2B}"/>
          </ac:spMkLst>
        </pc:spChg>
        <pc:spChg chg="add del mod">
          <ac:chgData name="Immanuel J Daniel" userId="b9141605-49ff-443e-8af4-0c21e2766a66" providerId="ADAL" clId="{BBB34D2C-4BB8-46F0-ACA0-0E3F9D00DA23}" dt="2023-08-15T11:49:22.221" v="866" actId="3680"/>
          <ac:spMkLst>
            <pc:docMk/>
            <pc:sldMk cId="3432016600" sldId="2147479714"/>
            <ac:spMk id="6" creationId="{9117C9D8-4AAA-AF35-83BF-1E14F028DFBC}"/>
          </ac:spMkLst>
        </pc:spChg>
        <pc:graphicFrameChg chg="add del mod ord modGraphic">
          <ac:chgData name="Immanuel J Daniel" userId="b9141605-49ff-443e-8af4-0c21e2766a66" providerId="ADAL" clId="{BBB34D2C-4BB8-46F0-ACA0-0E3F9D00DA23}" dt="2023-08-15T11:49:16.018" v="865" actId="478"/>
          <ac:graphicFrameMkLst>
            <pc:docMk/>
            <pc:sldMk cId="3432016600" sldId="2147479714"/>
            <ac:graphicFrameMk id="4" creationId="{F7A14A75-5C47-4D55-EA87-6292EC33749F}"/>
          </ac:graphicFrameMkLst>
        </pc:graphicFrameChg>
        <pc:graphicFrameChg chg="add mod ord modGraphic">
          <ac:chgData name="Immanuel J Daniel" userId="b9141605-49ff-443e-8af4-0c21e2766a66" providerId="ADAL" clId="{BBB34D2C-4BB8-46F0-ACA0-0E3F9D00DA23}" dt="2023-08-15T12:59:16.868" v="1174" actId="108"/>
          <ac:graphicFrameMkLst>
            <pc:docMk/>
            <pc:sldMk cId="3432016600" sldId="2147479714"/>
            <ac:graphicFrameMk id="7" creationId="{23F64133-1B3B-A4DB-1518-96C2E88647FC}"/>
          </ac:graphicFrameMkLst>
        </pc:graphicFrameChg>
      </pc:sldChg>
      <pc:sldChg chg="add del">
        <pc:chgData name="Immanuel J Daniel" userId="b9141605-49ff-443e-8af4-0c21e2766a66" providerId="ADAL" clId="{BBB34D2C-4BB8-46F0-ACA0-0E3F9D00DA23}" dt="2023-08-15T11:26:43.605" v="163"/>
        <pc:sldMkLst>
          <pc:docMk/>
          <pc:sldMk cId="1124340567" sldId="2147479715"/>
        </pc:sldMkLst>
      </pc:sldChg>
      <pc:sldChg chg="add del">
        <pc:chgData name="Immanuel J Daniel" userId="b9141605-49ff-443e-8af4-0c21e2766a66" providerId="ADAL" clId="{BBB34D2C-4BB8-46F0-ACA0-0E3F9D00DA23}" dt="2023-08-15T11:26:34.771" v="161"/>
        <pc:sldMkLst>
          <pc:docMk/>
          <pc:sldMk cId="3128048378" sldId="2147479715"/>
        </pc:sldMkLst>
      </pc:sldChg>
      <pc:sldChg chg="modSp add mod">
        <pc:chgData name="Immanuel J Daniel" userId="b9141605-49ff-443e-8af4-0c21e2766a66" providerId="ADAL" clId="{BBB34D2C-4BB8-46F0-ACA0-0E3F9D00DA23}" dt="2023-08-15T13:06:13.052" v="1193" actId="6549"/>
        <pc:sldMkLst>
          <pc:docMk/>
          <pc:sldMk cId="3399344177" sldId="2147479716"/>
        </pc:sldMkLst>
        <pc:spChg chg="mod">
          <ac:chgData name="Immanuel J Daniel" userId="b9141605-49ff-443e-8af4-0c21e2766a66" providerId="ADAL" clId="{BBB34D2C-4BB8-46F0-ACA0-0E3F9D00DA23}" dt="2023-08-15T13:05:51.129" v="1191" actId="20577"/>
          <ac:spMkLst>
            <pc:docMk/>
            <pc:sldMk cId="3399344177" sldId="2147479716"/>
            <ac:spMk id="8" creationId="{7824D54C-15D2-467C-A016-166944D0781C}"/>
          </ac:spMkLst>
        </pc:spChg>
        <pc:graphicFrameChg chg="mod modGraphic">
          <ac:chgData name="Immanuel J Daniel" userId="b9141605-49ff-443e-8af4-0c21e2766a66" providerId="ADAL" clId="{BBB34D2C-4BB8-46F0-ACA0-0E3F9D00DA23}" dt="2023-08-15T13:06:13.052" v="1193" actId="6549"/>
          <ac:graphicFrameMkLst>
            <pc:docMk/>
            <pc:sldMk cId="3399344177" sldId="2147479716"/>
            <ac:graphicFrameMk id="10" creationId="{DEF1C875-55F5-40A5-AF79-1EF6B560E6B8}"/>
          </ac:graphicFrameMkLst>
        </pc:graphicFrameChg>
      </pc:sldChg>
      <pc:sldChg chg="modSp add mod">
        <pc:chgData name="Immanuel J Daniel" userId="b9141605-49ff-443e-8af4-0c21e2766a66" providerId="ADAL" clId="{BBB34D2C-4BB8-46F0-ACA0-0E3F9D00DA23}" dt="2023-08-15T13:07:08.582" v="1210" actId="6549"/>
        <pc:sldMkLst>
          <pc:docMk/>
          <pc:sldMk cId="3649255283" sldId="2147479717"/>
        </pc:sldMkLst>
        <pc:spChg chg="mod">
          <ac:chgData name="Immanuel J Daniel" userId="b9141605-49ff-443e-8af4-0c21e2766a66" providerId="ADAL" clId="{BBB34D2C-4BB8-46F0-ACA0-0E3F9D00DA23}" dt="2023-08-15T13:06:30.093" v="1203" actId="20577"/>
          <ac:spMkLst>
            <pc:docMk/>
            <pc:sldMk cId="3649255283" sldId="2147479717"/>
            <ac:spMk id="8" creationId="{7824D54C-15D2-467C-A016-166944D0781C}"/>
          </ac:spMkLst>
        </pc:spChg>
        <pc:graphicFrameChg chg="mod modGraphic">
          <ac:chgData name="Immanuel J Daniel" userId="b9141605-49ff-443e-8af4-0c21e2766a66" providerId="ADAL" clId="{BBB34D2C-4BB8-46F0-ACA0-0E3F9D00DA23}" dt="2023-08-15T13:07:08.582" v="1210" actId="6549"/>
          <ac:graphicFrameMkLst>
            <pc:docMk/>
            <pc:sldMk cId="3649255283" sldId="2147479717"/>
            <ac:graphicFrameMk id="10" creationId="{DEF1C875-55F5-40A5-AF79-1EF6B560E6B8}"/>
          </ac:graphicFrameMkLst>
        </pc:graphicFrameChg>
      </pc:sldChg>
      <pc:sldChg chg="add del">
        <pc:chgData name="Immanuel J Daniel" userId="b9141605-49ff-443e-8af4-0c21e2766a66" providerId="ADAL" clId="{BBB34D2C-4BB8-46F0-ACA0-0E3F9D00DA23}" dt="2023-08-15T13:28:25.972" v="1261"/>
        <pc:sldMkLst>
          <pc:docMk/>
          <pc:sldMk cId="1031761009" sldId="2147479718"/>
        </pc:sldMkLst>
      </pc:sldChg>
      <pc:sldChg chg="modSp new mod">
        <pc:chgData name="Immanuel J Daniel" userId="b9141605-49ff-443e-8af4-0c21e2766a66" providerId="ADAL" clId="{BBB34D2C-4BB8-46F0-ACA0-0E3F9D00DA23}" dt="2023-08-15T13:29:01.672" v="1274"/>
        <pc:sldMkLst>
          <pc:docMk/>
          <pc:sldMk cId="3504249565" sldId="2147479718"/>
        </pc:sldMkLst>
        <pc:spChg chg="mod">
          <ac:chgData name="Immanuel J Daniel" userId="b9141605-49ff-443e-8af4-0c21e2766a66" providerId="ADAL" clId="{BBB34D2C-4BB8-46F0-ACA0-0E3F9D00DA23}" dt="2023-08-15T13:29:01.672" v="1274"/>
          <ac:spMkLst>
            <pc:docMk/>
            <pc:sldMk cId="3504249565" sldId="2147479718"/>
            <ac:spMk id="2" creationId="{6B5D7BB4-7ACA-939C-7E27-79757B2AAEE8}"/>
          </ac:spMkLst>
        </pc:spChg>
        <pc:spChg chg="mod">
          <ac:chgData name="Immanuel J Daniel" userId="b9141605-49ff-443e-8af4-0c21e2766a66" providerId="ADAL" clId="{BBB34D2C-4BB8-46F0-ACA0-0E3F9D00DA23}" dt="2023-08-15T13:28:35.562" v="1271" actId="20577"/>
          <ac:spMkLst>
            <pc:docMk/>
            <pc:sldMk cId="3504249565" sldId="2147479718"/>
            <ac:spMk id="3" creationId="{B856C28D-3E25-10C7-92A9-FFE93E25CB61}"/>
          </ac:spMkLst>
        </pc:spChg>
      </pc:sldChg>
    </pc:docChg>
  </pc:docChgLst>
  <pc:docChgLst>
    <pc:chgData name="Abhishek Danalakota" userId="139ae11c-37c1-494d-966a-606ba81d5a81" providerId="ADAL" clId="{11E97BFB-743D-4AE5-969D-4F36318F3B0A}"/>
    <pc:docChg chg="undo custSel addSld delSld modSld modSection">
      <pc:chgData name="Abhishek Danalakota" userId="139ae11c-37c1-494d-966a-606ba81d5a81" providerId="ADAL" clId="{11E97BFB-743D-4AE5-969D-4F36318F3B0A}" dt="2023-08-11T15:25:35.501" v="2264" actId="5793"/>
      <pc:docMkLst>
        <pc:docMk/>
      </pc:docMkLst>
      <pc:sldChg chg="delSp">
        <pc:chgData name="Abhishek Danalakota" userId="139ae11c-37c1-494d-966a-606ba81d5a81" providerId="ADAL" clId="{11E97BFB-743D-4AE5-969D-4F36318F3B0A}" dt="2023-07-25T14:13:26.589" v="279" actId="478"/>
        <pc:sldMkLst>
          <pc:docMk/>
          <pc:sldMk cId="744641018" sldId="2142535226"/>
        </pc:sldMkLst>
        <pc:picChg chg="del">
          <ac:chgData name="Abhishek Danalakota" userId="139ae11c-37c1-494d-966a-606ba81d5a81" providerId="ADAL" clId="{11E97BFB-743D-4AE5-969D-4F36318F3B0A}" dt="2023-07-25T14:13:26.589" v="279" actId="478"/>
          <ac:picMkLst>
            <pc:docMk/>
            <pc:sldMk cId="744641018" sldId="2142535226"/>
            <ac:picMk id="21" creationId="{E0D13825-B7BB-4F15-B464-A1A7250A6995}"/>
          </ac:picMkLst>
        </pc:picChg>
      </pc:sldChg>
      <pc:sldChg chg="delSp modSp">
        <pc:chgData name="Abhishek Danalakota" userId="139ae11c-37c1-494d-966a-606ba81d5a81" providerId="ADAL" clId="{11E97BFB-743D-4AE5-969D-4F36318F3B0A}" dt="2023-07-25T14:13:21.597" v="278" actId="478"/>
        <pc:sldMkLst>
          <pc:docMk/>
          <pc:sldMk cId="2343093282" sldId="2142535231"/>
        </pc:sldMkLst>
        <pc:picChg chg="del mod">
          <ac:chgData name="Abhishek Danalakota" userId="139ae11c-37c1-494d-966a-606ba81d5a81" providerId="ADAL" clId="{11E97BFB-743D-4AE5-969D-4F36318F3B0A}" dt="2023-07-25T14:13:21.597" v="278" actId="478"/>
          <ac:picMkLst>
            <pc:docMk/>
            <pc:sldMk cId="2343093282" sldId="2142535231"/>
            <ac:picMk id="45" creationId="{D1D49888-CF17-496E-94E5-73C12A0560E8}"/>
          </ac:picMkLst>
        </pc:picChg>
      </pc:sldChg>
      <pc:sldChg chg="delSp">
        <pc:chgData name="Abhishek Danalakota" userId="139ae11c-37c1-494d-966a-606ba81d5a81" providerId="ADAL" clId="{11E97BFB-743D-4AE5-969D-4F36318F3B0A}" dt="2023-07-25T14:13:29.782" v="280" actId="478"/>
        <pc:sldMkLst>
          <pc:docMk/>
          <pc:sldMk cId="932388999" sldId="2142535252"/>
        </pc:sldMkLst>
        <pc:picChg chg="del">
          <ac:chgData name="Abhishek Danalakota" userId="139ae11c-37c1-494d-966a-606ba81d5a81" providerId="ADAL" clId="{11E97BFB-743D-4AE5-969D-4F36318F3B0A}" dt="2023-07-25T14:13:29.782" v="280" actId="478"/>
          <ac:picMkLst>
            <pc:docMk/>
            <pc:sldMk cId="932388999" sldId="2142535252"/>
            <ac:picMk id="9" creationId="{ECBE92CA-B453-47D4-B740-B1F3795E66B0}"/>
          </ac:picMkLst>
        </pc:picChg>
      </pc:sldChg>
      <pc:sldChg chg="modSp del mod">
        <pc:chgData name="Abhishek Danalakota" userId="139ae11c-37c1-494d-966a-606ba81d5a81" providerId="ADAL" clId="{11E97BFB-743D-4AE5-969D-4F36318F3B0A}" dt="2023-07-27T12:03:11.770" v="713" actId="2696"/>
        <pc:sldMkLst>
          <pc:docMk/>
          <pc:sldMk cId="3147662304" sldId="2147473015"/>
        </pc:sldMkLst>
        <pc:spChg chg="mod">
          <ac:chgData name="Abhishek Danalakota" userId="139ae11c-37c1-494d-966a-606ba81d5a81" providerId="ADAL" clId="{11E97BFB-743D-4AE5-969D-4F36318F3B0A}" dt="2023-07-25T12:44:37.736" v="54" actId="20577"/>
          <ac:spMkLst>
            <pc:docMk/>
            <pc:sldMk cId="3147662304" sldId="2147473015"/>
            <ac:spMk id="20" creationId="{D28E758B-D6FE-4F29-967D-00C669DD2176}"/>
          </ac:spMkLst>
        </pc:spChg>
        <pc:spChg chg="mod">
          <ac:chgData name="Abhishek Danalakota" userId="139ae11c-37c1-494d-966a-606ba81d5a81" providerId="ADAL" clId="{11E97BFB-743D-4AE5-969D-4F36318F3B0A}" dt="2023-07-25T12:45:34.492" v="57" actId="20577"/>
          <ac:spMkLst>
            <pc:docMk/>
            <pc:sldMk cId="3147662304" sldId="2147473015"/>
            <ac:spMk id="23" creationId="{38B2570F-E3D3-45CF-97DB-BD26E962337E}"/>
          </ac:spMkLst>
        </pc:spChg>
      </pc:sldChg>
      <pc:sldChg chg="modSp mod">
        <pc:chgData name="Abhishek Danalakota" userId="139ae11c-37c1-494d-966a-606ba81d5a81" providerId="ADAL" clId="{11E97BFB-743D-4AE5-969D-4F36318F3B0A}" dt="2023-07-25T12:35:16.600" v="51" actId="20577"/>
        <pc:sldMkLst>
          <pc:docMk/>
          <pc:sldMk cId="3348310596" sldId="2147473016"/>
        </pc:sldMkLst>
        <pc:spChg chg="mod">
          <ac:chgData name="Abhishek Danalakota" userId="139ae11c-37c1-494d-966a-606ba81d5a81" providerId="ADAL" clId="{11E97BFB-743D-4AE5-969D-4F36318F3B0A}" dt="2023-07-25T12:35:16.600" v="51" actId="20577"/>
          <ac:spMkLst>
            <pc:docMk/>
            <pc:sldMk cId="3348310596" sldId="2147473016"/>
            <ac:spMk id="52" creationId="{28BE02C9-233F-4ED3-A00E-A864ECC4B801}"/>
          </ac:spMkLst>
        </pc:spChg>
      </pc:sldChg>
      <pc:sldChg chg="addSp delSp modSp mod">
        <pc:chgData name="Abhishek Danalakota" userId="139ae11c-37c1-494d-966a-606ba81d5a81" providerId="ADAL" clId="{11E97BFB-743D-4AE5-969D-4F36318F3B0A}" dt="2023-08-11T14:35:05.563" v="1908" actId="478"/>
        <pc:sldMkLst>
          <pc:docMk/>
          <pc:sldMk cId="1508220717" sldId="2147473085"/>
        </pc:sldMkLst>
        <pc:spChg chg="del mod">
          <ac:chgData name="Abhishek Danalakota" userId="139ae11c-37c1-494d-966a-606ba81d5a81" providerId="ADAL" clId="{11E97BFB-743D-4AE5-969D-4F36318F3B0A}" dt="2023-08-11T14:35:05.563" v="1908" actId="478"/>
          <ac:spMkLst>
            <pc:docMk/>
            <pc:sldMk cId="1508220717" sldId="2147473085"/>
            <ac:spMk id="7" creationId="{30347D65-9804-A098-AFB1-69F3F59BE599}"/>
          </ac:spMkLst>
        </pc:spChg>
        <pc:spChg chg="add del">
          <ac:chgData name="Abhishek Danalakota" userId="139ae11c-37c1-494d-966a-606ba81d5a81" providerId="ADAL" clId="{11E97BFB-743D-4AE5-969D-4F36318F3B0A}" dt="2023-08-11T14:31:41.706" v="1905" actId="478"/>
          <ac:spMkLst>
            <pc:docMk/>
            <pc:sldMk cId="1508220717" sldId="2147473085"/>
            <ac:spMk id="10" creationId="{E5DDCEBC-69B7-4DFD-A56A-01A11FF52BD8}"/>
          </ac:spMkLst>
        </pc:spChg>
      </pc:sldChg>
      <pc:sldChg chg="modSp mod">
        <pc:chgData name="Abhishek Danalakota" userId="139ae11c-37c1-494d-966a-606ba81d5a81" providerId="ADAL" clId="{11E97BFB-743D-4AE5-969D-4F36318F3B0A}" dt="2023-08-11T14:53:25.225" v="1922" actId="1076"/>
        <pc:sldMkLst>
          <pc:docMk/>
          <pc:sldMk cId="3270732291" sldId="2147473086"/>
        </pc:sldMkLst>
        <pc:spChg chg="mod">
          <ac:chgData name="Abhishek Danalakota" userId="139ae11c-37c1-494d-966a-606ba81d5a81" providerId="ADAL" clId="{11E97BFB-743D-4AE5-969D-4F36318F3B0A}" dt="2023-08-11T14:52:23.888" v="1913" actId="1076"/>
          <ac:spMkLst>
            <pc:docMk/>
            <pc:sldMk cId="3270732291" sldId="2147473086"/>
            <ac:spMk id="25" creationId="{0B1B1B95-F9CB-7D63-1A68-246D665B11C4}"/>
          </ac:spMkLst>
        </pc:spChg>
        <pc:spChg chg="mod">
          <ac:chgData name="Abhishek Danalakota" userId="139ae11c-37c1-494d-966a-606ba81d5a81" providerId="ADAL" clId="{11E97BFB-743D-4AE5-969D-4F36318F3B0A}" dt="2023-08-11T14:53:10.903" v="1919" actId="1076"/>
          <ac:spMkLst>
            <pc:docMk/>
            <pc:sldMk cId="3270732291" sldId="2147473086"/>
            <ac:spMk id="84" creationId="{3AA80988-7035-7D9B-E455-D932FFBD19E2}"/>
          </ac:spMkLst>
        </pc:spChg>
        <pc:spChg chg="mod">
          <ac:chgData name="Abhishek Danalakota" userId="139ae11c-37c1-494d-966a-606ba81d5a81" providerId="ADAL" clId="{11E97BFB-743D-4AE5-969D-4F36318F3B0A}" dt="2023-08-11T14:53:02.456" v="1917" actId="1076"/>
          <ac:spMkLst>
            <pc:docMk/>
            <pc:sldMk cId="3270732291" sldId="2147473086"/>
            <ac:spMk id="85" creationId="{2782282D-A7E6-F0C8-3181-F5865C64F47E}"/>
          </ac:spMkLst>
        </pc:spChg>
        <pc:spChg chg="mod">
          <ac:chgData name="Abhishek Danalakota" userId="139ae11c-37c1-494d-966a-606ba81d5a81" providerId="ADAL" clId="{11E97BFB-743D-4AE5-969D-4F36318F3B0A}" dt="2023-08-11T14:52:29.967" v="1914" actId="1076"/>
          <ac:spMkLst>
            <pc:docMk/>
            <pc:sldMk cId="3270732291" sldId="2147473086"/>
            <ac:spMk id="88" creationId="{5A069DB5-F07D-54B5-FD0C-097FA0C8EFBE}"/>
          </ac:spMkLst>
        </pc:spChg>
        <pc:spChg chg="mod">
          <ac:chgData name="Abhishek Danalakota" userId="139ae11c-37c1-494d-966a-606ba81d5a81" providerId="ADAL" clId="{11E97BFB-743D-4AE5-969D-4F36318F3B0A}" dt="2023-08-11T14:53:14.976" v="1920" actId="1076"/>
          <ac:spMkLst>
            <pc:docMk/>
            <pc:sldMk cId="3270732291" sldId="2147473086"/>
            <ac:spMk id="89" creationId="{147651C7-2097-C707-A820-0D54E5DAEDE0}"/>
          </ac:spMkLst>
        </pc:spChg>
        <pc:spChg chg="mod">
          <ac:chgData name="Abhishek Danalakota" userId="139ae11c-37c1-494d-966a-606ba81d5a81" providerId="ADAL" clId="{11E97BFB-743D-4AE5-969D-4F36318F3B0A}" dt="2023-08-11T14:53:06.479" v="1918" actId="1076"/>
          <ac:spMkLst>
            <pc:docMk/>
            <pc:sldMk cId="3270732291" sldId="2147473086"/>
            <ac:spMk id="90" creationId="{2E18EDA6-2361-B88F-62AE-F5A630B9F6C0}"/>
          </ac:spMkLst>
        </pc:spChg>
        <pc:spChg chg="mod">
          <ac:chgData name="Abhishek Danalakota" userId="139ae11c-37c1-494d-966a-606ba81d5a81" providerId="ADAL" clId="{11E97BFB-743D-4AE5-969D-4F36318F3B0A}" dt="2023-08-11T14:52:34.616" v="1915" actId="1076"/>
          <ac:spMkLst>
            <pc:docMk/>
            <pc:sldMk cId="3270732291" sldId="2147473086"/>
            <ac:spMk id="95" creationId="{19037155-574F-6C9E-E167-D3152639D5B1}"/>
          </ac:spMkLst>
        </pc:spChg>
        <pc:spChg chg="mod">
          <ac:chgData name="Abhishek Danalakota" userId="139ae11c-37c1-494d-966a-606ba81d5a81" providerId="ADAL" clId="{11E97BFB-743D-4AE5-969D-4F36318F3B0A}" dt="2023-08-11T14:52:46.360" v="1916" actId="1076"/>
          <ac:spMkLst>
            <pc:docMk/>
            <pc:sldMk cId="3270732291" sldId="2147473086"/>
            <ac:spMk id="96" creationId="{AC490D6B-5A61-09BE-BDE1-ACC718BEE4B0}"/>
          </ac:spMkLst>
        </pc:spChg>
        <pc:spChg chg="mod">
          <ac:chgData name="Abhishek Danalakota" userId="139ae11c-37c1-494d-966a-606ba81d5a81" providerId="ADAL" clId="{11E97BFB-743D-4AE5-969D-4F36318F3B0A}" dt="2023-08-11T14:53:19.647" v="1921" actId="1076"/>
          <ac:spMkLst>
            <pc:docMk/>
            <pc:sldMk cId="3270732291" sldId="2147473086"/>
            <ac:spMk id="97" creationId="{841C8C37-BA9E-F58D-3325-F36475E6CFF2}"/>
          </ac:spMkLst>
        </pc:spChg>
        <pc:spChg chg="mod">
          <ac:chgData name="Abhishek Danalakota" userId="139ae11c-37c1-494d-966a-606ba81d5a81" providerId="ADAL" clId="{11E97BFB-743D-4AE5-969D-4F36318F3B0A}" dt="2023-08-11T14:53:25.225" v="1922" actId="1076"/>
          <ac:spMkLst>
            <pc:docMk/>
            <pc:sldMk cId="3270732291" sldId="2147473086"/>
            <ac:spMk id="98" creationId="{372B0A1A-952B-7666-89D3-5995DDF04D9F}"/>
          </ac:spMkLst>
        </pc:spChg>
      </pc:sldChg>
      <pc:sldChg chg="modSp mod">
        <pc:chgData name="Abhishek Danalakota" userId="139ae11c-37c1-494d-966a-606ba81d5a81" providerId="ADAL" clId="{11E97BFB-743D-4AE5-969D-4F36318F3B0A}" dt="2023-08-11T14:58:28.432" v="2134" actId="14100"/>
        <pc:sldMkLst>
          <pc:docMk/>
          <pc:sldMk cId="2991878390" sldId="2147473088"/>
        </pc:sldMkLst>
        <pc:spChg chg="mod">
          <ac:chgData name="Abhishek Danalakota" userId="139ae11c-37c1-494d-966a-606ba81d5a81" providerId="ADAL" clId="{11E97BFB-743D-4AE5-969D-4F36318F3B0A}" dt="2023-08-11T14:57:02.635" v="2068" actId="1035"/>
          <ac:spMkLst>
            <pc:docMk/>
            <pc:sldMk cId="2991878390" sldId="2147473088"/>
            <ac:spMk id="3" creationId="{1865326D-E7A7-1071-8637-6E72F21BF9D8}"/>
          </ac:spMkLst>
        </pc:spChg>
        <pc:spChg chg="mod">
          <ac:chgData name="Abhishek Danalakota" userId="139ae11c-37c1-494d-966a-606ba81d5a81" providerId="ADAL" clId="{11E97BFB-743D-4AE5-969D-4F36318F3B0A}" dt="2023-08-11T14:58:00.042" v="2128" actId="1035"/>
          <ac:spMkLst>
            <pc:docMk/>
            <pc:sldMk cId="2991878390" sldId="2147473088"/>
            <ac:spMk id="4" creationId="{AE55D033-30E7-5CF0-28CF-D6344ADF21BF}"/>
          </ac:spMkLst>
        </pc:spChg>
        <pc:spChg chg="mod">
          <ac:chgData name="Abhishek Danalakota" userId="139ae11c-37c1-494d-966a-606ba81d5a81" providerId="ADAL" clId="{11E97BFB-743D-4AE5-969D-4F36318F3B0A}" dt="2023-08-11T14:57:53.713" v="2116" actId="1035"/>
          <ac:spMkLst>
            <pc:docMk/>
            <pc:sldMk cId="2991878390" sldId="2147473088"/>
            <ac:spMk id="6" creationId="{D59A6335-933D-F25A-6559-85EF6AF6E272}"/>
          </ac:spMkLst>
        </pc:spChg>
        <pc:spChg chg="mod">
          <ac:chgData name="Abhishek Danalakota" userId="139ae11c-37c1-494d-966a-606ba81d5a81" providerId="ADAL" clId="{11E97BFB-743D-4AE5-969D-4F36318F3B0A}" dt="2023-08-11T14:57:45.467" v="2105" actId="1035"/>
          <ac:spMkLst>
            <pc:docMk/>
            <pc:sldMk cId="2991878390" sldId="2147473088"/>
            <ac:spMk id="7" creationId="{C0A0C2BA-0C72-9902-C2E6-0A85E7F2BE32}"/>
          </ac:spMkLst>
        </pc:spChg>
        <pc:spChg chg="mod">
          <ac:chgData name="Abhishek Danalakota" userId="139ae11c-37c1-494d-966a-606ba81d5a81" providerId="ADAL" clId="{11E97BFB-743D-4AE5-969D-4F36318F3B0A}" dt="2023-08-11T14:57:10.739" v="2078" actId="1035"/>
          <ac:spMkLst>
            <pc:docMk/>
            <pc:sldMk cId="2991878390" sldId="2147473088"/>
            <ac:spMk id="15" creationId="{8D1BAC58-C10F-102C-3455-AC8F5E705BF3}"/>
          </ac:spMkLst>
        </pc:spChg>
        <pc:spChg chg="mod">
          <ac:chgData name="Abhishek Danalakota" userId="139ae11c-37c1-494d-966a-606ba81d5a81" providerId="ADAL" clId="{11E97BFB-743D-4AE5-969D-4F36318F3B0A}" dt="2023-08-11T14:55:10.208" v="1924" actId="1076"/>
          <ac:spMkLst>
            <pc:docMk/>
            <pc:sldMk cId="2991878390" sldId="2147473088"/>
            <ac:spMk id="18" creationId="{B070280E-DF3F-61BD-A92F-D9CBFD6C6270}"/>
          </ac:spMkLst>
        </pc:spChg>
        <pc:spChg chg="mod">
          <ac:chgData name="Abhishek Danalakota" userId="139ae11c-37c1-494d-966a-606ba81d5a81" providerId="ADAL" clId="{11E97BFB-743D-4AE5-969D-4F36318F3B0A}" dt="2023-08-11T14:55:10.208" v="1924" actId="1076"/>
          <ac:spMkLst>
            <pc:docMk/>
            <pc:sldMk cId="2991878390" sldId="2147473088"/>
            <ac:spMk id="19" creationId="{E4C2D6E8-C147-0F30-5579-057ECEFA2586}"/>
          </ac:spMkLst>
        </pc:spChg>
        <pc:spChg chg="mod">
          <ac:chgData name="Abhishek Danalakota" userId="139ae11c-37c1-494d-966a-606ba81d5a81" providerId="ADAL" clId="{11E97BFB-743D-4AE5-969D-4F36318F3B0A}" dt="2023-08-11T14:55:10.208" v="1924" actId="1076"/>
          <ac:spMkLst>
            <pc:docMk/>
            <pc:sldMk cId="2991878390" sldId="2147473088"/>
            <ac:spMk id="20" creationId="{46EE1ABD-2F13-F6E3-3848-ADDBC1D56BF7}"/>
          </ac:spMkLst>
        </pc:spChg>
        <pc:spChg chg="mod">
          <ac:chgData name="Abhishek Danalakota" userId="139ae11c-37c1-494d-966a-606ba81d5a81" providerId="ADAL" clId="{11E97BFB-743D-4AE5-969D-4F36318F3B0A}" dt="2023-08-11T14:55:10.208" v="1924" actId="1076"/>
          <ac:spMkLst>
            <pc:docMk/>
            <pc:sldMk cId="2991878390" sldId="2147473088"/>
            <ac:spMk id="21" creationId="{A8A340FF-584D-E1D0-562E-2D9FEAE30A0C}"/>
          </ac:spMkLst>
        </pc:spChg>
        <pc:spChg chg="mod">
          <ac:chgData name="Abhishek Danalakota" userId="139ae11c-37c1-494d-966a-606ba81d5a81" providerId="ADAL" clId="{11E97BFB-743D-4AE5-969D-4F36318F3B0A}" dt="2023-08-11T14:55:10.208" v="1924" actId="1076"/>
          <ac:spMkLst>
            <pc:docMk/>
            <pc:sldMk cId="2991878390" sldId="2147473088"/>
            <ac:spMk id="22" creationId="{60445A22-F7A3-56E0-D107-B779A5E86768}"/>
          </ac:spMkLst>
        </pc:spChg>
        <pc:spChg chg="mod">
          <ac:chgData name="Abhishek Danalakota" userId="139ae11c-37c1-494d-966a-606ba81d5a81" providerId="ADAL" clId="{11E97BFB-743D-4AE5-969D-4F36318F3B0A}" dt="2023-08-11T14:55:10.208" v="1924" actId="1076"/>
          <ac:spMkLst>
            <pc:docMk/>
            <pc:sldMk cId="2991878390" sldId="2147473088"/>
            <ac:spMk id="23" creationId="{9F99D867-C44B-16F1-1DCE-901CA9D2AFEA}"/>
          </ac:spMkLst>
        </pc:spChg>
        <pc:spChg chg="mod">
          <ac:chgData name="Abhishek Danalakota" userId="139ae11c-37c1-494d-966a-606ba81d5a81" providerId="ADAL" clId="{11E97BFB-743D-4AE5-969D-4F36318F3B0A}" dt="2023-08-11T14:55:10.208" v="1924" actId="1076"/>
          <ac:spMkLst>
            <pc:docMk/>
            <pc:sldMk cId="2991878390" sldId="2147473088"/>
            <ac:spMk id="24" creationId="{83847262-E51B-AE80-D3A9-4237A3B90ABE}"/>
          </ac:spMkLst>
        </pc:spChg>
        <pc:spChg chg="mod">
          <ac:chgData name="Abhishek Danalakota" userId="139ae11c-37c1-494d-966a-606ba81d5a81" providerId="ADAL" clId="{11E97BFB-743D-4AE5-969D-4F36318F3B0A}" dt="2023-08-11T14:55:10.208" v="1924" actId="1076"/>
          <ac:spMkLst>
            <pc:docMk/>
            <pc:sldMk cId="2991878390" sldId="2147473088"/>
            <ac:spMk id="25" creationId="{A41233A2-AC45-7CC2-B8A6-CD9BDC9BA383}"/>
          </ac:spMkLst>
        </pc:spChg>
        <pc:spChg chg="mod">
          <ac:chgData name="Abhishek Danalakota" userId="139ae11c-37c1-494d-966a-606ba81d5a81" providerId="ADAL" clId="{11E97BFB-743D-4AE5-969D-4F36318F3B0A}" dt="2023-08-11T14:55:27.307" v="1939" actId="1035"/>
          <ac:spMkLst>
            <pc:docMk/>
            <pc:sldMk cId="2991878390" sldId="2147473088"/>
            <ac:spMk id="50" creationId="{2F4A5B71-3AE4-E4B2-49BD-38FA0839EC8D}"/>
          </ac:spMkLst>
        </pc:spChg>
        <pc:spChg chg="mod">
          <ac:chgData name="Abhishek Danalakota" userId="139ae11c-37c1-494d-966a-606ba81d5a81" providerId="ADAL" clId="{11E97BFB-743D-4AE5-969D-4F36318F3B0A}" dt="2023-08-11T14:55:27.307" v="1939" actId="1035"/>
          <ac:spMkLst>
            <pc:docMk/>
            <pc:sldMk cId="2991878390" sldId="2147473088"/>
            <ac:spMk id="51" creationId="{75FE1764-4640-7435-92BA-6C9A1652FFB7}"/>
          </ac:spMkLst>
        </pc:spChg>
        <pc:spChg chg="mod">
          <ac:chgData name="Abhishek Danalakota" userId="139ae11c-37c1-494d-966a-606ba81d5a81" providerId="ADAL" clId="{11E97BFB-743D-4AE5-969D-4F36318F3B0A}" dt="2023-08-11T14:55:27.307" v="1939" actId="1035"/>
          <ac:spMkLst>
            <pc:docMk/>
            <pc:sldMk cId="2991878390" sldId="2147473088"/>
            <ac:spMk id="52" creationId="{ECEFC93B-F66A-DA60-8FD4-B7E3FC4BCCD5}"/>
          </ac:spMkLst>
        </pc:spChg>
        <pc:grpChg chg="mod">
          <ac:chgData name="Abhishek Danalakota" userId="139ae11c-37c1-494d-966a-606ba81d5a81" providerId="ADAL" clId="{11E97BFB-743D-4AE5-969D-4F36318F3B0A}" dt="2023-08-11T14:55:10.208" v="1924" actId="1076"/>
          <ac:grpSpMkLst>
            <pc:docMk/>
            <pc:sldMk cId="2991878390" sldId="2147473088"/>
            <ac:grpSpMk id="17" creationId="{F94F68FC-9FD3-741E-674B-6B47C551A24F}"/>
          </ac:grpSpMkLst>
        </pc:grpChg>
        <pc:grpChg chg="mod">
          <ac:chgData name="Abhishek Danalakota" userId="139ae11c-37c1-494d-966a-606ba81d5a81" providerId="ADAL" clId="{11E97BFB-743D-4AE5-969D-4F36318F3B0A}" dt="2023-08-11T14:55:27.307" v="1939" actId="1035"/>
          <ac:grpSpMkLst>
            <pc:docMk/>
            <pc:sldMk cId="2991878390" sldId="2147473088"/>
            <ac:grpSpMk id="49" creationId="{7728AC70-0B33-3EDE-9525-8A7B57FE554B}"/>
          </ac:grpSpMkLst>
        </pc:grpChg>
        <pc:picChg chg="mod">
          <ac:chgData name="Abhishek Danalakota" userId="139ae11c-37c1-494d-966a-606ba81d5a81" providerId="ADAL" clId="{11E97BFB-743D-4AE5-969D-4F36318F3B0A}" dt="2023-08-11T14:55:34.321" v="1959" actId="1035"/>
          <ac:picMkLst>
            <pc:docMk/>
            <pc:sldMk cId="2991878390" sldId="2147473088"/>
            <ac:picMk id="48" creationId="{F423DD7F-1A5A-129C-1939-A2C301E6E742}"/>
          </ac:picMkLst>
        </pc:picChg>
        <pc:cxnChg chg="mod">
          <ac:chgData name="Abhishek Danalakota" userId="139ae11c-37c1-494d-966a-606ba81d5a81" providerId="ADAL" clId="{11E97BFB-743D-4AE5-969D-4F36318F3B0A}" dt="2023-08-11T14:58:28.432" v="2134" actId="14100"/>
          <ac:cxnSpMkLst>
            <pc:docMk/>
            <pc:sldMk cId="2991878390" sldId="2147473088"/>
            <ac:cxnSpMk id="12" creationId="{04A76293-8F39-0E3E-2EBC-3D85E80E3241}"/>
          </ac:cxnSpMkLst>
        </pc:cxnChg>
        <pc:cxnChg chg="mod">
          <ac:chgData name="Abhishek Danalakota" userId="139ae11c-37c1-494d-966a-606ba81d5a81" providerId="ADAL" clId="{11E97BFB-743D-4AE5-969D-4F36318F3B0A}" dt="2023-08-11T14:58:22.790" v="2133" actId="14100"/>
          <ac:cxnSpMkLst>
            <pc:docMk/>
            <pc:sldMk cId="2991878390" sldId="2147473088"/>
            <ac:cxnSpMk id="13" creationId="{013109FB-769F-FDC2-A663-B89934A87DCC}"/>
          </ac:cxnSpMkLst>
        </pc:cxnChg>
        <pc:cxnChg chg="mod">
          <ac:chgData name="Abhishek Danalakota" userId="139ae11c-37c1-494d-966a-606ba81d5a81" providerId="ADAL" clId="{11E97BFB-743D-4AE5-969D-4F36318F3B0A}" dt="2023-08-11T14:55:03.543" v="1923" actId="1076"/>
          <ac:cxnSpMkLst>
            <pc:docMk/>
            <pc:sldMk cId="2991878390" sldId="2147473088"/>
            <ac:cxnSpMk id="47" creationId="{40F73F7B-2C72-9AC2-B6DF-E423864A994C}"/>
          </ac:cxnSpMkLst>
        </pc:cxnChg>
      </pc:sldChg>
      <pc:sldChg chg="delSp modSp mod">
        <pc:chgData name="Abhishek Danalakota" userId="139ae11c-37c1-494d-966a-606ba81d5a81" providerId="ADAL" clId="{11E97BFB-743D-4AE5-969D-4F36318F3B0A}" dt="2023-08-11T14:44:55.660" v="1911" actId="478"/>
        <pc:sldMkLst>
          <pc:docMk/>
          <pc:sldMk cId="3987827024" sldId="2147473095"/>
        </pc:sldMkLst>
        <pc:spChg chg="del mod">
          <ac:chgData name="Abhishek Danalakota" userId="139ae11c-37c1-494d-966a-606ba81d5a81" providerId="ADAL" clId="{11E97BFB-743D-4AE5-969D-4F36318F3B0A}" dt="2023-08-11T14:44:55.660" v="1911" actId="478"/>
          <ac:spMkLst>
            <pc:docMk/>
            <pc:sldMk cId="3987827024" sldId="2147473095"/>
            <ac:spMk id="3" creationId="{9EF2C237-DE38-685D-495C-D2391A39555D}"/>
          </ac:spMkLst>
        </pc:spChg>
      </pc:sldChg>
      <pc:sldChg chg="modSp mod">
        <pc:chgData name="Abhishek Danalakota" userId="139ae11c-37c1-494d-966a-606ba81d5a81" providerId="ADAL" clId="{11E97BFB-743D-4AE5-969D-4F36318F3B0A}" dt="2023-08-11T14:32:42.456" v="1906" actId="1076"/>
        <pc:sldMkLst>
          <pc:docMk/>
          <pc:sldMk cId="2659308583" sldId="2147473105"/>
        </pc:sldMkLst>
        <pc:spChg chg="mod">
          <ac:chgData name="Abhishek Danalakota" userId="139ae11c-37c1-494d-966a-606ba81d5a81" providerId="ADAL" clId="{11E97BFB-743D-4AE5-969D-4F36318F3B0A}" dt="2023-08-11T14:32:42.456" v="1906" actId="1076"/>
          <ac:spMkLst>
            <pc:docMk/>
            <pc:sldMk cId="2659308583" sldId="2147473105"/>
            <ac:spMk id="7" creationId="{33F269DE-0479-486E-87F7-03A541C10513}"/>
          </ac:spMkLst>
        </pc:spChg>
      </pc:sldChg>
      <pc:sldChg chg="modSp mod">
        <pc:chgData name="Abhishek Danalakota" userId="139ae11c-37c1-494d-966a-606ba81d5a81" providerId="ADAL" clId="{11E97BFB-743D-4AE5-969D-4F36318F3B0A}" dt="2023-08-11T15:10:40.501" v="2235" actId="1076"/>
        <pc:sldMkLst>
          <pc:docMk/>
          <pc:sldMk cId="311767825" sldId="2147479556"/>
        </pc:sldMkLst>
        <pc:spChg chg="mod">
          <ac:chgData name="Abhishek Danalakota" userId="139ae11c-37c1-494d-966a-606ba81d5a81" providerId="ADAL" clId="{11E97BFB-743D-4AE5-969D-4F36318F3B0A}" dt="2023-08-11T15:10:32.787" v="2234" actId="1035"/>
          <ac:spMkLst>
            <pc:docMk/>
            <pc:sldMk cId="311767825" sldId="2147479556"/>
            <ac:spMk id="8" creationId="{7824D54C-15D2-467C-A016-166944D0781C}"/>
          </ac:spMkLst>
        </pc:spChg>
        <pc:spChg chg="mod">
          <ac:chgData name="Abhishek Danalakota" userId="139ae11c-37c1-494d-966a-606ba81d5a81" providerId="ADAL" clId="{11E97BFB-743D-4AE5-969D-4F36318F3B0A}" dt="2023-08-11T15:10:40.501" v="2235" actId="1076"/>
          <ac:spMkLst>
            <pc:docMk/>
            <pc:sldMk cId="311767825" sldId="2147479556"/>
            <ac:spMk id="111" creationId="{5DDDBC40-9B8E-4D6C-AD2B-E197B2F5FFB4}"/>
          </ac:spMkLst>
        </pc:spChg>
        <pc:spChg chg="mod">
          <ac:chgData name="Abhishek Danalakota" userId="139ae11c-37c1-494d-966a-606ba81d5a81" providerId="ADAL" clId="{11E97BFB-743D-4AE5-969D-4F36318F3B0A}" dt="2023-08-11T15:10:19.728" v="2231" actId="1035"/>
          <ac:spMkLst>
            <pc:docMk/>
            <pc:sldMk cId="311767825" sldId="2147479556"/>
            <ac:spMk id="112" creationId="{B317464D-D903-4435-BF9C-CE1964C93647}"/>
          </ac:spMkLst>
        </pc:spChg>
        <pc:spChg chg="mod">
          <ac:chgData name="Abhishek Danalakota" userId="139ae11c-37c1-494d-966a-606ba81d5a81" providerId="ADAL" clId="{11E97BFB-743D-4AE5-969D-4F36318F3B0A}" dt="2023-08-11T15:10:19.728" v="2231" actId="1035"/>
          <ac:spMkLst>
            <pc:docMk/>
            <pc:sldMk cId="311767825" sldId="2147479556"/>
            <ac:spMk id="113" creationId="{98424209-E8DE-4336-A6AC-6BF5F815331F}"/>
          </ac:spMkLst>
        </pc:spChg>
        <pc:spChg chg="mod">
          <ac:chgData name="Abhishek Danalakota" userId="139ae11c-37c1-494d-966a-606ba81d5a81" providerId="ADAL" clId="{11E97BFB-743D-4AE5-969D-4F36318F3B0A}" dt="2023-08-11T15:10:19.728" v="2231" actId="1035"/>
          <ac:spMkLst>
            <pc:docMk/>
            <pc:sldMk cId="311767825" sldId="2147479556"/>
            <ac:spMk id="114" creationId="{F96894A2-1E69-4325-9D2E-EFFF65C19CF9}"/>
          </ac:spMkLst>
        </pc:spChg>
        <pc:spChg chg="mod">
          <ac:chgData name="Abhishek Danalakota" userId="139ae11c-37c1-494d-966a-606ba81d5a81" providerId="ADAL" clId="{11E97BFB-743D-4AE5-969D-4F36318F3B0A}" dt="2023-08-11T15:10:19.728" v="2231" actId="1035"/>
          <ac:spMkLst>
            <pc:docMk/>
            <pc:sldMk cId="311767825" sldId="2147479556"/>
            <ac:spMk id="115" creationId="{B5E73087-9C98-4678-8DCA-E0E10835647A}"/>
          </ac:spMkLst>
        </pc:spChg>
        <pc:spChg chg="mod">
          <ac:chgData name="Abhishek Danalakota" userId="139ae11c-37c1-494d-966a-606ba81d5a81" providerId="ADAL" clId="{11E97BFB-743D-4AE5-969D-4F36318F3B0A}" dt="2023-08-11T15:10:19.728" v="2231" actId="1035"/>
          <ac:spMkLst>
            <pc:docMk/>
            <pc:sldMk cId="311767825" sldId="2147479556"/>
            <ac:spMk id="116" creationId="{30E115A0-EF3A-4ECE-81DC-09C0DC2CC94D}"/>
          </ac:spMkLst>
        </pc:spChg>
        <pc:spChg chg="mod">
          <ac:chgData name="Abhishek Danalakota" userId="139ae11c-37c1-494d-966a-606ba81d5a81" providerId="ADAL" clId="{11E97BFB-743D-4AE5-969D-4F36318F3B0A}" dt="2023-08-11T15:10:19.728" v="2231" actId="1035"/>
          <ac:spMkLst>
            <pc:docMk/>
            <pc:sldMk cId="311767825" sldId="2147479556"/>
            <ac:spMk id="117" creationId="{08D771D4-C251-44CB-AA43-88557D98CA48}"/>
          </ac:spMkLst>
        </pc:spChg>
        <pc:spChg chg="mod">
          <ac:chgData name="Abhishek Danalakota" userId="139ae11c-37c1-494d-966a-606ba81d5a81" providerId="ADAL" clId="{11E97BFB-743D-4AE5-969D-4F36318F3B0A}" dt="2023-08-11T15:10:19.728" v="2231" actId="1035"/>
          <ac:spMkLst>
            <pc:docMk/>
            <pc:sldMk cId="311767825" sldId="2147479556"/>
            <ac:spMk id="118" creationId="{10928C69-FA62-4ECA-849F-CCDBE0153AB9}"/>
          </ac:spMkLst>
        </pc:spChg>
        <pc:spChg chg="mod">
          <ac:chgData name="Abhishek Danalakota" userId="139ae11c-37c1-494d-966a-606ba81d5a81" providerId="ADAL" clId="{11E97BFB-743D-4AE5-969D-4F36318F3B0A}" dt="2023-08-11T15:10:19.728" v="2231" actId="1035"/>
          <ac:spMkLst>
            <pc:docMk/>
            <pc:sldMk cId="311767825" sldId="2147479556"/>
            <ac:spMk id="119" creationId="{44D53EC4-EA07-406D-8AE9-39E6E3F741EC}"/>
          </ac:spMkLst>
        </pc:spChg>
        <pc:spChg chg="mod">
          <ac:chgData name="Abhishek Danalakota" userId="139ae11c-37c1-494d-966a-606ba81d5a81" providerId="ADAL" clId="{11E97BFB-743D-4AE5-969D-4F36318F3B0A}" dt="2023-08-11T15:10:19.728" v="2231" actId="1035"/>
          <ac:spMkLst>
            <pc:docMk/>
            <pc:sldMk cId="311767825" sldId="2147479556"/>
            <ac:spMk id="120" creationId="{7636FBD1-134C-48C1-934C-DD3AD45C04EE}"/>
          </ac:spMkLst>
        </pc:spChg>
        <pc:spChg chg="mod">
          <ac:chgData name="Abhishek Danalakota" userId="139ae11c-37c1-494d-966a-606ba81d5a81" providerId="ADAL" clId="{11E97BFB-743D-4AE5-969D-4F36318F3B0A}" dt="2023-08-11T15:10:19.728" v="2231" actId="1035"/>
          <ac:spMkLst>
            <pc:docMk/>
            <pc:sldMk cId="311767825" sldId="2147479556"/>
            <ac:spMk id="121" creationId="{8A54A23C-6EAE-4B7B-8160-DD8856D5F382}"/>
          </ac:spMkLst>
        </pc:spChg>
        <pc:spChg chg="mod">
          <ac:chgData name="Abhishek Danalakota" userId="139ae11c-37c1-494d-966a-606ba81d5a81" providerId="ADAL" clId="{11E97BFB-743D-4AE5-969D-4F36318F3B0A}" dt="2023-08-11T15:10:19.728" v="2231" actId="1035"/>
          <ac:spMkLst>
            <pc:docMk/>
            <pc:sldMk cId="311767825" sldId="2147479556"/>
            <ac:spMk id="122" creationId="{710E8CDF-D624-4E80-AE64-0EB3AE0E63BF}"/>
          </ac:spMkLst>
        </pc:spChg>
        <pc:spChg chg="mod">
          <ac:chgData name="Abhishek Danalakota" userId="139ae11c-37c1-494d-966a-606ba81d5a81" providerId="ADAL" clId="{11E97BFB-743D-4AE5-969D-4F36318F3B0A}" dt="2023-08-11T15:10:19.728" v="2231" actId="1035"/>
          <ac:spMkLst>
            <pc:docMk/>
            <pc:sldMk cId="311767825" sldId="2147479556"/>
            <ac:spMk id="123" creationId="{EF06EB81-097E-498D-B849-9A23108EC3F4}"/>
          </ac:spMkLst>
        </pc:spChg>
        <pc:spChg chg="mod">
          <ac:chgData name="Abhishek Danalakota" userId="139ae11c-37c1-494d-966a-606ba81d5a81" providerId="ADAL" clId="{11E97BFB-743D-4AE5-969D-4F36318F3B0A}" dt="2023-08-11T15:10:19.728" v="2231" actId="1035"/>
          <ac:spMkLst>
            <pc:docMk/>
            <pc:sldMk cId="311767825" sldId="2147479556"/>
            <ac:spMk id="124" creationId="{F82A8C0A-79D5-41ED-AF57-0A4D155DCD11}"/>
          </ac:spMkLst>
        </pc:spChg>
        <pc:spChg chg="mod">
          <ac:chgData name="Abhishek Danalakota" userId="139ae11c-37c1-494d-966a-606ba81d5a81" providerId="ADAL" clId="{11E97BFB-743D-4AE5-969D-4F36318F3B0A}" dt="2023-08-11T15:10:19.728" v="2231" actId="1035"/>
          <ac:spMkLst>
            <pc:docMk/>
            <pc:sldMk cId="311767825" sldId="2147479556"/>
            <ac:spMk id="125" creationId="{3B611589-8F72-469A-BF72-74CEDC5415A8}"/>
          </ac:spMkLst>
        </pc:spChg>
        <pc:spChg chg="mod">
          <ac:chgData name="Abhishek Danalakota" userId="139ae11c-37c1-494d-966a-606ba81d5a81" providerId="ADAL" clId="{11E97BFB-743D-4AE5-969D-4F36318F3B0A}" dt="2023-08-11T15:10:19.728" v="2231" actId="1035"/>
          <ac:spMkLst>
            <pc:docMk/>
            <pc:sldMk cId="311767825" sldId="2147479556"/>
            <ac:spMk id="126" creationId="{A11D53FF-5003-48B1-A460-EF3B621904ED}"/>
          </ac:spMkLst>
        </pc:spChg>
        <pc:spChg chg="mod">
          <ac:chgData name="Abhishek Danalakota" userId="139ae11c-37c1-494d-966a-606ba81d5a81" providerId="ADAL" clId="{11E97BFB-743D-4AE5-969D-4F36318F3B0A}" dt="2023-08-11T15:10:19.728" v="2231" actId="1035"/>
          <ac:spMkLst>
            <pc:docMk/>
            <pc:sldMk cId="311767825" sldId="2147479556"/>
            <ac:spMk id="127" creationId="{B9BDCA0F-8BE4-4117-9272-DA9712FD5DB7}"/>
          </ac:spMkLst>
        </pc:spChg>
        <pc:spChg chg="mod">
          <ac:chgData name="Abhishek Danalakota" userId="139ae11c-37c1-494d-966a-606ba81d5a81" providerId="ADAL" clId="{11E97BFB-743D-4AE5-969D-4F36318F3B0A}" dt="2023-08-11T15:10:19.728" v="2231" actId="1035"/>
          <ac:spMkLst>
            <pc:docMk/>
            <pc:sldMk cId="311767825" sldId="2147479556"/>
            <ac:spMk id="128" creationId="{B92F68CF-8312-4AA6-A006-4289A07DC4C6}"/>
          </ac:spMkLst>
        </pc:spChg>
        <pc:spChg chg="mod">
          <ac:chgData name="Abhishek Danalakota" userId="139ae11c-37c1-494d-966a-606ba81d5a81" providerId="ADAL" clId="{11E97BFB-743D-4AE5-969D-4F36318F3B0A}" dt="2023-08-11T15:10:19.728" v="2231" actId="1035"/>
          <ac:spMkLst>
            <pc:docMk/>
            <pc:sldMk cId="311767825" sldId="2147479556"/>
            <ac:spMk id="129" creationId="{E18FAE32-37EA-4CD7-BCD6-769F8902D886}"/>
          </ac:spMkLst>
        </pc:spChg>
        <pc:spChg chg="mod">
          <ac:chgData name="Abhishek Danalakota" userId="139ae11c-37c1-494d-966a-606ba81d5a81" providerId="ADAL" clId="{11E97BFB-743D-4AE5-969D-4F36318F3B0A}" dt="2023-08-11T15:10:19.728" v="2231" actId="1035"/>
          <ac:spMkLst>
            <pc:docMk/>
            <pc:sldMk cId="311767825" sldId="2147479556"/>
            <ac:spMk id="161" creationId="{6CB23770-02CE-4048-B278-E359E423560C}"/>
          </ac:spMkLst>
        </pc:spChg>
        <pc:spChg chg="mod">
          <ac:chgData name="Abhishek Danalakota" userId="139ae11c-37c1-494d-966a-606ba81d5a81" providerId="ADAL" clId="{11E97BFB-743D-4AE5-969D-4F36318F3B0A}" dt="2023-08-11T15:10:19.728" v="2231" actId="1035"/>
          <ac:spMkLst>
            <pc:docMk/>
            <pc:sldMk cId="311767825" sldId="2147479556"/>
            <ac:spMk id="162" creationId="{7632D687-90B5-4932-B438-52EEB3F123EC}"/>
          </ac:spMkLst>
        </pc:spChg>
        <pc:spChg chg="mod">
          <ac:chgData name="Abhishek Danalakota" userId="139ae11c-37c1-494d-966a-606ba81d5a81" providerId="ADAL" clId="{11E97BFB-743D-4AE5-969D-4F36318F3B0A}" dt="2023-08-11T15:10:19.728" v="2231" actId="1035"/>
          <ac:spMkLst>
            <pc:docMk/>
            <pc:sldMk cId="311767825" sldId="2147479556"/>
            <ac:spMk id="163" creationId="{AC297E4D-8DB6-47E8-8F6E-4301F6447D8C}"/>
          </ac:spMkLst>
        </pc:spChg>
        <pc:spChg chg="mod">
          <ac:chgData name="Abhishek Danalakota" userId="139ae11c-37c1-494d-966a-606ba81d5a81" providerId="ADAL" clId="{11E97BFB-743D-4AE5-969D-4F36318F3B0A}" dt="2023-08-11T15:10:19.728" v="2231" actId="1035"/>
          <ac:spMkLst>
            <pc:docMk/>
            <pc:sldMk cId="311767825" sldId="2147479556"/>
            <ac:spMk id="164" creationId="{E6199B97-D8BB-418C-A6CF-282B262AD3FE}"/>
          </ac:spMkLst>
        </pc:spChg>
        <pc:spChg chg="mod">
          <ac:chgData name="Abhishek Danalakota" userId="139ae11c-37c1-494d-966a-606ba81d5a81" providerId="ADAL" clId="{11E97BFB-743D-4AE5-969D-4F36318F3B0A}" dt="2023-08-11T15:10:19.728" v="2231" actId="1035"/>
          <ac:spMkLst>
            <pc:docMk/>
            <pc:sldMk cId="311767825" sldId="2147479556"/>
            <ac:spMk id="165" creationId="{DF2454B5-02D3-4993-B6A7-155AD02AA897}"/>
          </ac:spMkLst>
        </pc:spChg>
        <pc:spChg chg="mod">
          <ac:chgData name="Abhishek Danalakota" userId="139ae11c-37c1-494d-966a-606ba81d5a81" providerId="ADAL" clId="{11E97BFB-743D-4AE5-969D-4F36318F3B0A}" dt="2023-08-11T15:10:19.728" v="2231" actId="1035"/>
          <ac:spMkLst>
            <pc:docMk/>
            <pc:sldMk cId="311767825" sldId="2147479556"/>
            <ac:spMk id="166" creationId="{43ED7D1E-592F-4DBB-ABF7-2E5202F2E626}"/>
          </ac:spMkLst>
        </pc:spChg>
        <pc:spChg chg="mod">
          <ac:chgData name="Abhishek Danalakota" userId="139ae11c-37c1-494d-966a-606ba81d5a81" providerId="ADAL" clId="{11E97BFB-743D-4AE5-969D-4F36318F3B0A}" dt="2023-08-11T15:10:19.728" v="2231" actId="1035"/>
          <ac:spMkLst>
            <pc:docMk/>
            <pc:sldMk cId="311767825" sldId="2147479556"/>
            <ac:spMk id="167" creationId="{97A2F5EE-5F36-4B93-88A6-344F12BD0C3E}"/>
          </ac:spMkLst>
        </pc:spChg>
        <pc:spChg chg="mod">
          <ac:chgData name="Abhishek Danalakota" userId="139ae11c-37c1-494d-966a-606ba81d5a81" providerId="ADAL" clId="{11E97BFB-743D-4AE5-969D-4F36318F3B0A}" dt="2023-08-11T15:10:19.728" v="2231" actId="1035"/>
          <ac:spMkLst>
            <pc:docMk/>
            <pc:sldMk cId="311767825" sldId="2147479556"/>
            <ac:spMk id="168" creationId="{DD8AE104-7662-487E-AC58-554F8D3A6442}"/>
          </ac:spMkLst>
        </pc:spChg>
        <pc:spChg chg="mod">
          <ac:chgData name="Abhishek Danalakota" userId="139ae11c-37c1-494d-966a-606ba81d5a81" providerId="ADAL" clId="{11E97BFB-743D-4AE5-969D-4F36318F3B0A}" dt="2023-08-11T15:10:19.728" v="2231" actId="1035"/>
          <ac:spMkLst>
            <pc:docMk/>
            <pc:sldMk cId="311767825" sldId="2147479556"/>
            <ac:spMk id="169" creationId="{F12A2F92-C24F-4533-A230-E3C054073DB6}"/>
          </ac:spMkLst>
        </pc:spChg>
        <pc:spChg chg="mod">
          <ac:chgData name="Abhishek Danalakota" userId="139ae11c-37c1-494d-966a-606ba81d5a81" providerId="ADAL" clId="{11E97BFB-743D-4AE5-969D-4F36318F3B0A}" dt="2023-08-11T15:10:19.728" v="2231" actId="1035"/>
          <ac:spMkLst>
            <pc:docMk/>
            <pc:sldMk cId="311767825" sldId="2147479556"/>
            <ac:spMk id="170" creationId="{BF398F96-B980-4757-BD8E-55AA665DB949}"/>
          </ac:spMkLst>
        </pc:spChg>
        <pc:spChg chg="mod">
          <ac:chgData name="Abhishek Danalakota" userId="139ae11c-37c1-494d-966a-606ba81d5a81" providerId="ADAL" clId="{11E97BFB-743D-4AE5-969D-4F36318F3B0A}" dt="2023-08-11T15:10:19.728" v="2231" actId="1035"/>
          <ac:spMkLst>
            <pc:docMk/>
            <pc:sldMk cId="311767825" sldId="2147479556"/>
            <ac:spMk id="171" creationId="{9E367438-4779-4104-AEE9-80B3397C0E63}"/>
          </ac:spMkLst>
        </pc:spChg>
        <pc:spChg chg="mod">
          <ac:chgData name="Abhishek Danalakota" userId="139ae11c-37c1-494d-966a-606ba81d5a81" providerId="ADAL" clId="{11E97BFB-743D-4AE5-969D-4F36318F3B0A}" dt="2023-08-11T15:10:19.728" v="2231" actId="1035"/>
          <ac:spMkLst>
            <pc:docMk/>
            <pc:sldMk cId="311767825" sldId="2147479556"/>
            <ac:spMk id="172" creationId="{47C0A683-7EE4-4829-8F05-C17DAB038589}"/>
          </ac:spMkLst>
        </pc:spChg>
        <pc:spChg chg="mod">
          <ac:chgData name="Abhishek Danalakota" userId="139ae11c-37c1-494d-966a-606ba81d5a81" providerId="ADAL" clId="{11E97BFB-743D-4AE5-969D-4F36318F3B0A}" dt="2023-08-11T15:10:19.728" v="2231" actId="1035"/>
          <ac:spMkLst>
            <pc:docMk/>
            <pc:sldMk cId="311767825" sldId="2147479556"/>
            <ac:spMk id="173" creationId="{30FCCAD5-928A-4FA9-BD5C-0B5C6C548439}"/>
          </ac:spMkLst>
        </pc:spChg>
        <pc:spChg chg="mod">
          <ac:chgData name="Abhishek Danalakota" userId="139ae11c-37c1-494d-966a-606ba81d5a81" providerId="ADAL" clId="{11E97BFB-743D-4AE5-969D-4F36318F3B0A}" dt="2023-08-11T15:10:19.728" v="2231" actId="1035"/>
          <ac:spMkLst>
            <pc:docMk/>
            <pc:sldMk cId="311767825" sldId="2147479556"/>
            <ac:spMk id="174" creationId="{23B9D44F-EFE6-4A39-8166-9A0603414C4A}"/>
          </ac:spMkLst>
        </pc:spChg>
        <pc:spChg chg="mod">
          <ac:chgData name="Abhishek Danalakota" userId="139ae11c-37c1-494d-966a-606ba81d5a81" providerId="ADAL" clId="{11E97BFB-743D-4AE5-969D-4F36318F3B0A}" dt="2023-08-11T15:10:19.728" v="2231" actId="1035"/>
          <ac:spMkLst>
            <pc:docMk/>
            <pc:sldMk cId="311767825" sldId="2147479556"/>
            <ac:spMk id="175" creationId="{B8897ED1-71E9-4B57-888A-4FFEC1510170}"/>
          </ac:spMkLst>
        </pc:spChg>
        <pc:spChg chg="mod">
          <ac:chgData name="Abhishek Danalakota" userId="139ae11c-37c1-494d-966a-606ba81d5a81" providerId="ADAL" clId="{11E97BFB-743D-4AE5-969D-4F36318F3B0A}" dt="2023-08-11T15:10:19.728" v="2231" actId="1035"/>
          <ac:spMkLst>
            <pc:docMk/>
            <pc:sldMk cId="311767825" sldId="2147479556"/>
            <ac:spMk id="176" creationId="{5A7E9314-544B-4125-8DA3-9D313B0162B3}"/>
          </ac:spMkLst>
        </pc:spChg>
        <pc:spChg chg="mod">
          <ac:chgData name="Abhishek Danalakota" userId="139ae11c-37c1-494d-966a-606ba81d5a81" providerId="ADAL" clId="{11E97BFB-743D-4AE5-969D-4F36318F3B0A}" dt="2023-08-11T15:10:19.728" v="2231" actId="1035"/>
          <ac:spMkLst>
            <pc:docMk/>
            <pc:sldMk cId="311767825" sldId="2147479556"/>
            <ac:spMk id="177" creationId="{9B6DB94E-3BB2-49EC-8810-0E79DADB6CB1}"/>
          </ac:spMkLst>
        </pc:spChg>
        <pc:spChg chg="mod">
          <ac:chgData name="Abhishek Danalakota" userId="139ae11c-37c1-494d-966a-606ba81d5a81" providerId="ADAL" clId="{11E97BFB-743D-4AE5-969D-4F36318F3B0A}" dt="2023-08-11T15:10:19.728" v="2231" actId="1035"/>
          <ac:spMkLst>
            <pc:docMk/>
            <pc:sldMk cId="311767825" sldId="2147479556"/>
            <ac:spMk id="178" creationId="{FEA92D4C-3F5E-45E0-9EC3-AA56AF6B6FA1}"/>
          </ac:spMkLst>
        </pc:spChg>
        <pc:spChg chg="mod">
          <ac:chgData name="Abhishek Danalakota" userId="139ae11c-37c1-494d-966a-606ba81d5a81" providerId="ADAL" clId="{11E97BFB-743D-4AE5-969D-4F36318F3B0A}" dt="2023-08-11T15:10:19.728" v="2231" actId="1035"/>
          <ac:spMkLst>
            <pc:docMk/>
            <pc:sldMk cId="311767825" sldId="2147479556"/>
            <ac:spMk id="179" creationId="{3BE45AE7-E670-4418-A2A1-23F989D3E283}"/>
          </ac:spMkLst>
        </pc:spChg>
        <pc:spChg chg="mod">
          <ac:chgData name="Abhishek Danalakota" userId="139ae11c-37c1-494d-966a-606ba81d5a81" providerId="ADAL" clId="{11E97BFB-743D-4AE5-969D-4F36318F3B0A}" dt="2023-08-11T15:10:19.728" v="2231" actId="1035"/>
          <ac:spMkLst>
            <pc:docMk/>
            <pc:sldMk cId="311767825" sldId="2147479556"/>
            <ac:spMk id="180" creationId="{24A1D7EF-707E-4110-BFE8-2673753701C4}"/>
          </ac:spMkLst>
        </pc:spChg>
      </pc:sldChg>
      <pc:sldChg chg="addSp delSp modSp mod">
        <pc:chgData name="Abhishek Danalakota" userId="139ae11c-37c1-494d-966a-606ba81d5a81" providerId="ADAL" clId="{11E97BFB-743D-4AE5-969D-4F36318F3B0A}" dt="2023-07-27T17:08:17.038" v="828" actId="1038"/>
        <pc:sldMkLst>
          <pc:docMk/>
          <pc:sldMk cId="1563776" sldId="2147479568"/>
        </pc:sldMkLst>
        <pc:spChg chg="mod">
          <ac:chgData name="Abhishek Danalakota" userId="139ae11c-37c1-494d-966a-606ba81d5a81" providerId="ADAL" clId="{11E97BFB-743D-4AE5-969D-4F36318F3B0A}" dt="2023-07-27T17:08:03.378" v="817" actId="20577"/>
          <ac:spMkLst>
            <pc:docMk/>
            <pc:sldMk cId="1563776" sldId="2147479568"/>
            <ac:spMk id="43" creationId="{FE606071-20E3-4EA6-B706-663CF065F3C7}"/>
          </ac:spMkLst>
        </pc:spChg>
        <pc:spChg chg="mod">
          <ac:chgData name="Abhishek Danalakota" userId="139ae11c-37c1-494d-966a-606ba81d5a81" providerId="ADAL" clId="{11E97BFB-743D-4AE5-969D-4F36318F3B0A}" dt="2023-07-27T17:07:17.412" v="789" actId="14100"/>
          <ac:spMkLst>
            <pc:docMk/>
            <pc:sldMk cId="1563776" sldId="2147479568"/>
            <ac:spMk id="50" creationId="{62BA95A9-B080-4FA1-BB17-4170C5C1BC74}"/>
          </ac:spMkLst>
        </pc:spChg>
        <pc:graphicFrameChg chg="add mod modGraphic">
          <ac:chgData name="Abhishek Danalakota" userId="139ae11c-37c1-494d-966a-606ba81d5a81" providerId="ADAL" clId="{11E97BFB-743D-4AE5-969D-4F36318F3B0A}" dt="2023-07-27T17:04:55.457" v="775" actId="14734"/>
          <ac:graphicFrameMkLst>
            <pc:docMk/>
            <pc:sldMk cId="1563776" sldId="2147479568"/>
            <ac:graphicFrameMk id="4" creationId="{2D78360D-DB4E-EB95-211F-0707A52C8D79}"/>
          </ac:graphicFrameMkLst>
        </pc:graphicFrameChg>
        <pc:graphicFrameChg chg="del mod modGraphic">
          <ac:chgData name="Abhishek Danalakota" userId="139ae11c-37c1-494d-966a-606ba81d5a81" providerId="ADAL" clId="{11E97BFB-743D-4AE5-969D-4F36318F3B0A}" dt="2023-07-27T17:04:59.051" v="776" actId="478"/>
          <ac:graphicFrameMkLst>
            <pc:docMk/>
            <pc:sldMk cId="1563776" sldId="2147479568"/>
            <ac:graphicFrameMk id="51" creationId="{BA899943-93FE-4AA2-8285-D1BC4E0C089A}"/>
          </ac:graphicFrameMkLst>
        </pc:graphicFrameChg>
        <pc:picChg chg="add mod">
          <ac:chgData name="Abhishek Danalakota" userId="139ae11c-37c1-494d-966a-606ba81d5a81" providerId="ADAL" clId="{11E97BFB-743D-4AE5-969D-4F36318F3B0A}" dt="2023-07-27T17:08:17.038" v="828" actId="1038"/>
          <ac:picMkLst>
            <pc:docMk/>
            <pc:sldMk cId="1563776" sldId="2147479568"/>
            <ac:picMk id="3" creationId="{68482E45-6159-D0DD-5F4F-3DB533CF4672}"/>
          </ac:picMkLst>
        </pc:picChg>
        <pc:picChg chg="add del mod">
          <ac:chgData name="Abhishek Danalakota" userId="139ae11c-37c1-494d-966a-606ba81d5a81" providerId="ADAL" clId="{11E97BFB-743D-4AE5-969D-4F36318F3B0A}" dt="2023-07-27T16:57:24.235" v="729" actId="478"/>
          <ac:picMkLst>
            <pc:docMk/>
            <pc:sldMk cId="1563776" sldId="2147479568"/>
            <ac:picMk id="7" creationId="{1E3AFBF1-3415-4042-8E03-CCC83257117A}"/>
          </ac:picMkLst>
        </pc:picChg>
      </pc:sldChg>
      <pc:sldChg chg="modSp mod">
        <pc:chgData name="Abhishek Danalakota" userId="139ae11c-37c1-494d-966a-606ba81d5a81" providerId="ADAL" clId="{11E97BFB-743D-4AE5-969D-4F36318F3B0A}" dt="2023-07-25T13:59:43.322" v="274" actId="20577"/>
        <pc:sldMkLst>
          <pc:docMk/>
          <pc:sldMk cId="2541600766" sldId="2147479584"/>
        </pc:sldMkLst>
        <pc:spChg chg="mod">
          <ac:chgData name="Abhishek Danalakota" userId="139ae11c-37c1-494d-966a-606ba81d5a81" providerId="ADAL" clId="{11E97BFB-743D-4AE5-969D-4F36318F3B0A}" dt="2023-07-25T13:54:22.906" v="180" actId="20577"/>
          <ac:spMkLst>
            <pc:docMk/>
            <pc:sldMk cId="2541600766" sldId="2147479584"/>
            <ac:spMk id="27" creationId="{621A73AB-F559-4367-A4AB-5678F597AB08}"/>
          </ac:spMkLst>
        </pc:spChg>
        <pc:spChg chg="mod">
          <ac:chgData name="Abhishek Danalakota" userId="139ae11c-37c1-494d-966a-606ba81d5a81" providerId="ADAL" clId="{11E97BFB-743D-4AE5-969D-4F36318F3B0A}" dt="2023-07-25T13:47:48.402" v="70" actId="20577"/>
          <ac:spMkLst>
            <pc:docMk/>
            <pc:sldMk cId="2541600766" sldId="2147479584"/>
            <ac:spMk id="28" creationId="{6DA17E0E-2D06-41F2-B7C7-5C2A02D50E3D}"/>
          </ac:spMkLst>
        </pc:spChg>
        <pc:spChg chg="mod">
          <ac:chgData name="Abhishek Danalakota" userId="139ae11c-37c1-494d-966a-606ba81d5a81" providerId="ADAL" clId="{11E97BFB-743D-4AE5-969D-4F36318F3B0A}" dt="2023-07-25T13:50:32.522" v="169" actId="20577"/>
          <ac:spMkLst>
            <pc:docMk/>
            <pc:sldMk cId="2541600766" sldId="2147479584"/>
            <ac:spMk id="29" creationId="{D6779230-42AA-49E7-AE80-E353C486AD85}"/>
          </ac:spMkLst>
        </pc:spChg>
        <pc:spChg chg="mod">
          <ac:chgData name="Abhishek Danalakota" userId="139ae11c-37c1-494d-966a-606ba81d5a81" providerId="ADAL" clId="{11E97BFB-743D-4AE5-969D-4F36318F3B0A}" dt="2023-07-25T13:50:28.812" v="167" actId="20577"/>
          <ac:spMkLst>
            <pc:docMk/>
            <pc:sldMk cId="2541600766" sldId="2147479584"/>
            <ac:spMk id="30" creationId="{95E58021-50C8-4B43-A618-FFCDC8582E7B}"/>
          </ac:spMkLst>
        </pc:spChg>
        <pc:spChg chg="mod">
          <ac:chgData name="Abhishek Danalakota" userId="139ae11c-37c1-494d-966a-606ba81d5a81" providerId="ADAL" clId="{11E97BFB-743D-4AE5-969D-4F36318F3B0A}" dt="2023-07-25T13:54:35.252" v="181"/>
          <ac:spMkLst>
            <pc:docMk/>
            <pc:sldMk cId="2541600766" sldId="2147479584"/>
            <ac:spMk id="33" creationId="{65F9D3B9-D6E1-4DF9-9664-3F9328EF2029}"/>
          </ac:spMkLst>
        </pc:spChg>
        <pc:spChg chg="mod">
          <ac:chgData name="Abhishek Danalakota" userId="139ae11c-37c1-494d-966a-606ba81d5a81" providerId="ADAL" clId="{11E97BFB-743D-4AE5-969D-4F36318F3B0A}" dt="2023-07-25T13:55:24.557" v="209" actId="20577"/>
          <ac:spMkLst>
            <pc:docMk/>
            <pc:sldMk cId="2541600766" sldId="2147479584"/>
            <ac:spMk id="34" creationId="{5511173C-4A43-41FA-A867-390BD5042D0F}"/>
          </ac:spMkLst>
        </pc:spChg>
        <pc:spChg chg="mod">
          <ac:chgData name="Abhishek Danalakota" userId="139ae11c-37c1-494d-966a-606ba81d5a81" providerId="ADAL" clId="{11E97BFB-743D-4AE5-969D-4F36318F3B0A}" dt="2023-07-25T13:59:43.322" v="274" actId="20577"/>
          <ac:spMkLst>
            <pc:docMk/>
            <pc:sldMk cId="2541600766" sldId="2147479584"/>
            <ac:spMk id="35" creationId="{8824E339-0BC4-438A-8A58-A393A40919C4}"/>
          </ac:spMkLst>
        </pc:spChg>
      </pc:sldChg>
      <pc:sldChg chg="new del">
        <pc:chgData name="Abhishek Danalakota" userId="139ae11c-37c1-494d-966a-606ba81d5a81" providerId="ADAL" clId="{11E97BFB-743D-4AE5-969D-4F36318F3B0A}" dt="2023-07-24T10:57:07.276" v="2" actId="47"/>
        <pc:sldMkLst>
          <pc:docMk/>
          <pc:sldMk cId="1749132229" sldId="2147479602"/>
        </pc:sldMkLst>
      </pc:sldChg>
      <pc:sldChg chg="modSp add del mod">
        <pc:chgData name="Abhishek Danalakota" userId="139ae11c-37c1-494d-966a-606ba81d5a81" providerId="ADAL" clId="{11E97BFB-743D-4AE5-969D-4F36318F3B0A}" dt="2023-07-25T10:26:26.700" v="4" actId="2696"/>
        <pc:sldMkLst>
          <pc:docMk/>
          <pc:sldMk cId="1359490249" sldId="2147479603"/>
        </pc:sldMkLst>
        <pc:spChg chg="mod">
          <ac:chgData name="Abhishek Danalakota" userId="139ae11c-37c1-494d-966a-606ba81d5a81" providerId="ADAL" clId="{11E97BFB-743D-4AE5-969D-4F36318F3B0A}" dt="2023-07-24T10:57:19.480" v="3"/>
          <ac:spMkLst>
            <pc:docMk/>
            <pc:sldMk cId="1359490249" sldId="2147479603"/>
            <ac:spMk id="8" creationId="{7824D54C-15D2-467C-A016-166944D0781C}"/>
          </ac:spMkLst>
        </pc:spChg>
      </pc:sldChg>
      <pc:sldChg chg="modSp mod">
        <pc:chgData name="Abhishek Danalakota" userId="139ae11c-37c1-494d-966a-606ba81d5a81" providerId="ADAL" clId="{11E97BFB-743D-4AE5-969D-4F36318F3B0A}" dt="2023-08-11T15:00:52.496" v="2136" actId="1076"/>
        <pc:sldMkLst>
          <pc:docMk/>
          <pc:sldMk cId="2074381867" sldId="2147479609"/>
        </pc:sldMkLst>
        <pc:graphicFrameChg chg="mod">
          <ac:chgData name="Abhishek Danalakota" userId="139ae11c-37c1-494d-966a-606ba81d5a81" providerId="ADAL" clId="{11E97BFB-743D-4AE5-969D-4F36318F3B0A}" dt="2023-08-11T15:00:52.496" v="2136" actId="1076"/>
          <ac:graphicFrameMkLst>
            <pc:docMk/>
            <pc:sldMk cId="2074381867" sldId="2147479609"/>
            <ac:graphicFrameMk id="3" creationId="{A8C79D6C-A7C9-DB57-D69D-756EB168AE4F}"/>
          </ac:graphicFrameMkLst>
        </pc:graphicFrameChg>
      </pc:sldChg>
      <pc:sldChg chg="del">
        <pc:chgData name="Abhishek Danalakota" userId="139ae11c-37c1-494d-966a-606ba81d5a81" providerId="ADAL" clId="{11E97BFB-743D-4AE5-969D-4F36318F3B0A}" dt="2023-08-11T15:08:09.705" v="2207" actId="2696"/>
        <pc:sldMkLst>
          <pc:docMk/>
          <pc:sldMk cId="3932437091" sldId="2147479627"/>
        </pc:sldMkLst>
      </pc:sldChg>
      <pc:sldChg chg="del">
        <pc:chgData name="Abhishek Danalakota" userId="139ae11c-37c1-494d-966a-606ba81d5a81" providerId="ADAL" clId="{11E97BFB-743D-4AE5-969D-4F36318F3B0A}" dt="2023-08-11T15:09:01.022" v="2212" actId="2696"/>
        <pc:sldMkLst>
          <pc:docMk/>
          <pc:sldMk cId="3523144604" sldId="2147479628"/>
        </pc:sldMkLst>
      </pc:sldChg>
      <pc:sldChg chg="addSp delSp modSp add mod addCm">
        <pc:chgData name="Abhishek Danalakota" userId="139ae11c-37c1-494d-966a-606ba81d5a81" providerId="ADAL" clId="{11E97BFB-743D-4AE5-969D-4F36318F3B0A}" dt="2023-07-27T08:54:31.899" v="712"/>
        <pc:sldMkLst>
          <pc:docMk/>
          <pc:sldMk cId="2175479650" sldId="2147479633"/>
        </pc:sldMkLst>
        <pc:spChg chg="add mod">
          <ac:chgData name="Abhishek Danalakota" userId="139ae11c-37c1-494d-966a-606ba81d5a81" providerId="ADAL" clId="{11E97BFB-743D-4AE5-969D-4F36318F3B0A}" dt="2023-07-26T09:58:25.692" v="520" actId="20577"/>
          <ac:spMkLst>
            <pc:docMk/>
            <pc:sldMk cId="2175479650" sldId="2147479633"/>
            <ac:spMk id="2" creationId="{B62662A1-6231-C9A3-CB98-DA447F38793A}"/>
          </ac:spMkLst>
        </pc:spChg>
        <pc:spChg chg="add mod">
          <ac:chgData name="Abhishek Danalakota" userId="139ae11c-37c1-494d-966a-606ba81d5a81" providerId="ADAL" clId="{11E97BFB-743D-4AE5-969D-4F36318F3B0A}" dt="2023-07-27T08:31:28.095" v="584" actId="20577"/>
          <ac:spMkLst>
            <pc:docMk/>
            <pc:sldMk cId="2175479650" sldId="2147479633"/>
            <ac:spMk id="4" creationId="{C60F421B-BF94-1677-9595-B5C1422289A2}"/>
          </ac:spMkLst>
        </pc:spChg>
        <pc:spChg chg="del">
          <ac:chgData name="Abhishek Danalakota" userId="139ae11c-37c1-494d-966a-606ba81d5a81" providerId="ADAL" clId="{11E97BFB-743D-4AE5-969D-4F36318F3B0A}" dt="2023-07-26T09:02:17.833" v="282" actId="478"/>
          <ac:spMkLst>
            <pc:docMk/>
            <pc:sldMk cId="2175479650" sldId="2147479633"/>
            <ac:spMk id="11" creationId="{90DDC0F7-ED30-4BBD-8268-C904D7B7B3E6}"/>
          </ac:spMkLst>
        </pc:spChg>
        <pc:spChg chg="del">
          <ac:chgData name="Abhishek Danalakota" userId="139ae11c-37c1-494d-966a-606ba81d5a81" providerId="ADAL" clId="{11E97BFB-743D-4AE5-969D-4F36318F3B0A}" dt="2023-07-26T09:02:28.970" v="290" actId="478"/>
          <ac:spMkLst>
            <pc:docMk/>
            <pc:sldMk cId="2175479650" sldId="2147479633"/>
            <ac:spMk id="51" creationId="{B1A4AC14-C0D7-4DA1-9FAF-BE296C11652D}"/>
          </ac:spMkLst>
        </pc:spChg>
        <pc:spChg chg="del mod">
          <ac:chgData name="Abhishek Danalakota" userId="139ae11c-37c1-494d-966a-606ba81d5a81" providerId="ADAL" clId="{11E97BFB-743D-4AE5-969D-4F36318F3B0A}" dt="2023-07-26T09:02:26.571" v="289" actId="478"/>
          <ac:spMkLst>
            <pc:docMk/>
            <pc:sldMk cId="2175479650" sldId="2147479633"/>
            <ac:spMk id="52" creationId="{28BE02C9-233F-4ED3-A00E-A864ECC4B801}"/>
          </ac:spMkLst>
        </pc:spChg>
        <pc:spChg chg="del">
          <ac:chgData name="Abhishek Danalakota" userId="139ae11c-37c1-494d-966a-606ba81d5a81" providerId="ADAL" clId="{11E97BFB-743D-4AE5-969D-4F36318F3B0A}" dt="2023-07-26T09:02:17.833" v="282" actId="478"/>
          <ac:spMkLst>
            <pc:docMk/>
            <pc:sldMk cId="2175479650" sldId="2147479633"/>
            <ac:spMk id="57" creationId="{8C2C675D-F088-4738-873F-40B216756E0B}"/>
          </ac:spMkLst>
        </pc:spChg>
        <pc:spChg chg="del">
          <ac:chgData name="Abhishek Danalakota" userId="139ae11c-37c1-494d-966a-606ba81d5a81" providerId="ADAL" clId="{11E97BFB-743D-4AE5-969D-4F36318F3B0A}" dt="2023-07-26T09:02:23.283" v="286" actId="478"/>
          <ac:spMkLst>
            <pc:docMk/>
            <pc:sldMk cId="2175479650" sldId="2147479633"/>
            <ac:spMk id="58" creationId="{B1A8DEE7-BDFA-4275-8898-B8C0662776A7}"/>
          </ac:spMkLst>
        </pc:spChg>
        <pc:spChg chg="del">
          <ac:chgData name="Abhishek Danalakota" userId="139ae11c-37c1-494d-966a-606ba81d5a81" providerId="ADAL" clId="{11E97BFB-743D-4AE5-969D-4F36318F3B0A}" dt="2023-07-26T09:02:17.833" v="282" actId="478"/>
          <ac:spMkLst>
            <pc:docMk/>
            <pc:sldMk cId="2175479650" sldId="2147479633"/>
            <ac:spMk id="59" creationId="{834BA052-E586-4C6D-90C2-9029FB7ED7C3}"/>
          </ac:spMkLst>
        </pc:spChg>
        <pc:spChg chg="del">
          <ac:chgData name="Abhishek Danalakota" userId="139ae11c-37c1-494d-966a-606ba81d5a81" providerId="ADAL" clId="{11E97BFB-743D-4AE5-969D-4F36318F3B0A}" dt="2023-07-26T09:02:17.833" v="282" actId="478"/>
          <ac:spMkLst>
            <pc:docMk/>
            <pc:sldMk cId="2175479650" sldId="2147479633"/>
            <ac:spMk id="60" creationId="{8D57794D-71F6-4730-9E56-30B254A4A3D5}"/>
          </ac:spMkLst>
        </pc:spChg>
        <pc:spChg chg="del">
          <ac:chgData name="Abhishek Danalakota" userId="139ae11c-37c1-494d-966a-606ba81d5a81" providerId="ADAL" clId="{11E97BFB-743D-4AE5-969D-4F36318F3B0A}" dt="2023-07-26T09:02:17.833" v="282" actId="478"/>
          <ac:spMkLst>
            <pc:docMk/>
            <pc:sldMk cId="2175479650" sldId="2147479633"/>
            <ac:spMk id="61" creationId="{464C4160-B2DA-4299-8DAF-5003406F7531}"/>
          </ac:spMkLst>
        </pc:spChg>
        <pc:spChg chg="del">
          <ac:chgData name="Abhishek Danalakota" userId="139ae11c-37c1-494d-966a-606ba81d5a81" providerId="ADAL" clId="{11E97BFB-743D-4AE5-969D-4F36318F3B0A}" dt="2023-07-26T09:02:17.833" v="282" actId="478"/>
          <ac:spMkLst>
            <pc:docMk/>
            <pc:sldMk cId="2175479650" sldId="2147479633"/>
            <ac:spMk id="62" creationId="{16AE0B04-529C-4E45-A408-8F8D31829AD7}"/>
          </ac:spMkLst>
        </pc:spChg>
        <pc:spChg chg="del">
          <ac:chgData name="Abhishek Danalakota" userId="139ae11c-37c1-494d-966a-606ba81d5a81" providerId="ADAL" clId="{11E97BFB-743D-4AE5-969D-4F36318F3B0A}" dt="2023-07-26T09:02:17.833" v="282" actId="478"/>
          <ac:spMkLst>
            <pc:docMk/>
            <pc:sldMk cId="2175479650" sldId="2147479633"/>
            <ac:spMk id="63" creationId="{CB91E08E-2323-41CB-A3C7-95023F40A7D9}"/>
          </ac:spMkLst>
        </pc:spChg>
        <pc:spChg chg="del">
          <ac:chgData name="Abhishek Danalakota" userId="139ae11c-37c1-494d-966a-606ba81d5a81" providerId="ADAL" clId="{11E97BFB-743D-4AE5-969D-4F36318F3B0A}" dt="2023-07-26T09:02:17.833" v="282" actId="478"/>
          <ac:spMkLst>
            <pc:docMk/>
            <pc:sldMk cId="2175479650" sldId="2147479633"/>
            <ac:spMk id="64" creationId="{D35778E3-87E8-4210-8094-1366369976AD}"/>
          </ac:spMkLst>
        </pc:spChg>
        <pc:spChg chg="del">
          <ac:chgData name="Abhishek Danalakota" userId="139ae11c-37c1-494d-966a-606ba81d5a81" providerId="ADAL" clId="{11E97BFB-743D-4AE5-969D-4F36318F3B0A}" dt="2023-07-26T09:02:17.833" v="282" actId="478"/>
          <ac:spMkLst>
            <pc:docMk/>
            <pc:sldMk cId="2175479650" sldId="2147479633"/>
            <ac:spMk id="65" creationId="{4D4E29AA-FC67-49BC-94A8-13EE027B30D8}"/>
          </ac:spMkLst>
        </pc:spChg>
        <pc:spChg chg="del">
          <ac:chgData name="Abhishek Danalakota" userId="139ae11c-37c1-494d-966a-606ba81d5a81" providerId="ADAL" clId="{11E97BFB-743D-4AE5-969D-4F36318F3B0A}" dt="2023-07-26T09:02:17.833" v="282" actId="478"/>
          <ac:spMkLst>
            <pc:docMk/>
            <pc:sldMk cId="2175479650" sldId="2147479633"/>
            <ac:spMk id="67" creationId="{0A167960-8AA7-4E81-B77E-C417CAA82542}"/>
          </ac:spMkLst>
        </pc:spChg>
        <pc:spChg chg="del">
          <ac:chgData name="Abhishek Danalakota" userId="139ae11c-37c1-494d-966a-606ba81d5a81" providerId="ADAL" clId="{11E97BFB-743D-4AE5-969D-4F36318F3B0A}" dt="2023-07-26T09:02:17.833" v="282" actId="478"/>
          <ac:spMkLst>
            <pc:docMk/>
            <pc:sldMk cId="2175479650" sldId="2147479633"/>
            <ac:spMk id="68" creationId="{8D33E605-8529-423B-B879-0AA01D9F1E81}"/>
          </ac:spMkLst>
        </pc:spChg>
        <pc:spChg chg="del">
          <ac:chgData name="Abhishek Danalakota" userId="139ae11c-37c1-494d-966a-606ba81d5a81" providerId="ADAL" clId="{11E97BFB-743D-4AE5-969D-4F36318F3B0A}" dt="2023-07-26T09:02:17.833" v="282" actId="478"/>
          <ac:spMkLst>
            <pc:docMk/>
            <pc:sldMk cId="2175479650" sldId="2147479633"/>
            <ac:spMk id="69" creationId="{C9990DF7-F877-4E4A-A729-89BBE82CD08F}"/>
          </ac:spMkLst>
        </pc:spChg>
        <pc:spChg chg="del">
          <ac:chgData name="Abhishek Danalakota" userId="139ae11c-37c1-494d-966a-606ba81d5a81" providerId="ADAL" clId="{11E97BFB-743D-4AE5-969D-4F36318F3B0A}" dt="2023-07-26T09:02:17.833" v="282" actId="478"/>
          <ac:spMkLst>
            <pc:docMk/>
            <pc:sldMk cId="2175479650" sldId="2147479633"/>
            <ac:spMk id="70" creationId="{FC8DA017-5DD8-470D-8893-D83705504279}"/>
          </ac:spMkLst>
        </pc:spChg>
        <pc:spChg chg="del">
          <ac:chgData name="Abhishek Danalakota" userId="139ae11c-37c1-494d-966a-606ba81d5a81" providerId="ADAL" clId="{11E97BFB-743D-4AE5-969D-4F36318F3B0A}" dt="2023-07-26T09:02:24.388" v="287" actId="478"/>
          <ac:spMkLst>
            <pc:docMk/>
            <pc:sldMk cId="2175479650" sldId="2147479633"/>
            <ac:spMk id="71" creationId="{3F843851-940A-4B14-823E-48252DB58059}"/>
          </ac:spMkLst>
        </pc:spChg>
        <pc:spChg chg="del">
          <ac:chgData name="Abhishek Danalakota" userId="139ae11c-37c1-494d-966a-606ba81d5a81" providerId="ADAL" clId="{11E97BFB-743D-4AE5-969D-4F36318F3B0A}" dt="2023-07-26T09:02:17.833" v="282" actId="478"/>
          <ac:spMkLst>
            <pc:docMk/>
            <pc:sldMk cId="2175479650" sldId="2147479633"/>
            <ac:spMk id="72" creationId="{2D91B89F-991D-4A10-B843-1223276DD9DE}"/>
          </ac:spMkLst>
        </pc:spChg>
        <pc:spChg chg="del">
          <ac:chgData name="Abhishek Danalakota" userId="139ae11c-37c1-494d-966a-606ba81d5a81" providerId="ADAL" clId="{11E97BFB-743D-4AE5-969D-4F36318F3B0A}" dt="2023-07-26T09:02:17.833" v="282" actId="478"/>
          <ac:spMkLst>
            <pc:docMk/>
            <pc:sldMk cId="2175479650" sldId="2147479633"/>
            <ac:spMk id="73" creationId="{526D0F9E-442C-4C7F-8EA1-F1E579A8C104}"/>
          </ac:spMkLst>
        </pc:spChg>
        <pc:spChg chg="del">
          <ac:chgData name="Abhishek Danalakota" userId="139ae11c-37c1-494d-966a-606ba81d5a81" providerId="ADAL" clId="{11E97BFB-743D-4AE5-969D-4F36318F3B0A}" dt="2023-07-26T09:02:17.833" v="282" actId="478"/>
          <ac:spMkLst>
            <pc:docMk/>
            <pc:sldMk cId="2175479650" sldId="2147479633"/>
            <ac:spMk id="74" creationId="{79642695-390D-4EB0-AE4C-4D0ADA7983D2}"/>
          </ac:spMkLst>
        </pc:spChg>
        <pc:spChg chg="del">
          <ac:chgData name="Abhishek Danalakota" userId="139ae11c-37c1-494d-966a-606ba81d5a81" providerId="ADAL" clId="{11E97BFB-743D-4AE5-969D-4F36318F3B0A}" dt="2023-07-26T09:02:17.833" v="282" actId="478"/>
          <ac:spMkLst>
            <pc:docMk/>
            <pc:sldMk cId="2175479650" sldId="2147479633"/>
            <ac:spMk id="75" creationId="{66834414-6BAE-462E-BA1A-799CC2EC807F}"/>
          </ac:spMkLst>
        </pc:spChg>
        <pc:spChg chg="del">
          <ac:chgData name="Abhishek Danalakota" userId="139ae11c-37c1-494d-966a-606ba81d5a81" providerId="ADAL" clId="{11E97BFB-743D-4AE5-969D-4F36318F3B0A}" dt="2023-07-26T09:02:17.833" v="282" actId="478"/>
          <ac:spMkLst>
            <pc:docMk/>
            <pc:sldMk cId="2175479650" sldId="2147479633"/>
            <ac:spMk id="76" creationId="{5F00242A-413F-479F-B2F8-870AB479D017}"/>
          </ac:spMkLst>
        </pc:spChg>
        <pc:spChg chg="del">
          <ac:chgData name="Abhishek Danalakota" userId="139ae11c-37c1-494d-966a-606ba81d5a81" providerId="ADAL" clId="{11E97BFB-743D-4AE5-969D-4F36318F3B0A}" dt="2023-07-26T09:02:17.833" v="282" actId="478"/>
          <ac:spMkLst>
            <pc:docMk/>
            <pc:sldMk cId="2175479650" sldId="2147479633"/>
            <ac:spMk id="77" creationId="{6CB1E535-C692-45E8-A6C2-0DD564460CD2}"/>
          </ac:spMkLst>
        </pc:spChg>
        <pc:spChg chg="del">
          <ac:chgData name="Abhishek Danalakota" userId="139ae11c-37c1-494d-966a-606ba81d5a81" providerId="ADAL" clId="{11E97BFB-743D-4AE5-969D-4F36318F3B0A}" dt="2023-07-26T09:02:17.833" v="282" actId="478"/>
          <ac:spMkLst>
            <pc:docMk/>
            <pc:sldMk cId="2175479650" sldId="2147479633"/>
            <ac:spMk id="78" creationId="{FAA09599-4A35-46B1-9F86-8CFCEDADE328}"/>
          </ac:spMkLst>
        </pc:spChg>
        <pc:spChg chg="del mod">
          <ac:chgData name="Abhishek Danalakota" userId="139ae11c-37c1-494d-966a-606ba81d5a81" providerId="ADAL" clId="{11E97BFB-743D-4AE5-969D-4F36318F3B0A}" dt="2023-07-26T09:02:21.267" v="284" actId="478"/>
          <ac:spMkLst>
            <pc:docMk/>
            <pc:sldMk cId="2175479650" sldId="2147479633"/>
            <ac:spMk id="79" creationId="{C04416D8-FB52-490B-88F0-36142528019B}"/>
          </ac:spMkLst>
        </pc:spChg>
        <pc:cxnChg chg="del">
          <ac:chgData name="Abhishek Danalakota" userId="139ae11c-37c1-494d-966a-606ba81d5a81" providerId="ADAL" clId="{11E97BFB-743D-4AE5-969D-4F36318F3B0A}" dt="2023-07-26T09:02:17.833" v="282" actId="478"/>
          <ac:cxnSpMkLst>
            <pc:docMk/>
            <pc:sldMk cId="2175479650" sldId="2147479633"/>
            <ac:cxnSpMk id="53" creationId="{215764FD-D4D3-444B-B3E0-AD750C4CBA61}"/>
          </ac:cxnSpMkLst>
        </pc:cxnChg>
        <pc:cxnChg chg="del">
          <ac:chgData name="Abhishek Danalakota" userId="139ae11c-37c1-494d-966a-606ba81d5a81" providerId="ADAL" clId="{11E97BFB-743D-4AE5-969D-4F36318F3B0A}" dt="2023-07-26T09:02:17.833" v="282" actId="478"/>
          <ac:cxnSpMkLst>
            <pc:docMk/>
            <pc:sldMk cId="2175479650" sldId="2147479633"/>
            <ac:cxnSpMk id="54" creationId="{F661EDBC-27EB-45B3-988F-0B361FB2383D}"/>
          </ac:cxnSpMkLst>
        </pc:cxnChg>
        <pc:cxnChg chg="del">
          <ac:chgData name="Abhishek Danalakota" userId="139ae11c-37c1-494d-966a-606ba81d5a81" providerId="ADAL" clId="{11E97BFB-743D-4AE5-969D-4F36318F3B0A}" dt="2023-07-26T09:02:17.833" v="282" actId="478"/>
          <ac:cxnSpMkLst>
            <pc:docMk/>
            <pc:sldMk cId="2175479650" sldId="2147479633"/>
            <ac:cxnSpMk id="55" creationId="{D61EEF58-D84D-4491-B6B0-BC05A635D5FA}"/>
          </ac:cxnSpMkLst>
        </pc:cxnChg>
        <pc:cxnChg chg="del">
          <ac:chgData name="Abhishek Danalakota" userId="139ae11c-37c1-494d-966a-606ba81d5a81" providerId="ADAL" clId="{11E97BFB-743D-4AE5-969D-4F36318F3B0A}" dt="2023-07-26T09:02:17.833" v="282" actId="478"/>
          <ac:cxnSpMkLst>
            <pc:docMk/>
            <pc:sldMk cId="2175479650" sldId="2147479633"/>
            <ac:cxnSpMk id="56" creationId="{BD193F80-76A2-4ABB-8170-513B0248F4FC}"/>
          </ac:cxnSpMkLst>
        </pc:cxnChg>
        <pc:cxnChg chg="del">
          <ac:chgData name="Abhishek Danalakota" userId="139ae11c-37c1-494d-966a-606ba81d5a81" providerId="ADAL" clId="{11E97BFB-743D-4AE5-969D-4F36318F3B0A}" dt="2023-07-26T09:02:17.833" v="282" actId="478"/>
          <ac:cxnSpMkLst>
            <pc:docMk/>
            <pc:sldMk cId="2175479650" sldId="2147479633"/>
            <ac:cxnSpMk id="80" creationId="{56208E37-87A4-4140-B016-A5FDED7B089E}"/>
          </ac:cxnSpMkLst>
        </pc:cxnChg>
        <pc:cxnChg chg="del">
          <ac:chgData name="Abhishek Danalakota" userId="139ae11c-37c1-494d-966a-606ba81d5a81" providerId="ADAL" clId="{11E97BFB-743D-4AE5-969D-4F36318F3B0A}" dt="2023-07-26T09:02:17.833" v="282" actId="478"/>
          <ac:cxnSpMkLst>
            <pc:docMk/>
            <pc:sldMk cId="2175479650" sldId="2147479633"/>
            <ac:cxnSpMk id="81" creationId="{6ADB377D-FE45-4B62-B938-992A6B092226}"/>
          </ac:cxnSpMkLst>
        </pc:cxnChg>
        <pc:cxnChg chg="del">
          <ac:chgData name="Abhishek Danalakota" userId="139ae11c-37c1-494d-966a-606ba81d5a81" providerId="ADAL" clId="{11E97BFB-743D-4AE5-969D-4F36318F3B0A}" dt="2023-07-26T09:02:17.833" v="282" actId="478"/>
          <ac:cxnSpMkLst>
            <pc:docMk/>
            <pc:sldMk cId="2175479650" sldId="2147479633"/>
            <ac:cxnSpMk id="82" creationId="{122DC385-99E9-4564-92C4-8A0372B3A01E}"/>
          </ac:cxnSpMkLst>
        </pc:cxnChg>
        <pc:cxnChg chg="del">
          <ac:chgData name="Abhishek Danalakota" userId="139ae11c-37c1-494d-966a-606ba81d5a81" providerId="ADAL" clId="{11E97BFB-743D-4AE5-969D-4F36318F3B0A}" dt="2023-07-26T09:02:17.833" v="282" actId="478"/>
          <ac:cxnSpMkLst>
            <pc:docMk/>
            <pc:sldMk cId="2175479650" sldId="2147479633"/>
            <ac:cxnSpMk id="83" creationId="{1EBDF19D-AB5A-4D7D-898C-C6F37639260E}"/>
          </ac:cxnSpMkLst>
        </pc:cxnChg>
        <pc:cxnChg chg="del">
          <ac:chgData name="Abhishek Danalakota" userId="139ae11c-37c1-494d-966a-606ba81d5a81" providerId="ADAL" clId="{11E97BFB-743D-4AE5-969D-4F36318F3B0A}" dt="2023-07-26T09:02:17.833" v="282" actId="478"/>
          <ac:cxnSpMkLst>
            <pc:docMk/>
            <pc:sldMk cId="2175479650" sldId="2147479633"/>
            <ac:cxnSpMk id="84" creationId="{F3CC51D1-AEC5-4E6D-9039-D676A72544BE}"/>
          </ac:cxnSpMkLst>
        </pc:cxnChg>
        <pc:cxnChg chg="del">
          <ac:chgData name="Abhishek Danalakota" userId="139ae11c-37c1-494d-966a-606ba81d5a81" providerId="ADAL" clId="{11E97BFB-743D-4AE5-969D-4F36318F3B0A}" dt="2023-07-26T09:02:22.571" v="285" actId="478"/>
          <ac:cxnSpMkLst>
            <pc:docMk/>
            <pc:sldMk cId="2175479650" sldId="2147479633"/>
            <ac:cxnSpMk id="85" creationId="{EFE1741C-7A07-4E9A-A612-1FE36D567769}"/>
          </ac:cxnSpMkLst>
        </pc:cxnChg>
      </pc:sldChg>
      <pc:sldChg chg="modSp mod">
        <pc:chgData name="Abhishek Danalakota" userId="139ae11c-37c1-494d-966a-606ba81d5a81" providerId="ADAL" clId="{11E97BFB-743D-4AE5-969D-4F36318F3B0A}" dt="2023-08-11T14:58:51.912" v="2135" actId="1076"/>
        <pc:sldMkLst>
          <pc:docMk/>
          <pc:sldMk cId="3831876268" sldId="2147479642"/>
        </pc:sldMkLst>
        <pc:picChg chg="mod">
          <ac:chgData name="Abhishek Danalakota" userId="139ae11c-37c1-494d-966a-606ba81d5a81" providerId="ADAL" clId="{11E97BFB-743D-4AE5-969D-4F36318F3B0A}" dt="2023-08-11T14:58:51.912" v="2135" actId="1076"/>
          <ac:picMkLst>
            <pc:docMk/>
            <pc:sldMk cId="3831876268" sldId="2147479642"/>
            <ac:picMk id="2" creationId="{256E2374-EF67-F09A-46A7-2CDF0094E05B}"/>
          </ac:picMkLst>
        </pc:picChg>
      </pc:sldChg>
      <pc:sldChg chg="addSp delSp modSp add mod addCm">
        <pc:chgData name="Abhishek Danalakota" userId="139ae11c-37c1-494d-966a-606ba81d5a81" providerId="ADAL" clId="{11E97BFB-743D-4AE5-969D-4F36318F3B0A}" dt="2023-07-27T08:54:23.229" v="711"/>
        <pc:sldMkLst>
          <pc:docMk/>
          <pc:sldMk cId="2539415535" sldId="2147479645"/>
        </pc:sldMkLst>
        <pc:spChg chg="add del mod">
          <ac:chgData name="Abhishek Danalakota" userId="139ae11c-37c1-494d-966a-606ba81d5a81" providerId="ADAL" clId="{11E97BFB-743D-4AE5-969D-4F36318F3B0A}" dt="2023-07-27T08:54:00.550" v="709" actId="1076"/>
          <ac:spMkLst>
            <pc:docMk/>
            <pc:sldMk cId="2539415535" sldId="2147479645"/>
            <ac:spMk id="2" creationId="{B62662A1-6231-C9A3-CB98-DA447F38793A}"/>
          </ac:spMkLst>
        </pc:spChg>
        <pc:spChg chg="mod">
          <ac:chgData name="Abhishek Danalakota" userId="139ae11c-37c1-494d-966a-606ba81d5a81" providerId="ADAL" clId="{11E97BFB-743D-4AE5-969D-4F36318F3B0A}" dt="2023-07-27T08:53:39.006" v="703" actId="14100"/>
          <ac:spMkLst>
            <pc:docMk/>
            <pc:sldMk cId="2539415535" sldId="2147479645"/>
            <ac:spMk id="3" creationId="{22C81416-4AB8-4384-86B4-FD1BAA773C93}"/>
          </ac:spMkLst>
        </pc:spChg>
        <pc:spChg chg="mod">
          <ac:chgData name="Abhishek Danalakota" userId="139ae11c-37c1-494d-966a-606ba81d5a81" providerId="ADAL" clId="{11E97BFB-743D-4AE5-969D-4F36318F3B0A}" dt="2023-07-27T08:54:04.861" v="710" actId="1076"/>
          <ac:spMkLst>
            <pc:docMk/>
            <pc:sldMk cId="2539415535" sldId="2147479645"/>
            <ac:spMk id="4" creationId="{C60F421B-BF94-1677-9595-B5C1422289A2}"/>
          </ac:spMkLst>
        </pc:spChg>
        <pc:spChg chg="add del">
          <ac:chgData name="Abhishek Danalakota" userId="139ae11c-37c1-494d-966a-606ba81d5a81" providerId="ADAL" clId="{11E97BFB-743D-4AE5-969D-4F36318F3B0A}" dt="2023-07-27T08:45:12.971" v="587"/>
          <ac:spMkLst>
            <pc:docMk/>
            <pc:sldMk cId="2539415535" sldId="2147479645"/>
            <ac:spMk id="5" creationId="{62E08D6B-3AB1-3D15-C2DD-CB1BCC1E0A64}"/>
          </ac:spMkLst>
        </pc:spChg>
        <pc:spChg chg="add del">
          <ac:chgData name="Abhishek Danalakota" userId="139ae11c-37c1-494d-966a-606ba81d5a81" providerId="ADAL" clId="{11E97BFB-743D-4AE5-969D-4F36318F3B0A}" dt="2023-07-27T08:45:12.971" v="587"/>
          <ac:spMkLst>
            <pc:docMk/>
            <pc:sldMk cId="2539415535" sldId="2147479645"/>
            <ac:spMk id="6" creationId="{E6C92E28-8C5B-8A16-C6EA-081AFC8FEFD8}"/>
          </ac:spMkLst>
        </pc:spChg>
        <pc:spChg chg="add del mod">
          <ac:chgData name="Abhishek Danalakota" userId="139ae11c-37c1-494d-966a-606ba81d5a81" providerId="ADAL" clId="{11E97BFB-743D-4AE5-969D-4F36318F3B0A}" dt="2023-07-27T08:46:09.224" v="601"/>
          <ac:spMkLst>
            <pc:docMk/>
            <pc:sldMk cId="2539415535" sldId="2147479645"/>
            <ac:spMk id="7" creationId="{6B2B3FCF-EB7B-F6CC-26F8-C5807E9CAE14}"/>
          </ac:spMkLst>
        </pc:spChg>
        <pc:spChg chg="add del mod">
          <ac:chgData name="Abhishek Danalakota" userId="139ae11c-37c1-494d-966a-606ba81d5a81" providerId="ADAL" clId="{11E97BFB-743D-4AE5-969D-4F36318F3B0A}" dt="2023-07-27T08:46:09.224" v="601"/>
          <ac:spMkLst>
            <pc:docMk/>
            <pc:sldMk cId="2539415535" sldId="2147479645"/>
            <ac:spMk id="9" creationId="{45CA9398-4460-1F64-7B82-5604DA00063A}"/>
          </ac:spMkLst>
        </pc:spChg>
        <pc:picChg chg="add mod">
          <ac:chgData name="Abhishek Danalakota" userId="139ae11c-37c1-494d-966a-606ba81d5a81" providerId="ADAL" clId="{11E97BFB-743D-4AE5-969D-4F36318F3B0A}" dt="2023-07-27T08:53:56.581" v="708" actId="1076"/>
          <ac:picMkLst>
            <pc:docMk/>
            <pc:sldMk cId="2539415535" sldId="2147479645"/>
            <ac:picMk id="10" creationId="{E103D117-A864-66E6-2CD0-377B1B7C652F}"/>
          </ac:picMkLst>
        </pc:picChg>
        <pc:picChg chg="add del">
          <ac:chgData name="Abhishek Danalakota" userId="139ae11c-37c1-494d-966a-606ba81d5a81" providerId="ADAL" clId="{11E97BFB-743D-4AE5-969D-4F36318F3B0A}" dt="2023-07-27T08:45:12.971" v="587"/>
          <ac:picMkLst>
            <pc:docMk/>
            <pc:sldMk cId="2539415535" sldId="2147479645"/>
            <ac:picMk id="2049" creationId="{97BC51DA-648F-A7D2-C3D4-0E522DB14AC4}"/>
          </ac:picMkLst>
        </pc:picChg>
        <pc:picChg chg="add del mod">
          <ac:chgData name="Abhishek Danalakota" userId="139ae11c-37c1-494d-966a-606ba81d5a81" providerId="ADAL" clId="{11E97BFB-743D-4AE5-969D-4F36318F3B0A}" dt="2023-07-27T08:46:09.224" v="601"/>
          <ac:picMkLst>
            <pc:docMk/>
            <pc:sldMk cId="2539415535" sldId="2147479645"/>
            <ac:picMk id="2052" creationId="{19D435D8-CBE1-15F4-346D-129EBAD8B061}"/>
          </ac:picMkLst>
        </pc:picChg>
      </pc:sldChg>
      <pc:sldChg chg="modSp mod">
        <pc:chgData name="Abhishek Danalakota" userId="139ae11c-37c1-494d-966a-606ba81d5a81" providerId="ADAL" clId="{11E97BFB-743D-4AE5-969D-4F36318F3B0A}" dt="2023-08-11T15:12:14.225" v="2259" actId="1035"/>
        <pc:sldMkLst>
          <pc:docMk/>
          <pc:sldMk cId="3733227749" sldId="2147479650"/>
        </pc:sldMkLst>
        <pc:spChg chg="mod">
          <ac:chgData name="Abhishek Danalakota" userId="139ae11c-37c1-494d-966a-606ba81d5a81" providerId="ADAL" clId="{11E97BFB-743D-4AE5-969D-4F36318F3B0A}" dt="2023-08-11T15:11:34.805" v="2239" actId="1076"/>
          <ac:spMkLst>
            <pc:docMk/>
            <pc:sldMk cId="3733227749" sldId="2147479650"/>
            <ac:spMk id="110" creationId="{D9FAB352-CA46-811F-3D49-27E2367AE0CC}"/>
          </ac:spMkLst>
        </pc:spChg>
        <pc:spChg chg="mod">
          <ac:chgData name="Abhishek Danalakota" userId="139ae11c-37c1-494d-966a-606ba81d5a81" providerId="ADAL" clId="{11E97BFB-743D-4AE5-969D-4F36318F3B0A}" dt="2023-08-11T15:11:28.749" v="2238" actId="1076"/>
          <ac:spMkLst>
            <pc:docMk/>
            <pc:sldMk cId="3733227749" sldId="2147479650"/>
            <ac:spMk id="137" creationId="{AF6C175B-768D-D787-B4B8-127FAD9FB644}"/>
          </ac:spMkLst>
        </pc:spChg>
        <pc:spChg chg="mod">
          <ac:chgData name="Abhishek Danalakota" userId="139ae11c-37c1-494d-966a-606ba81d5a81" providerId="ADAL" clId="{11E97BFB-743D-4AE5-969D-4F36318F3B0A}" dt="2023-08-11T15:12:09.509" v="2247" actId="1076"/>
          <ac:spMkLst>
            <pc:docMk/>
            <pc:sldMk cId="3733227749" sldId="2147479650"/>
            <ac:spMk id="138" creationId="{78780F4A-B8F2-1525-9EE4-3D3FB679D192}"/>
          </ac:spMkLst>
        </pc:spChg>
        <pc:spChg chg="mod">
          <ac:chgData name="Abhishek Danalakota" userId="139ae11c-37c1-494d-966a-606ba81d5a81" providerId="ADAL" clId="{11E97BFB-743D-4AE5-969D-4F36318F3B0A}" dt="2023-08-11T15:11:41.869" v="2240" actId="1076"/>
          <ac:spMkLst>
            <pc:docMk/>
            <pc:sldMk cId="3733227749" sldId="2147479650"/>
            <ac:spMk id="187" creationId="{5BA3EDD6-D559-C3EE-BE00-7D8F7F3222C3}"/>
          </ac:spMkLst>
        </pc:spChg>
        <pc:grpChg chg="mod">
          <ac:chgData name="Abhishek Danalakota" userId="139ae11c-37c1-494d-966a-606ba81d5a81" providerId="ADAL" clId="{11E97BFB-743D-4AE5-969D-4F36318F3B0A}" dt="2023-08-11T15:12:14.225" v="2259" actId="1035"/>
          <ac:grpSpMkLst>
            <pc:docMk/>
            <pc:sldMk cId="3733227749" sldId="2147479650"/>
            <ac:grpSpMk id="139" creationId="{E65CC62A-B7EA-F078-AB46-A733138EF851}"/>
          </ac:grpSpMkLst>
        </pc:grpChg>
      </pc:sldChg>
      <pc:sldChg chg="addSp delSp modSp new mod addCm delCm modCm">
        <pc:chgData name="Abhishek Danalakota" userId="139ae11c-37c1-494d-966a-606ba81d5a81" providerId="ADAL" clId="{11E97BFB-743D-4AE5-969D-4F36318F3B0A}" dt="2023-08-11T15:09:30.267" v="2213" actId="14100"/>
        <pc:sldMkLst>
          <pc:docMk/>
          <pc:sldMk cId="787045591" sldId="2147479651"/>
        </pc:sldMkLst>
        <pc:spChg chg="mod">
          <ac:chgData name="Abhishek Danalakota" userId="139ae11c-37c1-494d-966a-606ba81d5a81" providerId="ADAL" clId="{11E97BFB-743D-4AE5-969D-4F36318F3B0A}" dt="2023-08-08T15:04:42.404" v="1899"/>
          <ac:spMkLst>
            <pc:docMk/>
            <pc:sldMk cId="787045591" sldId="2147479651"/>
            <ac:spMk id="2" creationId="{79492056-A46A-C98F-7C19-8A45ECCB4E81}"/>
          </ac:spMkLst>
        </pc:spChg>
        <pc:spChg chg="mod">
          <ac:chgData name="Abhishek Danalakota" userId="139ae11c-37c1-494d-966a-606ba81d5a81" providerId="ADAL" clId="{11E97BFB-743D-4AE5-969D-4F36318F3B0A}" dt="2023-07-28T10:43:22.232" v="857" actId="20577"/>
          <ac:spMkLst>
            <pc:docMk/>
            <pc:sldMk cId="787045591" sldId="2147479651"/>
            <ac:spMk id="3" creationId="{A65D76A2-1687-09D7-94ED-DD5722302F9C}"/>
          </ac:spMkLst>
        </pc:spChg>
        <pc:spChg chg="del">
          <ac:chgData name="Abhishek Danalakota" userId="139ae11c-37c1-494d-966a-606ba81d5a81" providerId="ADAL" clId="{11E97BFB-743D-4AE5-969D-4F36318F3B0A}" dt="2023-07-28T10:56:55.458" v="1007" actId="478"/>
          <ac:spMkLst>
            <pc:docMk/>
            <pc:sldMk cId="787045591" sldId="2147479651"/>
            <ac:spMk id="4" creationId="{56563F56-0111-864E-8179-F3F8001FE7A3}"/>
          </ac:spMkLst>
        </pc:spChg>
        <pc:spChg chg="add mod">
          <ac:chgData name="Abhishek Danalakota" userId="139ae11c-37c1-494d-966a-606ba81d5a81" providerId="ADAL" clId="{11E97BFB-743D-4AE5-969D-4F36318F3B0A}" dt="2023-08-01T13:27:12.877" v="1648" actId="1076"/>
          <ac:spMkLst>
            <pc:docMk/>
            <pc:sldMk cId="787045591" sldId="2147479651"/>
            <ac:spMk id="5" creationId="{1962A7BA-9D82-EFAD-8C41-97885E03EC88}"/>
          </ac:spMkLst>
        </pc:spChg>
        <pc:spChg chg="add mod">
          <ac:chgData name="Abhishek Danalakota" userId="139ae11c-37c1-494d-966a-606ba81d5a81" providerId="ADAL" clId="{11E97BFB-743D-4AE5-969D-4F36318F3B0A}" dt="2023-08-01T13:28:44.761" v="1774" actId="20577"/>
          <ac:spMkLst>
            <pc:docMk/>
            <pc:sldMk cId="787045591" sldId="2147479651"/>
            <ac:spMk id="9" creationId="{5778A9EA-DED7-643D-DAF4-5B4D353EF821}"/>
          </ac:spMkLst>
        </pc:spChg>
        <pc:graphicFrameChg chg="add del mod modGraphic">
          <ac:chgData name="Abhishek Danalakota" userId="139ae11c-37c1-494d-966a-606ba81d5a81" providerId="ADAL" clId="{11E97BFB-743D-4AE5-969D-4F36318F3B0A}" dt="2023-08-01T13:25:26.915" v="1633" actId="478"/>
          <ac:graphicFrameMkLst>
            <pc:docMk/>
            <pc:sldMk cId="787045591" sldId="2147479651"/>
            <ac:graphicFrameMk id="4" creationId="{3BFDAA61-F4EC-1EF2-5940-C456B2ADAA64}"/>
          </ac:graphicFrameMkLst>
        </pc:graphicFrameChg>
        <pc:graphicFrameChg chg="del mod modGraphic">
          <ac:chgData name="Abhishek Danalakota" userId="139ae11c-37c1-494d-966a-606ba81d5a81" providerId="ADAL" clId="{11E97BFB-743D-4AE5-969D-4F36318F3B0A}" dt="2023-08-01T09:55:12.546" v="1618" actId="478"/>
          <ac:graphicFrameMkLst>
            <pc:docMk/>
            <pc:sldMk cId="787045591" sldId="2147479651"/>
            <ac:graphicFrameMk id="7" creationId="{E031AFBE-A484-1200-8C74-1CD670B7A6A3}"/>
          </ac:graphicFrameMkLst>
        </pc:graphicFrameChg>
        <pc:graphicFrameChg chg="add mod modGraphic">
          <ac:chgData name="Abhishek Danalakota" userId="139ae11c-37c1-494d-966a-606ba81d5a81" providerId="ADAL" clId="{11E97BFB-743D-4AE5-969D-4F36318F3B0A}" dt="2023-08-11T15:09:30.267" v="2213" actId="14100"/>
          <ac:graphicFrameMkLst>
            <pc:docMk/>
            <pc:sldMk cId="787045591" sldId="2147479651"/>
            <ac:graphicFrameMk id="8" creationId="{77162B5C-5A36-131F-94D3-BB8E149532FC}"/>
          </ac:graphicFrameMkLst>
        </pc:graphicFrameChg>
      </pc:sldChg>
      <pc:sldChg chg="modCm">
        <pc:chgData name="Abhishek Danalakota" userId="139ae11c-37c1-494d-966a-606ba81d5a81" providerId="ADAL" clId="{11E97BFB-743D-4AE5-969D-4F36318F3B0A}" dt="2023-08-03T14:27:19.062" v="1893" actId="2056"/>
        <pc:sldMkLst>
          <pc:docMk/>
          <pc:sldMk cId="1118370846" sldId="2147479653"/>
        </pc:sldMkLst>
      </pc:sldChg>
      <pc:sldChg chg="addSp delSp modSp add mod addCm">
        <pc:chgData name="Abhishek Danalakota" userId="139ae11c-37c1-494d-966a-606ba81d5a81" providerId="ADAL" clId="{11E97BFB-743D-4AE5-969D-4F36318F3B0A}" dt="2023-08-01T14:18:54.355" v="1891"/>
        <pc:sldMkLst>
          <pc:docMk/>
          <pc:sldMk cId="956038462" sldId="2147479666"/>
        </pc:sldMkLst>
        <pc:spChg chg="mod">
          <ac:chgData name="Abhishek Danalakota" userId="139ae11c-37c1-494d-966a-606ba81d5a81" providerId="ADAL" clId="{11E97BFB-743D-4AE5-969D-4F36318F3B0A}" dt="2023-08-01T14:06:44.785" v="1853" actId="14100"/>
          <ac:spMkLst>
            <pc:docMk/>
            <pc:sldMk cId="956038462" sldId="2147479666"/>
            <ac:spMk id="2" creationId="{79492056-A46A-C98F-7C19-8A45ECCB4E81}"/>
          </ac:spMkLst>
        </pc:spChg>
        <pc:spChg chg="add mod">
          <ac:chgData name="Abhishek Danalakota" userId="139ae11c-37c1-494d-966a-606ba81d5a81" providerId="ADAL" clId="{11E97BFB-743D-4AE5-969D-4F36318F3B0A}" dt="2023-08-01T14:09:14.559" v="1871" actId="1076"/>
          <ac:spMkLst>
            <pc:docMk/>
            <pc:sldMk cId="956038462" sldId="2147479666"/>
            <ac:spMk id="4" creationId="{341FE499-E32A-C87B-58B7-1222C32B2776}"/>
          </ac:spMkLst>
        </pc:spChg>
        <pc:spChg chg="mod">
          <ac:chgData name="Abhishek Danalakota" userId="139ae11c-37c1-494d-966a-606ba81d5a81" providerId="ADAL" clId="{11E97BFB-743D-4AE5-969D-4F36318F3B0A}" dt="2023-08-01T14:10:31.391" v="1890" actId="1076"/>
          <ac:spMkLst>
            <pc:docMk/>
            <pc:sldMk cId="956038462" sldId="2147479666"/>
            <ac:spMk id="5" creationId="{1962A7BA-9D82-EFAD-8C41-97885E03EC88}"/>
          </ac:spMkLst>
        </pc:spChg>
        <pc:spChg chg="add del mod">
          <ac:chgData name="Abhishek Danalakota" userId="139ae11c-37c1-494d-966a-606ba81d5a81" providerId="ADAL" clId="{11E97BFB-743D-4AE5-969D-4F36318F3B0A}" dt="2023-08-01T14:09:15.445" v="1873"/>
          <ac:spMkLst>
            <pc:docMk/>
            <pc:sldMk cId="956038462" sldId="2147479666"/>
            <ac:spMk id="7" creationId="{0BB53C98-3578-8A14-82D4-D5166B3BF9B3}"/>
          </ac:spMkLst>
        </pc:spChg>
        <pc:spChg chg="mod">
          <ac:chgData name="Abhishek Danalakota" userId="139ae11c-37c1-494d-966a-606ba81d5a81" providerId="ADAL" clId="{11E97BFB-743D-4AE5-969D-4F36318F3B0A}" dt="2023-08-01T14:10:11.887" v="1888" actId="1076"/>
          <ac:spMkLst>
            <pc:docMk/>
            <pc:sldMk cId="956038462" sldId="2147479666"/>
            <ac:spMk id="9" creationId="{5778A9EA-DED7-643D-DAF4-5B4D353EF821}"/>
          </ac:spMkLst>
        </pc:spChg>
        <pc:graphicFrameChg chg="del">
          <ac:chgData name="Abhishek Danalakota" userId="139ae11c-37c1-494d-966a-606ba81d5a81" providerId="ADAL" clId="{11E97BFB-743D-4AE5-969D-4F36318F3B0A}" dt="2023-08-01T14:05:52.581" v="1843" actId="478"/>
          <ac:graphicFrameMkLst>
            <pc:docMk/>
            <pc:sldMk cId="956038462" sldId="2147479666"/>
            <ac:graphicFrameMk id="8" creationId="{77162B5C-5A36-131F-94D3-BB8E149532FC}"/>
          </ac:graphicFrameMkLst>
        </pc:graphicFrameChg>
        <pc:picChg chg="add mod">
          <ac:chgData name="Abhishek Danalakota" userId="139ae11c-37c1-494d-966a-606ba81d5a81" providerId="ADAL" clId="{11E97BFB-743D-4AE5-969D-4F36318F3B0A}" dt="2023-08-01T14:09:11.328" v="1870" actId="1076"/>
          <ac:picMkLst>
            <pc:docMk/>
            <pc:sldMk cId="956038462" sldId="2147479666"/>
            <ac:picMk id="11" creationId="{08419134-C80E-B0AE-1FE0-1BD4664204E7}"/>
          </ac:picMkLst>
        </pc:picChg>
      </pc:sldChg>
      <pc:sldChg chg="delSp modSp mod">
        <pc:chgData name="Abhishek Danalakota" userId="139ae11c-37c1-494d-966a-606ba81d5a81" providerId="ADAL" clId="{11E97BFB-743D-4AE5-969D-4F36318F3B0A}" dt="2023-08-11T14:30:57.259" v="1902" actId="478"/>
        <pc:sldMkLst>
          <pc:docMk/>
          <pc:sldMk cId="2015443442" sldId="2147479683"/>
        </pc:sldMkLst>
        <pc:spChg chg="del mod">
          <ac:chgData name="Abhishek Danalakota" userId="139ae11c-37c1-494d-966a-606ba81d5a81" providerId="ADAL" clId="{11E97BFB-743D-4AE5-969D-4F36318F3B0A}" dt="2023-08-11T14:30:57.259" v="1902" actId="478"/>
          <ac:spMkLst>
            <pc:docMk/>
            <pc:sldMk cId="2015443442" sldId="2147479683"/>
            <ac:spMk id="4" creationId="{44BB9013-2BAF-2CCB-B19E-971B36CBAF34}"/>
          </ac:spMkLst>
        </pc:spChg>
      </pc:sldChg>
      <pc:sldChg chg="delSp mod">
        <pc:chgData name="Abhishek Danalakota" userId="139ae11c-37c1-494d-966a-606ba81d5a81" providerId="ADAL" clId="{11E97BFB-743D-4AE5-969D-4F36318F3B0A}" dt="2023-08-11T14:45:42.211" v="1912" actId="478"/>
        <pc:sldMkLst>
          <pc:docMk/>
          <pc:sldMk cId="3541093670" sldId="2147479686"/>
        </pc:sldMkLst>
        <pc:spChg chg="del">
          <ac:chgData name="Abhishek Danalakota" userId="139ae11c-37c1-494d-966a-606ba81d5a81" providerId="ADAL" clId="{11E97BFB-743D-4AE5-969D-4F36318F3B0A}" dt="2023-08-11T14:45:42.211" v="1912" actId="478"/>
          <ac:spMkLst>
            <pc:docMk/>
            <pc:sldMk cId="3541093670" sldId="2147479686"/>
            <ac:spMk id="2" creationId="{0A9AB67E-F1F6-B38D-F271-AA416215F8FF}"/>
          </ac:spMkLst>
        </pc:spChg>
        <pc:spChg chg="del">
          <ac:chgData name="Abhishek Danalakota" userId="139ae11c-37c1-494d-966a-606ba81d5a81" providerId="ADAL" clId="{11E97BFB-743D-4AE5-969D-4F36318F3B0A}" dt="2023-08-11T14:30:41.687" v="1900" actId="478"/>
          <ac:spMkLst>
            <pc:docMk/>
            <pc:sldMk cId="3541093670" sldId="2147479686"/>
            <ac:spMk id="4" creationId="{44BB9013-2BAF-2CCB-B19E-971B36CBAF34}"/>
          </ac:spMkLst>
        </pc:spChg>
      </pc:sldChg>
      <pc:sldChg chg="modSp mod">
        <pc:chgData name="Abhishek Danalakota" userId="139ae11c-37c1-494d-966a-606ba81d5a81" providerId="ADAL" clId="{11E97BFB-743D-4AE5-969D-4F36318F3B0A}" dt="2023-08-11T15:25:35.501" v="2264" actId="5793"/>
        <pc:sldMkLst>
          <pc:docMk/>
          <pc:sldMk cId="1378313707" sldId="2147479696"/>
        </pc:sldMkLst>
        <pc:spChg chg="mod">
          <ac:chgData name="Abhishek Danalakota" userId="139ae11c-37c1-494d-966a-606ba81d5a81" providerId="ADAL" clId="{11E97BFB-743D-4AE5-969D-4F36318F3B0A}" dt="2023-08-11T15:25:35.501" v="2264" actId="5793"/>
          <ac:spMkLst>
            <pc:docMk/>
            <pc:sldMk cId="1378313707" sldId="2147479696"/>
            <ac:spMk id="4" creationId="{0B4CC64C-67DA-1ABD-ACB7-07CC600F8BCF}"/>
          </ac:spMkLst>
        </pc:spChg>
        <pc:spChg chg="mod">
          <ac:chgData name="Abhishek Danalakota" userId="139ae11c-37c1-494d-966a-606ba81d5a81" providerId="ADAL" clId="{11E97BFB-743D-4AE5-969D-4F36318F3B0A}" dt="2023-08-11T15:25:27.719" v="2262" actId="20577"/>
          <ac:spMkLst>
            <pc:docMk/>
            <pc:sldMk cId="1378313707" sldId="2147479696"/>
            <ac:spMk id="134" creationId="{18E877D6-E49E-DFEA-F0B5-BB1AC0F95365}"/>
          </ac:spMkLst>
        </pc:spChg>
      </pc:sldChg>
      <pc:sldChg chg="addSp delSp modSp new mod">
        <pc:chgData name="Abhishek Danalakota" userId="139ae11c-37c1-494d-966a-606ba81d5a81" providerId="ADAL" clId="{11E97BFB-743D-4AE5-969D-4F36318F3B0A}" dt="2023-08-11T15:08:04.165" v="2206" actId="1076"/>
        <pc:sldMkLst>
          <pc:docMk/>
          <pc:sldMk cId="2200090339" sldId="2147479697"/>
        </pc:sldMkLst>
        <pc:spChg chg="del">
          <ac:chgData name="Abhishek Danalakota" userId="139ae11c-37c1-494d-966a-606ba81d5a81" providerId="ADAL" clId="{11E97BFB-743D-4AE5-969D-4F36318F3B0A}" dt="2023-08-11T15:04:40.550" v="2139" actId="478"/>
          <ac:spMkLst>
            <pc:docMk/>
            <pc:sldMk cId="2200090339" sldId="2147479697"/>
            <ac:spMk id="2" creationId="{9A51345F-2E55-1AA5-6B8B-E4BF13578238}"/>
          </ac:spMkLst>
        </pc:spChg>
        <pc:spChg chg="del">
          <ac:chgData name="Abhishek Danalakota" userId="139ae11c-37c1-494d-966a-606ba81d5a81" providerId="ADAL" clId="{11E97BFB-743D-4AE5-969D-4F36318F3B0A}" dt="2023-08-11T15:04:34.040" v="2138" actId="478"/>
          <ac:spMkLst>
            <pc:docMk/>
            <pc:sldMk cId="2200090339" sldId="2147479697"/>
            <ac:spMk id="3" creationId="{FB70C829-6B2D-FEE6-1154-1F2C2ED4632B}"/>
          </ac:spMkLst>
        </pc:spChg>
        <pc:spChg chg="add mod">
          <ac:chgData name="Abhishek Danalakota" userId="139ae11c-37c1-494d-966a-606ba81d5a81" providerId="ADAL" clId="{11E97BFB-743D-4AE5-969D-4F36318F3B0A}" dt="2023-08-11T15:04:41.395" v="2140"/>
          <ac:spMkLst>
            <pc:docMk/>
            <pc:sldMk cId="2200090339" sldId="2147479697"/>
            <ac:spMk id="4" creationId="{2C567C60-67D7-A5E3-3379-FB483E83DE8C}"/>
          </ac:spMkLst>
        </pc:spChg>
        <pc:spChg chg="add mod">
          <ac:chgData name="Abhishek Danalakota" userId="139ae11c-37c1-494d-966a-606ba81d5a81" providerId="ADAL" clId="{11E97BFB-743D-4AE5-969D-4F36318F3B0A}" dt="2023-08-11T15:04:41.395" v="2140"/>
          <ac:spMkLst>
            <pc:docMk/>
            <pc:sldMk cId="2200090339" sldId="2147479697"/>
            <ac:spMk id="5" creationId="{D6ADAF72-2E0C-4613-A7CD-7F8915ABDCE7}"/>
          </ac:spMkLst>
        </pc:spChg>
        <pc:spChg chg="add del mod">
          <ac:chgData name="Abhishek Danalakota" userId="139ae11c-37c1-494d-966a-606ba81d5a81" providerId="ADAL" clId="{11E97BFB-743D-4AE5-969D-4F36318F3B0A}" dt="2023-08-11T15:05:15.031" v="2144" actId="478"/>
          <ac:spMkLst>
            <pc:docMk/>
            <pc:sldMk cId="2200090339" sldId="2147479697"/>
            <ac:spMk id="6" creationId="{F81E89E2-41BC-75A0-CCB0-C4FC4E8CFCF1}"/>
          </ac:spMkLst>
        </pc:spChg>
        <pc:spChg chg="add mod">
          <ac:chgData name="Abhishek Danalakota" userId="139ae11c-37c1-494d-966a-606ba81d5a81" providerId="ADAL" clId="{11E97BFB-743D-4AE5-969D-4F36318F3B0A}" dt="2023-08-11T15:08:04.165" v="2206" actId="1076"/>
          <ac:spMkLst>
            <pc:docMk/>
            <pc:sldMk cId="2200090339" sldId="2147479697"/>
            <ac:spMk id="7" creationId="{11A66959-3C05-A945-6099-9F88F57189F8}"/>
          </ac:spMkLst>
        </pc:spChg>
      </pc:sldChg>
      <pc:sldChg chg="addSp delSp modSp new mod">
        <pc:chgData name="Abhishek Danalakota" userId="139ae11c-37c1-494d-966a-606ba81d5a81" providerId="ADAL" clId="{11E97BFB-743D-4AE5-969D-4F36318F3B0A}" dt="2023-08-11T15:08:36.114" v="2211"/>
        <pc:sldMkLst>
          <pc:docMk/>
          <pc:sldMk cId="3447817255" sldId="2147479698"/>
        </pc:sldMkLst>
        <pc:spChg chg="del">
          <ac:chgData name="Abhishek Danalakota" userId="139ae11c-37c1-494d-966a-606ba81d5a81" providerId="ADAL" clId="{11E97BFB-743D-4AE5-969D-4F36318F3B0A}" dt="2023-08-11T15:08:32.125" v="2209" actId="478"/>
          <ac:spMkLst>
            <pc:docMk/>
            <pc:sldMk cId="3447817255" sldId="2147479698"/>
            <ac:spMk id="2" creationId="{D17D8990-35A7-6F0A-9143-A19B622F05D3}"/>
          </ac:spMkLst>
        </pc:spChg>
        <pc:spChg chg="del">
          <ac:chgData name="Abhishek Danalakota" userId="139ae11c-37c1-494d-966a-606ba81d5a81" providerId="ADAL" clId="{11E97BFB-743D-4AE5-969D-4F36318F3B0A}" dt="2023-08-11T15:08:35.670" v="2210" actId="478"/>
          <ac:spMkLst>
            <pc:docMk/>
            <pc:sldMk cId="3447817255" sldId="2147479698"/>
            <ac:spMk id="3" creationId="{D11F83AD-BA4A-3317-94B2-28913A10800C}"/>
          </ac:spMkLst>
        </pc:spChg>
        <pc:spChg chg="add mod">
          <ac:chgData name="Abhishek Danalakota" userId="139ae11c-37c1-494d-966a-606ba81d5a81" providerId="ADAL" clId="{11E97BFB-743D-4AE5-969D-4F36318F3B0A}" dt="2023-08-11T15:08:36.114" v="2211"/>
          <ac:spMkLst>
            <pc:docMk/>
            <pc:sldMk cId="3447817255" sldId="2147479698"/>
            <ac:spMk id="4" creationId="{6BC82EFF-9A2D-B122-68F3-F2D1CFB771C2}"/>
          </ac:spMkLst>
        </pc:spChg>
        <pc:spChg chg="add mod">
          <ac:chgData name="Abhishek Danalakota" userId="139ae11c-37c1-494d-966a-606ba81d5a81" providerId="ADAL" clId="{11E97BFB-743D-4AE5-969D-4F36318F3B0A}" dt="2023-08-11T15:08:36.114" v="2211"/>
          <ac:spMkLst>
            <pc:docMk/>
            <pc:sldMk cId="3447817255" sldId="2147479698"/>
            <ac:spMk id="5" creationId="{6669DCCE-48CB-AEB0-D551-9273D9B109B4}"/>
          </ac:spMkLst>
        </pc:spChg>
        <pc:picChg chg="add mod">
          <ac:chgData name="Abhishek Danalakota" userId="139ae11c-37c1-494d-966a-606ba81d5a81" providerId="ADAL" clId="{11E97BFB-743D-4AE5-969D-4F36318F3B0A}" dt="2023-08-11T15:08:36.114" v="2211"/>
          <ac:picMkLst>
            <pc:docMk/>
            <pc:sldMk cId="3447817255" sldId="2147479698"/>
            <ac:picMk id="6" creationId="{5BA92D60-C8C9-3071-82D0-F8E2AC6F6AE7}"/>
          </ac:picMkLst>
        </pc:picChg>
      </pc:sldChg>
    </pc:docChg>
  </pc:docChgLst>
  <pc:docChgLst>
    <pc:chgData name="Jeffrey Obi" userId="S::jeffrey.obi@ie.ey.com::488f269d-1fa2-455e-bf95-7695136a100d" providerId="AD" clId="Web-{8378FCE7-752C-1984-BB87-3B9279B0E7A3}"/>
    <pc:docChg chg="addSld delSld modSld sldOrd modSection">
      <pc:chgData name="Jeffrey Obi" userId="S::jeffrey.obi@ie.ey.com::488f269d-1fa2-455e-bf95-7695136a100d" providerId="AD" clId="Web-{8378FCE7-752C-1984-BB87-3B9279B0E7A3}" dt="2023-07-25T15:52:37.610" v="3851"/>
      <pc:docMkLst>
        <pc:docMk/>
      </pc:docMkLst>
      <pc:sldChg chg="modSp">
        <pc:chgData name="Jeffrey Obi" userId="S::jeffrey.obi@ie.ey.com::488f269d-1fa2-455e-bf95-7695136a100d" providerId="AD" clId="Web-{8378FCE7-752C-1984-BB87-3B9279B0E7A3}" dt="2023-07-25T14:24:23.855" v="3758" actId="20577"/>
        <pc:sldMkLst>
          <pc:docMk/>
          <pc:sldMk cId="236134785" sldId="2147473160"/>
        </pc:sldMkLst>
        <pc:spChg chg="mod">
          <ac:chgData name="Jeffrey Obi" userId="S::jeffrey.obi@ie.ey.com::488f269d-1fa2-455e-bf95-7695136a100d" providerId="AD" clId="Web-{8378FCE7-752C-1984-BB87-3B9279B0E7A3}" dt="2023-07-25T14:24:23.855" v="3758" actId="20577"/>
          <ac:spMkLst>
            <pc:docMk/>
            <pc:sldMk cId="236134785" sldId="2147473160"/>
            <ac:spMk id="31" creationId="{49B05FDE-10A0-4673-AF8E-BD272C2B834A}"/>
          </ac:spMkLst>
        </pc:spChg>
        <pc:spChg chg="mod">
          <ac:chgData name="Jeffrey Obi" userId="S::jeffrey.obi@ie.ey.com::488f269d-1fa2-455e-bf95-7695136a100d" providerId="AD" clId="Web-{8378FCE7-752C-1984-BB87-3B9279B0E7A3}" dt="2023-07-25T10:54:32.850" v="406" actId="20577"/>
          <ac:spMkLst>
            <pc:docMk/>
            <pc:sldMk cId="236134785" sldId="2147473160"/>
            <ac:spMk id="56" creationId="{27AEBF83-7F7A-4DFF-84A0-9767167FE88C}"/>
          </ac:spMkLst>
        </pc:spChg>
      </pc:sldChg>
      <pc:sldChg chg="addSp delSp modSp">
        <pc:chgData name="Jeffrey Obi" userId="S::jeffrey.obi@ie.ey.com::488f269d-1fa2-455e-bf95-7695136a100d" providerId="AD" clId="Web-{8378FCE7-752C-1984-BB87-3B9279B0E7A3}" dt="2023-07-25T10:30:30.146" v="162"/>
        <pc:sldMkLst>
          <pc:docMk/>
          <pc:sldMk cId="2074381867" sldId="2147479609"/>
        </pc:sldMkLst>
        <pc:spChg chg="add del">
          <ac:chgData name="Jeffrey Obi" userId="S::jeffrey.obi@ie.ey.com::488f269d-1fa2-455e-bf95-7695136a100d" providerId="AD" clId="Web-{8378FCE7-752C-1984-BB87-3B9279B0E7A3}" dt="2023-07-25T10:30:30.146" v="162"/>
          <ac:spMkLst>
            <pc:docMk/>
            <pc:sldMk cId="2074381867" sldId="2147479609"/>
            <ac:spMk id="2" creationId="{7F92A413-B9F0-8B02-9477-2FB8FC6FA195}"/>
          </ac:spMkLst>
        </pc:spChg>
        <pc:graphicFrameChg chg="mod modGraphic">
          <ac:chgData name="Jeffrey Obi" userId="S::jeffrey.obi@ie.ey.com::488f269d-1fa2-455e-bf95-7695136a100d" providerId="AD" clId="Web-{8378FCE7-752C-1984-BB87-3B9279B0E7A3}" dt="2023-07-25T10:23:25.121" v="118"/>
          <ac:graphicFrameMkLst>
            <pc:docMk/>
            <pc:sldMk cId="2074381867" sldId="2147479609"/>
            <ac:graphicFrameMk id="3" creationId="{A8C79D6C-A7C9-DB57-D69D-756EB168AE4F}"/>
          </ac:graphicFrameMkLst>
        </pc:graphicFrameChg>
      </pc:sldChg>
      <pc:sldChg chg="add del">
        <pc:chgData name="Jeffrey Obi" userId="S::jeffrey.obi@ie.ey.com::488f269d-1fa2-455e-bf95-7695136a100d" providerId="AD" clId="Web-{8378FCE7-752C-1984-BB87-3B9279B0E7A3}" dt="2023-07-25T10:36:02.310" v="181"/>
        <pc:sldMkLst>
          <pc:docMk/>
          <pc:sldMk cId="1339173529" sldId="2147479610"/>
        </pc:sldMkLst>
      </pc:sldChg>
      <pc:sldChg chg="modSp add del">
        <pc:chgData name="Jeffrey Obi" userId="S::jeffrey.obi@ie.ey.com::488f269d-1fa2-455e-bf95-7695136a100d" providerId="AD" clId="Web-{8378FCE7-752C-1984-BB87-3B9279B0E7A3}" dt="2023-07-25T10:43:41.289" v="266"/>
        <pc:sldMkLst>
          <pc:docMk/>
          <pc:sldMk cId="2368189349" sldId="2147479611"/>
        </pc:sldMkLst>
        <pc:spChg chg="mod">
          <ac:chgData name="Jeffrey Obi" userId="S::jeffrey.obi@ie.ey.com::488f269d-1fa2-455e-bf95-7695136a100d" providerId="AD" clId="Web-{8378FCE7-752C-1984-BB87-3B9279B0E7A3}" dt="2023-07-25T10:27:09.282" v="160" actId="20577"/>
          <ac:spMkLst>
            <pc:docMk/>
            <pc:sldMk cId="2368189349" sldId="2147479611"/>
            <ac:spMk id="2" creationId="{4C0D5EA6-C599-F45A-0097-6FEC2DF12ED1}"/>
          </ac:spMkLst>
        </pc:spChg>
        <pc:spChg chg="mod">
          <ac:chgData name="Jeffrey Obi" userId="S::jeffrey.obi@ie.ey.com::488f269d-1fa2-455e-bf95-7695136a100d" providerId="AD" clId="Web-{8378FCE7-752C-1984-BB87-3B9279B0E7A3}" dt="2023-07-25T10:26:54.485" v="132" actId="20577"/>
          <ac:spMkLst>
            <pc:docMk/>
            <pc:sldMk cId="2368189349" sldId="2147479611"/>
            <ac:spMk id="40" creationId="{FDB73202-AAFA-4398-A29A-83DEEB9F67A5}"/>
          </ac:spMkLst>
        </pc:spChg>
      </pc:sldChg>
      <pc:sldChg chg="addSp delSp modSp new">
        <pc:chgData name="Jeffrey Obi" userId="S::jeffrey.obi@ie.ey.com::488f269d-1fa2-455e-bf95-7695136a100d" providerId="AD" clId="Web-{8378FCE7-752C-1984-BB87-3B9279B0E7A3}" dt="2023-07-25T10:38:46.595" v="239"/>
        <pc:sldMkLst>
          <pc:docMk/>
          <pc:sldMk cId="2582236747" sldId="2147479613"/>
        </pc:sldMkLst>
        <pc:spChg chg="del">
          <ac:chgData name="Jeffrey Obi" userId="S::jeffrey.obi@ie.ey.com::488f269d-1fa2-455e-bf95-7695136a100d" providerId="AD" clId="Web-{8378FCE7-752C-1984-BB87-3B9279B0E7A3}" dt="2023-07-25T10:35:20.356" v="165"/>
          <ac:spMkLst>
            <pc:docMk/>
            <pc:sldMk cId="2582236747" sldId="2147479613"/>
            <ac:spMk id="2" creationId="{83D7CE64-07A6-DBA1-19BD-13D6242F2266}"/>
          </ac:spMkLst>
        </pc:spChg>
        <pc:spChg chg="del">
          <ac:chgData name="Jeffrey Obi" userId="S::jeffrey.obi@ie.ey.com::488f269d-1fa2-455e-bf95-7695136a100d" providerId="AD" clId="Web-{8378FCE7-752C-1984-BB87-3B9279B0E7A3}" dt="2023-07-25T10:35:16.434" v="164"/>
          <ac:spMkLst>
            <pc:docMk/>
            <pc:sldMk cId="2582236747" sldId="2147479613"/>
            <ac:spMk id="3" creationId="{8C34A3B0-F0A5-7BF7-7514-DB6C53FD266D}"/>
          </ac:spMkLst>
        </pc:spChg>
        <pc:spChg chg="add del mod">
          <ac:chgData name="Jeffrey Obi" userId="S::jeffrey.obi@ie.ey.com::488f269d-1fa2-455e-bf95-7695136a100d" providerId="AD" clId="Web-{8378FCE7-752C-1984-BB87-3B9279B0E7A3}" dt="2023-07-25T10:38:46.595" v="239"/>
          <ac:spMkLst>
            <pc:docMk/>
            <pc:sldMk cId="2582236747" sldId="2147479613"/>
            <ac:spMk id="4" creationId="{3DCFFA63-75D1-A5EE-F76F-6BACFD9FA630}"/>
          </ac:spMkLst>
        </pc:spChg>
        <pc:spChg chg="add">
          <ac:chgData name="Jeffrey Obi" userId="S::jeffrey.obi@ie.ey.com::488f269d-1fa2-455e-bf95-7695136a100d" providerId="AD" clId="Web-{8378FCE7-752C-1984-BB87-3B9279B0E7A3}" dt="2023-07-25T10:35:39.418" v="166"/>
          <ac:spMkLst>
            <pc:docMk/>
            <pc:sldMk cId="2582236747" sldId="2147479613"/>
            <ac:spMk id="6" creationId="{5A815F8A-DB22-BCE1-3194-08640B4428A8}"/>
          </ac:spMkLst>
        </pc:spChg>
        <pc:spChg chg="add">
          <ac:chgData name="Jeffrey Obi" userId="S::jeffrey.obi@ie.ey.com::488f269d-1fa2-455e-bf95-7695136a100d" providerId="AD" clId="Web-{8378FCE7-752C-1984-BB87-3B9279B0E7A3}" dt="2023-07-25T10:35:39.434" v="167"/>
          <ac:spMkLst>
            <pc:docMk/>
            <pc:sldMk cId="2582236747" sldId="2147479613"/>
            <ac:spMk id="8" creationId="{7EE7EE3A-92D7-9089-147D-39DEE42BE10C}"/>
          </ac:spMkLst>
        </pc:spChg>
        <pc:spChg chg="add">
          <ac:chgData name="Jeffrey Obi" userId="S::jeffrey.obi@ie.ey.com::488f269d-1fa2-455e-bf95-7695136a100d" providerId="AD" clId="Web-{8378FCE7-752C-1984-BB87-3B9279B0E7A3}" dt="2023-07-25T10:35:39.465" v="168"/>
          <ac:spMkLst>
            <pc:docMk/>
            <pc:sldMk cId="2582236747" sldId="2147479613"/>
            <ac:spMk id="10" creationId="{18869A38-C6CC-83C0-2F72-40E67190C048}"/>
          </ac:spMkLst>
        </pc:spChg>
        <pc:spChg chg="add">
          <ac:chgData name="Jeffrey Obi" userId="S::jeffrey.obi@ie.ey.com::488f269d-1fa2-455e-bf95-7695136a100d" providerId="AD" clId="Web-{8378FCE7-752C-1984-BB87-3B9279B0E7A3}" dt="2023-07-25T10:35:39.575" v="169"/>
          <ac:spMkLst>
            <pc:docMk/>
            <pc:sldMk cId="2582236747" sldId="2147479613"/>
            <ac:spMk id="12" creationId="{330C0DF1-8F82-CB8A-FEDC-75C28B690273}"/>
          </ac:spMkLst>
        </pc:spChg>
        <pc:spChg chg="add">
          <ac:chgData name="Jeffrey Obi" userId="S::jeffrey.obi@ie.ey.com::488f269d-1fa2-455e-bf95-7695136a100d" providerId="AD" clId="Web-{8378FCE7-752C-1984-BB87-3B9279B0E7A3}" dt="2023-07-25T10:35:39.622" v="170"/>
          <ac:spMkLst>
            <pc:docMk/>
            <pc:sldMk cId="2582236747" sldId="2147479613"/>
            <ac:spMk id="14" creationId="{FB0E70B3-21F4-67A8-38FA-44249C12B01E}"/>
          </ac:spMkLst>
        </pc:spChg>
        <pc:spChg chg="add">
          <ac:chgData name="Jeffrey Obi" userId="S::jeffrey.obi@ie.ey.com::488f269d-1fa2-455e-bf95-7695136a100d" providerId="AD" clId="Web-{8378FCE7-752C-1984-BB87-3B9279B0E7A3}" dt="2023-07-25T10:35:39.684" v="171"/>
          <ac:spMkLst>
            <pc:docMk/>
            <pc:sldMk cId="2582236747" sldId="2147479613"/>
            <ac:spMk id="16" creationId="{25CD794F-7968-BB55-B2BA-A718D315E9DC}"/>
          </ac:spMkLst>
        </pc:spChg>
        <pc:spChg chg="add">
          <ac:chgData name="Jeffrey Obi" userId="S::jeffrey.obi@ie.ey.com::488f269d-1fa2-455e-bf95-7695136a100d" providerId="AD" clId="Web-{8378FCE7-752C-1984-BB87-3B9279B0E7A3}" dt="2023-07-25T10:35:39.747" v="172"/>
          <ac:spMkLst>
            <pc:docMk/>
            <pc:sldMk cId="2582236747" sldId="2147479613"/>
            <ac:spMk id="18" creationId="{8ABF9574-8DDA-76A4-E1AA-D2CBDF981DC8}"/>
          </ac:spMkLst>
        </pc:spChg>
        <pc:spChg chg="add">
          <ac:chgData name="Jeffrey Obi" userId="S::jeffrey.obi@ie.ey.com::488f269d-1fa2-455e-bf95-7695136a100d" providerId="AD" clId="Web-{8378FCE7-752C-1984-BB87-3B9279B0E7A3}" dt="2023-07-25T10:35:39.793" v="173"/>
          <ac:spMkLst>
            <pc:docMk/>
            <pc:sldMk cId="2582236747" sldId="2147479613"/>
            <ac:spMk id="20" creationId="{B644B638-0117-FBEC-2CAC-0EEBA0406BFF}"/>
          </ac:spMkLst>
        </pc:spChg>
        <pc:spChg chg="add">
          <ac:chgData name="Jeffrey Obi" userId="S::jeffrey.obi@ie.ey.com::488f269d-1fa2-455e-bf95-7695136a100d" providerId="AD" clId="Web-{8378FCE7-752C-1984-BB87-3B9279B0E7A3}" dt="2023-07-25T10:35:39.840" v="174"/>
          <ac:spMkLst>
            <pc:docMk/>
            <pc:sldMk cId="2582236747" sldId="2147479613"/>
            <ac:spMk id="22" creationId="{147E764A-C015-7468-0DD7-8A630A896DFA}"/>
          </ac:spMkLst>
        </pc:spChg>
        <pc:spChg chg="add">
          <ac:chgData name="Jeffrey Obi" userId="S::jeffrey.obi@ie.ey.com::488f269d-1fa2-455e-bf95-7695136a100d" providerId="AD" clId="Web-{8378FCE7-752C-1984-BB87-3B9279B0E7A3}" dt="2023-07-25T10:35:39.903" v="175"/>
          <ac:spMkLst>
            <pc:docMk/>
            <pc:sldMk cId="2582236747" sldId="2147479613"/>
            <ac:spMk id="24" creationId="{EE1F3937-453B-EC28-9397-C09287C952AA}"/>
          </ac:spMkLst>
        </pc:spChg>
        <pc:spChg chg="add">
          <ac:chgData name="Jeffrey Obi" userId="S::jeffrey.obi@ie.ey.com::488f269d-1fa2-455e-bf95-7695136a100d" providerId="AD" clId="Web-{8378FCE7-752C-1984-BB87-3B9279B0E7A3}" dt="2023-07-25T10:35:39.950" v="176"/>
          <ac:spMkLst>
            <pc:docMk/>
            <pc:sldMk cId="2582236747" sldId="2147479613"/>
            <ac:spMk id="26" creationId="{66A55367-781E-B741-2829-58D43494F019}"/>
          </ac:spMkLst>
        </pc:spChg>
        <pc:spChg chg="add">
          <ac:chgData name="Jeffrey Obi" userId="S::jeffrey.obi@ie.ey.com::488f269d-1fa2-455e-bf95-7695136a100d" providerId="AD" clId="Web-{8378FCE7-752C-1984-BB87-3B9279B0E7A3}" dt="2023-07-25T10:35:40.043" v="177"/>
          <ac:spMkLst>
            <pc:docMk/>
            <pc:sldMk cId="2582236747" sldId="2147479613"/>
            <ac:spMk id="28" creationId="{D6ED209F-CE61-ECBC-1A97-0BBB67E3F5B0}"/>
          </ac:spMkLst>
        </pc:spChg>
        <pc:spChg chg="add mod">
          <ac:chgData name="Jeffrey Obi" userId="S::jeffrey.obi@ie.ey.com::488f269d-1fa2-455e-bf95-7695136a100d" providerId="AD" clId="Web-{8378FCE7-752C-1984-BB87-3B9279B0E7A3}" dt="2023-07-25T10:35:40.106" v="178"/>
          <ac:spMkLst>
            <pc:docMk/>
            <pc:sldMk cId="2582236747" sldId="2147479613"/>
            <ac:spMk id="30" creationId="{472A8A6B-5ED0-EBDF-66D3-9469542D95B7}"/>
          </ac:spMkLst>
        </pc:spChg>
        <pc:spChg chg="add">
          <ac:chgData name="Jeffrey Obi" userId="S::jeffrey.obi@ie.ey.com::488f269d-1fa2-455e-bf95-7695136a100d" providerId="AD" clId="Web-{8378FCE7-752C-1984-BB87-3B9279B0E7A3}" dt="2023-07-25T10:35:40.262" v="180"/>
          <ac:spMkLst>
            <pc:docMk/>
            <pc:sldMk cId="2582236747" sldId="2147479613"/>
            <ac:spMk id="34" creationId="{6FC6E2C6-8AE4-DBA8-E557-CA955ABD4A17}"/>
          </ac:spMkLst>
        </pc:spChg>
        <pc:picChg chg="add">
          <ac:chgData name="Jeffrey Obi" userId="S::jeffrey.obi@ie.ey.com::488f269d-1fa2-455e-bf95-7695136a100d" providerId="AD" clId="Web-{8378FCE7-752C-1984-BB87-3B9279B0E7A3}" dt="2023-07-25T10:35:40.184" v="179"/>
          <ac:picMkLst>
            <pc:docMk/>
            <pc:sldMk cId="2582236747" sldId="2147479613"/>
            <ac:picMk id="32" creationId="{9A25CBB2-0A6D-AF34-4E96-D85B5E9316AF}"/>
          </ac:picMkLst>
        </pc:picChg>
      </pc:sldChg>
      <pc:sldChg chg="addSp delSp modSp new del">
        <pc:chgData name="Jeffrey Obi" userId="S::jeffrey.obi@ie.ey.com::488f269d-1fa2-455e-bf95-7695136a100d" providerId="AD" clId="Web-{8378FCE7-752C-1984-BB87-3B9279B0E7A3}" dt="2023-07-25T10:41:41.098" v="241"/>
        <pc:sldMkLst>
          <pc:docMk/>
          <pc:sldMk cId="846936534" sldId="2147479614"/>
        </pc:sldMkLst>
        <pc:spChg chg="del">
          <ac:chgData name="Jeffrey Obi" userId="S::jeffrey.obi@ie.ey.com::488f269d-1fa2-455e-bf95-7695136a100d" providerId="AD" clId="Web-{8378FCE7-752C-1984-BB87-3B9279B0E7A3}" dt="2023-07-25T10:36:42.389" v="183"/>
          <ac:spMkLst>
            <pc:docMk/>
            <pc:sldMk cId="846936534" sldId="2147479614"/>
            <ac:spMk id="2" creationId="{BB22AB17-15D0-11F0-D9BE-3C3FED1B9C07}"/>
          </ac:spMkLst>
        </pc:spChg>
        <pc:spChg chg="del">
          <ac:chgData name="Jeffrey Obi" userId="S::jeffrey.obi@ie.ey.com::488f269d-1fa2-455e-bf95-7695136a100d" providerId="AD" clId="Web-{8378FCE7-752C-1984-BB87-3B9279B0E7A3}" dt="2023-07-25T10:36:46.123" v="184"/>
          <ac:spMkLst>
            <pc:docMk/>
            <pc:sldMk cId="846936534" sldId="2147479614"/>
            <ac:spMk id="3" creationId="{0B2D1477-A4B4-54D3-B97E-8B8DB25F2CE5}"/>
          </ac:spMkLst>
        </pc:spChg>
        <pc:spChg chg="del">
          <ac:chgData name="Jeffrey Obi" userId="S::jeffrey.obi@ie.ey.com::488f269d-1fa2-455e-bf95-7695136a100d" providerId="AD" clId="Web-{8378FCE7-752C-1984-BB87-3B9279B0E7A3}" dt="2023-07-25T10:39:59.127" v="240"/>
          <ac:spMkLst>
            <pc:docMk/>
            <pc:sldMk cId="846936534" sldId="2147479614"/>
            <ac:spMk id="4" creationId="{97239C9B-1B83-456E-1C96-CCBD7303C941}"/>
          </ac:spMkLst>
        </pc:spChg>
        <pc:spChg chg="add del">
          <ac:chgData name="Jeffrey Obi" userId="S::jeffrey.obi@ie.ey.com::488f269d-1fa2-455e-bf95-7695136a100d" providerId="AD" clId="Web-{8378FCE7-752C-1984-BB87-3B9279B0E7A3}" dt="2023-07-25T10:38:36.016" v="223"/>
          <ac:spMkLst>
            <pc:docMk/>
            <pc:sldMk cId="846936534" sldId="2147479614"/>
            <ac:spMk id="6" creationId="{02FF64A1-FFB2-0372-92BB-C5C7B6D5F2C8}"/>
          </ac:spMkLst>
        </pc:spChg>
        <pc:spChg chg="add del">
          <ac:chgData name="Jeffrey Obi" userId="S::jeffrey.obi@ie.ey.com::488f269d-1fa2-455e-bf95-7695136a100d" providerId="AD" clId="Web-{8378FCE7-752C-1984-BB87-3B9279B0E7A3}" dt="2023-07-25T10:38:36.016" v="224"/>
          <ac:spMkLst>
            <pc:docMk/>
            <pc:sldMk cId="846936534" sldId="2147479614"/>
            <ac:spMk id="8" creationId="{8DD03E41-7296-81CD-3729-3354ED1BE508}"/>
          </ac:spMkLst>
        </pc:spChg>
        <pc:spChg chg="add del">
          <ac:chgData name="Jeffrey Obi" userId="S::jeffrey.obi@ie.ey.com::488f269d-1fa2-455e-bf95-7695136a100d" providerId="AD" clId="Web-{8378FCE7-752C-1984-BB87-3B9279B0E7A3}" dt="2023-07-25T10:38:36.016" v="225"/>
          <ac:spMkLst>
            <pc:docMk/>
            <pc:sldMk cId="846936534" sldId="2147479614"/>
            <ac:spMk id="10" creationId="{3518B475-1CE2-2D86-33CB-3015DA17A4A3}"/>
          </ac:spMkLst>
        </pc:spChg>
        <pc:spChg chg="add del">
          <ac:chgData name="Jeffrey Obi" userId="S::jeffrey.obi@ie.ey.com::488f269d-1fa2-455e-bf95-7695136a100d" providerId="AD" clId="Web-{8378FCE7-752C-1984-BB87-3B9279B0E7A3}" dt="2023-07-25T10:38:36.016" v="226"/>
          <ac:spMkLst>
            <pc:docMk/>
            <pc:sldMk cId="846936534" sldId="2147479614"/>
            <ac:spMk id="12" creationId="{9B60FC21-8227-D813-AFDD-BEEFF0664686}"/>
          </ac:spMkLst>
        </pc:spChg>
        <pc:spChg chg="add del">
          <ac:chgData name="Jeffrey Obi" userId="S::jeffrey.obi@ie.ey.com::488f269d-1fa2-455e-bf95-7695136a100d" providerId="AD" clId="Web-{8378FCE7-752C-1984-BB87-3B9279B0E7A3}" dt="2023-07-25T10:38:36.016" v="227"/>
          <ac:spMkLst>
            <pc:docMk/>
            <pc:sldMk cId="846936534" sldId="2147479614"/>
            <ac:spMk id="14" creationId="{756E0092-2FEF-8F17-F3FF-053DC39596A3}"/>
          </ac:spMkLst>
        </pc:spChg>
        <pc:spChg chg="add del">
          <ac:chgData name="Jeffrey Obi" userId="S::jeffrey.obi@ie.ey.com::488f269d-1fa2-455e-bf95-7695136a100d" providerId="AD" clId="Web-{8378FCE7-752C-1984-BB87-3B9279B0E7A3}" dt="2023-07-25T10:38:36.016" v="228"/>
          <ac:spMkLst>
            <pc:docMk/>
            <pc:sldMk cId="846936534" sldId="2147479614"/>
            <ac:spMk id="16" creationId="{FE76E240-610B-8688-4E48-76BBE5FA9637}"/>
          </ac:spMkLst>
        </pc:spChg>
        <pc:spChg chg="add del">
          <ac:chgData name="Jeffrey Obi" userId="S::jeffrey.obi@ie.ey.com::488f269d-1fa2-455e-bf95-7695136a100d" providerId="AD" clId="Web-{8378FCE7-752C-1984-BB87-3B9279B0E7A3}" dt="2023-07-25T10:38:36.016" v="229"/>
          <ac:spMkLst>
            <pc:docMk/>
            <pc:sldMk cId="846936534" sldId="2147479614"/>
            <ac:spMk id="18" creationId="{3DF1C7F2-8AF1-C64B-2F31-377F179D31F7}"/>
          </ac:spMkLst>
        </pc:spChg>
        <pc:spChg chg="add del">
          <ac:chgData name="Jeffrey Obi" userId="S::jeffrey.obi@ie.ey.com::488f269d-1fa2-455e-bf95-7695136a100d" providerId="AD" clId="Web-{8378FCE7-752C-1984-BB87-3B9279B0E7A3}" dt="2023-07-25T10:38:36.016" v="230"/>
          <ac:spMkLst>
            <pc:docMk/>
            <pc:sldMk cId="846936534" sldId="2147479614"/>
            <ac:spMk id="20" creationId="{FFF7D536-2993-4F66-4C22-9CB84ACAEBFD}"/>
          </ac:spMkLst>
        </pc:spChg>
        <pc:spChg chg="add del">
          <ac:chgData name="Jeffrey Obi" userId="S::jeffrey.obi@ie.ey.com::488f269d-1fa2-455e-bf95-7695136a100d" providerId="AD" clId="Web-{8378FCE7-752C-1984-BB87-3B9279B0E7A3}" dt="2023-07-25T10:38:36.016" v="231"/>
          <ac:spMkLst>
            <pc:docMk/>
            <pc:sldMk cId="846936534" sldId="2147479614"/>
            <ac:spMk id="22" creationId="{8DFE04C4-A93B-0D2E-707A-22C70D5567DA}"/>
          </ac:spMkLst>
        </pc:spChg>
        <pc:spChg chg="add del">
          <ac:chgData name="Jeffrey Obi" userId="S::jeffrey.obi@ie.ey.com::488f269d-1fa2-455e-bf95-7695136a100d" providerId="AD" clId="Web-{8378FCE7-752C-1984-BB87-3B9279B0E7A3}" dt="2023-07-25T10:38:36.016" v="232"/>
          <ac:spMkLst>
            <pc:docMk/>
            <pc:sldMk cId="846936534" sldId="2147479614"/>
            <ac:spMk id="24" creationId="{C53B2E39-D517-8A00-2A7D-797AA9BF06FB}"/>
          </ac:spMkLst>
        </pc:spChg>
        <pc:spChg chg="add del">
          <ac:chgData name="Jeffrey Obi" userId="S::jeffrey.obi@ie.ey.com::488f269d-1fa2-455e-bf95-7695136a100d" providerId="AD" clId="Web-{8378FCE7-752C-1984-BB87-3B9279B0E7A3}" dt="2023-07-25T10:38:36.016" v="233"/>
          <ac:spMkLst>
            <pc:docMk/>
            <pc:sldMk cId="846936534" sldId="2147479614"/>
            <ac:spMk id="26" creationId="{AC828618-A3E8-C488-A607-A27126C78BE3}"/>
          </ac:spMkLst>
        </pc:spChg>
        <pc:spChg chg="add del">
          <ac:chgData name="Jeffrey Obi" userId="S::jeffrey.obi@ie.ey.com::488f269d-1fa2-455e-bf95-7695136a100d" providerId="AD" clId="Web-{8378FCE7-752C-1984-BB87-3B9279B0E7A3}" dt="2023-07-25T10:38:36.016" v="234"/>
          <ac:spMkLst>
            <pc:docMk/>
            <pc:sldMk cId="846936534" sldId="2147479614"/>
            <ac:spMk id="28" creationId="{26DE41BF-F388-83EC-F84F-C9679BFB3441}"/>
          </ac:spMkLst>
        </pc:spChg>
        <pc:spChg chg="add del mod">
          <ac:chgData name="Jeffrey Obi" userId="S::jeffrey.obi@ie.ey.com::488f269d-1fa2-455e-bf95-7695136a100d" providerId="AD" clId="Web-{8378FCE7-752C-1984-BB87-3B9279B0E7A3}" dt="2023-07-25T10:38:36.016" v="235"/>
          <ac:spMkLst>
            <pc:docMk/>
            <pc:sldMk cId="846936534" sldId="2147479614"/>
            <ac:spMk id="30" creationId="{429B2675-3DCD-C7F0-F597-5337BF319F4B}"/>
          </ac:spMkLst>
        </pc:spChg>
        <pc:picChg chg="add del">
          <ac:chgData name="Jeffrey Obi" userId="S::jeffrey.obi@ie.ey.com::488f269d-1fa2-455e-bf95-7695136a100d" providerId="AD" clId="Web-{8378FCE7-752C-1984-BB87-3B9279B0E7A3}" dt="2023-07-25T10:38:36.016" v="236"/>
          <ac:picMkLst>
            <pc:docMk/>
            <pc:sldMk cId="846936534" sldId="2147479614"/>
            <ac:picMk id="32" creationId="{9E2DB68A-39B3-47C2-103F-59FF39FD4CE0}"/>
          </ac:picMkLst>
        </pc:picChg>
        <pc:picChg chg="add del">
          <ac:chgData name="Jeffrey Obi" userId="S::jeffrey.obi@ie.ey.com::488f269d-1fa2-455e-bf95-7695136a100d" providerId="AD" clId="Web-{8378FCE7-752C-1984-BB87-3B9279B0E7A3}" dt="2023-07-25T10:38:36.032" v="237"/>
          <ac:picMkLst>
            <pc:docMk/>
            <pc:sldMk cId="846936534" sldId="2147479614"/>
            <ac:picMk id="34" creationId="{EA5C5EEE-DCFE-8CA1-6E61-D22560B875D9}"/>
          </ac:picMkLst>
        </pc:picChg>
        <pc:picChg chg="add del">
          <ac:chgData name="Jeffrey Obi" userId="S::jeffrey.obi@ie.ey.com::488f269d-1fa2-455e-bf95-7695136a100d" providerId="AD" clId="Web-{8378FCE7-752C-1984-BB87-3B9279B0E7A3}" dt="2023-07-25T10:38:36.032" v="238"/>
          <ac:picMkLst>
            <pc:docMk/>
            <pc:sldMk cId="846936534" sldId="2147479614"/>
            <ac:picMk id="36" creationId="{8E91E6C2-6654-DC59-F651-D3B1CEFACABF}"/>
          </ac:picMkLst>
        </pc:picChg>
      </pc:sldChg>
      <pc:sldChg chg="addSp delSp modSp new">
        <pc:chgData name="Jeffrey Obi" userId="S::jeffrey.obi@ie.ey.com::488f269d-1fa2-455e-bf95-7695136a100d" providerId="AD" clId="Web-{8378FCE7-752C-1984-BB87-3B9279B0E7A3}" dt="2023-07-25T14:30:56.727" v="3850" actId="1076"/>
        <pc:sldMkLst>
          <pc:docMk/>
          <pc:sldMk cId="3046752737" sldId="2147479614"/>
        </pc:sldMkLst>
        <pc:spChg chg="del">
          <ac:chgData name="Jeffrey Obi" userId="S::jeffrey.obi@ie.ey.com::488f269d-1fa2-455e-bf95-7695136a100d" providerId="AD" clId="Web-{8378FCE7-752C-1984-BB87-3B9279B0E7A3}" dt="2023-07-25T10:42:02.380" v="244"/>
          <ac:spMkLst>
            <pc:docMk/>
            <pc:sldMk cId="3046752737" sldId="2147479614"/>
            <ac:spMk id="2" creationId="{C1BF2AC4-55E8-5122-4457-CDF7541042C5}"/>
          </ac:spMkLst>
        </pc:spChg>
        <pc:spChg chg="del">
          <ac:chgData name="Jeffrey Obi" userId="S::jeffrey.obi@ie.ey.com::488f269d-1fa2-455e-bf95-7695136a100d" providerId="AD" clId="Web-{8378FCE7-752C-1984-BB87-3B9279B0E7A3}" dt="2023-07-25T10:41:58.896" v="243"/>
          <ac:spMkLst>
            <pc:docMk/>
            <pc:sldMk cId="3046752737" sldId="2147479614"/>
            <ac:spMk id="3" creationId="{6AB2FB60-2802-7EE0-67EC-C27F9631E550}"/>
          </ac:spMkLst>
        </pc:spChg>
        <pc:spChg chg="del mod">
          <ac:chgData name="Jeffrey Obi" userId="S::jeffrey.obi@ie.ey.com::488f269d-1fa2-455e-bf95-7695136a100d" providerId="AD" clId="Web-{8378FCE7-752C-1984-BB87-3B9279B0E7A3}" dt="2023-07-25T10:42:17.131" v="247"/>
          <ac:spMkLst>
            <pc:docMk/>
            <pc:sldMk cId="3046752737" sldId="2147479614"/>
            <ac:spMk id="4" creationId="{8785D131-3B6B-86F1-6097-1A65EFFD7967}"/>
          </ac:spMkLst>
        </pc:spChg>
        <pc:spChg chg="add">
          <ac:chgData name="Jeffrey Obi" userId="S::jeffrey.obi@ie.ey.com::488f269d-1fa2-455e-bf95-7695136a100d" providerId="AD" clId="Web-{8378FCE7-752C-1984-BB87-3B9279B0E7A3}" dt="2023-07-25T10:42:39.115" v="248"/>
          <ac:spMkLst>
            <pc:docMk/>
            <pc:sldMk cId="3046752737" sldId="2147479614"/>
            <ac:spMk id="6" creationId="{489D7E36-E5EC-111E-AE3B-B05ADA2650CA}"/>
          </ac:spMkLst>
        </pc:spChg>
        <pc:spChg chg="add">
          <ac:chgData name="Jeffrey Obi" userId="S::jeffrey.obi@ie.ey.com::488f269d-1fa2-455e-bf95-7695136a100d" providerId="AD" clId="Web-{8378FCE7-752C-1984-BB87-3B9279B0E7A3}" dt="2023-07-25T10:42:39.131" v="249"/>
          <ac:spMkLst>
            <pc:docMk/>
            <pc:sldMk cId="3046752737" sldId="2147479614"/>
            <ac:spMk id="8" creationId="{CF4624E7-2012-177F-42FD-075B529C96E2}"/>
          </ac:spMkLst>
        </pc:spChg>
        <pc:spChg chg="add">
          <ac:chgData name="Jeffrey Obi" userId="S::jeffrey.obi@ie.ey.com::488f269d-1fa2-455e-bf95-7695136a100d" providerId="AD" clId="Web-{8378FCE7-752C-1984-BB87-3B9279B0E7A3}" dt="2023-07-25T10:42:39.162" v="250"/>
          <ac:spMkLst>
            <pc:docMk/>
            <pc:sldMk cId="3046752737" sldId="2147479614"/>
            <ac:spMk id="10" creationId="{A9930A43-D411-994C-F0E8-7D9582857EF9}"/>
          </ac:spMkLst>
        </pc:spChg>
        <pc:spChg chg="add mod">
          <ac:chgData name="Jeffrey Obi" userId="S::jeffrey.obi@ie.ey.com::488f269d-1fa2-455e-bf95-7695136a100d" providerId="AD" clId="Web-{8378FCE7-752C-1984-BB87-3B9279B0E7A3}" dt="2023-07-25T11:12:35.390" v="814" actId="20577"/>
          <ac:spMkLst>
            <pc:docMk/>
            <pc:sldMk cId="3046752737" sldId="2147479614"/>
            <ac:spMk id="12" creationId="{213C6BCD-69D2-90ED-2BC4-196EF5E3F298}"/>
          </ac:spMkLst>
        </pc:spChg>
        <pc:spChg chg="add">
          <ac:chgData name="Jeffrey Obi" userId="S::jeffrey.obi@ie.ey.com::488f269d-1fa2-455e-bf95-7695136a100d" providerId="AD" clId="Web-{8378FCE7-752C-1984-BB87-3B9279B0E7A3}" dt="2023-07-25T10:42:39.319" v="252"/>
          <ac:spMkLst>
            <pc:docMk/>
            <pc:sldMk cId="3046752737" sldId="2147479614"/>
            <ac:spMk id="14" creationId="{1B4891F9-FC37-F82A-520C-548C6F536DE2}"/>
          </ac:spMkLst>
        </pc:spChg>
        <pc:spChg chg="add mod">
          <ac:chgData name="Jeffrey Obi" userId="S::jeffrey.obi@ie.ey.com::488f269d-1fa2-455e-bf95-7695136a100d" providerId="AD" clId="Web-{8378FCE7-752C-1984-BB87-3B9279B0E7A3}" dt="2023-07-25T14:30:56.727" v="3850" actId="1076"/>
          <ac:spMkLst>
            <pc:docMk/>
            <pc:sldMk cId="3046752737" sldId="2147479614"/>
            <ac:spMk id="16" creationId="{1EE50A2F-BB66-4023-A19E-4AC1F49CB477}"/>
          </ac:spMkLst>
        </pc:spChg>
        <pc:spChg chg="add">
          <ac:chgData name="Jeffrey Obi" userId="S::jeffrey.obi@ie.ey.com::488f269d-1fa2-455e-bf95-7695136a100d" providerId="AD" clId="Web-{8378FCE7-752C-1984-BB87-3B9279B0E7A3}" dt="2023-07-25T10:42:39.459" v="254"/>
          <ac:spMkLst>
            <pc:docMk/>
            <pc:sldMk cId="3046752737" sldId="2147479614"/>
            <ac:spMk id="18" creationId="{26DBC6F2-B27C-8EA3-B4A4-A720416361DC}"/>
          </ac:spMkLst>
        </pc:spChg>
        <pc:spChg chg="add mod">
          <ac:chgData name="Jeffrey Obi" userId="S::jeffrey.obi@ie.ey.com::488f269d-1fa2-455e-bf95-7695136a100d" providerId="AD" clId="Web-{8378FCE7-752C-1984-BB87-3B9279B0E7A3}" dt="2023-07-25T10:53:23.692" v="379" actId="20577"/>
          <ac:spMkLst>
            <pc:docMk/>
            <pc:sldMk cId="3046752737" sldId="2147479614"/>
            <ac:spMk id="20" creationId="{71597D73-FC0D-0F7C-BC32-B2FA32899DF9}"/>
          </ac:spMkLst>
        </pc:spChg>
        <pc:spChg chg="add">
          <ac:chgData name="Jeffrey Obi" userId="S::jeffrey.obi@ie.ey.com::488f269d-1fa2-455e-bf95-7695136a100d" providerId="AD" clId="Web-{8378FCE7-752C-1984-BB87-3B9279B0E7A3}" dt="2023-07-25T10:42:39.553" v="256"/>
          <ac:spMkLst>
            <pc:docMk/>
            <pc:sldMk cId="3046752737" sldId="2147479614"/>
            <ac:spMk id="22" creationId="{9A4AB788-397F-A777-536A-71E510E11985}"/>
          </ac:spMkLst>
        </pc:spChg>
        <pc:spChg chg="add">
          <ac:chgData name="Jeffrey Obi" userId="S::jeffrey.obi@ie.ey.com::488f269d-1fa2-455e-bf95-7695136a100d" providerId="AD" clId="Web-{8378FCE7-752C-1984-BB87-3B9279B0E7A3}" dt="2023-07-25T10:42:39.615" v="257"/>
          <ac:spMkLst>
            <pc:docMk/>
            <pc:sldMk cId="3046752737" sldId="2147479614"/>
            <ac:spMk id="24" creationId="{F157CDD7-E4B0-DBE6-3BF9-A80704C2E8E2}"/>
          </ac:spMkLst>
        </pc:spChg>
        <pc:spChg chg="add">
          <ac:chgData name="Jeffrey Obi" userId="S::jeffrey.obi@ie.ey.com::488f269d-1fa2-455e-bf95-7695136a100d" providerId="AD" clId="Web-{8378FCE7-752C-1984-BB87-3B9279B0E7A3}" dt="2023-07-25T10:42:39.678" v="258"/>
          <ac:spMkLst>
            <pc:docMk/>
            <pc:sldMk cId="3046752737" sldId="2147479614"/>
            <ac:spMk id="26" creationId="{CE8179ED-1E75-8A00-A70C-EF944AB7261F}"/>
          </ac:spMkLst>
        </pc:spChg>
        <pc:spChg chg="add">
          <ac:chgData name="Jeffrey Obi" userId="S::jeffrey.obi@ie.ey.com::488f269d-1fa2-455e-bf95-7695136a100d" providerId="AD" clId="Web-{8378FCE7-752C-1984-BB87-3B9279B0E7A3}" dt="2023-07-25T10:42:39.740" v="259"/>
          <ac:spMkLst>
            <pc:docMk/>
            <pc:sldMk cId="3046752737" sldId="2147479614"/>
            <ac:spMk id="28" creationId="{3C2A5434-720E-4AA9-21BF-0B0E8A76CA06}"/>
          </ac:spMkLst>
        </pc:spChg>
        <pc:spChg chg="add mod">
          <ac:chgData name="Jeffrey Obi" userId="S::jeffrey.obi@ie.ey.com::488f269d-1fa2-455e-bf95-7695136a100d" providerId="AD" clId="Web-{8378FCE7-752C-1984-BB87-3B9279B0E7A3}" dt="2023-07-25T10:42:39.803" v="260"/>
          <ac:spMkLst>
            <pc:docMk/>
            <pc:sldMk cId="3046752737" sldId="2147479614"/>
            <ac:spMk id="30" creationId="{D93FAA2B-249B-226A-0A9D-DF62EFC7C39A}"/>
          </ac:spMkLst>
        </pc:spChg>
        <pc:picChg chg="add del">
          <ac:chgData name="Jeffrey Obi" userId="S::jeffrey.obi@ie.ey.com::488f269d-1fa2-455e-bf95-7695136a100d" providerId="AD" clId="Web-{8378FCE7-752C-1984-BB87-3B9279B0E7A3}" dt="2023-07-25T10:43:03.178" v="263"/>
          <ac:picMkLst>
            <pc:docMk/>
            <pc:sldMk cId="3046752737" sldId="2147479614"/>
            <ac:picMk id="32" creationId="{B482070B-9D8B-1A9F-2261-F1EA25B65D36}"/>
          </ac:picMkLst>
        </pc:picChg>
        <pc:picChg chg="add">
          <ac:chgData name="Jeffrey Obi" userId="S::jeffrey.obi@ie.ey.com::488f269d-1fa2-455e-bf95-7695136a100d" providerId="AD" clId="Web-{8378FCE7-752C-1984-BB87-3B9279B0E7A3}" dt="2023-07-25T10:42:39.959" v="262"/>
          <ac:picMkLst>
            <pc:docMk/>
            <pc:sldMk cId="3046752737" sldId="2147479614"/>
            <ac:picMk id="34" creationId="{1B881CE2-4E5C-5F3F-C232-D168A47D428D}"/>
          </ac:picMkLst>
        </pc:picChg>
      </pc:sldChg>
      <pc:sldChg chg="addSp delSp modSp add ord replId">
        <pc:chgData name="Jeffrey Obi" userId="S::jeffrey.obi@ie.ey.com::488f269d-1fa2-455e-bf95-7695136a100d" providerId="AD" clId="Web-{8378FCE7-752C-1984-BB87-3B9279B0E7A3}" dt="2023-07-25T15:52:37.610" v="3851"/>
        <pc:sldMkLst>
          <pc:docMk/>
          <pc:sldMk cId="835046836" sldId="2147479615"/>
        </pc:sldMkLst>
        <pc:spChg chg="mod">
          <ac:chgData name="Jeffrey Obi" userId="S::jeffrey.obi@ie.ey.com::488f269d-1fa2-455e-bf95-7695136a100d" providerId="AD" clId="Web-{8378FCE7-752C-1984-BB87-3B9279B0E7A3}" dt="2023-07-25T11:17:03.068" v="835" actId="20577"/>
          <ac:spMkLst>
            <pc:docMk/>
            <pc:sldMk cId="835046836" sldId="2147479615"/>
            <ac:spMk id="10" creationId="{A9930A43-D411-994C-F0E8-7D9582857EF9}"/>
          </ac:spMkLst>
        </pc:spChg>
        <pc:spChg chg="mod">
          <ac:chgData name="Jeffrey Obi" userId="S::jeffrey.obi@ie.ey.com::488f269d-1fa2-455e-bf95-7695136a100d" providerId="AD" clId="Web-{8378FCE7-752C-1984-BB87-3B9279B0E7A3}" dt="2023-07-25T14:25:05.905" v="3761" actId="1076"/>
          <ac:spMkLst>
            <pc:docMk/>
            <pc:sldMk cId="835046836" sldId="2147479615"/>
            <ac:spMk id="12" creationId="{213C6BCD-69D2-90ED-2BC4-196EF5E3F298}"/>
          </ac:spMkLst>
        </pc:spChg>
        <pc:spChg chg="mod">
          <ac:chgData name="Jeffrey Obi" userId="S::jeffrey.obi@ie.ey.com::488f269d-1fa2-455e-bf95-7695136a100d" providerId="AD" clId="Web-{8378FCE7-752C-1984-BB87-3B9279B0E7A3}" dt="2023-07-25T14:29:28.393" v="3845" actId="1076"/>
          <ac:spMkLst>
            <pc:docMk/>
            <pc:sldMk cId="835046836" sldId="2147479615"/>
            <ac:spMk id="16" creationId="{1EE50A2F-BB66-4023-A19E-4AC1F49CB477}"/>
          </ac:spMkLst>
        </pc:spChg>
        <pc:spChg chg="mod">
          <ac:chgData name="Jeffrey Obi" userId="S::jeffrey.obi@ie.ey.com::488f269d-1fa2-455e-bf95-7695136a100d" providerId="AD" clId="Web-{8378FCE7-752C-1984-BB87-3B9279B0E7A3}" dt="2023-07-25T14:24:48.732" v="3759" actId="1076"/>
          <ac:spMkLst>
            <pc:docMk/>
            <pc:sldMk cId="835046836" sldId="2147479615"/>
            <ac:spMk id="18" creationId="{26DBC6F2-B27C-8EA3-B4A4-A720416361DC}"/>
          </ac:spMkLst>
        </pc:spChg>
        <pc:spChg chg="mod">
          <ac:chgData name="Jeffrey Obi" userId="S::jeffrey.obi@ie.ey.com::488f269d-1fa2-455e-bf95-7695136a100d" providerId="AD" clId="Web-{8378FCE7-752C-1984-BB87-3B9279B0E7A3}" dt="2023-07-25T10:52:49.239" v="357" actId="20577"/>
          <ac:spMkLst>
            <pc:docMk/>
            <pc:sldMk cId="835046836" sldId="2147479615"/>
            <ac:spMk id="20" creationId="{71597D73-FC0D-0F7C-BC32-B2FA32899DF9}"/>
          </ac:spMkLst>
        </pc:spChg>
        <pc:spChg chg="mod">
          <ac:chgData name="Jeffrey Obi" userId="S::jeffrey.obi@ie.ey.com::488f269d-1fa2-455e-bf95-7695136a100d" providerId="AD" clId="Web-{8378FCE7-752C-1984-BB87-3B9279B0E7A3}" dt="2023-07-25T11:16:35.521" v="829" actId="20577"/>
          <ac:spMkLst>
            <pc:docMk/>
            <pc:sldMk cId="835046836" sldId="2147479615"/>
            <ac:spMk id="22" creationId="{9A4AB788-397F-A777-536A-71E510E11985}"/>
          </ac:spMkLst>
        </pc:spChg>
        <pc:spChg chg="mod">
          <ac:chgData name="Jeffrey Obi" userId="S::jeffrey.obi@ie.ey.com::488f269d-1fa2-455e-bf95-7695136a100d" providerId="AD" clId="Web-{8378FCE7-752C-1984-BB87-3B9279B0E7A3}" dt="2023-07-25T14:24:59.107" v="3760" actId="1076"/>
          <ac:spMkLst>
            <pc:docMk/>
            <pc:sldMk cId="835046836" sldId="2147479615"/>
            <ac:spMk id="24" creationId="{F157CDD7-E4B0-DBE6-3BF9-A80704C2E8E2}"/>
          </ac:spMkLst>
        </pc:spChg>
        <pc:spChg chg="mod">
          <ac:chgData name="Jeffrey Obi" userId="S::jeffrey.obi@ie.ey.com::488f269d-1fa2-455e-bf95-7695136a100d" providerId="AD" clId="Web-{8378FCE7-752C-1984-BB87-3B9279B0E7A3}" dt="2023-07-25T11:16:42.615" v="830" actId="20577"/>
          <ac:spMkLst>
            <pc:docMk/>
            <pc:sldMk cId="835046836" sldId="2147479615"/>
            <ac:spMk id="28" creationId="{3C2A5434-720E-4AA9-21BF-0B0E8A76CA06}"/>
          </ac:spMkLst>
        </pc:spChg>
        <pc:picChg chg="add del mod">
          <ac:chgData name="Jeffrey Obi" userId="S::jeffrey.obi@ie.ey.com::488f269d-1fa2-455e-bf95-7695136a100d" providerId="AD" clId="Web-{8378FCE7-752C-1984-BB87-3B9279B0E7A3}" dt="2023-07-25T10:47:16.465" v="297"/>
          <ac:picMkLst>
            <pc:docMk/>
            <pc:sldMk cId="835046836" sldId="2147479615"/>
            <ac:picMk id="2" creationId="{78081E7B-B530-5AE0-4FC9-A6149490FC7B}"/>
          </ac:picMkLst>
        </pc:picChg>
        <pc:picChg chg="add del mod">
          <ac:chgData name="Jeffrey Obi" userId="S::jeffrey.obi@ie.ey.com::488f269d-1fa2-455e-bf95-7695136a100d" providerId="AD" clId="Web-{8378FCE7-752C-1984-BB87-3B9279B0E7A3}" dt="2023-07-25T10:49:54.813" v="303"/>
          <ac:picMkLst>
            <pc:docMk/>
            <pc:sldMk cId="835046836" sldId="2147479615"/>
            <ac:picMk id="3" creationId="{74D5D50C-8355-D125-6C60-A1063A45CAD0}"/>
          </ac:picMkLst>
        </pc:picChg>
        <pc:picChg chg="add mod">
          <ac:chgData name="Jeffrey Obi" userId="S::jeffrey.obi@ie.ey.com::488f269d-1fa2-455e-bf95-7695136a100d" providerId="AD" clId="Web-{8378FCE7-752C-1984-BB87-3B9279B0E7A3}" dt="2023-07-25T10:51:08.268" v="313" actId="1076"/>
          <ac:picMkLst>
            <pc:docMk/>
            <pc:sldMk cId="835046836" sldId="2147479615"/>
            <ac:picMk id="4" creationId="{1311268E-84DE-A6DB-5375-2EED6E3C6F76}"/>
          </ac:picMkLst>
        </pc:picChg>
        <pc:picChg chg="add del mod">
          <ac:chgData name="Jeffrey Obi" userId="S::jeffrey.obi@ie.ey.com::488f269d-1fa2-455e-bf95-7695136a100d" providerId="AD" clId="Web-{8378FCE7-752C-1984-BB87-3B9279B0E7A3}" dt="2023-07-25T10:50:58.924" v="312"/>
          <ac:picMkLst>
            <pc:docMk/>
            <pc:sldMk cId="835046836" sldId="2147479615"/>
            <ac:picMk id="34" creationId="{1B881CE2-4E5C-5F3F-C232-D168A47D428D}"/>
          </ac:picMkLst>
        </pc:picChg>
      </pc:sldChg>
      <pc:sldChg chg="addSp delSp modSp add replId">
        <pc:chgData name="Jeffrey Obi" userId="S::jeffrey.obi@ie.ey.com::488f269d-1fa2-455e-bf95-7695136a100d" providerId="AD" clId="Web-{8378FCE7-752C-1984-BB87-3B9279B0E7A3}" dt="2023-07-25T14:30:17.928" v="3849" actId="1076"/>
        <pc:sldMkLst>
          <pc:docMk/>
          <pc:sldMk cId="3673377692" sldId="2147479616"/>
        </pc:sldMkLst>
        <pc:spChg chg="add del mod">
          <ac:chgData name="Jeffrey Obi" userId="S::jeffrey.obi@ie.ey.com::488f269d-1fa2-455e-bf95-7695136a100d" providerId="AD" clId="Web-{8378FCE7-752C-1984-BB87-3B9279B0E7A3}" dt="2023-07-25T14:30:17.928" v="3849" actId="1076"/>
          <ac:spMkLst>
            <pc:docMk/>
            <pc:sldMk cId="3673377692" sldId="2147479616"/>
            <ac:spMk id="5" creationId="{BDE47C88-9E3C-4980-C403-263854BB37E2}"/>
          </ac:spMkLst>
        </pc:spChg>
        <pc:spChg chg="add mod">
          <ac:chgData name="Jeffrey Obi" userId="S::jeffrey.obi@ie.ey.com::488f269d-1fa2-455e-bf95-7695136a100d" providerId="AD" clId="Web-{8378FCE7-752C-1984-BB87-3B9279B0E7A3}" dt="2023-07-25T14:30:07.474" v="3848" actId="1076"/>
          <ac:spMkLst>
            <pc:docMk/>
            <pc:sldMk cId="3673377692" sldId="2147479616"/>
            <ac:spMk id="9" creationId="{DAF26290-6595-85BF-EBDA-ECDB1152DE27}"/>
          </ac:spMkLst>
        </pc:spChg>
        <pc:spChg chg="mod">
          <ac:chgData name="Jeffrey Obi" userId="S::jeffrey.obi@ie.ey.com::488f269d-1fa2-455e-bf95-7695136a100d" providerId="AD" clId="Web-{8378FCE7-752C-1984-BB87-3B9279B0E7A3}" dt="2023-07-25T11:29:44.601" v="1004" actId="20577"/>
          <ac:spMkLst>
            <pc:docMk/>
            <pc:sldMk cId="3673377692" sldId="2147479616"/>
            <ac:spMk id="10" creationId="{A9930A43-D411-994C-F0E8-7D9582857EF9}"/>
          </ac:spMkLst>
        </pc:spChg>
        <pc:spChg chg="mod">
          <ac:chgData name="Jeffrey Obi" userId="S::jeffrey.obi@ie.ey.com::488f269d-1fa2-455e-bf95-7695136a100d" providerId="AD" clId="Web-{8378FCE7-752C-1984-BB87-3B9279B0E7A3}" dt="2023-07-25T14:01:43.739" v="3480" actId="20577"/>
          <ac:spMkLst>
            <pc:docMk/>
            <pc:sldMk cId="3673377692" sldId="2147479616"/>
            <ac:spMk id="12" creationId="{213C6BCD-69D2-90ED-2BC4-196EF5E3F298}"/>
          </ac:spMkLst>
        </pc:spChg>
        <pc:spChg chg="del mod">
          <ac:chgData name="Jeffrey Obi" userId="S::jeffrey.obi@ie.ey.com::488f269d-1fa2-455e-bf95-7695136a100d" providerId="AD" clId="Web-{8378FCE7-752C-1984-BB87-3B9279B0E7A3}" dt="2023-07-25T11:30:57.993" v="1028"/>
          <ac:spMkLst>
            <pc:docMk/>
            <pc:sldMk cId="3673377692" sldId="2147479616"/>
            <ac:spMk id="16" creationId="{1EE50A2F-BB66-4023-A19E-4AC1F49CB477}"/>
          </ac:spMkLst>
        </pc:spChg>
        <pc:spChg chg="mod">
          <ac:chgData name="Jeffrey Obi" userId="S::jeffrey.obi@ie.ey.com::488f269d-1fa2-455e-bf95-7695136a100d" providerId="AD" clId="Web-{8378FCE7-752C-1984-BB87-3B9279B0E7A3}" dt="2023-07-25T11:26:41.644" v="939" actId="20577"/>
          <ac:spMkLst>
            <pc:docMk/>
            <pc:sldMk cId="3673377692" sldId="2147479616"/>
            <ac:spMk id="20" creationId="{71597D73-FC0D-0F7C-BC32-B2FA32899DF9}"/>
          </ac:spMkLst>
        </pc:spChg>
        <pc:spChg chg="mod">
          <ac:chgData name="Jeffrey Obi" userId="S::jeffrey.obi@ie.ey.com::488f269d-1fa2-455e-bf95-7695136a100d" providerId="AD" clId="Web-{8378FCE7-752C-1984-BB87-3B9279B0E7A3}" dt="2023-07-25T11:25:57.533" v="924" actId="20577"/>
          <ac:spMkLst>
            <pc:docMk/>
            <pc:sldMk cId="3673377692" sldId="2147479616"/>
            <ac:spMk id="22" creationId="{9A4AB788-397F-A777-536A-71E510E11985}"/>
          </ac:spMkLst>
        </pc:spChg>
        <pc:picChg chg="add mod">
          <ac:chgData name="Jeffrey Obi" userId="S::jeffrey.obi@ie.ey.com::488f269d-1fa2-455e-bf95-7695136a100d" providerId="AD" clId="Web-{8378FCE7-752C-1984-BB87-3B9279B0E7A3}" dt="2023-07-25T11:23:46.718" v="898" actId="14100"/>
          <ac:picMkLst>
            <pc:docMk/>
            <pc:sldMk cId="3673377692" sldId="2147479616"/>
            <ac:picMk id="2" creationId="{F0859722-F918-7541-2398-E001E7EF6CB0}"/>
          </ac:picMkLst>
        </pc:picChg>
        <pc:picChg chg="del mod">
          <ac:chgData name="Jeffrey Obi" userId="S::jeffrey.obi@ie.ey.com::488f269d-1fa2-455e-bf95-7695136a100d" providerId="AD" clId="Web-{8378FCE7-752C-1984-BB87-3B9279B0E7A3}" dt="2023-07-25T11:23:25.093" v="897"/>
          <ac:picMkLst>
            <pc:docMk/>
            <pc:sldMk cId="3673377692" sldId="2147479616"/>
            <ac:picMk id="4" creationId="{1311268E-84DE-A6DB-5375-2EED6E3C6F76}"/>
          </ac:picMkLst>
        </pc:picChg>
      </pc:sldChg>
      <pc:sldChg chg="addSp delSp modSp add ord replId">
        <pc:chgData name="Jeffrey Obi" userId="S::jeffrey.obi@ie.ey.com::488f269d-1fa2-455e-bf95-7695136a100d" providerId="AD" clId="Web-{8378FCE7-752C-1984-BB87-3B9279B0E7A3}" dt="2023-07-25T14:28:12.965" v="3842" actId="1076"/>
        <pc:sldMkLst>
          <pc:docMk/>
          <pc:sldMk cId="554842699" sldId="2147479617"/>
        </pc:sldMkLst>
        <pc:spChg chg="add mod">
          <ac:chgData name="Jeffrey Obi" userId="S::jeffrey.obi@ie.ey.com::488f269d-1fa2-455e-bf95-7695136a100d" providerId="AD" clId="Web-{8378FCE7-752C-1984-BB87-3B9279B0E7A3}" dt="2023-07-25T14:27:56.027" v="3841" actId="1076"/>
          <ac:spMkLst>
            <pc:docMk/>
            <pc:sldMk cId="554842699" sldId="2147479617"/>
            <ac:spMk id="5" creationId="{1AA4F3D1-45B7-A72E-14AB-197DB6665F5F}"/>
          </ac:spMkLst>
        </pc:spChg>
        <pc:spChg chg="add mod">
          <ac:chgData name="Jeffrey Obi" userId="S::jeffrey.obi@ie.ey.com::488f269d-1fa2-455e-bf95-7695136a100d" providerId="AD" clId="Web-{8378FCE7-752C-1984-BB87-3B9279B0E7A3}" dt="2023-07-25T14:28:12.965" v="3842" actId="1076"/>
          <ac:spMkLst>
            <pc:docMk/>
            <pc:sldMk cId="554842699" sldId="2147479617"/>
            <ac:spMk id="9" creationId="{54149453-3DEF-2E15-6311-535F75F8CCA1}"/>
          </ac:spMkLst>
        </pc:spChg>
        <pc:spChg chg="mod">
          <ac:chgData name="Jeffrey Obi" userId="S::jeffrey.obi@ie.ey.com::488f269d-1fa2-455e-bf95-7695136a100d" providerId="AD" clId="Web-{8378FCE7-752C-1984-BB87-3B9279B0E7A3}" dt="2023-07-25T11:56:44.013" v="1339" actId="20577"/>
          <ac:spMkLst>
            <pc:docMk/>
            <pc:sldMk cId="554842699" sldId="2147479617"/>
            <ac:spMk id="10" creationId="{A9930A43-D411-994C-F0E8-7D9582857EF9}"/>
          </ac:spMkLst>
        </pc:spChg>
        <pc:spChg chg="mod">
          <ac:chgData name="Jeffrey Obi" userId="S::jeffrey.obi@ie.ey.com::488f269d-1fa2-455e-bf95-7695136a100d" providerId="AD" clId="Web-{8378FCE7-752C-1984-BB87-3B9279B0E7A3}" dt="2023-07-25T13:42:44.609" v="3004" actId="20577"/>
          <ac:spMkLst>
            <pc:docMk/>
            <pc:sldMk cId="554842699" sldId="2147479617"/>
            <ac:spMk id="12" creationId="{213C6BCD-69D2-90ED-2BC4-196EF5E3F298}"/>
          </ac:spMkLst>
        </pc:spChg>
        <pc:spChg chg="del">
          <ac:chgData name="Jeffrey Obi" userId="S::jeffrey.obi@ie.ey.com::488f269d-1fa2-455e-bf95-7695136a100d" providerId="AD" clId="Web-{8378FCE7-752C-1984-BB87-3B9279B0E7A3}" dt="2023-07-25T11:56:52.607" v="1340"/>
          <ac:spMkLst>
            <pc:docMk/>
            <pc:sldMk cId="554842699" sldId="2147479617"/>
            <ac:spMk id="16" creationId="{1EE50A2F-BB66-4023-A19E-4AC1F49CB477}"/>
          </ac:spMkLst>
        </pc:spChg>
        <pc:spChg chg="mod">
          <ac:chgData name="Jeffrey Obi" userId="S::jeffrey.obi@ie.ey.com::488f269d-1fa2-455e-bf95-7695136a100d" providerId="AD" clId="Web-{8378FCE7-752C-1984-BB87-3B9279B0E7A3}" dt="2023-07-25T11:53:41.024" v="1257" actId="20577"/>
          <ac:spMkLst>
            <pc:docMk/>
            <pc:sldMk cId="554842699" sldId="2147479617"/>
            <ac:spMk id="20" creationId="{71597D73-FC0D-0F7C-BC32-B2FA32899DF9}"/>
          </ac:spMkLst>
        </pc:spChg>
        <pc:spChg chg="mod">
          <ac:chgData name="Jeffrey Obi" userId="S::jeffrey.obi@ie.ey.com::488f269d-1fa2-455e-bf95-7695136a100d" providerId="AD" clId="Web-{8378FCE7-752C-1984-BB87-3B9279B0E7A3}" dt="2023-07-25T11:52:55.476" v="1213" actId="20577"/>
          <ac:spMkLst>
            <pc:docMk/>
            <pc:sldMk cId="554842699" sldId="2147479617"/>
            <ac:spMk id="22" creationId="{9A4AB788-397F-A777-536A-71E510E11985}"/>
          </ac:spMkLst>
        </pc:spChg>
        <pc:spChg chg="mod">
          <ac:chgData name="Jeffrey Obi" userId="S::jeffrey.obi@ie.ey.com::488f269d-1fa2-455e-bf95-7695136a100d" providerId="AD" clId="Web-{8378FCE7-752C-1984-BB87-3B9279B0E7A3}" dt="2023-07-25T14:27:45.635" v="3840" actId="1076"/>
          <ac:spMkLst>
            <pc:docMk/>
            <pc:sldMk cId="554842699" sldId="2147479617"/>
            <ac:spMk id="26" creationId="{CE8179ED-1E75-8A00-A70C-EF944AB7261F}"/>
          </ac:spMkLst>
        </pc:spChg>
        <pc:spChg chg="mod">
          <ac:chgData name="Jeffrey Obi" userId="S::jeffrey.obi@ie.ey.com::488f269d-1fa2-455e-bf95-7695136a100d" providerId="AD" clId="Web-{8378FCE7-752C-1984-BB87-3B9279B0E7A3}" dt="2023-07-25T13:31:44.014" v="2864" actId="20577"/>
          <ac:spMkLst>
            <pc:docMk/>
            <pc:sldMk cId="554842699" sldId="2147479617"/>
            <ac:spMk id="28" creationId="{3C2A5434-720E-4AA9-21BF-0B0E8A76CA06}"/>
          </ac:spMkLst>
        </pc:spChg>
        <pc:picChg chg="add mod">
          <ac:chgData name="Jeffrey Obi" userId="S::jeffrey.obi@ie.ey.com::488f269d-1fa2-455e-bf95-7695136a100d" providerId="AD" clId="Web-{8378FCE7-752C-1984-BB87-3B9279B0E7A3}" dt="2023-07-25T11:58:10.046" v="1349" actId="1076"/>
          <ac:picMkLst>
            <pc:docMk/>
            <pc:sldMk cId="554842699" sldId="2147479617"/>
            <ac:picMk id="2" creationId="{AD00B404-6657-FE90-AF81-8C217C5C6F4E}"/>
          </ac:picMkLst>
        </pc:picChg>
        <pc:picChg chg="del mod">
          <ac:chgData name="Jeffrey Obi" userId="S::jeffrey.obi@ie.ey.com::488f269d-1fa2-455e-bf95-7695136a100d" providerId="AD" clId="Web-{8378FCE7-752C-1984-BB87-3B9279B0E7A3}" dt="2023-07-25T11:58:12.812" v="1350"/>
          <ac:picMkLst>
            <pc:docMk/>
            <pc:sldMk cId="554842699" sldId="2147479617"/>
            <ac:picMk id="4" creationId="{1311268E-84DE-A6DB-5375-2EED6E3C6F76}"/>
          </ac:picMkLst>
        </pc:picChg>
      </pc:sldChg>
      <pc:sldChg chg="addSp delSp modSp add replId">
        <pc:chgData name="Jeffrey Obi" userId="S::jeffrey.obi@ie.ey.com::488f269d-1fa2-455e-bf95-7695136a100d" providerId="AD" clId="Web-{8378FCE7-752C-1984-BB87-3B9279B0E7A3}" dt="2023-07-25T14:29:07.532" v="3844" actId="1076"/>
        <pc:sldMkLst>
          <pc:docMk/>
          <pc:sldMk cId="1127760975" sldId="2147479618"/>
        </pc:sldMkLst>
        <pc:spChg chg="mod">
          <ac:chgData name="Jeffrey Obi" userId="S::jeffrey.obi@ie.ey.com::488f269d-1fa2-455e-bf95-7695136a100d" providerId="AD" clId="Web-{8378FCE7-752C-1984-BB87-3B9279B0E7A3}" dt="2023-07-25T12:19:16.231" v="2160" actId="20577"/>
          <ac:spMkLst>
            <pc:docMk/>
            <pc:sldMk cId="1127760975" sldId="2147479618"/>
            <ac:spMk id="10" creationId="{A9930A43-D411-994C-F0E8-7D9582857EF9}"/>
          </ac:spMkLst>
        </pc:spChg>
        <pc:spChg chg="mod">
          <ac:chgData name="Jeffrey Obi" userId="S::jeffrey.obi@ie.ey.com::488f269d-1fa2-455e-bf95-7695136a100d" providerId="AD" clId="Web-{8378FCE7-752C-1984-BB87-3B9279B0E7A3}" dt="2023-07-25T14:22:39.300" v="3750" actId="1076"/>
          <ac:spMkLst>
            <pc:docMk/>
            <pc:sldMk cId="1127760975" sldId="2147479618"/>
            <ac:spMk id="12" creationId="{213C6BCD-69D2-90ED-2BC4-196EF5E3F298}"/>
          </ac:spMkLst>
        </pc:spChg>
        <pc:spChg chg="mod">
          <ac:chgData name="Jeffrey Obi" userId="S::jeffrey.obi@ie.ey.com::488f269d-1fa2-455e-bf95-7695136a100d" providerId="AD" clId="Web-{8378FCE7-752C-1984-BB87-3B9279B0E7A3}" dt="2023-07-25T13:20:49.966" v="2635" actId="1076"/>
          <ac:spMkLst>
            <pc:docMk/>
            <pc:sldMk cId="1127760975" sldId="2147479618"/>
            <ac:spMk id="14" creationId="{1B4891F9-FC37-F82A-520C-548C6F536DE2}"/>
          </ac:spMkLst>
        </pc:spChg>
        <pc:spChg chg="mod">
          <ac:chgData name="Jeffrey Obi" userId="S::jeffrey.obi@ie.ey.com::488f269d-1fa2-455e-bf95-7695136a100d" providerId="AD" clId="Web-{8378FCE7-752C-1984-BB87-3B9279B0E7A3}" dt="2023-07-25T14:29:07.532" v="3844" actId="1076"/>
          <ac:spMkLst>
            <pc:docMk/>
            <pc:sldMk cId="1127760975" sldId="2147479618"/>
            <ac:spMk id="16" creationId="{1EE50A2F-BB66-4023-A19E-4AC1F49CB477}"/>
          </ac:spMkLst>
        </pc:spChg>
        <pc:spChg chg="mod">
          <ac:chgData name="Jeffrey Obi" userId="S::jeffrey.obi@ie.ey.com::488f269d-1fa2-455e-bf95-7695136a100d" providerId="AD" clId="Web-{8378FCE7-752C-1984-BB87-3B9279B0E7A3}" dt="2023-07-25T14:23:13.037" v="3756" actId="1076"/>
          <ac:spMkLst>
            <pc:docMk/>
            <pc:sldMk cId="1127760975" sldId="2147479618"/>
            <ac:spMk id="18" creationId="{26DBC6F2-B27C-8EA3-B4A4-A720416361DC}"/>
          </ac:spMkLst>
        </pc:spChg>
        <pc:spChg chg="mod">
          <ac:chgData name="Jeffrey Obi" userId="S::jeffrey.obi@ie.ey.com::488f269d-1fa2-455e-bf95-7695136a100d" providerId="AD" clId="Web-{8378FCE7-752C-1984-BB87-3B9279B0E7A3}" dt="2023-07-25T12:16:03.101" v="2063" actId="20577"/>
          <ac:spMkLst>
            <pc:docMk/>
            <pc:sldMk cId="1127760975" sldId="2147479618"/>
            <ac:spMk id="20" creationId="{71597D73-FC0D-0F7C-BC32-B2FA32899DF9}"/>
          </ac:spMkLst>
        </pc:spChg>
        <pc:spChg chg="mod">
          <ac:chgData name="Jeffrey Obi" userId="S::jeffrey.obi@ie.ey.com::488f269d-1fa2-455e-bf95-7695136a100d" providerId="AD" clId="Web-{8378FCE7-752C-1984-BB87-3B9279B0E7A3}" dt="2023-07-25T12:14:48.287" v="2028" actId="20577"/>
          <ac:spMkLst>
            <pc:docMk/>
            <pc:sldMk cId="1127760975" sldId="2147479618"/>
            <ac:spMk id="22" creationId="{9A4AB788-397F-A777-536A-71E510E11985}"/>
          </ac:spMkLst>
        </pc:spChg>
        <pc:spChg chg="mod">
          <ac:chgData name="Jeffrey Obi" userId="S::jeffrey.obi@ie.ey.com::488f269d-1fa2-455e-bf95-7695136a100d" providerId="AD" clId="Web-{8378FCE7-752C-1984-BB87-3B9279B0E7A3}" dt="2023-07-25T14:22:47.567" v="3751" actId="1076"/>
          <ac:spMkLst>
            <pc:docMk/>
            <pc:sldMk cId="1127760975" sldId="2147479618"/>
            <ac:spMk id="24" creationId="{F157CDD7-E4B0-DBE6-3BF9-A80704C2E8E2}"/>
          </ac:spMkLst>
        </pc:spChg>
        <pc:spChg chg="mod">
          <ac:chgData name="Jeffrey Obi" userId="S::jeffrey.obi@ie.ey.com::488f269d-1fa2-455e-bf95-7695136a100d" providerId="AD" clId="Web-{8378FCE7-752C-1984-BB87-3B9279B0E7A3}" dt="2023-07-25T14:28:47.687" v="3843" actId="1076"/>
          <ac:spMkLst>
            <pc:docMk/>
            <pc:sldMk cId="1127760975" sldId="2147479618"/>
            <ac:spMk id="26" creationId="{CE8179ED-1E75-8A00-A70C-EF944AB7261F}"/>
          </ac:spMkLst>
        </pc:spChg>
        <pc:picChg chg="add mod">
          <ac:chgData name="Jeffrey Obi" userId="S::jeffrey.obi@ie.ey.com::488f269d-1fa2-455e-bf95-7695136a100d" providerId="AD" clId="Web-{8378FCE7-752C-1984-BB87-3B9279B0E7A3}" dt="2023-07-25T12:14:27.318" v="2004" actId="1076"/>
          <ac:picMkLst>
            <pc:docMk/>
            <pc:sldMk cId="1127760975" sldId="2147479618"/>
            <ac:picMk id="2" creationId="{CA0EB169-F38B-2E55-2336-865B273BB63E}"/>
          </ac:picMkLst>
        </pc:picChg>
        <pc:picChg chg="del mod">
          <ac:chgData name="Jeffrey Obi" userId="S::jeffrey.obi@ie.ey.com::488f269d-1fa2-455e-bf95-7695136a100d" providerId="AD" clId="Web-{8378FCE7-752C-1984-BB87-3B9279B0E7A3}" dt="2023-07-25T12:14:34.740" v="2005"/>
          <ac:picMkLst>
            <pc:docMk/>
            <pc:sldMk cId="1127760975" sldId="2147479618"/>
            <ac:picMk id="4" creationId="{1311268E-84DE-A6DB-5375-2EED6E3C6F76}"/>
          </ac:picMkLst>
        </pc:picChg>
      </pc:sldChg>
      <pc:sldMasterChg chg="addSldLayout">
        <pc:chgData name="Jeffrey Obi" userId="S::jeffrey.obi@ie.ey.com::488f269d-1fa2-455e-bf95-7695136a100d" providerId="AD" clId="Web-{8378FCE7-752C-1984-BB87-3B9279B0E7A3}" dt="2023-07-25T10:24:32.591" v="119"/>
        <pc:sldMasterMkLst>
          <pc:docMk/>
          <pc:sldMasterMk cId="3845511995" sldId="2147484242"/>
        </pc:sldMasterMkLst>
        <pc:sldLayoutChg chg="add">
          <pc:chgData name="Jeffrey Obi" userId="S::jeffrey.obi@ie.ey.com::488f269d-1fa2-455e-bf95-7695136a100d" providerId="AD" clId="Web-{8378FCE7-752C-1984-BB87-3B9279B0E7A3}" dt="2023-07-25T10:16:18.142" v="0"/>
          <pc:sldLayoutMkLst>
            <pc:docMk/>
            <pc:sldMasterMk cId="3845511995" sldId="2147483660"/>
            <pc:sldLayoutMk cId="2640210332" sldId="2147483935"/>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1451516886" sldId="2147484242"/>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3444051892" sldId="2147484243"/>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4267380075" sldId="2147484244"/>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568204052" sldId="2147484245"/>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153961162" sldId="2147484246"/>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43161935" sldId="2147484247"/>
          </pc:sldLayoutMkLst>
        </pc:sldLayoutChg>
        <pc:sldLayoutChg chg="add">
          <pc:chgData name="Jeffrey Obi" userId="S::jeffrey.obi@ie.ey.com::488f269d-1fa2-455e-bf95-7695136a100d" providerId="AD" clId="Web-{8378FCE7-752C-1984-BB87-3B9279B0E7A3}" dt="2023-07-25T10:16:18.142" v="0"/>
          <pc:sldLayoutMkLst>
            <pc:docMk/>
            <pc:sldMasterMk cId="3845511995" sldId="2147483660"/>
            <pc:sldLayoutMk cId="138680982" sldId="2147484248"/>
          </pc:sldLayoutMkLst>
        </pc:sldLayoutChg>
        <pc:sldLayoutChg chg="add">
          <pc:chgData name="Jeffrey Obi" userId="S::jeffrey.obi@ie.ey.com::488f269d-1fa2-455e-bf95-7695136a100d" providerId="AD" clId="Web-{8378FCE7-752C-1984-BB87-3B9279B0E7A3}" dt="2023-07-25T10:24:32.591" v="119"/>
          <pc:sldLayoutMkLst>
            <pc:docMk/>
            <pc:sldMasterMk cId="3845511995" sldId="2147483660"/>
            <pc:sldLayoutMk cId="43161935" sldId="2147484249"/>
          </pc:sldLayoutMkLst>
        </pc:sldLayoutChg>
      </pc:sldMasterChg>
    </pc:docChg>
  </pc:docChgLst>
  <pc:docChgLst>
    <pc:chgData name="Jeffrey Obi" userId="S::jeffrey.obi@ie.ey.com::488f269d-1fa2-455e-bf95-7695136a100d" providerId="AD" clId="Web-{CD71A489-1375-D601-7989-6E8B61D6350B}"/>
    <pc:docChg chg="modSld">
      <pc:chgData name="Jeffrey Obi" userId="S::jeffrey.obi@ie.ey.com::488f269d-1fa2-455e-bf95-7695136a100d" providerId="AD" clId="Web-{CD71A489-1375-D601-7989-6E8B61D6350B}" dt="2023-08-01T14:59:53.964" v="56" actId="14100"/>
      <pc:docMkLst>
        <pc:docMk/>
      </pc:docMkLst>
      <pc:sldChg chg="modSp">
        <pc:chgData name="Jeffrey Obi" userId="S::jeffrey.obi@ie.ey.com::488f269d-1fa2-455e-bf95-7695136a100d" providerId="AD" clId="Web-{CD71A489-1375-D601-7989-6E8B61D6350B}" dt="2023-08-01T14:59:53.964" v="56" actId="14100"/>
        <pc:sldMkLst>
          <pc:docMk/>
          <pc:sldMk cId="3107324555" sldId="2147473173"/>
        </pc:sldMkLst>
        <pc:spChg chg="mod">
          <ac:chgData name="Jeffrey Obi" userId="S::jeffrey.obi@ie.ey.com::488f269d-1fa2-455e-bf95-7695136a100d" providerId="AD" clId="Web-{CD71A489-1375-D601-7989-6E8B61D6350B}" dt="2023-08-01T11:28:19.458" v="5" actId="20577"/>
          <ac:spMkLst>
            <pc:docMk/>
            <pc:sldMk cId="3107324555" sldId="2147473173"/>
            <ac:spMk id="16" creationId="{99598303-3493-44C8-A697-2DB710DCD143}"/>
          </ac:spMkLst>
        </pc:spChg>
        <pc:picChg chg="mod">
          <ac:chgData name="Jeffrey Obi" userId="S::jeffrey.obi@ie.ey.com::488f269d-1fa2-455e-bf95-7695136a100d" providerId="AD" clId="Web-{CD71A489-1375-D601-7989-6E8B61D6350B}" dt="2023-08-01T14:59:53.964" v="56" actId="14100"/>
          <ac:picMkLst>
            <pc:docMk/>
            <pc:sldMk cId="3107324555" sldId="2147473173"/>
            <ac:picMk id="10" creationId="{CDFC4A11-7000-42A4-9C7B-738E11FF2B48}"/>
          </ac:picMkLst>
        </pc:picChg>
      </pc:sldChg>
      <pc:sldChg chg="modSp">
        <pc:chgData name="Jeffrey Obi" userId="S::jeffrey.obi@ie.ey.com::488f269d-1fa2-455e-bf95-7695136a100d" providerId="AD" clId="Web-{CD71A489-1375-D601-7989-6E8B61D6350B}" dt="2023-08-01T11:33:00.513" v="53" actId="20577"/>
        <pc:sldMkLst>
          <pc:docMk/>
          <pc:sldMk cId="1066138" sldId="2147479646"/>
        </pc:sldMkLst>
        <pc:spChg chg="mod">
          <ac:chgData name="Jeffrey Obi" userId="S::jeffrey.obi@ie.ey.com::488f269d-1fa2-455e-bf95-7695136a100d" providerId="AD" clId="Web-{CD71A489-1375-D601-7989-6E8B61D6350B}" dt="2023-08-01T11:28:33.209" v="11" actId="20577"/>
          <ac:spMkLst>
            <pc:docMk/>
            <pc:sldMk cId="1066138" sldId="2147479646"/>
            <ac:spMk id="6" creationId="{375A8375-8BDA-8591-7CD2-CF1F98D8E40F}"/>
          </ac:spMkLst>
        </pc:spChg>
        <pc:spChg chg="mod">
          <ac:chgData name="Jeffrey Obi" userId="S::jeffrey.obi@ie.ey.com::488f269d-1fa2-455e-bf95-7695136a100d" providerId="AD" clId="Web-{CD71A489-1375-D601-7989-6E8B61D6350B}" dt="2023-08-01T11:32:49.466" v="50" actId="20577"/>
          <ac:spMkLst>
            <pc:docMk/>
            <pc:sldMk cId="1066138" sldId="2147479646"/>
            <ac:spMk id="14" creationId="{E8A55644-11AD-FD70-1A30-6A95013BD141}"/>
          </ac:spMkLst>
        </pc:spChg>
        <pc:spChg chg="mod">
          <ac:chgData name="Jeffrey Obi" userId="S::jeffrey.obi@ie.ey.com::488f269d-1fa2-455e-bf95-7695136a100d" providerId="AD" clId="Web-{CD71A489-1375-D601-7989-6E8B61D6350B}" dt="2023-08-01T11:32:40.809" v="47" actId="20577"/>
          <ac:spMkLst>
            <pc:docMk/>
            <pc:sldMk cId="1066138" sldId="2147479646"/>
            <ac:spMk id="16" creationId="{E1F487BF-2DB8-5EDD-C394-30A9E2FAAF66}"/>
          </ac:spMkLst>
        </pc:spChg>
        <pc:spChg chg="mod">
          <ac:chgData name="Jeffrey Obi" userId="S::jeffrey.obi@ie.ey.com::488f269d-1fa2-455e-bf95-7695136a100d" providerId="AD" clId="Web-{CD71A489-1375-D601-7989-6E8B61D6350B}" dt="2023-08-01T11:33:00.513" v="53" actId="20577"/>
          <ac:spMkLst>
            <pc:docMk/>
            <pc:sldMk cId="1066138" sldId="2147479646"/>
            <ac:spMk id="18" creationId="{CF0BC8A6-1F16-21B1-A715-9879FE7EE926}"/>
          </ac:spMkLst>
        </pc:spChg>
      </pc:sldChg>
    </pc:docChg>
  </pc:docChgLst>
  <pc:docChgLst>
    <pc:chgData name="Immanuel J Daniel" userId="S::immanuel.johnston.daniel@ie.ey.com::b9141605-49ff-443e-8af4-0c21e2766a66" providerId="AD" clId="Web-{236E33E6-229D-0469-82DC-427D7BAD6378}"/>
    <pc:docChg chg="">
      <pc:chgData name="Immanuel J Daniel" userId="S::immanuel.johnston.daniel@ie.ey.com::b9141605-49ff-443e-8af4-0c21e2766a66" providerId="AD" clId="Web-{236E33E6-229D-0469-82DC-427D7BAD6378}" dt="2023-07-24T12:06:26.890" v="0"/>
      <pc:docMkLst>
        <pc:docMk/>
      </pc:docMkLst>
      <pc:sldChg chg="modCm">
        <pc:chgData name="Immanuel J Daniel" userId="S::immanuel.johnston.daniel@ie.ey.com::b9141605-49ff-443e-8af4-0c21e2766a66" providerId="AD" clId="Web-{236E33E6-229D-0469-82DC-427D7BAD6378}" dt="2023-07-24T12:06:26.890" v="0"/>
        <pc:sldMkLst>
          <pc:docMk/>
          <pc:sldMk cId="3168648727" sldId="2147479555"/>
        </pc:sldMkLst>
      </pc:sldChg>
    </pc:docChg>
  </pc:docChgLst>
  <pc:docChgLst>
    <pc:chgData name="Jeffrey Obi" userId="S::jeffrey.obi@ie.ey.com::488f269d-1fa2-455e-bf95-7695136a100d" providerId="AD" clId="Web-{F08781B1-DF9D-9F50-A71F-691101896727}"/>
    <pc:docChg chg="modSld">
      <pc:chgData name="Jeffrey Obi" userId="S::jeffrey.obi@ie.ey.com::488f269d-1fa2-455e-bf95-7695136a100d" providerId="AD" clId="Web-{F08781B1-DF9D-9F50-A71F-691101896727}" dt="2023-08-08T11:34:20.945" v="25"/>
      <pc:docMkLst>
        <pc:docMk/>
      </pc:docMkLst>
      <pc:sldChg chg="modSp">
        <pc:chgData name="Jeffrey Obi" userId="S::jeffrey.obi@ie.ey.com::488f269d-1fa2-455e-bf95-7695136a100d" providerId="AD" clId="Web-{F08781B1-DF9D-9F50-A71F-691101896727}" dt="2023-08-08T11:34:20.945" v="25"/>
        <pc:sldMkLst>
          <pc:docMk/>
          <pc:sldMk cId="401458886" sldId="2147479689"/>
        </pc:sldMkLst>
        <pc:graphicFrameChg chg="mod modGraphic">
          <ac:chgData name="Jeffrey Obi" userId="S::jeffrey.obi@ie.ey.com::488f269d-1fa2-455e-bf95-7695136a100d" providerId="AD" clId="Web-{F08781B1-DF9D-9F50-A71F-691101896727}" dt="2023-08-08T11:34:20.945" v="25"/>
          <ac:graphicFrameMkLst>
            <pc:docMk/>
            <pc:sldMk cId="401458886" sldId="2147479689"/>
            <ac:graphicFrameMk id="5" creationId="{EF1C307F-4EFC-B92A-BE15-F3FA5F052439}"/>
          </ac:graphicFrameMkLst>
        </pc:graphicFrameChg>
      </pc:sldChg>
    </pc:docChg>
  </pc:docChgLst>
  <pc:docChgLst>
    <pc:chgData name="Immanuel J Daniel" userId="S::immanuel.johnston.daniel@ie.ey.com::b9141605-49ff-443e-8af4-0c21e2766a66" providerId="AD" clId="Web-{277F7C7D-F4F4-1385-8935-CA08EF4FFCEB}"/>
    <pc:docChg chg="modSld">
      <pc:chgData name="Immanuel J Daniel" userId="S::immanuel.johnston.daniel@ie.ey.com::b9141605-49ff-443e-8af4-0c21e2766a66" providerId="AD" clId="Web-{277F7C7D-F4F4-1385-8935-CA08EF4FFCEB}" dt="2023-08-10T10:42:46.472" v="172" actId="20577"/>
      <pc:docMkLst>
        <pc:docMk/>
      </pc:docMkLst>
      <pc:sldChg chg="addSp delSp modSp">
        <pc:chgData name="Immanuel J Daniel" userId="S::immanuel.johnston.daniel@ie.ey.com::b9141605-49ff-443e-8af4-0c21e2766a66" providerId="AD" clId="Web-{277F7C7D-F4F4-1385-8935-CA08EF4FFCEB}" dt="2023-08-10T10:42:46.472" v="172" actId="20577"/>
        <pc:sldMkLst>
          <pc:docMk/>
          <pc:sldMk cId="2692628411" sldId="728"/>
        </pc:sldMkLst>
        <pc:spChg chg="add mod">
          <ac:chgData name="Immanuel J Daniel" userId="S::immanuel.johnston.daniel@ie.ey.com::b9141605-49ff-443e-8af4-0c21e2766a66" providerId="AD" clId="Web-{277F7C7D-F4F4-1385-8935-CA08EF4FFCEB}" dt="2023-08-10T10:42:24.049" v="166" actId="1076"/>
          <ac:spMkLst>
            <pc:docMk/>
            <pc:sldMk cId="2692628411" sldId="728"/>
            <ac:spMk id="2" creationId="{6BEB5F22-FDCD-EE64-BE20-0A95020E10F9}"/>
          </ac:spMkLst>
        </pc:spChg>
        <pc:spChg chg="mod">
          <ac:chgData name="Immanuel J Daniel" userId="S::immanuel.johnston.daniel@ie.ey.com::b9141605-49ff-443e-8af4-0c21e2766a66" providerId="AD" clId="Web-{277F7C7D-F4F4-1385-8935-CA08EF4FFCEB}" dt="2023-08-10T10:42:11.924" v="164" actId="1076"/>
          <ac:spMkLst>
            <pc:docMk/>
            <pc:sldMk cId="2692628411" sldId="728"/>
            <ac:spMk id="5" creationId="{45825331-530C-461D-8A14-E6577811EA19}"/>
          </ac:spMkLst>
        </pc:spChg>
        <pc:spChg chg="add mod">
          <ac:chgData name="Immanuel J Daniel" userId="S::immanuel.johnston.daniel@ie.ey.com::b9141605-49ff-443e-8af4-0c21e2766a66" providerId="AD" clId="Web-{277F7C7D-F4F4-1385-8935-CA08EF4FFCEB}" dt="2023-08-10T10:42:46.472" v="172" actId="20577"/>
          <ac:spMkLst>
            <pc:docMk/>
            <pc:sldMk cId="2692628411" sldId="728"/>
            <ac:spMk id="6" creationId="{6E140539-078F-F10D-F5E5-DDDB9F7D7F51}"/>
          </ac:spMkLst>
        </pc:spChg>
        <pc:spChg chg="mod">
          <ac:chgData name="Immanuel J Daniel" userId="S::immanuel.johnston.daniel@ie.ey.com::b9141605-49ff-443e-8af4-0c21e2766a66" providerId="AD" clId="Web-{277F7C7D-F4F4-1385-8935-CA08EF4FFCEB}" dt="2023-08-10T10:41:10.531" v="157" actId="20577"/>
          <ac:spMkLst>
            <pc:docMk/>
            <pc:sldMk cId="2692628411" sldId="728"/>
            <ac:spMk id="17" creationId="{D0E9ED39-559F-4069-AF9D-6D42599F6622}"/>
          </ac:spMkLst>
        </pc:spChg>
        <pc:spChg chg="mod">
          <ac:chgData name="Immanuel J Daniel" userId="S::immanuel.johnston.daniel@ie.ey.com::b9141605-49ff-443e-8af4-0c21e2766a66" providerId="AD" clId="Web-{277F7C7D-F4F4-1385-8935-CA08EF4FFCEB}" dt="2023-08-10T08:35:20.905" v="1" actId="20577"/>
          <ac:spMkLst>
            <pc:docMk/>
            <pc:sldMk cId="2692628411" sldId="728"/>
            <ac:spMk id="22" creationId="{00000000-0000-0000-0000-000000000000}"/>
          </ac:spMkLst>
        </pc:spChg>
        <pc:spChg chg="del mod">
          <ac:chgData name="Immanuel J Daniel" userId="S::immanuel.johnston.daniel@ie.ey.com::b9141605-49ff-443e-8af4-0c21e2766a66" providerId="AD" clId="Web-{277F7C7D-F4F4-1385-8935-CA08EF4FFCEB}" dt="2023-08-10T10:21:14.419" v="54"/>
          <ac:spMkLst>
            <pc:docMk/>
            <pc:sldMk cId="2692628411" sldId="728"/>
            <ac:spMk id="26" creationId="{CFC42381-D141-437E-82F7-79A767A41D2C}"/>
          </ac:spMkLst>
        </pc:spChg>
        <pc:spChg chg="del mod">
          <ac:chgData name="Immanuel J Daniel" userId="S::immanuel.johnston.daniel@ie.ey.com::b9141605-49ff-443e-8af4-0c21e2766a66" providerId="AD" clId="Web-{277F7C7D-F4F4-1385-8935-CA08EF4FFCEB}" dt="2023-08-10T10:22:55.844" v="72"/>
          <ac:spMkLst>
            <pc:docMk/>
            <pc:sldMk cId="2692628411" sldId="728"/>
            <ac:spMk id="28" creationId="{F69B2A42-3FA7-4C57-A267-11A088975BF4}"/>
          </ac:spMkLst>
        </pc:spChg>
        <pc:spChg chg="del mod">
          <ac:chgData name="Immanuel J Daniel" userId="S::immanuel.johnston.daniel@ie.ey.com::b9141605-49ff-443e-8af4-0c21e2766a66" providerId="AD" clId="Web-{277F7C7D-F4F4-1385-8935-CA08EF4FFCEB}" dt="2023-08-10T10:23:01.501" v="73"/>
          <ac:spMkLst>
            <pc:docMk/>
            <pc:sldMk cId="2692628411" sldId="728"/>
            <ac:spMk id="29" creationId="{B9353878-77D1-4614-8907-E055428D4526}"/>
          </ac:spMkLst>
        </pc:spChg>
        <pc:picChg chg="add mod">
          <ac:chgData name="Immanuel J Daniel" userId="S::immanuel.johnston.daniel@ie.ey.com::b9141605-49ff-443e-8af4-0c21e2766a66" providerId="AD" clId="Web-{277F7C7D-F4F4-1385-8935-CA08EF4FFCEB}" dt="2023-08-10T10:42:24.065" v="167" actId="1076"/>
          <ac:picMkLst>
            <pc:docMk/>
            <pc:sldMk cId="2692628411" sldId="728"/>
            <ac:picMk id="3" creationId="{0BF8226E-5EFC-821B-EA02-5F1E2EA45E43}"/>
          </ac:picMkLst>
        </pc:picChg>
        <pc:picChg chg="del">
          <ac:chgData name="Immanuel J Daniel" userId="S::immanuel.johnston.daniel@ie.ey.com::b9141605-49ff-443e-8af4-0c21e2766a66" providerId="AD" clId="Web-{277F7C7D-F4F4-1385-8935-CA08EF4FFCEB}" dt="2023-08-10T10:21:09.496" v="52"/>
          <ac:picMkLst>
            <pc:docMk/>
            <pc:sldMk cId="2692628411" sldId="728"/>
            <ac:picMk id="4" creationId="{A8F6EEE1-DF4A-D03B-C595-7E04C93AEC67}"/>
          </ac:picMkLst>
        </pc:picChg>
        <pc:picChg chg="add del mod">
          <ac:chgData name="Immanuel J Daniel" userId="S::immanuel.johnston.daniel@ie.ey.com::b9141605-49ff-443e-8af4-0c21e2766a66" providerId="AD" clId="Web-{277F7C7D-F4F4-1385-8935-CA08EF4FFCEB}" dt="2023-08-10T10:39:54.309" v="134"/>
          <ac:picMkLst>
            <pc:docMk/>
            <pc:sldMk cId="2692628411" sldId="728"/>
            <ac:picMk id="7" creationId="{AF3BABBE-8688-294E-0B32-39A1A4C4FB02}"/>
          </ac:picMkLst>
        </pc:picChg>
        <pc:picChg chg="del">
          <ac:chgData name="Immanuel J Daniel" userId="S::immanuel.johnston.daniel@ie.ey.com::b9141605-49ff-443e-8af4-0c21e2766a66" providerId="AD" clId="Web-{277F7C7D-F4F4-1385-8935-CA08EF4FFCEB}" dt="2023-08-10T10:21:01.355" v="51"/>
          <ac:picMkLst>
            <pc:docMk/>
            <pc:sldMk cId="2692628411" sldId="728"/>
            <ac:picMk id="10" creationId="{3D8CDDD7-9123-BE69-33C6-57DEC3B62D69}"/>
          </ac:picMkLst>
        </pc:picChg>
        <pc:picChg chg="del mod">
          <ac:chgData name="Immanuel J Daniel" userId="S::immanuel.johnston.daniel@ie.ey.com::b9141605-49ff-443e-8af4-0c21e2766a66" providerId="AD" clId="Web-{277F7C7D-F4F4-1385-8935-CA08EF4FFCEB}" dt="2023-08-10T10:39:51.652" v="133"/>
          <ac:picMkLst>
            <pc:docMk/>
            <pc:sldMk cId="2692628411" sldId="728"/>
            <ac:picMk id="15" creationId="{9F6E0542-7430-41C8-9979-20E2C5598AB7}"/>
          </ac:picMkLst>
        </pc:picChg>
        <pc:picChg chg="mod">
          <ac:chgData name="Immanuel J Daniel" userId="S::immanuel.johnston.daniel@ie.ey.com::b9141605-49ff-443e-8af4-0c21e2766a66" providerId="AD" clId="Web-{277F7C7D-F4F4-1385-8935-CA08EF4FFCEB}" dt="2023-08-10T10:42:11.939" v="165" actId="1076"/>
          <ac:picMkLst>
            <pc:docMk/>
            <pc:sldMk cId="2692628411" sldId="728"/>
            <ac:picMk id="19" creationId="{1C522279-CFB9-4CED-9971-215D55C70DF6}"/>
          </ac:picMkLst>
        </pc:picChg>
        <pc:picChg chg="del mod">
          <ac:chgData name="Immanuel J Daniel" userId="S::immanuel.johnston.daniel@ie.ey.com::b9141605-49ff-443e-8af4-0c21e2766a66" providerId="AD" clId="Web-{277F7C7D-F4F4-1385-8935-CA08EF4FFCEB}" dt="2023-08-10T10:22:55.844" v="71"/>
          <ac:picMkLst>
            <pc:docMk/>
            <pc:sldMk cId="2692628411" sldId="728"/>
            <ac:picMk id="21" creationId="{3F631ACE-01A8-4AFD-BBAF-4412E86BCE38}"/>
          </ac:picMkLst>
        </pc:picChg>
      </pc:sldChg>
      <pc:sldChg chg="modSp">
        <pc:chgData name="Immanuel J Daniel" userId="S::immanuel.johnston.daniel@ie.ey.com::b9141605-49ff-443e-8af4-0c21e2766a66" providerId="AD" clId="Web-{277F7C7D-F4F4-1385-8935-CA08EF4FFCEB}" dt="2023-08-10T10:09:36.546" v="17"/>
        <pc:sldMkLst>
          <pc:docMk/>
          <pc:sldMk cId="2074381867" sldId="2147479609"/>
        </pc:sldMkLst>
        <pc:graphicFrameChg chg="mod modGraphic">
          <ac:chgData name="Immanuel J Daniel" userId="S::immanuel.johnston.daniel@ie.ey.com::b9141605-49ff-443e-8af4-0c21e2766a66" providerId="AD" clId="Web-{277F7C7D-F4F4-1385-8935-CA08EF4FFCEB}" dt="2023-08-10T10:09:36.546" v="17"/>
          <ac:graphicFrameMkLst>
            <pc:docMk/>
            <pc:sldMk cId="2074381867" sldId="2147479609"/>
            <ac:graphicFrameMk id="3" creationId="{A8C79D6C-A7C9-DB57-D69D-756EB168AE4F}"/>
          </ac:graphicFrameMkLst>
        </pc:graphicFrameChg>
      </pc:sldChg>
      <pc:sldChg chg="addSp delSp modSp">
        <pc:chgData name="Immanuel J Daniel" userId="S::immanuel.johnston.daniel@ie.ey.com::b9141605-49ff-443e-8af4-0c21e2766a66" providerId="AD" clId="Web-{277F7C7D-F4F4-1385-8935-CA08EF4FFCEB}" dt="2023-08-10T10:14:29.964" v="50" actId="20577"/>
        <pc:sldMkLst>
          <pc:docMk/>
          <pc:sldMk cId="3501663959" sldId="2147479688"/>
        </pc:sldMkLst>
        <pc:spChg chg="add mod">
          <ac:chgData name="Immanuel J Daniel" userId="S::immanuel.johnston.daniel@ie.ey.com::b9141605-49ff-443e-8af4-0c21e2766a66" providerId="AD" clId="Web-{277F7C7D-F4F4-1385-8935-CA08EF4FFCEB}" dt="2023-08-10T10:12:52.538" v="31" actId="1076"/>
          <ac:spMkLst>
            <pc:docMk/>
            <pc:sldMk cId="3501663959" sldId="2147479688"/>
            <ac:spMk id="21" creationId="{B03D6571-218A-BBA2-075D-474CD4CDADFA}"/>
          </ac:spMkLst>
        </pc:spChg>
        <pc:spChg chg="mod">
          <ac:chgData name="Immanuel J Daniel" userId="S::immanuel.johnston.daniel@ie.ey.com::b9141605-49ff-443e-8af4-0c21e2766a66" providerId="AD" clId="Web-{277F7C7D-F4F4-1385-8935-CA08EF4FFCEB}" dt="2023-08-10T10:12:19.709" v="29" actId="20577"/>
          <ac:spMkLst>
            <pc:docMk/>
            <pc:sldMk cId="3501663959" sldId="2147479688"/>
            <ac:spMk id="26" creationId="{CD2E8E15-765F-827A-520D-48CA04F33D04}"/>
          </ac:spMkLst>
        </pc:spChg>
        <pc:spChg chg="add mod">
          <ac:chgData name="Immanuel J Daniel" userId="S::immanuel.johnston.daniel@ie.ey.com::b9141605-49ff-443e-8af4-0c21e2766a66" providerId="AD" clId="Web-{277F7C7D-F4F4-1385-8935-CA08EF4FFCEB}" dt="2023-08-10T10:13:02.273" v="33" actId="1076"/>
          <ac:spMkLst>
            <pc:docMk/>
            <pc:sldMk cId="3501663959" sldId="2147479688"/>
            <ac:spMk id="57" creationId="{93F9FE0B-0861-E02E-EC9D-3A9C136E3BC4}"/>
          </ac:spMkLst>
        </pc:spChg>
        <pc:spChg chg="mod">
          <ac:chgData name="Immanuel J Daniel" userId="S::immanuel.johnston.daniel@ie.ey.com::b9141605-49ff-443e-8af4-0c21e2766a66" providerId="AD" clId="Web-{277F7C7D-F4F4-1385-8935-CA08EF4FFCEB}" dt="2023-08-10T10:14:29.964" v="50" actId="20577"/>
          <ac:spMkLst>
            <pc:docMk/>
            <pc:sldMk cId="3501663959" sldId="2147479688"/>
            <ac:spMk id="66" creationId="{FCC7E14F-C701-87EC-EF42-24C4F0F3200C}"/>
          </ac:spMkLst>
        </pc:spChg>
        <pc:spChg chg="mod">
          <ac:chgData name="Immanuel J Daniel" userId="S::immanuel.johnston.daniel@ie.ey.com::b9141605-49ff-443e-8af4-0c21e2766a66" providerId="AD" clId="Web-{277F7C7D-F4F4-1385-8935-CA08EF4FFCEB}" dt="2023-08-10T10:14:22.761" v="49" actId="20577"/>
          <ac:spMkLst>
            <pc:docMk/>
            <pc:sldMk cId="3501663959" sldId="2147479688"/>
            <ac:spMk id="67" creationId="{A7AA5959-ED47-D6E4-3C2D-4E5290B8BDFA}"/>
          </ac:spMkLst>
        </pc:spChg>
        <pc:grpChg chg="add del mod">
          <ac:chgData name="Immanuel J Daniel" userId="S::immanuel.johnston.daniel@ie.ey.com::b9141605-49ff-443e-8af4-0c21e2766a66" providerId="AD" clId="Web-{277F7C7D-F4F4-1385-8935-CA08EF4FFCEB}" dt="2023-08-10T10:13:49.619" v="38"/>
          <ac:grpSpMkLst>
            <pc:docMk/>
            <pc:sldMk cId="3501663959" sldId="2147479688"/>
            <ac:grpSpMk id="60" creationId="{71F3B364-1CC1-2F7A-266F-B96EB6D69675}"/>
          </ac:grpSpMkLst>
        </pc:grpChg>
        <pc:grpChg chg="mod topLvl">
          <ac:chgData name="Immanuel J Daniel" userId="S::immanuel.johnston.daniel@ie.ey.com::b9141605-49ff-443e-8af4-0c21e2766a66" providerId="AD" clId="Web-{277F7C7D-F4F4-1385-8935-CA08EF4FFCEB}" dt="2023-08-10T10:13:49.619" v="38"/>
          <ac:grpSpMkLst>
            <pc:docMk/>
            <pc:sldMk cId="3501663959" sldId="2147479688"/>
            <ac:grpSpMk id="64" creationId="{05AB49D7-CF56-8081-818F-18AC22C7C9AF}"/>
          </ac:grpSpMkLst>
        </pc:grpChg>
        <pc:picChg chg="add del">
          <ac:chgData name="Immanuel J Daniel" userId="S::immanuel.johnston.daniel@ie.ey.com::b9141605-49ff-443e-8af4-0c21e2766a66" providerId="AD" clId="Web-{277F7C7D-F4F4-1385-8935-CA08EF4FFCEB}" dt="2023-08-10T10:12:07.864" v="19"/>
          <ac:picMkLst>
            <pc:docMk/>
            <pc:sldMk cId="3501663959" sldId="2147479688"/>
            <ac:picMk id="28" creationId="{21A70F99-AF04-A18D-F46A-4648F6D04C1A}"/>
          </ac:picMkLst>
        </pc:picChg>
        <pc:picChg chg="add del mod topLvl">
          <ac:chgData name="Immanuel J Daniel" userId="S::immanuel.johnston.daniel@ie.ey.com::b9141605-49ff-443e-8af4-0c21e2766a66" providerId="AD" clId="Web-{277F7C7D-F4F4-1385-8935-CA08EF4FFCEB}" dt="2023-08-10T10:14:09.979" v="40" actId="1076"/>
          <ac:picMkLst>
            <pc:docMk/>
            <pc:sldMk cId="3501663959" sldId="2147479688"/>
            <ac:picMk id="65" creationId="{A7535F15-D989-F0E1-2AAA-A758591BD62A}"/>
          </ac:picMkLst>
        </pc:picChg>
      </pc:sldChg>
    </pc:docChg>
  </pc:docChgLst>
  <pc:docChgLst>
    <pc:chgData name="Ahmed Helmy" userId="S::ahmed.helmy@ie.ey.com::00ab2dc9-190a-451b-8f35-a658adf790b2" providerId="AD" clId="Web-{A5D0C9CE-42BC-25B5-F293-1AD2E90D67EB}"/>
    <pc:docChg chg="addSld delSld modSld modSection">
      <pc:chgData name="Ahmed Helmy" userId="S::ahmed.helmy@ie.ey.com::00ab2dc9-190a-451b-8f35-a658adf790b2" providerId="AD" clId="Web-{A5D0C9CE-42BC-25B5-F293-1AD2E90D67EB}" dt="2023-08-11T12:34:35.928" v="34"/>
      <pc:docMkLst>
        <pc:docMk/>
      </pc:docMkLst>
      <pc:sldChg chg="addSp delSp modCm">
        <pc:chgData name="Ahmed Helmy" userId="S::ahmed.helmy@ie.ey.com::00ab2dc9-190a-451b-8f35-a658adf790b2" providerId="AD" clId="Web-{A5D0C9CE-42BC-25B5-F293-1AD2E90D67EB}" dt="2023-08-11T12:34:25.662" v="33"/>
        <pc:sldMkLst>
          <pc:docMk/>
          <pc:sldMk cId="523484127" sldId="2147479637"/>
        </pc:sldMkLst>
        <pc:picChg chg="del">
          <ac:chgData name="Ahmed Helmy" userId="S::ahmed.helmy@ie.ey.com::00ab2dc9-190a-451b-8f35-a658adf790b2" providerId="AD" clId="Web-{A5D0C9CE-42BC-25B5-F293-1AD2E90D67EB}" dt="2023-08-11T12:34:13.161" v="31"/>
          <ac:picMkLst>
            <pc:docMk/>
            <pc:sldMk cId="523484127" sldId="2147479637"/>
            <ac:picMk id="6" creationId="{58D3B64C-AC1E-0937-0195-DF123D4DB712}"/>
          </ac:picMkLst>
        </pc:picChg>
        <pc:picChg chg="add">
          <ac:chgData name="Ahmed Helmy" userId="S::ahmed.helmy@ie.ey.com::00ab2dc9-190a-451b-8f35-a658adf790b2" providerId="AD" clId="Web-{A5D0C9CE-42BC-25B5-F293-1AD2E90D67EB}" dt="2023-08-11T12:34:17.552" v="32"/>
          <ac:picMkLst>
            <pc:docMk/>
            <pc:sldMk cId="523484127" sldId="2147479637"/>
            <ac:picMk id="12" creationId="{16E235E1-64E9-9248-8C4D-2F4274524D68}"/>
          </ac:picMkLst>
        </pc:picChg>
        <pc:extLst>
          <p:ext xmlns:p="http://schemas.openxmlformats.org/presentationml/2006/main" uri="{D6D511B9-2390-475A-947B-AFAB55BFBCF1}">
            <pc226:cmChg xmlns="" xmlns:pc226="http://schemas.microsoft.com/office/powerpoint/2022/06/main/command" chg="mod">
              <pc226:chgData name="Ahmed Helmy" userId="S::ahmed.helmy@ie.ey.com::00ab2dc9-190a-451b-8f35-a658adf790b2" providerId="AD" clId="Web-{A5D0C9CE-42BC-25B5-F293-1AD2E90D67EB}" dt="2023-08-11T12:34:25.662" v="33"/>
              <pc2:cmMkLst xmlns:pc2="http://schemas.microsoft.com/office/powerpoint/2019/9/main/command">
                <pc:docMk/>
                <pc:sldMk cId="523484127" sldId="2147479637"/>
                <pc2:cmMk id="{E173BA51-68DD-4CC5-A6E0-63FD2FDC934A}"/>
              </pc2:cmMkLst>
            </pc226:cmChg>
          </p:ext>
        </pc:extLst>
      </pc:sldChg>
      <pc:sldChg chg="addSp delSp modSp add del replId">
        <pc:chgData name="Ahmed Helmy" userId="S::ahmed.helmy@ie.ey.com::00ab2dc9-190a-451b-8f35-a658adf790b2" providerId="AD" clId="Web-{A5D0C9CE-42BC-25B5-F293-1AD2E90D67EB}" dt="2023-08-11T12:34:35.928" v="34"/>
        <pc:sldMkLst>
          <pc:docMk/>
          <pc:sldMk cId="3931386112" sldId="2147479696"/>
        </pc:sldMkLst>
        <pc:picChg chg="del">
          <ac:chgData name="Ahmed Helmy" userId="S::ahmed.helmy@ie.ey.com::00ab2dc9-190a-451b-8f35-a658adf790b2" providerId="AD" clId="Web-{A5D0C9CE-42BC-25B5-F293-1AD2E90D67EB}" dt="2023-08-11T12:14:38.558" v="1"/>
          <ac:picMkLst>
            <pc:docMk/>
            <pc:sldMk cId="3931386112" sldId="2147479696"/>
            <ac:picMk id="6" creationId="{58D3B64C-AC1E-0937-0195-DF123D4DB712}"/>
          </ac:picMkLst>
        </pc:picChg>
        <pc:picChg chg="add del mod">
          <ac:chgData name="Ahmed Helmy" userId="S::ahmed.helmy@ie.ey.com::00ab2dc9-190a-451b-8f35-a658adf790b2" providerId="AD" clId="Web-{A5D0C9CE-42BC-25B5-F293-1AD2E90D67EB}" dt="2023-08-11T12:18:09.159" v="9"/>
          <ac:picMkLst>
            <pc:docMk/>
            <pc:sldMk cId="3931386112" sldId="2147479696"/>
            <ac:picMk id="7" creationId="{4BB063B0-7990-7C5D-C223-2981580A61B5}"/>
          </ac:picMkLst>
        </pc:picChg>
        <pc:picChg chg="add del mod">
          <ac:chgData name="Ahmed Helmy" userId="S::ahmed.helmy@ie.ey.com::00ab2dc9-190a-451b-8f35-a658adf790b2" providerId="AD" clId="Web-{A5D0C9CE-42BC-25B5-F293-1AD2E90D67EB}" dt="2023-08-11T12:32:21.204" v="18"/>
          <ac:picMkLst>
            <pc:docMk/>
            <pc:sldMk cId="3931386112" sldId="2147479696"/>
            <ac:picMk id="12" creationId="{9C697725-5373-4378-9FFC-ECDE12944B35}"/>
          </ac:picMkLst>
        </pc:picChg>
        <pc:picChg chg="add del mod">
          <ac:chgData name="Ahmed Helmy" userId="S::ahmed.helmy@ie.ey.com::00ab2dc9-190a-451b-8f35-a658adf790b2" providerId="AD" clId="Web-{A5D0C9CE-42BC-25B5-F293-1AD2E90D67EB}" dt="2023-08-11T12:32:42.346" v="24"/>
          <ac:picMkLst>
            <pc:docMk/>
            <pc:sldMk cId="3931386112" sldId="2147479696"/>
            <ac:picMk id="13" creationId="{4492FBB4-8AF7-1322-238B-7913ABC45516}"/>
          </ac:picMkLst>
        </pc:picChg>
        <pc:picChg chg="add mod">
          <ac:chgData name="Ahmed Helmy" userId="S::ahmed.helmy@ie.ey.com::00ab2dc9-190a-451b-8f35-a658adf790b2" providerId="AD" clId="Web-{A5D0C9CE-42BC-25B5-F293-1AD2E90D67EB}" dt="2023-08-11T12:33:23.206" v="30" actId="1076"/>
          <ac:picMkLst>
            <pc:docMk/>
            <pc:sldMk cId="3931386112" sldId="2147479696"/>
            <ac:picMk id="14" creationId="{1482E502-3E4A-A9AA-145E-5A908720E873}"/>
          </ac:picMkLst>
        </pc:picChg>
      </pc:sldChg>
    </pc:docChg>
  </pc:docChgLst>
  <pc:docChgLst>
    <pc:chgData name="Jeffrey Obi" userId="S::jeffrey.obi@ie.ey.com::488f269d-1fa2-455e-bf95-7695136a100d" providerId="AD" clId="Web-{3E228A05-AEDD-29E2-73D4-B95B48DF0D01}"/>
    <pc:docChg chg="modSld">
      <pc:chgData name="Jeffrey Obi" userId="S::jeffrey.obi@ie.ey.com::488f269d-1fa2-455e-bf95-7695136a100d" providerId="AD" clId="Web-{3E228A05-AEDD-29E2-73D4-B95B48DF0D01}" dt="2023-08-08T08:47:21.132" v="15"/>
      <pc:docMkLst>
        <pc:docMk/>
      </pc:docMkLst>
      <pc:sldChg chg="mod modShow">
        <pc:chgData name="Jeffrey Obi" userId="S::jeffrey.obi@ie.ey.com::488f269d-1fa2-455e-bf95-7695136a100d" providerId="AD" clId="Web-{3E228A05-AEDD-29E2-73D4-B95B48DF0D01}" dt="2023-08-08T08:47:21.132" v="15"/>
        <pc:sldMkLst>
          <pc:docMk/>
          <pc:sldMk cId="2074381867" sldId="2147479609"/>
        </pc:sldMkLst>
      </pc:sldChg>
      <pc:sldChg chg="modSp">
        <pc:chgData name="Jeffrey Obi" userId="S::jeffrey.obi@ie.ey.com::488f269d-1fa2-455e-bf95-7695136a100d" providerId="AD" clId="Web-{3E228A05-AEDD-29E2-73D4-B95B48DF0D01}" dt="2023-08-08T08:40:10.600" v="13"/>
        <pc:sldMkLst>
          <pc:docMk/>
          <pc:sldMk cId="2915504962" sldId="2147479644"/>
        </pc:sldMkLst>
        <pc:graphicFrameChg chg="modGraphic">
          <ac:chgData name="Jeffrey Obi" userId="S::jeffrey.obi@ie.ey.com::488f269d-1fa2-455e-bf95-7695136a100d" providerId="AD" clId="Web-{3E228A05-AEDD-29E2-73D4-B95B48DF0D01}" dt="2023-08-08T08:40:10.600" v="13"/>
          <ac:graphicFrameMkLst>
            <pc:docMk/>
            <pc:sldMk cId="2915504962" sldId="2147479644"/>
            <ac:graphicFrameMk id="10" creationId="{C373DE96-CF83-C1C7-EAE3-76F41D608563}"/>
          </ac:graphicFrameMkLst>
        </pc:graphicFrameChg>
      </pc:sldChg>
      <pc:sldChg chg="mod modShow">
        <pc:chgData name="Jeffrey Obi" userId="S::jeffrey.obi@ie.ey.com::488f269d-1fa2-455e-bf95-7695136a100d" providerId="AD" clId="Web-{3E228A05-AEDD-29E2-73D4-B95B48DF0D01}" dt="2023-08-08T08:47:09.757" v="14"/>
        <pc:sldMkLst>
          <pc:docMk/>
          <pc:sldMk cId="401458886" sldId="2147479689"/>
        </pc:sldMkLst>
      </pc:sldChg>
    </pc:docChg>
  </pc:docChgLst>
  <pc:docChgLst>
    <pc:chgData name="Saransh Sharma" userId="S::saransh.sharma2@ie.ey.com::794448f8-8690-4bb3-88df-a986ba4dae3a" providerId="AD" clId="Web-{3BACFCE3-C35B-2826-EFEB-3AB948669A9B}"/>
    <pc:docChg chg="addSld delSld modSld modSection">
      <pc:chgData name="Saransh Sharma" userId="S::saransh.sharma2@ie.ey.com::794448f8-8690-4bb3-88df-a986ba4dae3a" providerId="AD" clId="Web-{3BACFCE3-C35B-2826-EFEB-3AB948669A9B}" dt="2023-08-15T13:54:47.906" v="1302" actId="1076"/>
      <pc:docMkLst>
        <pc:docMk/>
      </pc:docMkLst>
      <pc:sldChg chg="addSp delSp modSp del">
        <pc:chgData name="Saransh Sharma" userId="S::saransh.sharma2@ie.ey.com::794448f8-8690-4bb3-88df-a986ba4dae3a" providerId="AD" clId="Web-{3BACFCE3-C35B-2826-EFEB-3AB948669A9B}" dt="2023-08-15T11:43:07.518" v="8"/>
        <pc:sldMkLst>
          <pc:docMk/>
          <pc:sldMk cId="1320317454" sldId="2147479709"/>
        </pc:sldMkLst>
        <pc:spChg chg="del">
          <ac:chgData name="Saransh Sharma" userId="S::saransh.sharma2@ie.ey.com::794448f8-8690-4bb3-88df-a986ba4dae3a" providerId="AD" clId="Web-{3BACFCE3-C35B-2826-EFEB-3AB948669A9B}" dt="2023-08-15T11:42:48.080" v="6"/>
          <ac:spMkLst>
            <pc:docMk/>
            <pc:sldMk cId="1320317454" sldId="2147479709"/>
            <ac:spMk id="2" creationId="{D48908BE-9385-8E3F-1B7B-83426D9F1D3D}"/>
          </ac:spMkLst>
        </pc:spChg>
        <pc:spChg chg="mod">
          <ac:chgData name="Saransh Sharma" userId="S::saransh.sharma2@ie.ey.com::794448f8-8690-4bb3-88df-a986ba4dae3a" providerId="AD" clId="Web-{3BACFCE3-C35B-2826-EFEB-3AB948669A9B}" dt="2023-08-15T11:42:28.439" v="1"/>
          <ac:spMkLst>
            <pc:docMk/>
            <pc:sldMk cId="1320317454" sldId="2147479709"/>
            <ac:spMk id="3" creationId="{A0B5CECB-359D-47CD-E519-47758BC0C09E}"/>
          </ac:spMkLst>
        </pc:spChg>
        <pc:spChg chg="add">
          <ac:chgData name="Saransh Sharma" userId="S::saransh.sharma2@ie.ey.com::794448f8-8690-4bb3-88df-a986ba4dae3a" providerId="AD" clId="Web-{3BACFCE3-C35B-2826-EFEB-3AB948669A9B}" dt="2023-08-15T11:42:44.486" v="2"/>
          <ac:spMkLst>
            <pc:docMk/>
            <pc:sldMk cId="1320317454" sldId="2147479709"/>
            <ac:spMk id="5" creationId="{E5ABB275-01C7-540C-244B-521E0D254DCD}"/>
          </ac:spMkLst>
        </pc:spChg>
        <pc:spChg chg="add">
          <ac:chgData name="Saransh Sharma" userId="S::saransh.sharma2@ie.ey.com::794448f8-8690-4bb3-88df-a986ba4dae3a" providerId="AD" clId="Web-{3BACFCE3-C35B-2826-EFEB-3AB948669A9B}" dt="2023-08-15T11:42:44.502" v="3"/>
          <ac:spMkLst>
            <pc:docMk/>
            <pc:sldMk cId="1320317454" sldId="2147479709"/>
            <ac:spMk id="7" creationId="{703973D9-1B5A-297D-295D-7E499A31B6CB}"/>
          </ac:spMkLst>
        </pc:spChg>
        <pc:spChg chg="add">
          <ac:chgData name="Saransh Sharma" userId="S::saransh.sharma2@ie.ey.com::794448f8-8690-4bb3-88df-a986ba4dae3a" providerId="AD" clId="Web-{3BACFCE3-C35B-2826-EFEB-3AB948669A9B}" dt="2023-08-15T11:42:44.517" v="4"/>
          <ac:spMkLst>
            <pc:docMk/>
            <pc:sldMk cId="1320317454" sldId="2147479709"/>
            <ac:spMk id="9" creationId="{5E8F5356-F1EA-C0B4-A4AD-0716E0F05739}"/>
          </ac:spMkLst>
        </pc:spChg>
        <pc:picChg chg="add">
          <ac:chgData name="Saransh Sharma" userId="S::saransh.sharma2@ie.ey.com::794448f8-8690-4bb3-88df-a986ba4dae3a" providerId="AD" clId="Web-{3BACFCE3-C35B-2826-EFEB-3AB948669A9B}" dt="2023-08-15T11:42:44.517" v="5"/>
          <ac:picMkLst>
            <pc:docMk/>
            <pc:sldMk cId="1320317454" sldId="2147479709"/>
            <ac:picMk id="11" creationId="{F33D9EC1-B48C-04AD-DE81-3B5BAD46E909}"/>
          </ac:picMkLst>
        </pc:picChg>
      </pc:sldChg>
      <pc:sldChg chg="addSp delSp modSp add replId">
        <pc:chgData name="Saransh Sharma" userId="S::saransh.sharma2@ie.ey.com::794448f8-8690-4bb3-88df-a986ba4dae3a" providerId="AD" clId="Web-{3BACFCE3-C35B-2826-EFEB-3AB948669A9B}" dt="2023-08-15T13:54:47.906" v="1302" actId="1076"/>
        <pc:sldMkLst>
          <pc:docMk/>
          <pc:sldMk cId="2809512320" sldId="2147479715"/>
        </pc:sldMkLst>
        <pc:spChg chg="del mod">
          <ac:chgData name="Saransh Sharma" userId="S::saransh.sharma2@ie.ey.com::794448f8-8690-4bb3-88df-a986ba4dae3a" providerId="AD" clId="Web-{3BACFCE3-C35B-2826-EFEB-3AB948669A9B}" dt="2023-08-15T11:51:34.832" v="376"/>
          <ac:spMkLst>
            <pc:docMk/>
            <pc:sldMk cId="2809512320" sldId="2147479715"/>
            <ac:spMk id="3" creationId="{A3E0401D-34B9-84E0-1877-7D73E3473042}"/>
          </ac:spMkLst>
        </pc:spChg>
        <pc:spChg chg="del">
          <ac:chgData name="Saransh Sharma" userId="S::saransh.sharma2@ie.ey.com::794448f8-8690-4bb3-88df-a986ba4dae3a" providerId="AD" clId="Web-{3BACFCE3-C35B-2826-EFEB-3AB948669A9B}" dt="2023-08-15T11:51:38.722" v="377"/>
          <ac:spMkLst>
            <pc:docMk/>
            <pc:sldMk cId="2809512320" sldId="2147479715"/>
            <ac:spMk id="5" creationId="{3367FD1E-1DB7-5A9A-C6A8-4D951B0FC9E1}"/>
          </ac:spMkLst>
        </pc:spChg>
        <pc:spChg chg="mod">
          <ac:chgData name="Saransh Sharma" userId="S::saransh.sharma2@ie.ey.com::794448f8-8690-4bb3-88df-a986ba4dae3a" providerId="AD" clId="Web-{3BACFCE3-C35B-2826-EFEB-3AB948669A9B}" dt="2023-08-15T11:43:20.722" v="17" actId="20577"/>
          <ac:spMkLst>
            <pc:docMk/>
            <pc:sldMk cId="2809512320" sldId="2147479715"/>
            <ac:spMk id="6" creationId="{DB57BDEC-391C-BDCB-C111-D57C96DB51A4}"/>
          </ac:spMkLst>
        </pc:spChg>
        <pc:spChg chg="mod">
          <ac:chgData name="Saransh Sharma" userId="S::saransh.sharma2@ie.ey.com::794448f8-8690-4bb3-88df-a986ba4dae3a" providerId="AD" clId="Web-{3BACFCE3-C35B-2826-EFEB-3AB948669A9B}" dt="2023-08-15T11:43:14.471" v="15" actId="20577"/>
          <ac:spMkLst>
            <pc:docMk/>
            <pc:sldMk cId="2809512320" sldId="2147479715"/>
            <ac:spMk id="8" creationId="{7824D54C-15D2-467C-A016-166944D0781C}"/>
          </ac:spMkLst>
        </pc:spChg>
        <pc:spChg chg="mod">
          <ac:chgData name="Saransh Sharma" userId="S::saransh.sharma2@ie.ey.com::794448f8-8690-4bb3-88df-a986ba4dae3a" providerId="AD" clId="Web-{3BACFCE3-C35B-2826-EFEB-3AB948669A9B}" dt="2023-08-15T11:51:30.519" v="375" actId="20577"/>
          <ac:spMkLst>
            <pc:docMk/>
            <pc:sldMk cId="2809512320" sldId="2147479715"/>
            <ac:spMk id="9" creationId="{1FC709B3-38DF-1A84-C161-86A28D557B38}"/>
          </ac:spMkLst>
        </pc:spChg>
        <pc:spChg chg="add mod">
          <ac:chgData name="Saransh Sharma" userId="S::saransh.sharma2@ie.ey.com::794448f8-8690-4bb3-88df-a986ba4dae3a" providerId="AD" clId="Web-{3BACFCE3-C35B-2826-EFEB-3AB948669A9B}" dt="2023-08-15T13:54:12.858" v="1294" actId="20577"/>
          <ac:spMkLst>
            <pc:docMk/>
            <pc:sldMk cId="2809512320" sldId="2147479715"/>
            <ac:spMk id="11" creationId="{A88B8B34-B81E-EB8D-CF74-6A6AB7E75846}"/>
          </ac:spMkLst>
        </pc:spChg>
        <pc:spChg chg="add mod">
          <ac:chgData name="Saransh Sharma" userId="S::saransh.sharma2@ie.ey.com::794448f8-8690-4bb3-88df-a986ba4dae3a" providerId="AD" clId="Web-{3BACFCE3-C35B-2826-EFEB-3AB948669A9B}" dt="2023-08-15T13:44:41.074" v="604" actId="1076"/>
          <ac:spMkLst>
            <pc:docMk/>
            <pc:sldMk cId="2809512320" sldId="2147479715"/>
            <ac:spMk id="13" creationId="{810955AC-026F-0469-FCB4-2C5F38594BEA}"/>
          </ac:spMkLst>
        </pc:spChg>
        <pc:spChg chg="add mod">
          <ac:chgData name="Saransh Sharma" userId="S::saransh.sharma2@ie.ey.com::794448f8-8690-4bb3-88df-a986ba4dae3a" providerId="AD" clId="Web-{3BACFCE3-C35B-2826-EFEB-3AB948669A9B}" dt="2023-08-15T13:54:47.906" v="1302" actId="1076"/>
          <ac:spMkLst>
            <pc:docMk/>
            <pc:sldMk cId="2809512320" sldId="2147479715"/>
            <ac:spMk id="14" creationId="{16BB29D0-6CD0-3501-0334-F3D810EFB82E}"/>
          </ac:spMkLst>
        </pc:spChg>
        <pc:spChg chg="add del mod">
          <ac:chgData name="Saransh Sharma" userId="S::saransh.sharma2@ie.ey.com::794448f8-8690-4bb3-88df-a986ba4dae3a" providerId="AD" clId="Web-{3BACFCE3-C35B-2826-EFEB-3AB948669A9B}" dt="2023-08-15T13:54:26.030" v="1297"/>
          <ac:spMkLst>
            <pc:docMk/>
            <pc:sldMk cId="2809512320" sldId="2147479715"/>
            <ac:spMk id="16" creationId="{CF1FDB0C-69AF-52FE-79EB-5C9FFCFAFF1B}"/>
          </ac:spMkLst>
        </pc:spChg>
        <pc:picChg chg="add del mod">
          <ac:chgData name="Saransh Sharma" userId="S::saransh.sharma2@ie.ey.com::794448f8-8690-4bb3-88df-a986ba4dae3a" providerId="AD" clId="Web-{3BACFCE3-C35B-2826-EFEB-3AB948669A9B}" dt="2023-08-15T13:40:25.300" v="504"/>
          <ac:picMkLst>
            <pc:docMk/>
            <pc:sldMk cId="2809512320" sldId="2147479715"/>
            <ac:picMk id="3" creationId="{293D716C-3254-89F4-78EE-8FCAA8F04267}"/>
          </ac:picMkLst>
        </pc:picChg>
        <pc:picChg chg="add mod">
          <ac:chgData name="Saransh Sharma" userId="S::saransh.sharma2@ie.ey.com::794448f8-8690-4bb3-88df-a986ba4dae3a" providerId="AD" clId="Web-{3BACFCE3-C35B-2826-EFEB-3AB948669A9B}" dt="2023-08-15T11:45:07.163" v="26" actId="1076"/>
          <ac:picMkLst>
            <pc:docMk/>
            <pc:sldMk cId="2809512320" sldId="2147479715"/>
            <ac:picMk id="4" creationId="{B83C1C9D-1D2C-C408-24F0-D6D9AE55CD43}"/>
          </ac:picMkLst>
        </pc:picChg>
        <pc:picChg chg="add mod">
          <ac:chgData name="Saransh Sharma" userId="S::saransh.sharma2@ie.ey.com::794448f8-8690-4bb3-88df-a986ba4dae3a" providerId="AD" clId="Web-{3BACFCE3-C35B-2826-EFEB-3AB948669A9B}" dt="2023-08-15T13:41:04.364" v="514" actId="14100"/>
          <ac:picMkLst>
            <pc:docMk/>
            <pc:sldMk cId="2809512320" sldId="2147479715"/>
            <ac:picMk id="5" creationId="{F47EB763-F579-9795-B7E1-D8F4F95B025A}"/>
          </ac:picMkLst>
        </pc:picChg>
        <pc:picChg chg="del">
          <ac:chgData name="Saransh Sharma" userId="S::saransh.sharma2@ie.ey.com::794448f8-8690-4bb3-88df-a986ba4dae3a" providerId="AD" clId="Web-{3BACFCE3-C35B-2826-EFEB-3AB948669A9B}" dt="2023-08-15T11:45:03.303" v="25"/>
          <ac:picMkLst>
            <pc:docMk/>
            <pc:sldMk cId="2809512320" sldId="2147479715"/>
            <ac:picMk id="10" creationId="{4805DFD9-8C5F-8A46-B4DE-D9D7DB0EADFF}"/>
          </ac:picMkLst>
        </pc:picChg>
        <pc:picChg chg="del">
          <ac:chgData name="Saransh Sharma" userId="S::saransh.sharma2@ie.ey.com::794448f8-8690-4bb3-88df-a986ba4dae3a" providerId="AD" clId="Web-{3BACFCE3-C35B-2826-EFEB-3AB948669A9B}" dt="2023-08-15T11:43:22.284" v="18"/>
          <ac:picMkLst>
            <pc:docMk/>
            <pc:sldMk cId="2809512320" sldId="2147479715"/>
            <ac:picMk id="11" creationId="{061D49B1-D579-FC7A-79A1-38143B97C9CD}"/>
          </ac:picMkLst>
        </pc:picChg>
        <pc:picChg chg="add mod">
          <ac:chgData name="Saransh Sharma" userId="S::saransh.sharma2@ie.ey.com::794448f8-8690-4bb3-88df-a986ba4dae3a" providerId="AD" clId="Web-{3BACFCE3-C35B-2826-EFEB-3AB948669A9B}" dt="2023-08-15T13:54:33.109" v="1298" actId="1076"/>
          <ac:picMkLst>
            <pc:docMk/>
            <pc:sldMk cId="2809512320" sldId="2147479715"/>
            <ac:picMk id="12" creationId="{068A2752-9497-E23C-4054-D65719C31A0C}"/>
          </ac:picMkLst>
        </pc:picChg>
      </pc:sldChg>
    </pc:docChg>
  </pc:docChgLst>
  <pc:docChgLst>
    <pc:chgData name="Immanuel J Daniel" userId="S::immanuel.johnston.daniel@ie.ey.com::b9141605-49ff-443e-8af4-0c21e2766a66" providerId="AD" clId="Web-{06DC34C2-E63D-6650-42B3-12755626D152}"/>
    <pc:docChg chg="addSld delSld modSld sldOrd modSection">
      <pc:chgData name="Immanuel J Daniel" userId="S::immanuel.johnston.daniel@ie.ey.com::b9141605-49ff-443e-8af4-0c21e2766a66" providerId="AD" clId="Web-{06DC34C2-E63D-6650-42B3-12755626D152}" dt="2023-07-31T09:23:38.331" v="153" actId="20577"/>
      <pc:docMkLst>
        <pc:docMk/>
      </pc:docMkLst>
      <pc:sldChg chg="modSp">
        <pc:chgData name="Immanuel J Daniel" userId="S::immanuel.johnston.daniel@ie.ey.com::b9141605-49ff-443e-8af4-0c21e2766a66" providerId="AD" clId="Web-{06DC34C2-E63D-6650-42B3-12755626D152}" dt="2023-07-31T08:55:20.117" v="4" actId="20577"/>
        <pc:sldMkLst>
          <pc:docMk/>
          <pc:sldMk cId="2692628411" sldId="728"/>
        </pc:sldMkLst>
        <pc:spChg chg="mod">
          <ac:chgData name="Immanuel J Daniel" userId="S::immanuel.johnston.daniel@ie.ey.com::b9141605-49ff-443e-8af4-0c21e2766a66" providerId="AD" clId="Web-{06DC34C2-E63D-6650-42B3-12755626D152}" dt="2023-07-31T08:55:20.117" v="4" actId="20577"/>
          <ac:spMkLst>
            <pc:docMk/>
            <pc:sldMk cId="2692628411" sldId="728"/>
            <ac:spMk id="22" creationId="{00000000-0000-0000-0000-000000000000}"/>
          </ac:spMkLst>
        </pc:spChg>
      </pc:sldChg>
      <pc:sldChg chg="ord">
        <pc:chgData name="Immanuel J Daniel" userId="S::immanuel.johnston.daniel@ie.ey.com::b9141605-49ff-443e-8af4-0c21e2766a66" providerId="AD" clId="Web-{06DC34C2-E63D-6650-42B3-12755626D152}" dt="2023-07-31T08:57:03.668" v="6"/>
        <pc:sldMkLst>
          <pc:docMk/>
          <pc:sldMk cId="1356336447" sldId="2147473087"/>
        </pc:sldMkLst>
      </pc:sldChg>
      <pc:sldChg chg="modSp">
        <pc:chgData name="Immanuel J Daniel" userId="S::immanuel.johnston.daniel@ie.ey.com::b9141605-49ff-443e-8af4-0c21e2766a66" providerId="AD" clId="Web-{06DC34C2-E63D-6650-42B3-12755626D152}" dt="2023-07-31T09:16:36.734" v="93" actId="1076"/>
        <pc:sldMkLst>
          <pc:docMk/>
          <pc:sldMk cId="2364299347" sldId="2147473116"/>
        </pc:sldMkLst>
        <pc:picChg chg="mod">
          <ac:chgData name="Immanuel J Daniel" userId="S::immanuel.johnston.daniel@ie.ey.com::b9141605-49ff-443e-8af4-0c21e2766a66" providerId="AD" clId="Web-{06DC34C2-E63D-6650-42B3-12755626D152}" dt="2023-07-31T09:16:36.734" v="93" actId="1076"/>
          <ac:picMkLst>
            <pc:docMk/>
            <pc:sldMk cId="2364299347" sldId="2147473116"/>
            <ac:picMk id="10" creationId="{96C46AEF-9125-B875-9BE2-712E3A29605B}"/>
          </ac:picMkLst>
        </pc:picChg>
      </pc:sldChg>
      <pc:sldChg chg="modSp">
        <pc:chgData name="Immanuel J Daniel" userId="S::immanuel.johnston.daniel@ie.ey.com::b9141605-49ff-443e-8af4-0c21e2766a66" providerId="AD" clId="Web-{06DC34C2-E63D-6650-42B3-12755626D152}" dt="2023-07-31T09:22:09.342" v="143"/>
        <pc:sldMkLst>
          <pc:docMk/>
          <pc:sldMk cId="1597229887" sldId="2147473161"/>
        </pc:sldMkLst>
        <pc:graphicFrameChg chg="mod modGraphic">
          <ac:chgData name="Immanuel J Daniel" userId="S::immanuel.johnston.daniel@ie.ey.com::b9141605-49ff-443e-8af4-0c21e2766a66" providerId="AD" clId="Web-{06DC34C2-E63D-6650-42B3-12755626D152}" dt="2023-07-31T09:22:09.342" v="143"/>
          <ac:graphicFrameMkLst>
            <pc:docMk/>
            <pc:sldMk cId="1597229887" sldId="2147473161"/>
            <ac:graphicFrameMk id="10" creationId="{DEF1C875-55F5-40A5-AF79-1EF6B560E6B8}"/>
          </ac:graphicFrameMkLst>
        </pc:graphicFrameChg>
      </pc:sldChg>
      <pc:sldChg chg="modSp">
        <pc:chgData name="Immanuel J Daniel" userId="S::immanuel.johnston.daniel@ie.ey.com::b9141605-49ff-443e-8af4-0c21e2766a66" providerId="AD" clId="Web-{06DC34C2-E63D-6650-42B3-12755626D152}" dt="2023-07-31T09:22:43.047" v="151"/>
        <pc:sldMkLst>
          <pc:docMk/>
          <pc:sldMk cId="653093163" sldId="2147473164"/>
        </pc:sldMkLst>
        <pc:graphicFrameChg chg="mod modGraphic">
          <ac:chgData name="Immanuel J Daniel" userId="S::immanuel.johnston.daniel@ie.ey.com::b9141605-49ff-443e-8af4-0c21e2766a66" providerId="AD" clId="Web-{06DC34C2-E63D-6650-42B3-12755626D152}" dt="2023-07-31T09:22:43.047" v="151"/>
          <ac:graphicFrameMkLst>
            <pc:docMk/>
            <pc:sldMk cId="653093163" sldId="2147473164"/>
            <ac:graphicFrameMk id="10" creationId="{DEF1C875-55F5-40A5-AF79-1EF6B560E6B8}"/>
          </ac:graphicFrameMkLst>
        </pc:graphicFrameChg>
      </pc:sldChg>
      <pc:sldChg chg="addSp modSp ord">
        <pc:chgData name="Immanuel J Daniel" userId="S::immanuel.johnston.daniel@ie.ey.com::b9141605-49ff-443e-8af4-0c21e2766a66" providerId="AD" clId="Web-{06DC34C2-E63D-6650-42B3-12755626D152}" dt="2023-07-31T09:00:23.364" v="12"/>
        <pc:sldMkLst>
          <pc:docMk/>
          <pc:sldMk cId="4281992946" sldId="2147479607"/>
        </pc:sldMkLst>
        <pc:spChg chg="mod">
          <ac:chgData name="Immanuel J Daniel" userId="S::immanuel.johnston.daniel@ie.ey.com::b9141605-49ff-443e-8af4-0c21e2766a66" providerId="AD" clId="Web-{06DC34C2-E63D-6650-42B3-12755626D152}" dt="2023-07-31T08:59:49.707" v="10" actId="20577"/>
          <ac:spMkLst>
            <pc:docMk/>
            <pc:sldMk cId="4281992946" sldId="2147479607"/>
            <ac:spMk id="8" creationId="{7824D54C-15D2-467C-A016-166944D0781C}"/>
          </ac:spMkLst>
        </pc:spChg>
        <pc:picChg chg="add">
          <ac:chgData name="Immanuel J Daniel" userId="S::immanuel.johnston.daniel@ie.ey.com::b9141605-49ff-443e-8af4-0c21e2766a66" providerId="AD" clId="Web-{06DC34C2-E63D-6650-42B3-12755626D152}" dt="2023-07-31T09:00:23.364" v="12"/>
          <ac:picMkLst>
            <pc:docMk/>
            <pc:sldMk cId="4281992946" sldId="2147479607"/>
            <ac:picMk id="3" creationId="{C5287439-7A6A-D54D-9BDF-3CC622D472DC}"/>
          </ac:picMkLst>
        </pc:picChg>
      </pc:sldChg>
      <pc:sldChg chg="modSp">
        <pc:chgData name="Immanuel J Daniel" userId="S::immanuel.johnston.daniel@ie.ey.com::b9141605-49ff-443e-8af4-0c21e2766a66" providerId="AD" clId="Web-{06DC34C2-E63D-6650-42B3-12755626D152}" dt="2023-07-31T08:59:53.629" v="11" actId="20577"/>
        <pc:sldMkLst>
          <pc:docMk/>
          <pc:sldMk cId="2192119907" sldId="2147479608"/>
        </pc:sldMkLst>
        <pc:spChg chg="mod">
          <ac:chgData name="Immanuel J Daniel" userId="S::immanuel.johnston.daniel@ie.ey.com::b9141605-49ff-443e-8af4-0c21e2766a66" providerId="AD" clId="Web-{06DC34C2-E63D-6650-42B3-12755626D152}" dt="2023-07-31T08:59:53.629" v="11" actId="20577"/>
          <ac:spMkLst>
            <pc:docMk/>
            <pc:sldMk cId="2192119907" sldId="2147479608"/>
            <ac:spMk id="8" creationId="{7824D54C-15D2-467C-A016-166944D0781C}"/>
          </ac:spMkLst>
        </pc:spChg>
      </pc:sldChg>
      <pc:sldChg chg="modSp">
        <pc:chgData name="Immanuel J Daniel" userId="S::immanuel.johnston.daniel@ie.ey.com::b9141605-49ff-443e-8af4-0c21e2766a66" providerId="AD" clId="Web-{06DC34C2-E63D-6650-42B3-12755626D152}" dt="2023-07-31T09:10:57.485" v="47"/>
        <pc:sldMkLst>
          <pc:docMk/>
          <pc:sldMk cId="2074381867" sldId="2147479609"/>
        </pc:sldMkLst>
        <pc:graphicFrameChg chg="mod modGraphic">
          <ac:chgData name="Immanuel J Daniel" userId="S::immanuel.johnston.daniel@ie.ey.com::b9141605-49ff-443e-8af4-0c21e2766a66" providerId="AD" clId="Web-{06DC34C2-E63D-6650-42B3-12755626D152}" dt="2023-07-31T09:10:57.485" v="47"/>
          <ac:graphicFrameMkLst>
            <pc:docMk/>
            <pc:sldMk cId="2074381867" sldId="2147479609"/>
            <ac:graphicFrameMk id="3" creationId="{A8C79D6C-A7C9-DB57-D69D-756EB168AE4F}"/>
          </ac:graphicFrameMkLst>
        </pc:graphicFrameChg>
      </pc:sldChg>
      <pc:sldChg chg="addSp modSp">
        <pc:chgData name="Immanuel J Daniel" userId="S::immanuel.johnston.daniel@ie.ey.com::b9141605-49ff-443e-8af4-0c21e2766a66" providerId="AD" clId="Web-{06DC34C2-E63D-6650-42B3-12755626D152}" dt="2023-07-31T09:13:49.149" v="91" actId="14100"/>
        <pc:sldMkLst>
          <pc:docMk/>
          <pc:sldMk cId="835046836" sldId="2147479615"/>
        </pc:sldMkLst>
        <pc:spChg chg="add mod">
          <ac:chgData name="Immanuel J Daniel" userId="S::immanuel.johnston.daniel@ie.ey.com::b9141605-49ff-443e-8af4-0c21e2766a66" providerId="AD" clId="Web-{06DC34C2-E63D-6650-42B3-12755626D152}" dt="2023-07-31T09:13:49.149" v="91" actId="14100"/>
          <ac:spMkLst>
            <pc:docMk/>
            <pc:sldMk cId="835046836" sldId="2147479615"/>
            <ac:spMk id="2" creationId="{6F014FF3-C2C1-BE17-2D1A-A237D0B63F7C}"/>
          </ac:spMkLst>
        </pc:spChg>
      </pc:sldChg>
      <pc:sldChg chg="addSp delSp modSp add del">
        <pc:chgData name="Immanuel J Daniel" userId="S::immanuel.johnston.daniel@ie.ey.com::b9141605-49ff-443e-8af4-0c21e2766a66" providerId="AD" clId="Web-{06DC34C2-E63D-6650-42B3-12755626D152}" dt="2023-07-31T09:13:06.366" v="73"/>
        <pc:sldMkLst>
          <pc:docMk/>
          <pc:sldMk cId="1655326143" sldId="2147479636"/>
        </pc:sldMkLst>
        <pc:spChg chg="add del">
          <ac:chgData name="Immanuel J Daniel" userId="S::immanuel.johnston.daniel@ie.ey.com::b9141605-49ff-443e-8af4-0c21e2766a66" providerId="AD" clId="Web-{06DC34C2-E63D-6650-42B3-12755626D152}" dt="2023-07-31T09:13:06.366" v="73"/>
          <ac:spMkLst>
            <pc:docMk/>
            <pc:sldMk cId="1655326143" sldId="2147479636"/>
            <ac:spMk id="2" creationId="{540A3FF2-9109-3D20-9C98-32319605D272}"/>
          </ac:spMkLst>
        </pc:spChg>
        <pc:spChg chg="add mod">
          <ac:chgData name="Immanuel J Daniel" userId="S::immanuel.johnston.daniel@ie.ey.com::b9141605-49ff-443e-8af4-0c21e2766a66" providerId="AD" clId="Web-{06DC34C2-E63D-6650-42B3-12755626D152}" dt="2023-07-31T09:13:01.194" v="72" actId="14100"/>
          <ac:spMkLst>
            <pc:docMk/>
            <pc:sldMk cId="1655326143" sldId="2147479636"/>
            <ac:spMk id="4" creationId="{5E6AAFBB-A32C-8060-51E6-59EE119726D4}"/>
          </ac:spMkLst>
        </pc:spChg>
      </pc:sldChg>
      <pc:sldChg chg="modSp">
        <pc:chgData name="Immanuel J Daniel" userId="S::immanuel.johnston.daniel@ie.ey.com::b9141605-49ff-443e-8af4-0c21e2766a66" providerId="AD" clId="Web-{06DC34C2-E63D-6650-42B3-12755626D152}" dt="2023-07-31T09:12:22.380" v="50" actId="20577"/>
        <pc:sldMkLst>
          <pc:docMk/>
          <pc:sldMk cId="2835511252" sldId="2147479640"/>
        </pc:sldMkLst>
        <pc:spChg chg="mod">
          <ac:chgData name="Immanuel J Daniel" userId="S::immanuel.johnston.daniel@ie.ey.com::b9141605-49ff-443e-8af4-0c21e2766a66" providerId="AD" clId="Web-{06DC34C2-E63D-6650-42B3-12755626D152}" dt="2023-07-31T09:12:22.380" v="50" actId="20577"/>
          <ac:spMkLst>
            <pc:docMk/>
            <pc:sldMk cId="2835511252" sldId="2147479640"/>
            <ac:spMk id="20" creationId="{71597D73-FC0D-0F7C-BC32-B2FA32899DF9}"/>
          </ac:spMkLst>
        </pc:spChg>
      </pc:sldChg>
      <pc:sldChg chg="delSp modSp">
        <pc:chgData name="Immanuel J Daniel" userId="S::immanuel.johnston.daniel@ie.ey.com::b9141605-49ff-443e-8af4-0c21e2766a66" providerId="AD" clId="Web-{06DC34C2-E63D-6650-42B3-12755626D152}" dt="2023-07-31T09:00:59.835" v="34" actId="20577"/>
        <pc:sldMkLst>
          <pc:docMk/>
          <pc:sldMk cId="1066138" sldId="2147479646"/>
        </pc:sldMkLst>
        <pc:spChg chg="mod">
          <ac:chgData name="Immanuel J Daniel" userId="S::immanuel.johnston.daniel@ie.ey.com::b9141605-49ff-443e-8af4-0c21e2766a66" providerId="AD" clId="Web-{06DC34C2-E63D-6650-42B3-12755626D152}" dt="2023-07-31T09:00:59.835" v="34" actId="20577"/>
          <ac:spMkLst>
            <pc:docMk/>
            <pc:sldMk cId="1066138" sldId="2147479646"/>
            <ac:spMk id="6" creationId="{375A8375-8BDA-8591-7CD2-CF1F98D8E40F}"/>
          </ac:spMkLst>
        </pc:spChg>
        <pc:picChg chg="del">
          <ac:chgData name="Immanuel J Daniel" userId="S::immanuel.johnston.daniel@ie.ey.com::b9141605-49ff-443e-8af4-0c21e2766a66" providerId="AD" clId="Web-{06DC34C2-E63D-6650-42B3-12755626D152}" dt="2023-07-31T09:00:49.084" v="23"/>
          <ac:picMkLst>
            <pc:docMk/>
            <pc:sldMk cId="1066138" sldId="2147479646"/>
            <ac:picMk id="20" creationId="{3E143DFB-1E19-43CD-A487-E5C5D4F84ACB}"/>
          </ac:picMkLst>
        </pc:picChg>
      </pc:sldChg>
      <pc:sldChg chg="modSp modCm">
        <pc:chgData name="Immanuel J Daniel" userId="S::immanuel.johnston.daniel@ie.ey.com::b9141605-49ff-443e-8af4-0c21e2766a66" providerId="AD" clId="Web-{06DC34C2-E63D-6650-42B3-12755626D152}" dt="2023-07-31T09:23:38.331" v="153" actId="20577"/>
        <pc:sldMkLst>
          <pc:docMk/>
          <pc:sldMk cId="787045591" sldId="2147479651"/>
        </pc:sldMkLst>
        <pc:spChg chg="mod">
          <ac:chgData name="Immanuel J Daniel" userId="S::immanuel.johnston.daniel@ie.ey.com::b9141605-49ff-443e-8af4-0c21e2766a66" providerId="AD" clId="Web-{06DC34C2-E63D-6650-42B3-12755626D152}" dt="2023-07-31T09:23:38.331" v="153" actId="20577"/>
          <ac:spMkLst>
            <pc:docMk/>
            <pc:sldMk cId="787045591" sldId="2147479651"/>
            <ac:spMk id="2" creationId="{79492056-A46A-C98F-7C19-8A45ECCB4E81}"/>
          </ac:spMkLst>
        </pc:spChg>
      </pc:sldChg>
    </pc:docChg>
  </pc:docChgLst>
  <pc:docChgLst>
    <pc:chgData name="Jeffrey Obi" userId="S::jeffrey.obi@ie.ey.com::488f269d-1fa2-455e-bf95-7695136a100d" providerId="AD" clId="Web-{92E24570-EF41-2AE9-55E8-D716723E76F4}"/>
    <pc:docChg chg="addSld delSld modSld sldOrd modSection">
      <pc:chgData name="Jeffrey Obi" userId="S::jeffrey.obi@ie.ey.com::488f269d-1fa2-455e-bf95-7695136a100d" providerId="AD" clId="Web-{92E24570-EF41-2AE9-55E8-D716723E76F4}" dt="2023-07-26T16:06:25.694" v="4083" actId="20577"/>
      <pc:docMkLst>
        <pc:docMk/>
      </pc:docMkLst>
      <pc:sldChg chg="modSp">
        <pc:chgData name="Jeffrey Obi" userId="S::jeffrey.obi@ie.ey.com::488f269d-1fa2-455e-bf95-7695136a100d" providerId="AD" clId="Web-{92E24570-EF41-2AE9-55E8-D716723E76F4}" dt="2023-07-25T16:23:16.254" v="353" actId="1076"/>
        <pc:sldMkLst>
          <pc:docMk/>
          <pc:sldMk cId="236134785" sldId="2147473160"/>
        </pc:sldMkLst>
        <pc:spChg chg="mod">
          <ac:chgData name="Jeffrey Obi" userId="S::jeffrey.obi@ie.ey.com::488f269d-1fa2-455e-bf95-7695136a100d" providerId="AD" clId="Web-{92E24570-EF41-2AE9-55E8-D716723E76F4}" dt="2023-07-25T16:23:16.254" v="353" actId="1076"/>
          <ac:spMkLst>
            <pc:docMk/>
            <pc:sldMk cId="236134785" sldId="2147473160"/>
            <ac:spMk id="31" creationId="{49B05FDE-10A0-4673-AF8E-BD272C2B834A}"/>
          </ac:spMkLst>
        </pc:spChg>
      </pc:sldChg>
      <pc:sldChg chg="modSp">
        <pc:chgData name="Jeffrey Obi" userId="S::jeffrey.obi@ie.ey.com::488f269d-1fa2-455e-bf95-7695136a100d" providerId="AD" clId="Web-{92E24570-EF41-2AE9-55E8-D716723E76F4}" dt="2023-07-26T10:02:27.283" v="753" actId="20577"/>
        <pc:sldMkLst>
          <pc:docMk/>
          <pc:sldMk cId="1691223875" sldId="2147473170"/>
        </pc:sldMkLst>
        <pc:spChg chg="mod">
          <ac:chgData name="Jeffrey Obi" userId="S::jeffrey.obi@ie.ey.com::488f269d-1fa2-455e-bf95-7695136a100d" providerId="AD" clId="Web-{92E24570-EF41-2AE9-55E8-D716723E76F4}" dt="2023-07-26T08:29:49.477" v="572" actId="14100"/>
          <ac:spMkLst>
            <pc:docMk/>
            <pc:sldMk cId="1691223875" sldId="2147473170"/>
            <ac:spMk id="7" creationId="{CFDD937B-3112-47A6-B0B1-3C193428DAEB}"/>
          </ac:spMkLst>
        </pc:spChg>
        <pc:spChg chg="mod">
          <ac:chgData name="Jeffrey Obi" userId="S::jeffrey.obi@ie.ey.com::488f269d-1fa2-455e-bf95-7695136a100d" providerId="AD" clId="Web-{92E24570-EF41-2AE9-55E8-D716723E76F4}" dt="2023-07-26T10:02:19.002" v="750" actId="20577"/>
          <ac:spMkLst>
            <pc:docMk/>
            <pc:sldMk cId="1691223875" sldId="2147473170"/>
            <ac:spMk id="8" creationId="{7824D54C-15D2-467C-A016-166944D0781C}"/>
          </ac:spMkLst>
        </pc:spChg>
        <pc:spChg chg="mod">
          <ac:chgData name="Jeffrey Obi" userId="S::jeffrey.obi@ie.ey.com::488f269d-1fa2-455e-bf95-7695136a100d" providerId="AD" clId="Web-{92E24570-EF41-2AE9-55E8-D716723E76F4}" dt="2023-07-26T08:54:13.851" v="585" actId="1076"/>
          <ac:spMkLst>
            <pc:docMk/>
            <pc:sldMk cId="1691223875" sldId="2147473170"/>
            <ac:spMk id="9" creationId="{6C153CAD-CB4E-4351-8C09-19E5BC5E2B25}"/>
          </ac:spMkLst>
        </pc:spChg>
        <pc:spChg chg="mod">
          <ac:chgData name="Jeffrey Obi" userId="S::jeffrey.obi@ie.ey.com::488f269d-1fa2-455e-bf95-7695136a100d" providerId="AD" clId="Web-{92E24570-EF41-2AE9-55E8-D716723E76F4}" dt="2023-07-26T08:29:01.303" v="569" actId="1076"/>
          <ac:spMkLst>
            <pc:docMk/>
            <pc:sldMk cId="1691223875" sldId="2147473170"/>
            <ac:spMk id="10" creationId="{8DB344F0-FF8B-4BFF-A3EE-6E94F5B6096B}"/>
          </ac:spMkLst>
        </pc:spChg>
        <pc:spChg chg="mod">
          <ac:chgData name="Jeffrey Obi" userId="S::jeffrey.obi@ie.ey.com::488f269d-1fa2-455e-bf95-7695136a100d" providerId="AD" clId="Web-{92E24570-EF41-2AE9-55E8-D716723E76F4}" dt="2023-07-26T10:02:27.283" v="753" actId="20577"/>
          <ac:spMkLst>
            <pc:docMk/>
            <pc:sldMk cId="1691223875" sldId="2147473170"/>
            <ac:spMk id="22" creationId="{95F9899C-EE66-4EC6-80ED-8640CE7AA491}"/>
          </ac:spMkLst>
        </pc:spChg>
      </pc:sldChg>
      <pc:sldChg chg="addSp delSp modSp">
        <pc:chgData name="Jeffrey Obi" userId="S::jeffrey.obi@ie.ey.com::488f269d-1fa2-455e-bf95-7695136a100d" providerId="AD" clId="Web-{92E24570-EF41-2AE9-55E8-D716723E76F4}" dt="2023-07-26T15:09:08.247" v="3290" actId="1076"/>
        <pc:sldMkLst>
          <pc:docMk/>
          <pc:sldMk cId="3107324555" sldId="2147473173"/>
        </pc:sldMkLst>
        <pc:spChg chg="mod">
          <ac:chgData name="Jeffrey Obi" userId="S::jeffrey.obi@ie.ey.com::488f269d-1fa2-455e-bf95-7695136a100d" providerId="AD" clId="Web-{92E24570-EF41-2AE9-55E8-D716723E76F4}" dt="2023-07-26T08:25:38.672" v="558" actId="1076"/>
          <ac:spMkLst>
            <pc:docMk/>
            <pc:sldMk cId="3107324555" sldId="2147473173"/>
            <ac:spMk id="4" creationId="{C4380547-9137-4B49-91FE-92718AB8FDBD}"/>
          </ac:spMkLst>
        </pc:spChg>
        <pc:spChg chg="mod">
          <ac:chgData name="Jeffrey Obi" userId="S::jeffrey.obi@ie.ey.com::488f269d-1fa2-455e-bf95-7695136a100d" providerId="AD" clId="Web-{92E24570-EF41-2AE9-55E8-D716723E76F4}" dt="2023-07-26T15:08:10.073" v="3288" actId="14100"/>
          <ac:spMkLst>
            <pc:docMk/>
            <pc:sldMk cId="3107324555" sldId="2147473173"/>
            <ac:spMk id="5" creationId="{242793DE-A96D-4BD0-A86A-8082B3CAE589}"/>
          </ac:spMkLst>
        </pc:spChg>
        <pc:spChg chg="add mod">
          <ac:chgData name="Jeffrey Obi" userId="S::jeffrey.obi@ie.ey.com::488f269d-1fa2-455e-bf95-7695136a100d" providerId="AD" clId="Web-{92E24570-EF41-2AE9-55E8-D716723E76F4}" dt="2023-07-26T15:07:51.870" v="3286" actId="1076"/>
          <ac:spMkLst>
            <pc:docMk/>
            <pc:sldMk cId="3107324555" sldId="2147473173"/>
            <ac:spMk id="6" creationId="{FA0200F9-E002-2731-4205-F750ABDCA6F9}"/>
          </ac:spMkLst>
        </pc:spChg>
        <pc:spChg chg="add mod">
          <ac:chgData name="Jeffrey Obi" userId="S::jeffrey.obi@ie.ey.com::488f269d-1fa2-455e-bf95-7695136a100d" providerId="AD" clId="Web-{92E24570-EF41-2AE9-55E8-D716723E76F4}" dt="2023-07-26T15:07:40.838" v="3285" actId="1076"/>
          <ac:spMkLst>
            <pc:docMk/>
            <pc:sldMk cId="3107324555" sldId="2147473173"/>
            <ac:spMk id="7" creationId="{CC82D0FD-5CAF-FDC1-ED30-0C5776218BA5}"/>
          </ac:spMkLst>
        </pc:spChg>
        <pc:spChg chg="mod">
          <ac:chgData name="Jeffrey Obi" userId="S::jeffrey.obi@ie.ey.com::488f269d-1fa2-455e-bf95-7695136a100d" providerId="AD" clId="Web-{92E24570-EF41-2AE9-55E8-D716723E76F4}" dt="2023-07-26T15:07:30.838" v="3283" actId="14100"/>
          <ac:spMkLst>
            <pc:docMk/>
            <pc:sldMk cId="3107324555" sldId="2147473173"/>
            <ac:spMk id="16" creationId="{99598303-3493-44C8-A697-2DB710DCD143}"/>
          </ac:spMkLst>
        </pc:spChg>
        <pc:spChg chg="mod">
          <ac:chgData name="Jeffrey Obi" userId="S::jeffrey.obi@ie.ey.com::488f269d-1fa2-455e-bf95-7695136a100d" providerId="AD" clId="Web-{92E24570-EF41-2AE9-55E8-D716723E76F4}" dt="2023-07-26T09:49:58.690" v="597" actId="20577"/>
          <ac:spMkLst>
            <pc:docMk/>
            <pc:sldMk cId="3107324555" sldId="2147473173"/>
            <ac:spMk id="40" creationId="{D76B222C-769B-43FD-A5BD-1900879116BC}"/>
          </ac:spMkLst>
        </pc:spChg>
        <pc:spChg chg="del mod">
          <ac:chgData name="Jeffrey Obi" userId="S::jeffrey.obi@ie.ey.com::488f269d-1fa2-455e-bf95-7695136a100d" providerId="AD" clId="Web-{92E24570-EF41-2AE9-55E8-D716723E76F4}" dt="2023-07-26T09:56:39.613" v="667"/>
          <ac:spMkLst>
            <pc:docMk/>
            <pc:sldMk cId="3107324555" sldId="2147473173"/>
            <ac:spMk id="42" creationId="{7EC42A97-E98B-4A91-93D2-C584DD2C8644}"/>
          </ac:spMkLst>
        </pc:spChg>
        <pc:spChg chg="del mod">
          <ac:chgData name="Jeffrey Obi" userId="S::jeffrey.obi@ie.ey.com::488f269d-1fa2-455e-bf95-7695136a100d" providerId="AD" clId="Web-{92E24570-EF41-2AE9-55E8-D716723E76F4}" dt="2023-07-26T09:52:24.540" v="634"/>
          <ac:spMkLst>
            <pc:docMk/>
            <pc:sldMk cId="3107324555" sldId="2147473173"/>
            <ac:spMk id="43" creationId="{AF5D6B81-60EC-4819-B146-14DEA705F1DE}"/>
          </ac:spMkLst>
        </pc:spChg>
        <pc:spChg chg="mod">
          <ac:chgData name="Jeffrey Obi" userId="S::jeffrey.obi@ie.ey.com::488f269d-1fa2-455e-bf95-7695136a100d" providerId="AD" clId="Web-{92E24570-EF41-2AE9-55E8-D716723E76F4}" dt="2023-07-26T09:58:25.398" v="748" actId="20577"/>
          <ac:spMkLst>
            <pc:docMk/>
            <pc:sldMk cId="3107324555" sldId="2147473173"/>
            <ac:spMk id="45" creationId="{606070E4-F71A-4A28-BC52-885AC960DA76}"/>
          </ac:spMkLst>
        </pc:spChg>
        <pc:picChg chg="add mod">
          <ac:chgData name="Jeffrey Obi" userId="S::jeffrey.obi@ie.ey.com::488f269d-1fa2-455e-bf95-7695136a100d" providerId="AD" clId="Web-{92E24570-EF41-2AE9-55E8-D716723E76F4}" dt="2023-07-26T15:09:08.247" v="3290" actId="1076"/>
          <ac:picMkLst>
            <pc:docMk/>
            <pc:sldMk cId="3107324555" sldId="2147473173"/>
            <ac:picMk id="2" creationId="{28C50210-4B13-6C30-EAB8-FDFB9586B8B8}"/>
          </ac:picMkLst>
        </pc:picChg>
        <pc:picChg chg="mod">
          <ac:chgData name="Jeffrey Obi" userId="S::jeffrey.obi@ie.ey.com::488f269d-1fa2-455e-bf95-7695136a100d" providerId="AD" clId="Web-{92E24570-EF41-2AE9-55E8-D716723E76F4}" dt="2023-07-26T15:08:33.027" v="3289" actId="1076"/>
          <ac:picMkLst>
            <pc:docMk/>
            <pc:sldMk cId="3107324555" sldId="2147473173"/>
            <ac:picMk id="3" creationId="{AA975C4F-840E-49B1-964A-5E55E535E4D7}"/>
          </ac:picMkLst>
        </pc:picChg>
        <pc:picChg chg="del">
          <ac:chgData name="Jeffrey Obi" userId="S::jeffrey.obi@ie.ey.com::488f269d-1fa2-455e-bf95-7695136a100d" providerId="AD" clId="Web-{92E24570-EF41-2AE9-55E8-D716723E76F4}" dt="2023-07-26T08:13:36.634" v="493"/>
          <ac:picMkLst>
            <pc:docMk/>
            <pc:sldMk cId="3107324555" sldId="2147473173"/>
            <ac:picMk id="7" creationId="{C0F3F92E-A776-4EB1-A922-1B0D0D4BB5ED}"/>
          </ac:picMkLst>
        </pc:picChg>
      </pc:sldChg>
      <pc:sldChg chg="modSp">
        <pc:chgData name="Jeffrey Obi" userId="S::jeffrey.obi@ie.ey.com::488f269d-1fa2-455e-bf95-7695136a100d" providerId="AD" clId="Web-{92E24570-EF41-2AE9-55E8-D716723E76F4}" dt="2023-07-26T08:14:17.104" v="502" actId="20577"/>
        <pc:sldMkLst>
          <pc:docMk/>
          <pc:sldMk cId="4281992946" sldId="2147479607"/>
        </pc:sldMkLst>
        <pc:spChg chg="mod">
          <ac:chgData name="Jeffrey Obi" userId="S::jeffrey.obi@ie.ey.com::488f269d-1fa2-455e-bf95-7695136a100d" providerId="AD" clId="Web-{92E24570-EF41-2AE9-55E8-D716723E76F4}" dt="2023-07-26T08:14:17.104" v="502" actId="20577"/>
          <ac:spMkLst>
            <pc:docMk/>
            <pc:sldMk cId="4281992946" sldId="2147479607"/>
            <ac:spMk id="8" creationId="{7824D54C-15D2-467C-A016-166944D0781C}"/>
          </ac:spMkLst>
        </pc:spChg>
      </pc:sldChg>
      <pc:sldChg chg="modSp">
        <pc:chgData name="Jeffrey Obi" userId="S::jeffrey.obi@ie.ey.com::488f269d-1fa2-455e-bf95-7695136a100d" providerId="AD" clId="Web-{92E24570-EF41-2AE9-55E8-D716723E76F4}" dt="2023-07-26T09:53:37.605" v="665" actId="20577"/>
        <pc:sldMkLst>
          <pc:docMk/>
          <pc:sldMk cId="2192119907" sldId="2147479608"/>
        </pc:sldMkLst>
        <pc:spChg chg="mod">
          <ac:chgData name="Jeffrey Obi" userId="S::jeffrey.obi@ie.ey.com::488f269d-1fa2-455e-bf95-7695136a100d" providerId="AD" clId="Web-{92E24570-EF41-2AE9-55E8-D716723E76F4}" dt="2023-07-26T09:53:37.605" v="665" actId="20577"/>
          <ac:spMkLst>
            <pc:docMk/>
            <pc:sldMk cId="2192119907" sldId="2147479608"/>
            <ac:spMk id="8" creationId="{7824D54C-15D2-467C-A016-166944D0781C}"/>
          </ac:spMkLst>
        </pc:spChg>
      </pc:sldChg>
      <pc:sldChg chg="modSp">
        <pc:chgData name="Jeffrey Obi" userId="S::jeffrey.obi@ie.ey.com::488f269d-1fa2-455e-bf95-7695136a100d" providerId="AD" clId="Web-{92E24570-EF41-2AE9-55E8-D716723E76F4}" dt="2023-07-25T16:22:55.565" v="352" actId="1076"/>
        <pc:sldMkLst>
          <pc:docMk/>
          <pc:sldMk cId="2582236747" sldId="2147479613"/>
        </pc:sldMkLst>
        <pc:spChg chg="mod">
          <ac:chgData name="Jeffrey Obi" userId="S::jeffrey.obi@ie.ey.com::488f269d-1fa2-455e-bf95-7695136a100d" providerId="AD" clId="Web-{92E24570-EF41-2AE9-55E8-D716723E76F4}" dt="2023-07-25T16:22:55.565" v="352" actId="1076"/>
          <ac:spMkLst>
            <pc:docMk/>
            <pc:sldMk cId="2582236747" sldId="2147479613"/>
            <ac:spMk id="12" creationId="{330C0DF1-8F82-CB8A-FEDC-75C28B690273}"/>
          </ac:spMkLst>
        </pc:spChg>
      </pc:sldChg>
      <pc:sldChg chg="modSp">
        <pc:chgData name="Jeffrey Obi" userId="S::jeffrey.obi@ie.ey.com::488f269d-1fa2-455e-bf95-7695136a100d" providerId="AD" clId="Web-{92E24570-EF41-2AE9-55E8-D716723E76F4}" dt="2023-07-25T15:57:08.107" v="35" actId="20577"/>
        <pc:sldMkLst>
          <pc:docMk/>
          <pc:sldMk cId="3046752737" sldId="2147479614"/>
        </pc:sldMkLst>
        <pc:spChg chg="mod">
          <ac:chgData name="Jeffrey Obi" userId="S::jeffrey.obi@ie.ey.com::488f269d-1fa2-455e-bf95-7695136a100d" providerId="AD" clId="Web-{92E24570-EF41-2AE9-55E8-D716723E76F4}" dt="2023-07-25T15:57:08.107" v="35" actId="20577"/>
          <ac:spMkLst>
            <pc:docMk/>
            <pc:sldMk cId="3046752737" sldId="2147479614"/>
            <ac:spMk id="16" creationId="{1EE50A2F-BB66-4023-A19E-4AC1F49CB477}"/>
          </ac:spMkLst>
        </pc:spChg>
      </pc:sldChg>
      <pc:sldChg chg="modSp">
        <pc:chgData name="Jeffrey Obi" userId="S::jeffrey.obi@ie.ey.com::488f269d-1fa2-455e-bf95-7695136a100d" providerId="AD" clId="Web-{92E24570-EF41-2AE9-55E8-D716723E76F4}" dt="2023-07-26T13:23:51.170" v="2675" actId="1076"/>
        <pc:sldMkLst>
          <pc:docMk/>
          <pc:sldMk cId="835046836" sldId="2147479615"/>
        </pc:sldMkLst>
        <pc:spChg chg="mod">
          <ac:chgData name="Jeffrey Obi" userId="S::jeffrey.obi@ie.ey.com::488f269d-1fa2-455e-bf95-7695136a100d" providerId="AD" clId="Web-{92E24570-EF41-2AE9-55E8-D716723E76F4}" dt="2023-07-26T12:45:58.751" v="2355" actId="14100"/>
          <ac:spMkLst>
            <pc:docMk/>
            <pc:sldMk cId="835046836" sldId="2147479615"/>
            <ac:spMk id="6" creationId="{489D7E36-E5EC-111E-AE3B-B05ADA2650CA}"/>
          </ac:spMkLst>
        </pc:spChg>
        <pc:spChg chg="mod">
          <ac:chgData name="Jeffrey Obi" userId="S::jeffrey.obi@ie.ey.com::488f269d-1fa2-455e-bf95-7695136a100d" providerId="AD" clId="Web-{92E24570-EF41-2AE9-55E8-D716723E76F4}" dt="2023-07-26T12:45:22.750" v="2351" actId="1076"/>
          <ac:spMkLst>
            <pc:docMk/>
            <pc:sldMk cId="835046836" sldId="2147479615"/>
            <ac:spMk id="8" creationId="{CF4624E7-2012-177F-42FD-075B529C96E2}"/>
          </ac:spMkLst>
        </pc:spChg>
        <pc:spChg chg="mod">
          <ac:chgData name="Jeffrey Obi" userId="S::jeffrey.obi@ie.ey.com::488f269d-1fa2-455e-bf95-7695136a100d" providerId="AD" clId="Web-{92E24570-EF41-2AE9-55E8-D716723E76F4}" dt="2023-07-26T13:23:51.170" v="2675" actId="1076"/>
          <ac:spMkLst>
            <pc:docMk/>
            <pc:sldMk cId="835046836" sldId="2147479615"/>
            <ac:spMk id="10" creationId="{A9930A43-D411-994C-F0E8-7D9582857EF9}"/>
          </ac:spMkLst>
        </pc:spChg>
        <pc:spChg chg="mod">
          <ac:chgData name="Jeffrey Obi" userId="S::jeffrey.obi@ie.ey.com::488f269d-1fa2-455e-bf95-7695136a100d" providerId="AD" clId="Web-{92E24570-EF41-2AE9-55E8-D716723E76F4}" dt="2023-07-26T12:46:39.486" v="2358" actId="1076"/>
          <ac:spMkLst>
            <pc:docMk/>
            <pc:sldMk cId="835046836" sldId="2147479615"/>
            <ac:spMk id="12" creationId="{213C6BCD-69D2-90ED-2BC4-196EF5E3F298}"/>
          </ac:spMkLst>
        </pc:spChg>
        <pc:spChg chg="mod">
          <ac:chgData name="Jeffrey Obi" userId="S::jeffrey.obi@ie.ey.com::488f269d-1fa2-455e-bf95-7695136a100d" providerId="AD" clId="Web-{92E24570-EF41-2AE9-55E8-D716723E76F4}" dt="2023-07-26T12:45:36.547" v="2353" actId="1076"/>
          <ac:spMkLst>
            <pc:docMk/>
            <pc:sldMk cId="835046836" sldId="2147479615"/>
            <ac:spMk id="14" creationId="{1B4891F9-FC37-F82A-520C-548C6F536DE2}"/>
          </ac:spMkLst>
        </pc:spChg>
        <pc:spChg chg="mod">
          <ac:chgData name="Jeffrey Obi" userId="S::jeffrey.obi@ie.ey.com::488f269d-1fa2-455e-bf95-7695136a100d" providerId="AD" clId="Web-{92E24570-EF41-2AE9-55E8-D716723E76F4}" dt="2023-07-26T12:46:55.064" v="2360" actId="1076"/>
          <ac:spMkLst>
            <pc:docMk/>
            <pc:sldMk cId="835046836" sldId="2147479615"/>
            <ac:spMk id="16" creationId="{1EE50A2F-BB66-4023-A19E-4AC1F49CB477}"/>
          </ac:spMkLst>
        </pc:spChg>
        <pc:spChg chg="mod">
          <ac:chgData name="Jeffrey Obi" userId="S::jeffrey.obi@ie.ey.com::488f269d-1fa2-455e-bf95-7695136a100d" providerId="AD" clId="Web-{92E24570-EF41-2AE9-55E8-D716723E76F4}" dt="2023-07-26T12:49:23.224" v="2375" actId="1076"/>
          <ac:spMkLst>
            <pc:docMk/>
            <pc:sldMk cId="835046836" sldId="2147479615"/>
            <ac:spMk id="18" creationId="{26DBC6F2-B27C-8EA3-B4A4-A720416361DC}"/>
          </ac:spMkLst>
        </pc:spChg>
        <pc:spChg chg="mod">
          <ac:chgData name="Jeffrey Obi" userId="S::jeffrey.obi@ie.ey.com::488f269d-1fa2-455e-bf95-7695136a100d" providerId="AD" clId="Web-{92E24570-EF41-2AE9-55E8-D716723E76F4}" dt="2023-07-26T12:46:17.235" v="2357" actId="1076"/>
          <ac:spMkLst>
            <pc:docMk/>
            <pc:sldMk cId="835046836" sldId="2147479615"/>
            <ac:spMk id="24" creationId="{F157CDD7-E4B0-DBE6-3BF9-A80704C2E8E2}"/>
          </ac:spMkLst>
        </pc:spChg>
        <pc:spChg chg="mod">
          <ac:chgData name="Jeffrey Obi" userId="S::jeffrey.obi@ie.ey.com::488f269d-1fa2-455e-bf95-7695136a100d" providerId="AD" clId="Web-{92E24570-EF41-2AE9-55E8-D716723E76F4}" dt="2023-07-26T12:47:31.440" v="2364" actId="1076"/>
          <ac:spMkLst>
            <pc:docMk/>
            <pc:sldMk cId="835046836" sldId="2147479615"/>
            <ac:spMk id="26" creationId="{CE8179ED-1E75-8A00-A70C-EF944AB7261F}"/>
          </ac:spMkLst>
        </pc:spChg>
        <pc:spChg chg="mod">
          <ac:chgData name="Jeffrey Obi" userId="S::jeffrey.obi@ie.ey.com::488f269d-1fa2-455e-bf95-7695136a100d" providerId="AD" clId="Web-{92E24570-EF41-2AE9-55E8-D716723E76F4}" dt="2023-07-26T12:48:00.816" v="2367" actId="1076"/>
          <ac:spMkLst>
            <pc:docMk/>
            <pc:sldMk cId="835046836" sldId="2147479615"/>
            <ac:spMk id="28" creationId="{3C2A5434-720E-4AA9-21BF-0B0E8A76CA06}"/>
          </ac:spMkLst>
        </pc:spChg>
        <pc:picChg chg="mod">
          <ac:chgData name="Jeffrey Obi" userId="S::jeffrey.obi@ie.ey.com::488f269d-1fa2-455e-bf95-7695136a100d" providerId="AD" clId="Web-{92E24570-EF41-2AE9-55E8-D716723E76F4}" dt="2023-07-26T12:49:29.442" v="2376" actId="1076"/>
          <ac:picMkLst>
            <pc:docMk/>
            <pc:sldMk cId="835046836" sldId="2147479615"/>
            <ac:picMk id="4" creationId="{1311268E-84DE-A6DB-5375-2EED6E3C6F76}"/>
          </ac:picMkLst>
        </pc:picChg>
      </pc:sldChg>
      <pc:sldChg chg="modSp ord">
        <pc:chgData name="Jeffrey Obi" userId="S::jeffrey.obi@ie.ey.com::488f269d-1fa2-455e-bf95-7695136a100d" providerId="AD" clId="Web-{92E24570-EF41-2AE9-55E8-D716723E76F4}" dt="2023-07-26T13:24:59.125" v="2687" actId="1076"/>
        <pc:sldMkLst>
          <pc:docMk/>
          <pc:sldMk cId="3673377692" sldId="2147479616"/>
        </pc:sldMkLst>
        <pc:spChg chg="mod">
          <ac:chgData name="Jeffrey Obi" userId="S::jeffrey.obi@ie.ey.com::488f269d-1fa2-455e-bf95-7695136a100d" providerId="AD" clId="Web-{92E24570-EF41-2AE9-55E8-D716723E76F4}" dt="2023-07-26T13:24:59.125" v="2687" actId="1076"/>
          <ac:spMkLst>
            <pc:docMk/>
            <pc:sldMk cId="3673377692" sldId="2147479616"/>
            <ac:spMk id="5" creationId="{BDE47C88-9E3C-4980-C403-263854BB37E2}"/>
          </ac:spMkLst>
        </pc:spChg>
        <pc:spChg chg="mod">
          <ac:chgData name="Jeffrey Obi" userId="S::jeffrey.obi@ie.ey.com::488f269d-1fa2-455e-bf95-7695136a100d" providerId="AD" clId="Web-{92E24570-EF41-2AE9-55E8-D716723E76F4}" dt="2023-07-26T13:24:21.921" v="2680" actId="20577"/>
          <ac:spMkLst>
            <pc:docMk/>
            <pc:sldMk cId="3673377692" sldId="2147479616"/>
            <ac:spMk id="9" creationId="{DAF26290-6595-85BF-EBDA-ECDB1152DE27}"/>
          </ac:spMkLst>
        </pc:spChg>
        <pc:spChg chg="mod">
          <ac:chgData name="Jeffrey Obi" userId="S::jeffrey.obi@ie.ey.com::488f269d-1fa2-455e-bf95-7695136a100d" providerId="AD" clId="Web-{92E24570-EF41-2AE9-55E8-D716723E76F4}" dt="2023-07-26T13:24:05.342" v="2677" actId="20577"/>
          <ac:spMkLst>
            <pc:docMk/>
            <pc:sldMk cId="3673377692" sldId="2147479616"/>
            <ac:spMk id="10" creationId="{A9930A43-D411-994C-F0E8-7D9582857EF9}"/>
          </ac:spMkLst>
        </pc:spChg>
        <pc:spChg chg="mod">
          <ac:chgData name="Jeffrey Obi" userId="S::jeffrey.obi@ie.ey.com::488f269d-1fa2-455e-bf95-7695136a100d" providerId="AD" clId="Web-{92E24570-EF41-2AE9-55E8-D716723E76F4}" dt="2023-07-25T16:07:24.941" v="228" actId="1076"/>
          <ac:spMkLst>
            <pc:docMk/>
            <pc:sldMk cId="3673377692" sldId="2147479616"/>
            <ac:spMk id="12" creationId="{213C6BCD-69D2-90ED-2BC4-196EF5E3F298}"/>
          </ac:spMkLst>
        </pc:spChg>
      </pc:sldChg>
      <pc:sldChg chg="modSp">
        <pc:chgData name="Jeffrey Obi" userId="S::jeffrey.obi@ie.ey.com::488f269d-1fa2-455e-bf95-7695136a100d" providerId="AD" clId="Web-{92E24570-EF41-2AE9-55E8-D716723E76F4}" dt="2023-07-25T16:22:32.690" v="347" actId="1076"/>
        <pc:sldMkLst>
          <pc:docMk/>
          <pc:sldMk cId="554842699" sldId="2147479617"/>
        </pc:sldMkLst>
        <pc:spChg chg="mod">
          <ac:chgData name="Jeffrey Obi" userId="S::jeffrey.obi@ie.ey.com::488f269d-1fa2-455e-bf95-7695136a100d" providerId="AD" clId="Web-{92E24570-EF41-2AE9-55E8-D716723E76F4}" dt="2023-07-25T16:21:26.281" v="339" actId="1076"/>
          <ac:spMkLst>
            <pc:docMk/>
            <pc:sldMk cId="554842699" sldId="2147479617"/>
            <ac:spMk id="5" creationId="{1AA4F3D1-45B7-A72E-14AB-197DB6665F5F}"/>
          </ac:spMkLst>
        </pc:spChg>
        <pc:spChg chg="mod">
          <ac:chgData name="Jeffrey Obi" userId="S::jeffrey.obi@ie.ey.com::488f269d-1fa2-455e-bf95-7695136a100d" providerId="AD" clId="Web-{92E24570-EF41-2AE9-55E8-D716723E76F4}" dt="2023-07-25T16:21:08.046" v="337" actId="1076"/>
          <ac:spMkLst>
            <pc:docMk/>
            <pc:sldMk cId="554842699" sldId="2147479617"/>
            <ac:spMk id="9" creationId="{54149453-3DEF-2E15-6311-535F75F8CCA1}"/>
          </ac:spMkLst>
        </pc:spChg>
        <pc:spChg chg="mod">
          <ac:chgData name="Jeffrey Obi" userId="S::jeffrey.obi@ie.ey.com::488f269d-1fa2-455e-bf95-7695136a100d" providerId="AD" clId="Web-{92E24570-EF41-2AE9-55E8-D716723E76F4}" dt="2023-07-25T15:59:42.924" v="47" actId="20577"/>
          <ac:spMkLst>
            <pc:docMk/>
            <pc:sldMk cId="554842699" sldId="2147479617"/>
            <ac:spMk id="10" creationId="{A9930A43-D411-994C-F0E8-7D9582857EF9}"/>
          </ac:spMkLst>
        </pc:spChg>
        <pc:spChg chg="mod">
          <ac:chgData name="Jeffrey Obi" userId="S::jeffrey.obi@ie.ey.com::488f269d-1fa2-455e-bf95-7695136a100d" providerId="AD" clId="Web-{92E24570-EF41-2AE9-55E8-D716723E76F4}" dt="2023-07-25T16:21:20.375" v="338" actId="1076"/>
          <ac:spMkLst>
            <pc:docMk/>
            <pc:sldMk cId="554842699" sldId="2147479617"/>
            <ac:spMk id="12" creationId="{213C6BCD-69D2-90ED-2BC4-196EF5E3F298}"/>
          </ac:spMkLst>
        </pc:spChg>
        <pc:spChg chg="mod">
          <ac:chgData name="Jeffrey Obi" userId="S::jeffrey.obi@ie.ey.com::488f269d-1fa2-455e-bf95-7695136a100d" providerId="AD" clId="Web-{92E24570-EF41-2AE9-55E8-D716723E76F4}" dt="2023-07-25T16:22:32.690" v="347" actId="1076"/>
          <ac:spMkLst>
            <pc:docMk/>
            <pc:sldMk cId="554842699" sldId="2147479617"/>
            <ac:spMk id="26" creationId="{CE8179ED-1E75-8A00-A70C-EF944AB7261F}"/>
          </ac:spMkLst>
        </pc:spChg>
      </pc:sldChg>
      <pc:sldChg chg="modSp">
        <pc:chgData name="Jeffrey Obi" userId="S::jeffrey.obi@ie.ey.com::488f269d-1fa2-455e-bf95-7695136a100d" providerId="AD" clId="Web-{92E24570-EF41-2AE9-55E8-D716723E76F4}" dt="2023-07-25T16:20:54.171" v="335" actId="1076"/>
        <pc:sldMkLst>
          <pc:docMk/>
          <pc:sldMk cId="1127760975" sldId="2147479618"/>
        </pc:sldMkLst>
        <pc:spChg chg="mod">
          <ac:chgData name="Jeffrey Obi" userId="S::jeffrey.obi@ie.ey.com::488f269d-1fa2-455e-bf95-7695136a100d" providerId="AD" clId="Web-{92E24570-EF41-2AE9-55E8-D716723E76F4}" dt="2023-07-25T16:11:49.028" v="270" actId="1076"/>
          <ac:spMkLst>
            <pc:docMk/>
            <pc:sldMk cId="1127760975" sldId="2147479618"/>
            <ac:spMk id="6" creationId="{489D7E36-E5EC-111E-AE3B-B05ADA2650CA}"/>
          </ac:spMkLst>
        </pc:spChg>
        <pc:spChg chg="mod">
          <ac:chgData name="Jeffrey Obi" userId="S::jeffrey.obi@ie.ey.com::488f269d-1fa2-455e-bf95-7695136a100d" providerId="AD" clId="Web-{92E24570-EF41-2AE9-55E8-D716723E76F4}" dt="2023-07-25T16:20:43.030" v="334" actId="20577"/>
          <ac:spMkLst>
            <pc:docMk/>
            <pc:sldMk cId="1127760975" sldId="2147479618"/>
            <ac:spMk id="10" creationId="{A9930A43-D411-994C-F0E8-7D9582857EF9}"/>
          </ac:spMkLst>
        </pc:spChg>
        <pc:spChg chg="mod">
          <ac:chgData name="Jeffrey Obi" userId="S::jeffrey.obi@ie.ey.com::488f269d-1fa2-455e-bf95-7695136a100d" providerId="AD" clId="Web-{92E24570-EF41-2AE9-55E8-D716723E76F4}" dt="2023-07-25T16:17:50.665" v="303" actId="20577"/>
          <ac:spMkLst>
            <pc:docMk/>
            <pc:sldMk cId="1127760975" sldId="2147479618"/>
            <ac:spMk id="12" creationId="{213C6BCD-69D2-90ED-2BC4-196EF5E3F298}"/>
          </ac:spMkLst>
        </pc:spChg>
        <pc:spChg chg="mod">
          <ac:chgData name="Jeffrey Obi" userId="S::jeffrey.obi@ie.ey.com::488f269d-1fa2-455e-bf95-7695136a100d" providerId="AD" clId="Web-{92E24570-EF41-2AE9-55E8-D716723E76F4}" dt="2023-07-25T16:20:54.171" v="335" actId="1076"/>
          <ac:spMkLst>
            <pc:docMk/>
            <pc:sldMk cId="1127760975" sldId="2147479618"/>
            <ac:spMk id="16" creationId="{1EE50A2F-BB66-4023-A19E-4AC1F49CB477}"/>
          </ac:spMkLst>
        </pc:spChg>
        <pc:spChg chg="mod">
          <ac:chgData name="Jeffrey Obi" userId="S::jeffrey.obi@ie.ey.com::488f269d-1fa2-455e-bf95-7695136a100d" providerId="AD" clId="Web-{92E24570-EF41-2AE9-55E8-D716723E76F4}" dt="2023-07-25T16:10:40.885" v="236" actId="1076"/>
          <ac:spMkLst>
            <pc:docMk/>
            <pc:sldMk cId="1127760975" sldId="2147479618"/>
            <ac:spMk id="26" creationId="{CE8179ED-1E75-8A00-A70C-EF944AB7261F}"/>
          </ac:spMkLst>
        </pc:spChg>
      </pc:sldChg>
      <pc:sldChg chg="addSp delSp modSp add replId">
        <pc:chgData name="Jeffrey Obi" userId="S::jeffrey.obi@ie.ey.com::488f269d-1fa2-455e-bf95-7695136a100d" providerId="AD" clId="Web-{92E24570-EF41-2AE9-55E8-D716723E76F4}" dt="2023-07-26T12:42:23.512" v="2336" actId="1076"/>
        <pc:sldMkLst>
          <pc:docMk/>
          <pc:sldMk cId="1655326143" sldId="2147479636"/>
        </pc:sldMkLst>
        <pc:spChg chg="mod">
          <ac:chgData name="Jeffrey Obi" userId="S::jeffrey.obi@ie.ey.com::488f269d-1fa2-455e-bf95-7695136a100d" providerId="AD" clId="Web-{92E24570-EF41-2AE9-55E8-D716723E76F4}" dt="2023-07-26T11:56:59.078" v="2251" actId="20577"/>
          <ac:spMkLst>
            <pc:docMk/>
            <pc:sldMk cId="1655326143" sldId="2147479636"/>
            <ac:spMk id="5" creationId="{1AA4F3D1-45B7-A72E-14AB-197DB6665F5F}"/>
          </ac:spMkLst>
        </pc:spChg>
        <pc:spChg chg="mod">
          <ac:chgData name="Jeffrey Obi" userId="S::jeffrey.obi@ie.ey.com::488f269d-1fa2-455e-bf95-7695136a100d" providerId="AD" clId="Web-{92E24570-EF41-2AE9-55E8-D716723E76F4}" dt="2023-07-26T11:27:26.412" v="1788" actId="14100"/>
          <ac:spMkLst>
            <pc:docMk/>
            <pc:sldMk cId="1655326143" sldId="2147479636"/>
            <ac:spMk id="6" creationId="{489D7E36-E5EC-111E-AE3B-B05ADA2650CA}"/>
          </ac:spMkLst>
        </pc:spChg>
        <pc:spChg chg="mod">
          <ac:chgData name="Jeffrey Obi" userId="S::jeffrey.obi@ie.ey.com::488f269d-1fa2-455e-bf95-7695136a100d" providerId="AD" clId="Web-{92E24570-EF41-2AE9-55E8-D716723E76F4}" dt="2023-07-26T11:51:47.956" v="2110" actId="20577"/>
          <ac:spMkLst>
            <pc:docMk/>
            <pc:sldMk cId="1655326143" sldId="2147479636"/>
            <ac:spMk id="9" creationId="{54149453-3DEF-2E15-6311-535F75F8CCA1}"/>
          </ac:spMkLst>
        </pc:spChg>
        <pc:spChg chg="mod">
          <ac:chgData name="Jeffrey Obi" userId="S::jeffrey.obi@ie.ey.com::488f269d-1fa2-455e-bf95-7695136a100d" providerId="AD" clId="Web-{92E24570-EF41-2AE9-55E8-D716723E76F4}" dt="2023-07-26T10:27:25.047" v="931" actId="20577"/>
          <ac:spMkLst>
            <pc:docMk/>
            <pc:sldMk cId="1655326143" sldId="2147479636"/>
            <ac:spMk id="10" creationId="{A9930A43-D411-994C-F0E8-7D9582857EF9}"/>
          </ac:spMkLst>
        </pc:spChg>
        <pc:spChg chg="mod">
          <ac:chgData name="Jeffrey Obi" userId="S::jeffrey.obi@ie.ey.com::488f269d-1fa2-455e-bf95-7695136a100d" providerId="AD" clId="Web-{92E24570-EF41-2AE9-55E8-D716723E76F4}" dt="2023-07-26T11:41:33.603" v="1832" actId="20577"/>
          <ac:spMkLst>
            <pc:docMk/>
            <pc:sldMk cId="1655326143" sldId="2147479636"/>
            <ac:spMk id="12" creationId="{213C6BCD-69D2-90ED-2BC4-196EF5E3F298}"/>
          </ac:spMkLst>
        </pc:spChg>
        <pc:spChg chg="mod">
          <ac:chgData name="Jeffrey Obi" userId="S::jeffrey.obi@ie.ey.com::488f269d-1fa2-455e-bf95-7695136a100d" providerId="AD" clId="Web-{92E24570-EF41-2AE9-55E8-D716723E76F4}" dt="2023-07-26T10:13:05.278" v="828" actId="20577"/>
          <ac:spMkLst>
            <pc:docMk/>
            <pc:sldMk cId="1655326143" sldId="2147479636"/>
            <ac:spMk id="20" creationId="{71597D73-FC0D-0F7C-BC32-B2FA32899DF9}"/>
          </ac:spMkLst>
        </pc:spChg>
        <pc:spChg chg="mod">
          <ac:chgData name="Jeffrey Obi" userId="S::jeffrey.obi@ie.ey.com::488f269d-1fa2-455e-bf95-7695136a100d" providerId="AD" clId="Web-{92E24570-EF41-2AE9-55E8-D716723E76F4}" dt="2023-07-26T10:13:21.419" v="829" actId="1076"/>
          <ac:spMkLst>
            <pc:docMk/>
            <pc:sldMk cId="1655326143" sldId="2147479636"/>
            <ac:spMk id="22" creationId="{9A4AB788-397F-A777-536A-71E510E11985}"/>
          </ac:spMkLst>
        </pc:spChg>
        <pc:spChg chg="mod">
          <ac:chgData name="Jeffrey Obi" userId="S::jeffrey.obi@ie.ey.com::488f269d-1fa2-455e-bf95-7695136a100d" providerId="AD" clId="Web-{92E24570-EF41-2AE9-55E8-D716723E76F4}" dt="2023-07-26T11:31:03.749" v="1812" actId="1076"/>
          <ac:spMkLst>
            <pc:docMk/>
            <pc:sldMk cId="1655326143" sldId="2147479636"/>
            <ac:spMk id="24" creationId="{F157CDD7-E4B0-DBE6-3BF9-A80704C2E8E2}"/>
          </ac:spMkLst>
        </pc:spChg>
        <pc:spChg chg="mod">
          <ac:chgData name="Jeffrey Obi" userId="S::jeffrey.obi@ie.ey.com::488f269d-1fa2-455e-bf95-7695136a100d" providerId="AD" clId="Web-{92E24570-EF41-2AE9-55E8-D716723E76F4}" dt="2023-07-26T10:10:41.303" v="770" actId="20577"/>
          <ac:spMkLst>
            <pc:docMk/>
            <pc:sldMk cId="1655326143" sldId="2147479636"/>
            <ac:spMk id="28" creationId="{3C2A5434-720E-4AA9-21BF-0B0E8A76CA06}"/>
          </ac:spMkLst>
        </pc:spChg>
        <pc:picChg chg="del mod">
          <ac:chgData name="Jeffrey Obi" userId="S::jeffrey.obi@ie.ey.com::488f269d-1fa2-455e-bf95-7695136a100d" providerId="AD" clId="Web-{92E24570-EF41-2AE9-55E8-D716723E76F4}" dt="2023-07-26T10:15:58.722" v="839"/>
          <ac:picMkLst>
            <pc:docMk/>
            <pc:sldMk cId="1655326143" sldId="2147479636"/>
            <ac:picMk id="2" creationId="{AD00B404-6657-FE90-AF81-8C217C5C6F4E}"/>
          </ac:picMkLst>
        </pc:picChg>
        <pc:picChg chg="add mod">
          <ac:chgData name="Jeffrey Obi" userId="S::jeffrey.obi@ie.ey.com::488f269d-1fa2-455e-bf95-7695136a100d" providerId="AD" clId="Web-{92E24570-EF41-2AE9-55E8-D716723E76F4}" dt="2023-07-26T12:42:23.512" v="2336" actId="1076"/>
          <ac:picMkLst>
            <pc:docMk/>
            <pc:sldMk cId="1655326143" sldId="2147479636"/>
            <ac:picMk id="3" creationId="{74E7E42B-CE7C-F125-70DB-AD2B8D4896C6}"/>
          </ac:picMkLst>
        </pc:picChg>
      </pc:sldChg>
      <pc:sldChg chg="addSp delSp modSp add replId">
        <pc:chgData name="Jeffrey Obi" userId="S::jeffrey.obi@ie.ey.com::488f269d-1fa2-455e-bf95-7695136a100d" providerId="AD" clId="Web-{92E24570-EF41-2AE9-55E8-D716723E76F4}" dt="2023-07-26T14:07:31.291" v="3281" actId="20577"/>
        <pc:sldMkLst>
          <pc:docMk/>
          <pc:sldMk cId="2127201987" sldId="2147479638"/>
        </pc:sldMkLst>
        <pc:spChg chg="add mod">
          <ac:chgData name="Jeffrey Obi" userId="S::jeffrey.obi@ie.ey.com::488f269d-1fa2-455e-bf95-7695136a100d" providerId="AD" clId="Web-{92E24570-EF41-2AE9-55E8-D716723E76F4}" dt="2023-07-26T13:23:05.215" v="2669" actId="20577"/>
          <ac:spMkLst>
            <pc:docMk/>
            <pc:sldMk cId="2127201987" sldId="2147479638"/>
            <ac:spMk id="3" creationId="{87B00A01-31F9-F4D4-DCFE-CF999A9E2975}"/>
          </ac:spMkLst>
        </pc:spChg>
        <pc:spChg chg="mod">
          <ac:chgData name="Jeffrey Obi" userId="S::jeffrey.obi@ie.ey.com::488f269d-1fa2-455e-bf95-7695136a100d" providerId="AD" clId="Web-{92E24570-EF41-2AE9-55E8-D716723E76F4}" dt="2023-07-26T13:23:22.637" v="2671" actId="20577"/>
          <ac:spMkLst>
            <pc:docMk/>
            <pc:sldMk cId="2127201987" sldId="2147479638"/>
            <ac:spMk id="10" creationId="{A9930A43-D411-994C-F0E8-7D9582857EF9}"/>
          </ac:spMkLst>
        </pc:spChg>
        <pc:spChg chg="mod">
          <ac:chgData name="Jeffrey Obi" userId="S::jeffrey.obi@ie.ey.com::488f269d-1fa2-455e-bf95-7695136a100d" providerId="AD" clId="Web-{92E24570-EF41-2AE9-55E8-D716723E76F4}" dt="2023-07-26T14:07:31.291" v="3281" actId="20577"/>
          <ac:spMkLst>
            <pc:docMk/>
            <pc:sldMk cId="2127201987" sldId="2147479638"/>
            <ac:spMk id="12" creationId="{213C6BCD-69D2-90ED-2BC4-196EF5E3F298}"/>
          </ac:spMkLst>
        </pc:spChg>
        <pc:spChg chg="mod">
          <ac:chgData name="Jeffrey Obi" userId="S::jeffrey.obi@ie.ey.com::488f269d-1fa2-455e-bf95-7695136a100d" providerId="AD" clId="Web-{92E24570-EF41-2AE9-55E8-D716723E76F4}" dt="2023-07-26T13:20:57.335" v="2533" actId="20577"/>
          <ac:spMkLst>
            <pc:docMk/>
            <pc:sldMk cId="2127201987" sldId="2147479638"/>
            <ac:spMk id="16" creationId="{1EE50A2F-BB66-4023-A19E-4AC1F49CB477}"/>
          </ac:spMkLst>
        </pc:spChg>
        <pc:spChg chg="mod">
          <ac:chgData name="Jeffrey Obi" userId="S::jeffrey.obi@ie.ey.com::488f269d-1fa2-455e-bf95-7695136a100d" providerId="AD" clId="Web-{92E24570-EF41-2AE9-55E8-D716723E76F4}" dt="2023-07-26T12:40:34.994" v="2333" actId="20577"/>
          <ac:spMkLst>
            <pc:docMk/>
            <pc:sldMk cId="2127201987" sldId="2147479638"/>
            <ac:spMk id="20" creationId="{71597D73-FC0D-0F7C-BC32-B2FA32899DF9}"/>
          </ac:spMkLst>
        </pc:spChg>
        <pc:spChg chg="mod">
          <ac:chgData name="Jeffrey Obi" userId="S::jeffrey.obi@ie.ey.com::488f269d-1fa2-455e-bf95-7695136a100d" providerId="AD" clId="Web-{92E24570-EF41-2AE9-55E8-D716723E76F4}" dt="2023-07-26T12:40:04.556" v="2285" actId="20577"/>
          <ac:spMkLst>
            <pc:docMk/>
            <pc:sldMk cId="2127201987" sldId="2147479638"/>
            <ac:spMk id="22" creationId="{9A4AB788-397F-A777-536A-71E510E11985}"/>
          </ac:spMkLst>
        </pc:spChg>
        <pc:spChg chg="mod">
          <ac:chgData name="Jeffrey Obi" userId="S::jeffrey.obi@ie.ey.com::488f269d-1fa2-455e-bf95-7695136a100d" providerId="AD" clId="Web-{92E24570-EF41-2AE9-55E8-D716723E76F4}" dt="2023-07-26T12:39:36.446" v="2265" actId="20577"/>
          <ac:spMkLst>
            <pc:docMk/>
            <pc:sldMk cId="2127201987" sldId="2147479638"/>
            <ac:spMk id="28" creationId="{3C2A5434-720E-4AA9-21BF-0B0E8A76CA06}"/>
          </ac:spMkLst>
        </pc:spChg>
        <pc:picChg chg="add mod">
          <ac:chgData name="Jeffrey Obi" userId="S::jeffrey.obi@ie.ey.com::488f269d-1fa2-455e-bf95-7695136a100d" providerId="AD" clId="Web-{92E24570-EF41-2AE9-55E8-D716723E76F4}" dt="2023-07-26T12:43:33.388" v="2343" actId="14100"/>
          <ac:picMkLst>
            <pc:docMk/>
            <pc:sldMk cId="2127201987" sldId="2147479638"/>
            <ac:picMk id="2" creationId="{EEC8CCCC-AF86-81A3-21D3-436707318DD2}"/>
          </ac:picMkLst>
        </pc:picChg>
        <pc:picChg chg="del mod">
          <ac:chgData name="Jeffrey Obi" userId="S::jeffrey.obi@ie.ey.com::488f269d-1fa2-455e-bf95-7695136a100d" providerId="AD" clId="Web-{92E24570-EF41-2AE9-55E8-D716723E76F4}" dt="2023-07-26T12:39:27.665" v="2255"/>
          <ac:picMkLst>
            <pc:docMk/>
            <pc:sldMk cId="2127201987" sldId="2147479638"/>
            <ac:picMk id="34" creationId="{1B881CE2-4E5C-5F3F-C232-D168A47D428D}"/>
          </ac:picMkLst>
        </pc:picChg>
      </pc:sldChg>
      <pc:sldChg chg="modSp add del replId">
        <pc:chgData name="Jeffrey Obi" userId="S::jeffrey.obi@ie.ey.com::488f269d-1fa2-455e-bf95-7695136a100d" providerId="AD" clId="Web-{92E24570-EF41-2AE9-55E8-D716723E76F4}" dt="2023-07-26T15:14:50.415" v="3327"/>
        <pc:sldMkLst>
          <pc:docMk/>
          <pc:sldMk cId="2508558155" sldId="2147479640"/>
        </pc:sldMkLst>
        <pc:spChg chg="mod">
          <ac:chgData name="Jeffrey Obi" userId="S::jeffrey.obi@ie.ey.com::488f269d-1fa2-455e-bf95-7695136a100d" providerId="AD" clId="Web-{92E24570-EF41-2AE9-55E8-D716723E76F4}" dt="2023-07-26T15:14:43.665" v="3326" actId="20577"/>
          <ac:spMkLst>
            <pc:docMk/>
            <pc:sldMk cId="2508558155" sldId="2147479640"/>
            <ac:spMk id="12" creationId="{213C6BCD-69D2-90ED-2BC4-196EF5E3F298}"/>
          </ac:spMkLst>
        </pc:spChg>
      </pc:sldChg>
      <pc:sldChg chg="addSp delSp modSp add replId">
        <pc:chgData name="Jeffrey Obi" userId="S::jeffrey.obi@ie.ey.com::488f269d-1fa2-455e-bf95-7695136a100d" providerId="AD" clId="Web-{92E24570-EF41-2AE9-55E8-D716723E76F4}" dt="2023-07-26T15:46:07.136" v="3820" actId="20577"/>
        <pc:sldMkLst>
          <pc:docMk/>
          <pc:sldMk cId="2835511252" sldId="2147479640"/>
        </pc:sldMkLst>
        <pc:spChg chg="mod">
          <ac:chgData name="Jeffrey Obi" userId="S::jeffrey.obi@ie.ey.com::488f269d-1fa2-455e-bf95-7695136a100d" providerId="AD" clId="Web-{92E24570-EF41-2AE9-55E8-D716723E76F4}" dt="2023-07-26T15:26:03.642" v="3534" actId="20577"/>
          <ac:spMkLst>
            <pc:docMk/>
            <pc:sldMk cId="2835511252" sldId="2147479640"/>
            <ac:spMk id="5" creationId="{1AA4F3D1-45B7-A72E-14AB-197DB6665F5F}"/>
          </ac:spMkLst>
        </pc:spChg>
        <pc:spChg chg="mod">
          <ac:chgData name="Jeffrey Obi" userId="S::jeffrey.obi@ie.ey.com::488f269d-1fa2-455e-bf95-7695136a100d" providerId="AD" clId="Web-{92E24570-EF41-2AE9-55E8-D716723E76F4}" dt="2023-07-26T15:29:41.134" v="3578" actId="14100"/>
          <ac:spMkLst>
            <pc:docMk/>
            <pc:sldMk cId="2835511252" sldId="2147479640"/>
            <ac:spMk id="9" creationId="{54149453-3DEF-2E15-6311-535F75F8CCA1}"/>
          </ac:spMkLst>
        </pc:spChg>
        <pc:spChg chg="mod">
          <ac:chgData name="Jeffrey Obi" userId="S::jeffrey.obi@ie.ey.com::488f269d-1fa2-455e-bf95-7695136a100d" providerId="AD" clId="Web-{92E24570-EF41-2AE9-55E8-D716723E76F4}" dt="2023-07-26T15:22:11.212" v="3477" actId="20577"/>
          <ac:spMkLst>
            <pc:docMk/>
            <pc:sldMk cId="2835511252" sldId="2147479640"/>
            <ac:spMk id="10" creationId="{A9930A43-D411-994C-F0E8-7D9582857EF9}"/>
          </ac:spMkLst>
        </pc:spChg>
        <pc:spChg chg="mod">
          <ac:chgData name="Jeffrey Obi" userId="S::jeffrey.obi@ie.ey.com::488f269d-1fa2-455e-bf95-7695136a100d" providerId="AD" clId="Web-{92E24570-EF41-2AE9-55E8-D716723E76F4}" dt="2023-07-26T15:46:07.136" v="3820" actId="20577"/>
          <ac:spMkLst>
            <pc:docMk/>
            <pc:sldMk cId="2835511252" sldId="2147479640"/>
            <ac:spMk id="12" creationId="{213C6BCD-69D2-90ED-2BC4-196EF5E3F298}"/>
          </ac:spMkLst>
        </pc:spChg>
        <pc:spChg chg="mod">
          <ac:chgData name="Jeffrey Obi" userId="S::jeffrey.obi@ie.ey.com::488f269d-1fa2-455e-bf95-7695136a100d" providerId="AD" clId="Web-{92E24570-EF41-2AE9-55E8-D716723E76F4}" dt="2023-07-26T15:20:06.129" v="3453" actId="20577"/>
          <ac:spMkLst>
            <pc:docMk/>
            <pc:sldMk cId="2835511252" sldId="2147479640"/>
            <ac:spMk id="20" creationId="{71597D73-FC0D-0F7C-BC32-B2FA32899DF9}"/>
          </ac:spMkLst>
        </pc:spChg>
        <pc:spChg chg="mod">
          <ac:chgData name="Jeffrey Obi" userId="S::jeffrey.obi@ie.ey.com::488f269d-1fa2-455e-bf95-7695136a100d" providerId="AD" clId="Web-{92E24570-EF41-2AE9-55E8-D716723E76F4}" dt="2023-07-26T15:19:00.393" v="3397" actId="20577"/>
          <ac:spMkLst>
            <pc:docMk/>
            <pc:sldMk cId="2835511252" sldId="2147479640"/>
            <ac:spMk id="22" creationId="{9A4AB788-397F-A777-536A-71E510E11985}"/>
          </ac:spMkLst>
        </pc:spChg>
        <pc:spChg chg="mod">
          <ac:chgData name="Jeffrey Obi" userId="S::jeffrey.obi@ie.ey.com::488f269d-1fa2-455e-bf95-7695136a100d" providerId="AD" clId="Web-{92E24570-EF41-2AE9-55E8-D716723E76F4}" dt="2023-07-26T15:20:43.990" v="3459" actId="20577"/>
          <ac:spMkLst>
            <pc:docMk/>
            <pc:sldMk cId="2835511252" sldId="2147479640"/>
            <ac:spMk id="28" creationId="{3C2A5434-720E-4AA9-21BF-0B0E8A76CA06}"/>
          </ac:spMkLst>
        </pc:spChg>
        <pc:picChg chg="add mod">
          <ac:chgData name="Jeffrey Obi" userId="S::jeffrey.obi@ie.ey.com::488f269d-1fa2-455e-bf95-7695136a100d" providerId="AD" clId="Web-{92E24570-EF41-2AE9-55E8-D716723E76F4}" dt="2023-07-26T15:24:14.825" v="3483" actId="1076"/>
          <ac:picMkLst>
            <pc:docMk/>
            <pc:sldMk cId="2835511252" sldId="2147479640"/>
            <ac:picMk id="2" creationId="{8FACDAFA-E5F6-FB30-5ACF-6A542ED6E438}"/>
          </ac:picMkLst>
        </pc:picChg>
        <pc:picChg chg="del">
          <ac:chgData name="Jeffrey Obi" userId="S::jeffrey.obi@ie.ey.com::488f269d-1fa2-455e-bf95-7695136a100d" providerId="AD" clId="Web-{92E24570-EF41-2AE9-55E8-D716723E76F4}" dt="2023-07-26T15:17:29.952" v="3373"/>
          <ac:picMkLst>
            <pc:docMk/>
            <pc:sldMk cId="2835511252" sldId="2147479640"/>
            <ac:picMk id="3" creationId="{74E7E42B-CE7C-F125-70DB-AD2B8D4896C6}"/>
          </ac:picMkLst>
        </pc:picChg>
      </pc:sldChg>
      <pc:sldChg chg="addSp delSp modSp add replId">
        <pc:chgData name="Jeffrey Obi" userId="S::jeffrey.obi@ie.ey.com::488f269d-1fa2-455e-bf95-7695136a100d" providerId="AD" clId="Web-{92E24570-EF41-2AE9-55E8-D716723E76F4}" dt="2023-07-26T16:06:25.694" v="4083" actId="20577"/>
        <pc:sldMkLst>
          <pc:docMk/>
          <pc:sldMk cId="209286626" sldId="2147479641"/>
        </pc:sldMkLst>
        <pc:spChg chg="mod">
          <ac:chgData name="Jeffrey Obi" userId="S::jeffrey.obi@ie.ey.com::488f269d-1fa2-455e-bf95-7695136a100d" providerId="AD" clId="Web-{92E24570-EF41-2AE9-55E8-D716723E76F4}" dt="2023-07-26T15:56:01.094" v="3916" actId="20577"/>
          <ac:spMkLst>
            <pc:docMk/>
            <pc:sldMk cId="209286626" sldId="2147479641"/>
            <ac:spMk id="5" creationId="{1AA4F3D1-45B7-A72E-14AB-197DB6665F5F}"/>
          </ac:spMkLst>
        </pc:spChg>
        <pc:spChg chg="mod">
          <ac:chgData name="Jeffrey Obi" userId="S::jeffrey.obi@ie.ey.com::488f269d-1fa2-455e-bf95-7695136a100d" providerId="AD" clId="Web-{92E24570-EF41-2AE9-55E8-D716723E76F4}" dt="2023-07-26T15:56:54.221" v="3941" actId="20577"/>
          <ac:spMkLst>
            <pc:docMk/>
            <pc:sldMk cId="209286626" sldId="2147479641"/>
            <ac:spMk id="9" creationId="{54149453-3DEF-2E15-6311-535F75F8CCA1}"/>
          </ac:spMkLst>
        </pc:spChg>
        <pc:spChg chg="mod">
          <ac:chgData name="Jeffrey Obi" userId="S::jeffrey.obi@ie.ey.com::488f269d-1fa2-455e-bf95-7695136a100d" providerId="AD" clId="Web-{92E24570-EF41-2AE9-55E8-D716723E76F4}" dt="2023-07-26T15:54:12.185" v="3887" actId="20577"/>
          <ac:spMkLst>
            <pc:docMk/>
            <pc:sldMk cId="209286626" sldId="2147479641"/>
            <ac:spMk id="10" creationId="{A9930A43-D411-994C-F0E8-7D9582857EF9}"/>
          </ac:spMkLst>
        </pc:spChg>
        <pc:spChg chg="mod">
          <ac:chgData name="Jeffrey Obi" userId="S::jeffrey.obi@ie.ey.com::488f269d-1fa2-455e-bf95-7695136a100d" providerId="AD" clId="Web-{92E24570-EF41-2AE9-55E8-D716723E76F4}" dt="2023-07-26T16:06:25.694" v="4083" actId="20577"/>
          <ac:spMkLst>
            <pc:docMk/>
            <pc:sldMk cId="209286626" sldId="2147479641"/>
            <ac:spMk id="12" creationId="{213C6BCD-69D2-90ED-2BC4-196EF5E3F298}"/>
          </ac:spMkLst>
        </pc:spChg>
        <pc:spChg chg="mod">
          <ac:chgData name="Jeffrey Obi" userId="S::jeffrey.obi@ie.ey.com::488f269d-1fa2-455e-bf95-7695136a100d" providerId="AD" clId="Web-{92E24570-EF41-2AE9-55E8-D716723E76F4}" dt="2023-07-26T15:51:01.990" v="3855" actId="20577"/>
          <ac:spMkLst>
            <pc:docMk/>
            <pc:sldMk cId="209286626" sldId="2147479641"/>
            <ac:spMk id="20" creationId="{71597D73-FC0D-0F7C-BC32-B2FA32899DF9}"/>
          </ac:spMkLst>
        </pc:spChg>
        <pc:spChg chg="mod">
          <ac:chgData name="Jeffrey Obi" userId="S::jeffrey.obi@ie.ey.com::488f269d-1fa2-455e-bf95-7695136a100d" providerId="AD" clId="Web-{92E24570-EF41-2AE9-55E8-D716723E76F4}" dt="2023-07-26T15:48:53.033" v="3823" actId="20577"/>
          <ac:spMkLst>
            <pc:docMk/>
            <pc:sldMk cId="209286626" sldId="2147479641"/>
            <ac:spMk id="22" creationId="{9A4AB788-397F-A777-536A-71E510E11985}"/>
          </ac:spMkLst>
        </pc:spChg>
        <pc:spChg chg="mod">
          <ac:chgData name="Jeffrey Obi" userId="S::jeffrey.obi@ie.ey.com::488f269d-1fa2-455e-bf95-7695136a100d" providerId="AD" clId="Web-{92E24570-EF41-2AE9-55E8-D716723E76F4}" dt="2023-07-26T15:54:35.092" v="3900" actId="20577"/>
          <ac:spMkLst>
            <pc:docMk/>
            <pc:sldMk cId="209286626" sldId="2147479641"/>
            <ac:spMk id="28" creationId="{3C2A5434-720E-4AA9-21BF-0B0E8A76CA06}"/>
          </ac:spMkLst>
        </pc:spChg>
        <pc:picChg chg="del">
          <ac:chgData name="Jeffrey Obi" userId="S::jeffrey.obi@ie.ey.com::488f269d-1fa2-455e-bf95-7695136a100d" providerId="AD" clId="Web-{92E24570-EF41-2AE9-55E8-D716723E76F4}" dt="2023-07-26T15:51:50.492" v="3859"/>
          <ac:picMkLst>
            <pc:docMk/>
            <pc:sldMk cId="209286626" sldId="2147479641"/>
            <ac:picMk id="2" creationId="{8FACDAFA-E5F6-FB30-5ACF-6A542ED6E438}"/>
          </ac:picMkLst>
        </pc:picChg>
        <pc:picChg chg="add mod">
          <ac:chgData name="Jeffrey Obi" userId="S::jeffrey.obi@ie.ey.com::488f269d-1fa2-455e-bf95-7695136a100d" providerId="AD" clId="Web-{92E24570-EF41-2AE9-55E8-D716723E76F4}" dt="2023-07-26T15:52:31.759" v="3861" actId="14100"/>
          <ac:picMkLst>
            <pc:docMk/>
            <pc:sldMk cId="209286626" sldId="2147479641"/>
            <ac:picMk id="3" creationId="{3EE88C9F-1616-1FAE-0272-D9A8B91B03A4}"/>
          </ac:picMkLst>
        </pc:picChg>
      </pc:sldChg>
    </pc:docChg>
  </pc:docChgLst>
  <pc:docChgLst>
    <pc:chgData name="Immanuel J Daniel" userId="S::immanuel.johnston.daniel@ie.ey.com::b9141605-49ff-443e-8af4-0c21e2766a66" providerId="AD" clId="Web-{7428E8B4-D062-D035-4AD3-7495C05DBFF1}"/>
    <pc:docChg chg="addSld delSld modSld modSection">
      <pc:chgData name="Immanuel J Daniel" userId="S::immanuel.johnston.daniel@ie.ey.com::b9141605-49ff-443e-8af4-0c21e2766a66" providerId="AD" clId="Web-{7428E8B4-D062-D035-4AD3-7495C05DBFF1}" dt="2023-08-11T11:24:25.186" v="428" actId="20577"/>
      <pc:docMkLst>
        <pc:docMk/>
      </pc:docMkLst>
      <pc:sldChg chg="addSp delSp modSp">
        <pc:chgData name="Immanuel J Daniel" userId="S::immanuel.johnston.daniel@ie.ey.com::b9141605-49ff-443e-8af4-0c21e2766a66" providerId="AD" clId="Web-{7428E8B4-D062-D035-4AD3-7495C05DBFF1}" dt="2023-08-11T10:03:41.006" v="74" actId="20577"/>
        <pc:sldMkLst>
          <pc:docMk/>
          <pc:sldMk cId="2692628411" sldId="728"/>
        </pc:sldMkLst>
        <pc:spChg chg="add del mod">
          <ac:chgData name="Immanuel J Daniel" userId="S::immanuel.johnston.daniel@ie.ey.com::b9141605-49ff-443e-8af4-0c21e2766a66" providerId="AD" clId="Web-{7428E8B4-D062-D035-4AD3-7495C05DBFF1}" dt="2023-08-11T09:52:05.207" v="3"/>
          <ac:spMkLst>
            <pc:docMk/>
            <pc:sldMk cId="2692628411" sldId="728"/>
            <ac:spMk id="4" creationId="{5B8FD59C-720A-0D86-80AD-6C93604E7757}"/>
          </ac:spMkLst>
        </pc:spChg>
        <pc:spChg chg="mod">
          <ac:chgData name="Immanuel J Daniel" userId="S::immanuel.johnston.daniel@ie.ey.com::b9141605-49ff-443e-8af4-0c21e2766a66" providerId="AD" clId="Web-{7428E8B4-D062-D035-4AD3-7495C05DBFF1}" dt="2023-08-11T09:57:21.653" v="24" actId="20577"/>
          <ac:spMkLst>
            <pc:docMk/>
            <pc:sldMk cId="2692628411" sldId="728"/>
            <ac:spMk id="6" creationId="{6E140539-078F-F10D-F5E5-DDDB9F7D7F51}"/>
          </ac:spMkLst>
        </pc:spChg>
        <pc:spChg chg="add del mod">
          <ac:chgData name="Immanuel J Daniel" userId="S::immanuel.johnston.daniel@ie.ey.com::b9141605-49ff-443e-8af4-0c21e2766a66" providerId="AD" clId="Web-{7428E8B4-D062-D035-4AD3-7495C05DBFF1}" dt="2023-08-11T09:53:02.818" v="7"/>
          <ac:spMkLst>
            <pc:docMk/>
            <pc:sldMk cId="2692628411" sldId="728"/>
            <ac:spMk id="7" creationId="{8C623D6A-6AED-EE7B-FB4B-322BB89E41D9}"/>
          </ac:spMkLst>
        </pc:spChg>
        <pc:spChg chg="mod">
          <ac:chgData name="Immanuel J Daniel" userId="S::immanuel.johnston.daniel@ie.ey.com::b9141605-49ff-443e-8af4-0c21e2766a66" providerId="AD" clId="Web-{7428E8B4-D062-D035-4AD3-7495C05DBFF1}" dt="2023-08-11T10:03:41.006" v="74" actId="20577"/>
          <ac:spMkLst>
            <pc:docMk/>
            <pc:sldMk cId="2692628411" sldId="728"/>
            <ac:spMk id="9" creationId="{00000000-0000-0000-0000-000000000000}"/>
          </ac:spMkLst>
        </pc:spChg>
      </pc:sldChg>
      <pc:sldChg chg="modCm">
        <pc:chgData name="Immanuel J Daniel" userId="S::immanuel.johnston.daniel@ie.ey.com::b9141605-49ff-443e-8af4-0c21e2766a66" providerId="AD" clId="Web-{7428E8B4-D062-D035-4AD3-7495C05DBFF1}" dt="2023-08-11T11:20:47.671" v="412"/>
        <pc:sldMkLst>
          <pc:docMk/>
          <pc:sldMk cId="3270732291" sldId="2147473086"/>
        </pc:sldMkLst>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7428E8B4-D062-D035-4AD3-7495C05DBFF1}" dt="2023-08-11T11:20:47.671" v="412"/>
              <pc2:cmMkLst xmlns:pc2="http://schemas.microsoft.com/office/powerpoint/2019/9/main/command">
                <pc:docMk/>
                <pc:sldMk cId="3270732291" sldId="2147473086"/>
                <pc2:cmMk id="{8F60F54B-B2C7-4FE1-AD57-2639F88F4925}"/>
              </pc2:cmMkLst>
              <pc226:cmRplyChg chg="add">
                <pc226:chgData name="Immanuel J Daniel" userId="S::immanuel.johnston.daniel@ie.ey.com::b9141605-49ff-443e-8af4-0c21e2766a66" providerId="AD" clId="Web-{7428E8B4-D062-D035-4AD3-7495C05DBFF1}" dt="2023-08-11T11:20:47.671" v="412"/>
                <pc2:cmRplyMkLst xmlns:pc2="http://schemas.microsoft.com/office/powerpoint/2019/9/main/command">
                  <pc:docMk/>
                  <pc:sldMk cId="3270732291" sldId="2147473086"/>
                  <pc2:cmMk id="{8F60F54B-B2C7-4FE1-AD57-2639F88F4925}"/>
                  <pc2:cmRplyMk id="{370CEDD6-E2F0-4316-BB16-A0D857384504}"/>
                </pc2:cmRplyMkLst>
              </pc226:cmRplyChg>
            </pc226:cmChg>
          </p:ext>
        </pc:extLst>
      </pc:sldChg>
      <pc:sldChg chg="modSp del">
        <pc:chgData name="Immanuel J Daniel" userId="S::immanuel.johnston.daniel@ie.ey.com::b9141605-49ff-443e-8af4-0c21e2766a66" providerId="AD" clId="Web-{7428E8B4-D062-D035-4AD3-7495C05DBFF1}" dt="2023-08-11T11:23:22.291" v="413"/>
        <pc:sldMkLst>
          <pc:docMk/>
          <pc:sldMk cId="3132739966" sldId="2147479658"/>
        </pc:sldMkLst>
        <pc:spChg chg="mod">
          <ac:chgData name="Immanuel J Daniel" userId="S::immanuel.johnston.daniel@ie.ey.com::b9141605-49ff-443e-8af4-0c21e2766a66" providerId="AD" clId="Web-{7428E8B4-D062-D035-4AD3-7495C05DBFF1}" dt="2023-08-11T10:16:02.791" v="77" actId="20577"/>
          <ac:spMkLst>
            <pc:docMk/>
            <pc:sldMk cId="3132739966" sldId="2147479658"/>
            <ac:spMk id="60" creationId="{5FD4F996-4703-4807-A196-8EBEFF0E4D0C}"/>
          </ac:spMkLst>
        </pc:spChg>
        <pc:spChg chg="mod">
          <ac:chgData name="Immanuel J Daniel" userId="S::immanuel.johnston.daniel@ie.ey.com::b9141605-49ff-443e-8af4-0c21e2766a66" providerId="AD" clId="Web-{7428E8B4-D062-D035-4AD3-7495C05DBFF1}" dt="2023-08-11T10:19:59.125" v="119" actId="20577"/>
          <ac:spMkLst>
            <pc:docMk/>
            <pc:sldMk cId="3132739966" sldId="2147479658"/>
            <ac:spMk id="61" creationId="{EDB73CF0-76C8-46A5-9C74-DEB0D40A6862}"/>
          </ac:spMkLst>
        </pc:spChg>
        <pc:spChg chg="mod">
          <ac:chgData name="Immanuel J Daniel" userId="S::immanuel.johnston.daniel@ie.ey.com::b9141605-49ff-443e-8af4-0c21e2766a66" providerId="AD" clId="Web-{7428E8B4-D062-D035-4AD3-7495C05DBFF1}" dt="2023-08-11T10:19:55.141" v="116" actId="20577"/>
          <ac:spMkLst>
            <pc:docMk/>
            <pc:sldMk cId="3132739966" sldId="2147479658"/>
            <ac:spMk id="62" creationId="{9FD7B515-9120-4FE1-8FBD-FD06C848CBD3}"/>
          </ac:spMkLst>
        </pc:spChg>
        <pc:spChg chg="mod">
          <ac:chgData name="Immanuel J Daniel" userId="S::immanuel.johnston.daniel@ie.ey.com::b9141605-49ff-443e-8af4-0c21e2766a66" providerId="AD" clId="Web-{7428E8B4-D062-D035-4AD3-7495C05DBFF1}" dt="2023-08-11T10:19:52.641" v="115" actId="20577"/>
          <ac:spMkLst>
            <pc:docMk/>
            <pc:sldMk cId="3132739966" sldId="2147479658"/>
            <ac:spMk id="63" creationId="{003679B0-78D6-4A30-B9A8-E729D83ECDDE}"/>
          </ac:spMkLst>
        </pc:spChg>
        <pc:spChg chg="mod">
          <ac:chgData name="Immanuel J Daniel" userId="S::immanuel.johnston.daniel@ie.ey.com::b9141605-49ff-443e-8af4-0c21e2766a66" providerId="AD" clId="Web-{7428E8B4-D062-D035-4AD3-7495C05DBFF1}" dt="2023-08-11T10:19:50.531" v="112" actId="20577"/>
          <ac:spMkLst>
            <pc:docMk/>
            <pc:sldMk cId="3132739966" sldId="2147479658"/>
            <ac:spMk id="64" creationId="{86C52E4F-D068-4CAE-A8C2-EB5B3530F5B9}"/>
          </ac:spMkLst>
        </pc:spChg>
        <pc:spChg chg="mod">
          <ac:chgData name="Immanuel J Daniel" userId="S::immanuel.johnston.daniel@ie.ey.com::b9141605-49ff-443e-8af4-0c21e2766a66" providerId="AD" clId="Web-{7428E8B4-D062-D035-4AD3-7495C05DBFF1}" dt="2023-08-11T10:19:48.078" v="109" actId="20577"/>
          <ac:spMkLst>
            <pc:docMk/>
            <pc:sldMk cId="3132739966" sldId="2147479658"/>
            <ac:spMk id="65" creationId="{B8BE428C-8AE7-49FC-9BA6-AE88B8D3E047}"/>
          </ac:spMkLst>
        </pc:spChg>
        <pc:spChg chg="mod">
          <ac:chgData name="Immanuel J Daniel" userId="S::immanuel.johnston.daniel@ie.ey.com::b9141605-49ff-443e-8af4-0c21e2766a66" providerId="AD" clId="Web-{7428E8B4-D062-D035-4AD3-7495C05DBFF1}" dt="2023-08-11T10:19:43.750" v="106" actId="20577"/>
          <ac:spMkLst>
            <pc:docMk/>
            <pc:sldMk cId="3132739966" sldId="2147479658"/>
            <ac:spMk id="66" creationId="{F3F742D9-31EA-4812-A9F9-B29EDD285C41}"/>
          </ac:spMkLst>
        </pc:spChg>
        <pc:spChg chg="mod">
          <ac:chgData name="Immanuel J Daniel" userId="S::immanuel.johnston.daniel@ie.ey.com::b9141605-49ff-443e-8af4-0c21e2766a66" providerId="AD" clId="Web-{7428E8B4-D062-D035-4AD3-7495C05DBFF1}" dt="2023-08-11T10:19:36.844" v="103" actId="20577"/>
          <ac:spMkLst>
            <pc:docMk/>
            <pc:sldMk cId="3132739966" sldId="2147479658"/>
            <ac:spMk id="67" creationId="{59E59BA5-80D7-44D7-92F5-BEAB931D9B2A}"/>
          </ac:spMkLst>
        </pc:spChg>
        <pc:spChg chg="mod">
          <ac:chgData name="Immanuel J Daniel" userId="S::immanuel.johnston.daniel@ie.ey.com::b9141605-49ff-443e-8af4-0c21e2766a66" providerId="AD" clId="Web-{7428E8B4-D062-D035-4AD3-7495C05DBFF1}" dt="2023-08-11T10:19:30.922" v="101" actId="20577"/>
          <ac:spMkLst>
            <pc:docMk/>
            <pc:sldMk cId="3132739966" sldId="2147479658"/>
            <ac:spMk id="156" creationId="{49480E3F-C72F-4CF2-AE93-768826D154E2}"/>
          </ac:spMkLst>
        </pc:spChg>
      </pc:sldChg>
      <pc:sldChg chg="add del mod modShow">
        <pc:chgData name="Immanuel J Daniel" userId="S::immanuel.johnston.daniel@ie.ey.com::b9141605-49ff-443e-8af4-0c21e2766a66" providerId="AD" clId="Web-{7428E8B4-D062-D035-4AD3-7495C05DBFF1}" dt="2023-08-11T11:23:26.479" v="414"/>
        <pc:sldMkLst>
          <pc:docMk/>
          <pc:sldMk cId="532855713" sldId="2147479665"/>
        </pc:sldMkLst>
      </pc:sldChg>
      <pc:sldChg chg="modSp">
        <pc:chgData name="Immanuel J Daniel" userId="S::immanuel.johnston.daniel@ie.ey.com::b9141605-49ff-443e-8af4-0c21e2766a66" providerId="AD" clId="Web-{7428E8B4-D062-D035-4AD3-7495C05DBFF1}" dt="2023-08-11T11:24:25.186" v="428" actId="20577"/>
        <pc:sldMkLst>
          <pc:docMk/>
          <pc:sldMk cId="1992674941" sldId="2147479691"/>
        </pc:sldMkLst>
        <pc:spChg chg="mod">
          <ac:chgData name="Immanuel J Daniel" userId="S::immanuel.johnston.daniel@ie.ey.com::b9141605-49ff-443e-8af4-0c21e2766a66" providerId="AD" clId="Web-{7428E8B4-D062-D035-4AD3-7495C05DBFF1}" dt="2023-08-11T11:23:44.511" v="418" actId="20577"/>
          <ac:spMkLst>
            <pc:docMk/>
            <pc:sldMk cId="1992674941" sldId="2147479691"/>
            <ac:spMk id="156" creationId="{49480E3F-C72F-4CF2-AE93-768826D154E2}"/>
          </ac:spMkLst>
        </pc:spChg>
        <pc:spChg chg="mod">
          <ac:chgData name="Immanuel J Daniel" userId="S::immanuel.johnston.daniel@ie.ey.com::b9141605-49ff-443e-8af4-0c21e2766a66" providerId="AD" clId="Web-{7428E8B4-D062-D035-4AD3-7495C05DBFF1}" dt="2023-08-11T11:24:25.186" v="428" actId="20577"/>
          <ac:spMkLst>
            <pc:docMk/>
            <pc:sldMk cId="1992674941" sldId="2147479691"/>
            <ac:spMk id="157" creationId="{1A2FB8C4-5BEA-405B-BFFE-8B65C0BA244D}"/>
          </ac:spMkLst>
        </pc:spChg>
        <pc:spChg chg="mod">
          <ac:chgData name="Immanuel J Daniel" userId="S::immanuel.johnston.daniel@ie.ey.com::b9141605-49ff-443e-8af4-0c21e2766a66" providerId="AD" clId="Web-{7428E8B4-D062-D035-4AD3-7495C05DBFF1}" dt="2023-08-11T10:27:00.527" v="275" actId="20577"/>
          <ac:spMkLst>
            <pc:docMk/>
            <pc:sldMk cId="1992674941" sldId="2147479691"/>
            <ac:spMk id="158" creationId="{3232C906-214F-4637-B5C2-4A40E4E67E99}"/>
          </ac:spMkLst>
        </pc:spChg>
      </pc:sldChg>
    </pc:docChg>
  </pc:docChgLst>
  <pc:docChgLst>
    <pc:chgData name="Jeffrey Obi" userId="S::jeffrey.obi@ie.ey.com::488f269d-1fa2-455e-bf95-7695136a100d" providerId="AD" clId="Web-{6AAA4412-DF04-7C0C-C75E-8B94869AAA86}"/>
    <pc:docChg chg="addSld delSld modSld modSection">
      <pc:chgData name="Jeffrey Obi" userId="S::jeffrey.obi@ie.ey.com::488f269d-1fa2-455e-bf95-7695136a100d" providerId="AD" clId="Web-{6AAA4412-DF04-7C0C-C75E-8B94869AAA86}" dt="2023-07-31T11:22:25.166" v="300" actId="20577"/>
      <pc:docMkLst>
        <pc:docMk/>
      </pc:docMkLst>
      <pc:sldChg chg="modSp">
        <pc:chgData name="Jeffrey Obi" userId="S::jeffrey.obi@ie.ey.com::488f269d-1fa2-455e-bf95-7695136a100d" providerId="AD" clId="Web-{6AAA4412-DF04-7C0C-C75E-8B94869AAA86}" dt="2023-07-31T11:22:25.166" v="300" actId="20577"/>
        <pc:sldMkLst>
          <pc:docMk/>
          <pc:sldMk cId="4281992946" sldId="2147479607"/>
        </pc:sldMkLst>
        <pc:spChg chg="mod">
          <ac:chgData name="Jeffrey Obi" userId="S::jeffrey.obi@ie.ey.com::488f269d-1fa2-455e-bf95-7695136a100d" providerId="AD" clId="Web-{6AAA4412-DF04-7C0C-C75E-8B94869AAA86}" dt="2023-07-31T09:32:48.570" v="6" actId="20577"/>
          <ac:spMkLst>
            <pc:docMk/>
            <pc:sldMk cId="4281992946" sldId="2147479607"/>
            <ac:spMk id="11" creationId="{9EE04F04-F794-4453-963E-5CFBB6620A43}"/>
          </ac:spMkLst>
        </pc:spChg>
        <pc:spChg chg="mod">
          <ac:chgData name="Jeffrey Obi" userId="S::jeffrey.obi@ie.ey.com::488f269d-1fa2-455e-bf95-7695136a100d" providerId="AD" clId="Web-{6AAA4412-DF04-7C0C-C75E-8B94869AAA86}" dt="2023-07-31T11:20:22.974" v="255" actId="20577"/>
          <ac:spMkLst>
            <pc:docMk/>
            <pc:sldMk cId="4281992946" sldId="2147479607"/>
            <ac:spMk id="12" creationId="{FB93CF21-DAD5-4B79-9666-F5B05BE3DD14}"/>
          </ac:spMkLst>
        </pc:spChg>
        <pc:spChg chg="mod">
          <ac:chgData name="Jeffrey Obi" userId="S::jeffrey.obi@ie.ey.com::488f269d-1fa2-455e-bf95-7695136a100d" providerId="AD" clId="Web-{6AAA4412-DF04-7C0C-C75E-8B94869AAA86}" dt="2023-07-31T11:22:25.166" v="300" actId="20577"/>
          <ac:spMkLst>
            <pc:docMk/>
            <pc:sldMk cId="4281992946" sldId="2147479607"/>
            <ac:spMk id="13" creationId="{D642F10C-58A5-4B16-A89B-076AEE9416C7}"/>
          </ac:spMkLst>
        </pc:spChg>
      </pc:sldChg>
      <pc:sldChg chg="add del">
        <pc:chgData name="Jeffrey Obi" userId="S::jeffrey.obi@ie.ey.com::488f269d-1fa2-455e-bf95-7695136a100d" providerId="AD" clId="Web-{6AAA4412-DF04-7C0C-C75E-8B94869AAA86}" dt="2023-07-31T10:55:28.522" v="159"/>
        <pc:sldMkLst>
          <pc:docMk/>
          <pc:sldMk cId="835046836" sldId="2147479615"/>
        </pc:sldMkLst>
      </pc:sldChg>
      <pc:sldChg chg="del">
        <pc:chgData name="Jeffrey Obi" userId="S::jeffrey.obi@ie.ey.com::488f269d-1fa2-455e-bf95-7695136a100d" providerId="AD" clId="Web-{6AAA4412-DF04-7C0C-C75E-8B94869AAA86}" dt="2023-07-31T10:45:07.440" v="134"/>
        <pc:sldMkLst>
          <pc:docMk/>
          <pc:sldMk cId="1655326143" sldId="2147479636"/>
        </pc:sldMkLst>
      </pc:sldChg>
      <pc:sldChg chg="modSp">
        <pc:chgData name="Jeffrey Obi" userId="S::jeffrey.obi@ie.ey.com::488f269d-1fa2-455e-bf95-7695136a100d" providerId="AD" clId="Web-{6AAA4412-DF04-7C0C-C75E-8B94869AAA86}" dt="2023-07-31T09:35:22.154" v="133" actId="20577"/>
        <pc:sldMkLst>
          <pc:docMk/>
          <pc:sldMk cId="1066138" sldId="2147479646"/>
        </pc:sldMkLst>
        <pc:spChg chg="mod">
          <ac:chgData name="Jeffrey Obi" userId="S::jeffrey.obi@ie.ey.com::488f269d-1fa2-455e-bf95-7695136a100d" providerId="AD" clId="Web-{6AAA4412-DF04-7C0C-C75E-8B94869AAA86}" dt="2023-07-31T09:35:22.154" v="133" actId="20577"/>
          <ac:spMkLst>
            <pc:docMk/>
            <pc:sldMk cId="1066138" sldId="2147479646"/>
            <ac:spMk id="16" creationId="{E1F487BF-2DB8-5EDD-C394-30A9E2FAAF66}"/>
          </ac:spMkLst>
        </pc:spChg>
      </pc:sldChg>
    </pc:docChg>
  </pc:docChgLst>
  <pc:docChgLst>
    <pc:chgData name="Mick Mooney" userId="S::mick.mooney@ie.ey.com::e6518e4e-af4a-4bea-b39c-20489a1e5519" providerId="AD" clId="Web-{170B766B-8A36-4CE0-A1B7-D60B9CDCC949}"/>
    <pc:docChg chg="delSld modSection">
      <pc:chgData name="Mick Mooney" userId="S::mick.mooney@ie.ey.com::e6518e4e-af4a-4bea-b39c-20489a1e5519" providerId="AD" clId="Web-{170B766B-8A36-4CE0-A1B7-D60B9CDCC949}" dt="2023-07-24T10:03:31.294" v="0"/>
      <pc:docMkLst>
        <pc:docMk/>
      </pc:docMkLst>
      <pc:sldChg chg="del">
        <pc:chgData name="Mick Mooney" userId="S::mick.mooney@ie.ey.com::e6518e4e-af4a-4bea-b39c-20489a1e5519" providerId="AD" clId="Web-{170B766B-8A36-4CE0-A1B7-D60B9CDCC949}" dt="2023-07-24T10:03:31.294" v="0"/>
        <pc:sldMkLst>
          <pc:docMk/>
          <pc:sldMk cId="3677451330" sldId="2147473122"/>
        </pc:sldMkLst>
      </pc:sldChg>
    </pc:docChg>
  </pc:docChgLst>
  <pc:docChgLst>
    <pc:chgData name="Ahmed Helmy" userId="S::ahmed.helmy@ie.ey.com::00ab2dc9-190a-451b-8f35-a658adf790b2" providerId="AD" clId="Web-{10CD1672-283C-3F62-81FD-BB6DD3758C50}"/>
    <pc:docChg chg="addSld delSld modSld modSection">
      <pc:chgData name="Ahmed Helmy" userId="S::ahmed.helmy@ie.ey.com::00ab2dc9-190a-451b-8f35-a658adf790b2" providerId="AD" clId="Web-{10CD1672-283C-3F62-81FD-BB6DD3758C50}" dt="2023-07-27T13:33:01.294" v="379" actId="1076"/>
      <pc:docMkLst>
        <pc:docMk/>
      </pc:docMkLst>
      <pc:sldChg chg="modSp">
        <pc:chgData name="Ahmed Helmy" userId="S::ahmed.helmy@ie.ey.com::00ab2dc9-190a-451b-8f35-a658adf790b2" providerId="AD" clId="Web-{10CD1672-283C-3F62-81FD-BB6DD3758C50}" dt="2023-07-27T10:05:23.426" v="195" actId="1076"/>
        <pc:sldMkLst>
          <pc:docMk/>
          <pc:sldMk cId="946023888" sldId="2147479621"/>
        </pc:sldMkLst>
        <pc:spChg chg="mod">
          <ac:chgData name="Ahmed Helmy" userId="S::ahmed.helmy@ie.ey.com::00ab2dc9-190a-451b-8f35-a658adf790b2" providerId="AD" clId="Web-{10CD1672-283C-3F62-81FD-BB6DD3758C50}" dt="2023-07-27T10:05:14.317" v="193" actId="20577"/>
          <ac:spMkLst>
            <pc:docMk/>
            <pc:sldMk cId="946023888" sldId="2147479621"/>
            <ac:spMk id="6" creationId="{E2571F8B-AD2A-D600-602E-DB30E505AC01}"/>
          </ac:spMkLst>
        </pc:spChg>
        <pc:picChg chg="mod">
          <ac:chgData name="Ahmed Helmy" userId="S::ahmed.helmy@ie.ey.com::00ab2dc9-190a-451b-8f35-a658adf790b2" providerId="AD" clId="Web-{10CD1672-283C-3F62-81FD-BB6DD3758C50}" dt="2023-07-27T10:05:23.426" v="195" actId="1076"/>
          <ac:picMkLst>
            <pc:docMk/>
            <pc:sldMk cId="946023888" sldId="2147479621"/>
            <ac:picMk id="11" creationId="{C4D40C43-4B75-6C94-52AB-F6770A07F9D5}"/>
          </ac:picMkLst>
        </pc:picChg>
      </pc:sldChg>
      <pc:sldChg chg="addSp delSp modSp">
        <pc:chgData name="Ahmed Helmy" userId="S::ahmed.helmy@ie.ey.com::00ab2dc9-190a-451b-8f35-a658adf790b2" providerId="AD" clId="Web-{10CD1672-283C-3F62-81FD-BB6DD3758C50}" dt="2023-07-27T13:33:01.294" v="379" actId="1076"/>
        <pc:sldMkLst>
          <pc:docMk/>
          <pc:sldMk cId="523484127" sldId="2147479637"/>
        </pc:sldMkLst>
        <pc:spChg chg="mod">
          <ac:chgData name="Ahmed Helmy" userId="S::ahmed.helmy@ie.ey.com::00ab2dc9-190a-451b-8f35-a658adf790b2" providerId="AD" clId="Web-{10CD1672-283C-3F62-81FD-BB6DD3758C50}" dt="2023-07-27T08:52:09.613" v="32" actId="20577"/>
          <ac:spMkLst>
            <pc:docMk/>
            <pc:sldMk cId="523484127" sldId="2147479637"/>
            <ac:spMk id="3" creationId="{CFB267DA-7178-6B10-B032-0214E0933B7B}"/>
          </ac:spMkLst>
        </pc:spChg>
        <pc:spChg chg="mod">
          <ac:chgData name="Ahmed Helmy" userId="S::ahmed.helmy@ie.ey.com::00ab2dc9-190a-451b-8f35-a658adf790b2" providerId="AD" clId="Web-{10CD1672-283C-3F62-81FD-BB6DD3758C50}" dt="2023-07-27T13:30:08.023" v="277" actId="20577"/>
          <ac:spMkLst>
            <pc:docMk/>
            <pc:sldMk cId="523484127" sldId="2147479637"/>
            <ac:spMk id="7" creationId="{A363E02E-F8EA-D923-9477-A1BB92AE3601}"/>
          </ac:spMkLst>
        </pc:spChg>
        <pc:spChg chg="mod">
          <ac:chgData name="Ahmed Helmy" userId="S::ahmed.helmy@ie.ey.com::00ab2dc9-190a-451b-8f35-a658adf790b2" providerId="AD" clId="Web-{10CD1672-283C-3F62-81FD-BB6DD3758C50}" dt="2023-07-27T10:18:03.531" v="269" actId="20577"/>
          <ac:spMkLst>
            <pc:docMk/>
            <pc:sldMk cId="523484127" sldId="2147479637"/>
            <ac:spMk id="8" creationId="{7824D54C-15D2-467C-A016-166944D0781C}"/>
          </ac:spMkLst>
        </pc:spChg>
        <pc:spChg chg="add del mod">
          <ac:chgData name="Ahmed Helmy" userId="S::ahmed.helmy@ie.ey.com::00ab2dc9-190a-451b-8f35-a658adf790b2" providerId="AD" clId="Web-{10CD1672-283C-3F62-81FD-BB6DD3758C50}" dt="2023-07-27T13:31:40.026" v="378" actId="20577"/>
          <ac:spMkLst>
            <pc:docMk/>
            <pc:sldMk cId="523484127" sldId="2147479637"/>
            <ac:spMk id="10" creationId="{FBFA8DAE-1093-AD7D-A547-843DB0D98E19}"/>
          </ac:spMkLst>
        </pc:spChg>
        <pc:picChg chg="mod">
          <ac:chgData name="Ahmed Helmy" userId="S::ahmed.helmy@ie.ey.com::00ab2dc9-190a-451b-8f35-a658adf790b2" providerId="AD" clId="Web-{10CD1672-283C-3F62-81FD-BB6DD3758C50}" dt="2023-07-27T13:33:01.294" v="379" actId="1076"/>
          <ac:picMkLst>
            <pc:docMk/>
            <pc:sldMk cId="523484127" sldId="2147479637"/>
            <ac:picMk id="6" creationId="{58D3B64C-AC1E-0937-0195-DF123D4DB712}"/>
          </ac:picMkLst>
        </pc:picChg>
      </pc:sldChg>
      <pc:sldChg chg="addSp delSp modSp add del replId">
        <pc:chgData name="Ahmed Helmy" userId="S::ahmed.helmy@ie.ey.com::00ab2dc9-190a-451b-8f35-a658adf790b2" providerId="AD" clId="Web-{10CD1672-283C-3F62-81FD-BB6DD3758C50}" dt="2023-07-27T09:55:03.795" v="54"/>
        <pc:sldMkLst>
          <pc:docMk/>
          <pc:sldMk cId="527843724" sldId="2147479646"/>
        </pc:sldMkLst>
        <pc:picChg chg="add del mod">
          <ac:chgData name="Ahmed Helmy" userId="S::ahmed.helmy@ie.ey.com::00ab2dc9-190a-451b-8f35-a658adf790b2" providerId="AD" clId="Web-{10CD1672-283C-3F62-81FD-BB6DD3758C50}" dt="2023-07-27T09:09:58.435" v="43"/>
          <ac:picMkLst>
            <pc:docMk/>
            <pc:sldMk cId="527843724" sldId="2147479646"/>
            <ac:picMk id="5" creationId="{2A0D705F-F95A-244B-734C-8686BEEF268A}"/>
          </ac:picMkLst>
        </pc:picChg>
        <pc:picChg chg="del">
          <ac:chgData name="Ahmed Helmy" userId="S::ahmed.helmy@ie.ey.com::00ab2dc9-190a-451b-8f35-a658adf790b2" providerId="AD" clId="Web-{10CD1672-283C-3F62-81FD-BB6DD3758C50}" dt="2023-07-27T09:08:27.496" v="34"/>
          <ac:picMkLst>
            <pc:docMk/>
            <pc:sldMk cId="527843724" sldId="2147479646"/>
            <ac:picMk id="6" creationId="{58D3B64C-AC1E-0937-0195-DF123D4DB712}"/>
          </ac:picMkLst>
        </pc:picChg>
        <pc:picChg chg="add del mod">
          <ac:chgData name="Ahmed Helmy" userId="S::ahmed.helmy@ie.ey.com::00ab2dc9-190a-451b-8f35-a658adf790b2" providerId="AD" clId="Web-{10CD1672-283C-3F62-81FD-BB6DD3758C50}" dt="2023-07-27T09:13:17.846" v="48"/>
          <ac:picMkLst>
            <pc:docMk/>
            <pc:sldMk cId="527843724" sldId="2147479646"/>
            <ac:picMk id="11" creationId="{5315931B-CA9E-E9CA-6A97-50FF6C63D87E}"/>
          </ac:picMkLst>
        </pc:picChg>
        <pc:picChg chg="add mod">
          <ac:chgData name="Ahmed Helmy" userId="S::ahmed.helmy@ie.ey.com::00ab2dc9-190a-451b-8f35-a658adf790b2" providerId="AD" clId="Web-{10CD1672-283C-3F62-81FD-BB6DD3758C50}" dt="2023-07-27T09:13:34.378" v="53" actId="14100"/>
          <ac:picMkLst>
            <pc:docMk/>
            <pc:sldMk cId="527843724" sldId="2147479646"/>
            <ac:picMk id="12" creationId="{0E29687C-3C64-5411-E2E0-DEE5E9776E6D}"/>
          </ac:picMkLst>
        </pc:picChg>
      </pc:sldChg>
    </pc:docChg>
  </pc:docChgLst>
  <pc:docChgLst>
    <pc:chgData name="Immanuel J Daniel" userId="S::immanuel.johnston.daniel@ie.ey.com::b9141605-49ff-443e-8af4-0c21e2766a66" providerId="AD" clId="Web-{0D70AE22-D2EE-7AA9-A2BF-B63C686068B2}"/>
    <pc:docChg chg="addSld delSld modSld sldOrd addSection delSection modSection">
      <pc:chgData name="Immanuel J Daniel" userId="S::immanuel.johnston.daniel@ie.ey.com::b9141605-49ff-443e-8af4-0c21e2766a66" providerId="AD" clId="Web-{0D70AE22-D2EE-7AA9-A2BF-B63C686068B2}" dt="2023-08-15T10:41:22.657" v="323" actId="20577"/>
      <pc:docMkLst>
        <pc:docMk/>
      </pc:docMkLst>
      <pc:sldChg chg="modSp">
        <pc:chgData name="Immanuel J Daniel" userId="S::immanuel.johnston.daniel@ie.ey.com::b9141605-49ff-443e-8af4-0c21e2766a66" providerId="AD" clId="Web-{0D70AE22-D2EE-7AA9-A2BF-B63C686068B2}" dt="2023-08-15T08:41:00.944" v="26" actId="20577"/>
        <pc:sldMkLst>
          <pc:docMk/>
          <pc:sldMk cId="3505510019" sldId="2142535109"/>
        </pc:sldMkLst>
        <pc:spChg chg="mod">
          <ac:chgData name="Immanuel J Daniel" userId="S::immanuel.johnston.daniel@ie.ey.com::b9141605-49ff-443e-8af4-0c21e2766a66" providerId="AD" clId="Web-{0D70AE22-D2EE-7AA9-A2BF-B63C686068B2}" dt="2023-08-15T08:41:00.944" v="26" actId="20577"/>
          <ac:spMkLst>
            <pc:docMk/>
            <pc:sldMk cId="3505510019" sldId="2142535109"/>
            <ac:spMk id="3" creationId="{54653C93-EE7D-BEDF-D2B4-67B3FBB2F9ED}"/>
          </ac:spMkLst>
        </pc:spChg>
      </pc:sldChg>
      <pc:sldChg chg="modSp">
        <pc:chgData name="Immanuel J Daniel" userId="S::immanuel.johnston.daniel@ie.ey.com::b9141605-49ff-443e-8af4-0c21e2766a66" providerId="AD" clId="Web-{0D70AE22-D2EE-7AA9-A2BF-B63C686068B2}" dt="2023-08-15T09:11:07.959" v="165" actId="20577"/>
        <pc:sldMkLst>
          <pc:docMk/>
          <pc:sldMk cId="1569982749" sldId="2142535160"/>
        </pc:sldMkLst>
        <pc:spChg chg="mod">
          <ac:chgData name="Immanuel J Daniel" userId="S::immanuel.johnston.daniel@ie.ey.com::b9141605-49ff-443e-8af4-0c21e2766a66" providerId="AD" clId="Web-{0D70AE22-D2EE-7AA9-A2BF-B63C686068B2}" dt="2023-08-15T09:10:44.473" v="149" actId="20577"/>
          <ac:spMkLst>
            <pc:docMk/>
            <pc:sldMk cId="1569982749" sldId="2142535160"/>
            <ac:spMk id="2" creationId="{F6509F0A-76E8-327B-FC3F-309E67BA2FF6}"/>
          </ac:spMkLst>
        </pc:spChg>
        <pc:spChg chg="mod">
          <ac:chgData name="Immanuel J Daniel" userId="S::immanuel.johnston.daniel@ie.ey.com::b9141605-49ff-443e-8af4-0c21e2766a66" providerId="AD" clId="Web-{0D70AE22-D2EE-7AA9-A2BF-B63C686068B2}" dt="2023-08-15T09:10:49.224" v="151" actId="20577"/>
          <ac:spMkLst>
            <pc:docMk/>
            <pc:sldMk cId="1569982749" sldId="2142535160"/>
            <ac:spMk id="4" creationId="{000C7826-6AF1-7E39-A47F-526D03FE600C}"/>
          </ac:spMkLst>
        </pc:spChg>
        <pc:spChg chg="mod">
          <ac:chgData name="Immanuel J Daniel" userId="S::immanuel.johnston.daniel@ie.ey.com::b9141605-49ff-443e-8af4-0c21e2766a66" providerId="AD" clId="Web-{0D70AE22-D2EE-7AA9-A2BF-B63C686068B2}" dt="2023-08-15T09:10:51.864" v="153" actId="20577"/>
          <ac:spMkLst>
            <pc:docMk/>
            <pc:sldMk cId="1569982749" sldId="2142535160"/>
            <ac:spMk id="5" creationId="{A078B296-1339-EF0E-8B97-0A3F7D290E85}"/>
          </ac:spMkLst>
        </pc:spChg>
        <pc:spChg chg="mod">
          <ac:chgData name="Immanuel J Daniel" userId="S::immanuel.johnston.daniel@ie.ey.com::b9141605-49ff-443e-8af4-0c21e2766a66" providerId="AD" clId="Web-{0D70AE22-D2EE-7AA9-A2BF-B63C686068B2}" dt="2023-08-15T09:10:40.286" v="147" actId="20577"/>
          <ac:spMkLst>
            <pc:docMk/>
            <pc:sldMk cId="1569982749" sldId="2142535160"/>
            <ac:spMk id="6" creationId="{EBEE682B-1E19-CF06-7594-CC49321CD03C}"/>
          </ac:spMkLst>
        </pc:spChg>
        <pc:spChg chg="mod">
          <ac:chgData name="Immanuel J Daniel" userId="S::immanuel.johnston.daniel@ie.ey.com::b9141605-49ff-443e-8af4-0c21e2766a66" providerId="AD" clId="Web-{0D70AE22-D2EE-7AA9-A2BF-B63C686068B2}" dt="2023-08-15T09:10:57.927" v="158" actId="20577"/>
          <ac:spMkLst>
            <pc:docMk/>
            <pc:sldMk cId="1569982749" sldId="2142535160"/>
            <ac:spMk id="7" creationId="{D71FA9BF-0556-4B9F-2478-AE1D12F37622}"/>
          </ac:spMkLst>
        </pc:spChg>
        <pc:spChg chg="mod">
          <ac:chgData name="Immanuel J Daniel" userId="S::immanuel.johnston.daniel@ie.ey.com::b9141605-49ff-443e-8af4-0c21e2766a66" providerId="AD" clId="Web-{0D70AE22-D2EE-7AA9-A2BF-B63C686068B2}" dt="2023-08-15T09:11:02.099" v="160" actId="20577"/>
          <ac:spMkLst>
            <pc:docMk/>
            <pc:sldMk cId="1569982749" sldId="2142535160"/>
            <ac:spMk id="8" creationId="{E12EEEA3-3A6E-6214-C4F1-E6B7F7A74428}"/>
          </ac:spMkLst>
        </pc:spChg>
        <pc:spChg chg="mod">
          <ac:chgData name="Immanuel J Daniel" userId="S::immanuel.johnston.daniel@ie.ey.com::b9141605-49ff-443e-8af4-0c21e2766a66" providerId="AD" clId="Web-{0D70AE22-D2EE-7AA9-A2BF-B63C686068B2}" dt="2023-08-15T09:11:04.724" v="162" actId="20577"/>
          <ac:spMkLst>
            <pc:docMk/>
            <pc:sldMk cId="1569982749" sldId="2142535160"/>
            <ac:spMk id="9" creationId="{55131403-E4D8-2361-C0CB-0DF4FCE57829}"/>
          </ac:spMkLst>
        </pc:spChg>
        <pc:spChg chg="mod">
          <ac:chgData name="Immanuel J Daniel" userId="S::immanuel.johnston.daniel@ie.ey.com::b9141605-49ff-443e-8af4-0c21e2766a66" providerId="AD" clId="Web-{0D70AE22-D2EE-7AA9-A2BF-B63C686068B2}" dt="2023-08-15T09:11:07.959" v="165" actId="20577"/>
          <ac:spMkLst>
            <pc:docMk/>
            <pc:sldMk cId="1569982749" sldId="2142535160"/>
            <ac:spMk id="10" creationId="{292E391F-1670-B595-B769-37D3BB7E8238}"/>
          </ac:spMkLst>
        </pc:spChg>
        <pc:spChg chg="mod">
          <ac:chgData name="Immanuel J Daniel" userId="S::immanuel.johnston.daniel@ie.ey.com::b9141605-49ff-443e-8af4-0c21e2766a66" providerId="AD" clId="Web-{0D70AE22-D2EE-7AA9-A2BF-B63C686068B2}" dt="2023-08-15T09:10:03.378" v="135" actId="20577"/>
          <ac:spMkLst>
            <pc:docMk/>
            <pc:sldMk cId="1569982749" sldId="2142535160"/>
            <ac:spMk id="40" creationId="{55B40B82-7AEB-4E80-8EF6-B341CDA3A308}"/>
          </ac:spMkLst>
        </pc:spChg>
        <pc:spChg chg="mod">
          <ac:chgData name="Immanuel J Daniel" userId="S::immanuel.johnston.daniel@ie.ey.com::b9141605-49ff-443e-8af4-0c21e2766a66" providerId="AD" clId="Web-{0D70AE22-D2EE-7AA9-A2BF-B63C686068B2}" dt="2023-08-15T09:10:24.488" v="138" actId="20577"/>
          <ac:spMkLst>
            <pc:docMk/>
            <pc:sldMk cId="1569982749" sldId="2142535160"/>
            <ac:spMk id="41" creationId="{B6D55723-E75F-4003-B079-9C36419AD28F}"/>
          </ac:spMkLst>
        </pc:spChg>
        <pc:spChg chg="mod">
          <ac:chgData name="Immanuel J Daniel" userId="S::immanuel.johnston.daniel@ie.ey.com::b9141605-49ff-443e-8af4-0c21e2766a66" providerId="AD" clId="Web-{0D70AE22-D2EE-7AA9-A2BF-B63C686068B2}" dt="2023-08-15T09:10:30.614" v="141" actId="20577"/>
          <ac:spMkLst>
            <pc:docMk/>
            <pc:sldMk cId="1569982749" sldId="2142535160"/>
            <ac:spMk id="42" creationId="{6FB47840-2903-46BB-8088-444E1E89EB9B}"/>
          </ac:spMkLst>
        </pc:spChg>
        <pc:spChg chg="mod">
          <ac:chgData name="Immanuel J Daniel" userId="S::immanuel.johnston.daniel@ie.ey.com::b9141605-49ff-443e-8af4-0c21e2766a66" providerId="AD" clId="Web-{0D70AE22-D2EE-7AA9-A2BF-B63C686068B2}" dt="2023-08-15T09:10:36.161" v="144" actId="20577"/>
          <ac:spMkLst>
            <pc:docMk/>
            <pc:sldMk cId="1569982749" sldId="2142535160"/>
            <ac:spMk id="43" creationId="{F70A18C1-6F7D-4357-8FFF-E2A5F5CE8D8F}"/>
          </ac:spMkLst>
        </pc:spChg>
      </pc:sldChg>
      <pc:sldChg chg="del">
        <pc:chgData name="Immanuel J Daniel" userId="S::immanuel.johnston.daniel@ie.ey.com::b9141605-49ff-443e-8af4-0c21e2766a66" providerId="AD" clId="Web-{0D70AE22-D2EE-7AA9-A2BF-B63C686068B2}" dt="2023-08-15T09:20:56.994" v="167"/>
        <pc:sldMkLst>
          <pc:docMk/>
          <pc:sldMk cId="1500833212" sldId="2142535223"/>
        </pc:sldMkLst>
      </pc:sldChg>
      <pc:sldChg chg="modSp">
        <pc:chgData name="Immanuel J Daniel" userId="S::immanuel.johnston.daniel@ie.ey.com::b9141605-49ff-443e-8af4-0c21e2766a66" providerId="AD" clId="Web-{0D70AE22-D2EE-7AA9-A2BF-B63C686068B2}" dt="2023-08-15T10:22:01.405" v="179" actId="20577"/>
        <pc:sldMkLst>
          <pc:docMk/>
          <pc:sldMk cId="4150608312" sldId="2147473035"/>
        </pc:sldMkLst>
        <pc:spChg chg="mod">
          <ac:chgData name="Immanuel J Daniel" userId="S::immanuel.johnston.daniel@ie.ey.com::b9141605-49ff-443e-8af4-0c21e2766a66" providerId="AD" clId="Web-{0D70AE22-D2EE-7AA9-A2BF-B63C686068B2}" dt="2023-08-15T10:21:34.341" v="172" actId="20577"/>
          <ac:spMkLst>
            <pc:docMk/>
            <pc:sldMk cId="4150608312" sldId="2147473035"/>
            <ac:spMk id="2" creationId="{9383066B-12A0-4434-BE3B-106D76B9E30E}"/>
          </ac:spMkLst>
        </pc:spChg>
        <pc:spChg chg="mod">
          <ac:chgData name="Immanuel J Daniel" userId="S::immanuel.johnston.daniel@ie.ey.com::b9141605-49ff-443e-8af4-0c21e2766a66" providerId="AD" clId="Web-{0D70AE22-D2EE-7AA9-A2BF-B63C686068B2}" dt="2023-08-15T10:21:38.373" v="173" actId="20577"/>
          <ac:spMkLst>
            <pc:docMk/>
            <pc:sldMk cId="4150608312" sldId="2147473035"/>
            <ac:spMk id="145" creationId="{641134F1-8847-43CC-B778-837C93B60F0D}"/>
          </ac:spMkLst>
        </pc:spChg>
        <pc:spChg chg="mod">
          <ac:chgData name="Immanuel J Daniel" userId="S::immanuel.johnston.daniel@ie.ey.com::b9141605-49ff-443e-8af4-0c21e2766a66" providerId="AD" clId="Web-{0D70AE22-D2EE-7AA9-A2BF-B63C686068B2}" dt="2023-08-15T10:21:57.686" v="176" actId="20577"/>
          <ac:spMkLst>
            <pc:docMk/>
            <pc:sldMk cId="4150608312" sldId="2147473035"/>
            <ac:spMk id="146" creationId="{5D3BCF11-5966-4321-9695-17B622FAF2D5}"/>
          </ac:spMkLst>
        </pc:spChg>
        <pc:spChg chg="mod">
          <ac:chgData name="Immanuel J Daniel" userId="S::immanuel.johnston.daniel@ie.ey.com::b9141605-49ff-443e-8af4-0c21e2766a66" providerId="AD" clId="Web-{0D70AE22-D2EE-7AA9-A2BF-B63C686068B2}" dt="2023-08-15T10:22:01.405" v="179" actId="20577"/>
          <ac:spMkLst>
            <pc:docMk/>
            <pc:sldMk cId="4150608312" sldId="2147473035"/>
            <ac:spMk id="148" creationId="{507B09CA-94F1-4D2D-BFC8-3E7949079F26}"/>
          </ac:spMkLst>
        </pc:spChg>
      </pc:sldChg>
      <pc:sldChg chg="modCm">
        <pc:chgData name="Immanuel J Daniel" userId="S::immanuel.johnston.daniel@ie.ey.com::b9141605-49ff-443e-8af4-0c21e2766a66" providerId="AD" clId="Web-{0D70AE22-D2EE-7AA9-A2BF-B63C686068B2}" dt="2023-08-15T08:41:24.976" v="28"/>
        <pc:sldMkLst>
          <pc:docMk/>
          <pc:sldMk cId="3270732291" sldId="2147473086"/>
        </pc:sldMkLst>
        <pc:extLst>
          <p:ext xmlns:p="http://schemas.openxmlformats.org/presentationml/2006/main" uri="{D6D511B9-2390-475A-947B-AFAB55BFBCF1}">
            <pc226:cmChg xmlns="" xmlns:pc226="http://schemas.microsoft.com/office/powerpoint/2022/06/main/command" chg="mod">
              <pc226:chgData name="Immanuel J Daniel" userId="S::immanuel.johnston.daniel@ie.ey.com::b9141605-49ff-443e-8af4-0c21e2766a66" providerId="AD" clId="Web-{0D70AE22-D2EE-7AA9-A2BF-B63C686068B2}" dt="2023-08-15T08:41:20.382" v="27"/>
              <pc2:cmMkLst xmlns:pc2="http://schemas.microsoft.com/office/powerpoint/2019/9/main/command">
                <pc:docMk/>
                <pc:sldMk cId="3270732291" sldId="2147473086"/>
                <pc2:cmMk id="{597E734A-33AD-418F-A1A0-2E8ED3949958}"/>
              </pc2:cmMkLst>
            </pc226:cmChg>
            <pc226:cmChg xmlns="" xmlns:pc226="http://schemas.microsoft.com/office/powerpoint/2022/06/main/command" chg="mod">
              <pc226:chgData name="Immanuel J Daniel" userId="S::immanuel.johnston.daniel@ie.ey.com::b9141605-49ff-443e-8af4-0c21e2766a66" providerId="AD" clId="Web-{0D70AE22-D2EE-7AA9-A2BF-B63C686068B2}" dt="2023-08-15T08:41:24.976" v="28"/>
              <pc2:cmMkLst xmlns:pc2="http://schemas.microsoft.com/office/powerpoint/2019/9/main/command">
                <pc:docMk/>
                <pc:sldMk cId="3270732291" sldId="2147473086"/>
                <pc2:cmMk id="{8F60F54B-B2C7-4FE1-AD57-2639F88F4925}"/>
              </pc2:cmMkLst>
            </pc226:cmChg>
          </p:ext>
        </pc:extLst>
      </pc:sldChg>
      <pc:sldChg chg="modCm">
        <pc:chgData name="Immanuel J Daniel" userId="S::immanuel.johnston.daniel@ie.ey.com::b9141605-49ff-443e-8af4-0c21e2766a66" providerId="AD" clId="Web-{0D70AE22-D2EE-7AA9-A2BF-B63C686068B2}" dt="2023-08-15T08:41:47.664" v="29"/>
        <pc:sldMkLst>
          <pc:docMk/>
          <pc:sldMk cId="2943416714" sldId="2147473090"/>
        </pc:sldMkLst>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0D70AE22-D2EE-7AA9-A2BF-B63C686068B2}" dt="2023-08-15T08:41:47.664" v="29"/>
              <pc2:cmMkLst xmlns:pc2="http://schemas.microsoft.com/office/powerpoint/2019/9/main/command">
                <pc:docMk/>
                <pc:sldMk cId="2943416714" sldId="2147473090"/>
                <pc2:cmMk id="{5D404E63-EE13-4603-9885-B29E52E4D284}"/>
              </pc2:cmMkLst>
              <pc226:cmRplyChg chg="add">
                <pc226:chgData name="Immanuel J Daniel" userId="S::immanuel.johnston.daniel@ie.ey.com::b9141605-49ff-443e-8af4-0c21e2766a66" providerId="AD" clId="Web-{0D70AE22-D2EE-7AA9-A2BF-B63C686068B2}" dt="2023-08-15T08:41:47.664" v="29"/>
                <pc2:cmRplyMkLst xmlns:pc2="http://schemas.microsoft.com/office/powerpoint/2019/9/main/command">
                  <pc:docMk/>
                  <pc:sldMk cId="2943416714" sldId="2147473090"/>
                  <pc2:cmMk id="{5D404E63-EE13-4603-9885-B29E52E4D284}"/>
                  <pc2:cmRplyMk id="{88BF7E04-7A36-42E8-A882-D3B5D08B79FE}"/>
                </pc2:cmRplyMkLst>
              </pc226:cmRplyChg>
            </pc226:cmChg>
          </p:ext>
        </pc:extLst>
      </pc:sldChg>
      <pc:sldChg chg="modCm">
        <pc:chgData name="Immanuel J Daniel" userId="S::immanuel.johnston.daniel@ie.ey.com::b9141605-49ff-443e-8af4-0c21e2766a66" providerId="AD" clId="Web-{0D70AE22-D2EE-7AA9-A2BF-B63C686068B2}" dt="2023-08-15T09:21:03.885" v="168"/>
        <pc:sldMkLst>
          <pc:docMk/>
          <pc:sldMk cId="3987827024" sldId="2147473095"/>
        </pc:sldMkLst>
        <pc:extLst>
          <p:ext xmlns:p="http://schemas.openxmlformats.org/presentationml/2006/main" uri="{D6D511B9-2390-475A-947B-AFAB55BFBCF1}">
            <pc226:cmChg xmlns="" xmlns:pc226="http://schemas.microsoft.com/office/powerpoint/2022/06/main/command" chg="mod">
              <pc226:chgData name="Immanuel J Daniel" userId="S::immanuel.johnston.daniel@ie.ey.com::b9141605-49ff-443e-8af4-0c21e2766a66" providerId="AD" clId="Web-{0D70AE22-D2EE-7AA9-A2BF-B63C686068B2}" dt="2023-08-15T09:21:03.885" v="168"/>
              <pc2:cmMkLst xmlns:pc2="http://schemas.microsoft.com/office/powerpoint/2019/9/main/command">
                <pc:docMk/>
                <pc:sldMk cId="3987827024" sldId="2147473095"/>
                <pc2:cmMk id="{1D65E0F7-A2D5-4BA9-9EEF-99110C08FFBA}"/>
              </pc2:cmMkLst>
            </pc226:cmChg>
          </p:ext>
        </pc:extLst>
      </pc:sldChg>
      <pc:sldChg chg="modSp">
        <pc:chgData name="Immanuel J Daniel" userId="S::immanuel.johnston.daniel@ie.ey.com::b9141605-49ff-443e-8af4-0c21e2766a66" providerId="AD" clId="Web-{0D70AE22-D2EE-7AA9-A2BF-B63C686068B2}" dt="2023-08-15T10:25:07.222" v="275" actId="20577"/>
        <pc:sldMkLst>
          <pc:docMk/>
          <pc:sldMk cId="2659308583" sldId="2147473105"/>
        </pc:sldMkLst>
        <pc:spChg chg="mod">
          <ac:chgData name="Immanuel J Daniel" userId="S::immanuel.johnston.daniel@ie.ey.com::b9141605-49ff-443e-8af4-0c21e2766a66" providerId="AD" clId="Web-{0D70AE22-D2EE-7AA9-A2BF-B63C686068B2}" dt="2023-08-15T10:25:07.222" v="275" actId="20577"/>
          <ac:spMkLst>
            <pc:docMk/>
            <pc:sldMk cId="2659308583" sldId="2147473105"/>
            <ac:spMk id="4" creationId="{E432C490-8501-4DEB-9800-36DD8F00D9DA}"/>
          </ac:spMkLst>
        </pc:spChg>
      </pc:sldChg>
      <pc:sldChg chg="modSp">
        <pc:chgData name="Immanuel J Daniel" userId="S::immanuel.johnston.daniel@ie.ey.com::b9141605-49ff-443e-8af4-0c21e2766a66" providerId="AD" clId="Web-{0D70AE22-D2EE-7AA9-A2BF-B63C686068B2}" dt="2023-08-15T09:08:19.765" v="91" actId="20577"/>
        <pc:sldMkLst>
          <pc:docMk/>
          <pc:sldMk cId="2703490332" sldId="2147473150"/>
        </pc:sldMkLst>
        <pc:spChg chg="mod">
          <ac:chgData name="Immanuel J Daniel" userId="S::immanuel.johnston.daniel@ie.ey.com::b9141605-49ff-443e-8af4-0c21e2766a66" providerId="AD" clId="Web-{0D70AE22-D2EE-7AA9-A2BF-B63C686068B2}" dt="2023-08-15T09:08:01.968" v="87" actId="1076"/>
          <ac:spMkLst>
            <pc:docMk/>
            <pc:sldMk cId="2703490332" sldId="2147473150"/>
            <ac:spMk id="12" creationId="{F6E8B279-1398-B4F2-2F45-A63F0E17D8AD}"/>
          </ac:spMkLst>
        </pc:spChg>
        <pc:spChg chg="mod">
          <ac:chgData name="Immanuel J Daniel" userId="S::immanuel.johnston.daniel@ie.ey.com::b9141605-49ff-443e-8af4-0c21e2766a66" providerId="AD" clId="Web-{0D70AE22-D2EE-7AA9-A2BF-B63C686068B2}" dt="2023-08-15T09:08:19.765" v="91" actId="20577"/>
          <ac:spMkLst>
            <pc:docMk/>
            <pc:sldMk cId="2703490332" sldId="2147473150"/>
            <ac:spMk id="13" creationId="{520F0468-A3AA-F93D-4825-530FAB52C9CB}"/>
          </ac:spMkLst>
        </pc:spChg>
      </pc:sldChg>
      <pc:sldChg chg="del">
        <pc:chgData name="Immanuel J Daniel" userId="S::immanuel.johnston.daniel@ie.ey.com::b9141605-49ff-443e-8af4-0c21e2766a66" providerId="AD" clId="Web-{0D70AE22-D2EE-7AA9-A2BF-B63C686068B2}" dt="2023-08-15T09:20:48.525" v="166"/>
        <pc:sldMkLst>
          <pc:docMk/>
          <pc:sldMk cId="1981180335" sldId="2147479604"/>
        </pc:sldMkLst>
      </pc:sldChg>
      <pc:sldChg chg="mod modShow">
        <pc:chgData name="Immanuel J Daniel" userId="S::immanuel.johnston.daniel@ie.ey.com::b9141605-49ff-443e-8af4-0c21e2766a66" providerId="AD" clId="Web-{0D70AE22-D2EE-7AA9-A2BF-B63C686068B2}" dt="2023-08-15T09:05:20.587" v="35"/>
        <pc:sldMkLst>
          <pc:docMk/>
          <pc:sldMk cId="2074381867" sldId="2147479609"/>
        </pc:sldMkLst>
      </pc:sldChg>
      <pc:sldChg chg="mod modShow">
        <pc:chgData name="Immanuel J Daniel" userId="S::immanuel.johnston.daniel@ie.ey.com::b9141605-49ff-443e-8af4-0c21e2766a66" providerId="AD" clId="Web-{0D70AE22-D2EE-7AA9-A2BF-B63C686068B2}" dt="2023-08-15T09:34:29.678" v="170"/>
        <pc:sldMkLst>
          <pc:docMk/>
          <pc:sldMk cId="209286626" sldId="2147479641"/>
        </pc:sldMkLst>
      </pc:sldChg>
      <pc:sldChg chg="modSp mod modShow modCm">
        <pc:chgData name="Immanuel J Daniel" userId="S::immanuel.johnston.daniel@ie.ey.com::b9141605-49ff-443e-8af4-0c21e2766a66" providerId="AD" clId="Web-{0D70AE22-D2EE-7AA9-A2BF-B63C686068B2}" dt="2023-08-15T09:21:10.057" v="169"/>
        <pc:sldMkLst>
          <pc:docMk/>
          <pc:sldMk cId="3541093670" sldId="2147479686"/>
        </pc:sldMkLst>
        <pc:spChg chg="mod">
          <ac:chgData name="Immanuel J Daniel" userId="S::immanuel.johnston.daniel@ie.ey.com::b9141605-49ff-443e-8af4-0c21e2766a66" providerId="AD" clId="Web-{0D70AE22-D2EE-7AA9-A2BF-B63C686068B2}" dt="2023-08-15T08:40:42.131" v="18" actId="20577"/>
          <ac:spMkLst>
            <pc:docMk/>
            <pc:sldMk cId="3541093670" sldId="2147479686"/>
            <ac:spMk id="6" creationId="{55E0E012-0D47-92BE-031E-1BF62225CF8C}"/>
          </ac:spMkLst>
        </pc:spChg>
        <pc:extLst>
          <p:ext xmlns:p="http://schemas.openxmlformats.org/presentationml/2006/main" uri="{D6D511B9-2390-475A-947B-AFAB55BFBCF1}">
            <pc226:cmChg xmlns="" xmlns:pc226="http://schemas.microsoft.com/office/powerpoint/2022/06/main/command" chg="mod">
              <pc226:chgData name="Immanuel J Daniel" userId="S::immanuel.johnston.daniel@ie.ey.com::b9141605-49ff-443e-8af4-0c21e2766a66" providerId="AD" clId="Web-{0D70AE22-D2EE-7AA9-A2BF-B63C686068B2}" dt="2023-08-15T09:21:10.057" v="169"/>
              <pc2:cmMkLst xmlns:pc2="http://schemas.microsoft.com/office/powerpoint/2019/9/main/command">
                <pc:docMk/>
                <pc:sldMk cId="3541093670" sldId="2147479686"/>
                <pc2:cmMk id="{FF5D8848-6D42-442C-811B-88B0712A5C84}"/>
              </pc2:cmMkLst>
            </pc226:cmChg>
          </p:ext>
        </pc:extLst>
      </pc:sldChg>
      <pc:sldChg chg="del">
        <pc:chgData name="Immanuel J Daniel" userId="S::immanuel.johnston.daniel@ie.ey.com::b9141605-49ff-443e-8af4-0c21e2766a66" providerId="AD" clId="Web-{0D70AE22-D2EE-7AA9-A2BF-B63C686068B2}" dt="2023-08-15T09:05:10.946" v="34"/>
        <pc:sldMkLst>
          <pc:docMk/>
          <pc:sldMk cId="401458886" sldId="2147479689"/>
        </pc:sldMkLst>
      </pc:sldChg>
      <pc:sldChg chg="del">
        <pc:chgData name="Immanuel J Daniel" userId="S::immanuel.johnston.daniel@ie.ey.com::b9141605-49ff-443e-8af4-0c21e2766a66" providerId="AD" clId="Web-{0D70AE22-D2EE-7AA9-A2BF-B63C686068B2}" dt="2023-08-15T09:05:30.916" v="36"/>
        <pc:sldMkLst>
          <pc:docMk/>
          <pc:sldMk cId="2549583074" sldId="2147479706"/>
        </pc:sldMkLst>
      </pc:sldChg>
      <pc:sldChg chg="addSp modSp new">
        <pc:chgData name="Immanuel J Daniel" userId="S::immanuel.johnston.daniel@ie.ey.com::b9141605-49ff-443e-8af4-0c21e2766a66" providerId="AD" clId="Web-{0D70AE22-D2EE-7AA9-A2BF-B63C686068B2}" dt="2023-08-15T10:23:41.923" v="230" actId="14100"/>
        <pc:sldMkLst>
          <pc:docMk/>
          <pc:sldMk cId="3751784941" sldId="2147479706"/>
        </pc:sldMkLst>
        <pc:spChg chg="mod">
          <ac:chgData name="Immanuel J Daniel" userId="S::immanuel.johnston.daniel@ie.ey.com::b9141605-49ff-443e-8af4-0c21e2766a66" providerId="AD" clId="Web-{0D70AE22-D2EE-7AA9-A2BF-B63C686068B2}" dt="2023-08-15T10:22:26.968" v="210" actId="20577"/>
          <ac:spMkLst>
            <pc:docMk/>
            <pc:sldMk cId="3751784941" sldId="2147479706"/>
            <ac:spMk id="3" creationId="{AB5BAADC-462D-A618-F2F0-CA7DD822EA0E}"/>
          </ac:spMkLst>
        </pc:spChg>
        <pc:spChg chg="add mod">
          <ac:chgData name="Immanuel J Daniel" userId="S::immanuel.johnston.daniel@ie.ey.com::b9141605-49ff-443e-8af4-0c21e2766a66" providerId="AD" clId="Web-{0D70AE22-D2EE-7AA9-A2BF-B63C686068B2}" dt="2023-08-15T10:23:41.923" v="230" actId="14100"/>
          <ac:spMkLst>
            <pc:docMk/>
            <pc:sldMk cId="3751784941" sldId="2147479706"/>
            <ac:spMk id="4" creationId="{657BA0B2-AD92-B652-16C0-31FD1094DAD8}"/>
          </ac:spMkLst>
        </pc:spChg>
      </pc:sldChg>
      <pc:sldChg chg="new del">
        <pc:chgData name="Immanuel J Daniel" userId="S::immanuel.johnston.daniel@ie.ey.com::b9141605-49ff-443e-8af4-0c21e2766a66" providerId="AD" clId="Web-{0D70AE22-D2EE-7AA9-A2BF-B63C686068B2}" dt="2023-08-15T08:48:00.130" v="31"/>
        <pc:sldMkLst>
          <pc:docMk/>
          <pc:sldMk cId="2369207716" sldId="2147479707"/>
        </pc:sldMkLst>
      </pc:sldChg>
      <pc:sldChg chg="modSp add ord replId">
        <pc:chgData name="Immanuel J Daniel" userId="S::immanuel.johnston.daniel@ie.ey.com::b9141605-49ff-443e-8af4-0c21e2766a66" providerId="AD" clId="Web-{0D70AE22-D2EE-7AA9-A2BF-B63C686068B2}" dt="2023-08-15T10:25:00.394" v="273" actId="20577"/>
        <pc:sldMkLst>
          <pc:docMk/>
          <pc:sldMk cId="2588773507" sldId="2147479707"/>
        </pc:sldMkLst>
        <pc:spChg chg="mod">
          <ac:chgData name="Immanuel J Daniel" userId="S::immanuel.johnston.daniel@ie.ey.com::b9141605-49ff-443e-8af4-0c21e2766a66" providerId="AD" clId="Web-{0D70AE22-D2EE-7AA9-A2BF-B63C686068B2}" dt="2023-08-15T10:25:00.394" v="273" actId="20577"/>
          <ac:spMkLst>
            <pc:docMk/>
            <pc:sldMk cId="2588773507" sldId="2147479707"/>
            <ac:spMk id="4" creationId="{E432C490-8501-4DEB-9800-36DD8F00D9DA}"/>
          </ac:spMkLst>
        </pc:spChg>
      </pc:sldChg>
      <pc:sldChg chg="addSp modSp new ord">
        <pc:chgData name="Immanuel J Daniel" userId="S::immanuel.johnston.daniel@ie.ey.com::b9141605-49ff-443e-8af4-0c21e2766a66" providerId="AD" clId="Web-{0D70AE22-D2EE-7AA9-A2BF-B63C686068B2}" dt="2023-08-15T10:25:53.521" v="313" actId="14100"/>
        <pc:sldMkLst>
          <pc:docMk/>
          <pc:sldMk cId="3276805312" sldId="2147479708"/>
        </pc:sldMkLst>
        <pc:spChg chg="add mod">
          <ac:chgData name="Immanuel J Daniel" userId="S::immanuel.johnston.daniel@ie.ey.com::b9141605-49ff-443e-8af4-0c21e2766a66" providerId="AD" clId="Web-{0D70AE22-D2EE-7AA9-A2BF-B63C686068B2}" dt="2023-08-15T10:25:53.521" v="313" actId="14100"/>
          <ac:spMkLst>
            <pc:docMk/>
            <pc:sldMk cId="3276805312" sldId="2147479708"/>
            <ac:spMk id="4" creationId="{E739D8A5-0165-F9A4-A8FD-06BF8495C7F2}"/>
          </ac:spMkLst>
        </pc:spChg>
      </pc:sldChg>
      <pc:sldChg chg="modSp new">
        <pc:chgData name="Immanuel J Daniel" userId="S::immanuel.johnston.daniel@ie.ey.com::b9141605-49ff-443e-8af4-0c21e2766a66" providerId="AD" clId="Web-{0D70AE22-D2EE-7AA9-A2BF-B63C686068B2}" dt="2023-08-15T10:41:22.657" v="323" actId="20577"/>
        <pc:sldMkLst>
          <pc:docMk/>
          <pc:sldMk cId="1320317454" sldId="2147479709"/>
        </pc:sldMkLst>
        <pc:spChg chg="mod">
          <ac:chgData name="Immanuel J Daniel" userId="S::immanuel.johnston.daniel@ie.ey.com::b9141605-49ff-443e-8af4-0c21e2766a66" providerId="AD" clId="Web-{0D70AE22-D2EE-7AA9-A2BF-B63C686068B2}" dt="2023-08-15T10:41:22.657" v="323" actId="20577"/>
          <ac:spMkLst>
            <pc:docMk/>
            <pc:sldMk cId="1320317454" sldId="2147479709"/>
            <ac:spMk id="3" creationId="{A0B5CECB-359D-47CD-E519-47758BC0C09E}"/>
          </ac:spMkLst>
        </pc:spChg>
      </pc:sldChg>
    </pc:docChg>
  </pc:docChgLst>
  <pc:docChgLst>
    <pc:chgData name="Mick Mooney" userId="S::mick.mooney@ie.ey.com::e6518e4e-af4a-4bea-b39c-20489a1e5519" providerId="AD" clId="Web-{CB9BF3BD-1BD8-42F3-845E-80611E4CF17B}"/>
    <pc:docChg chg="modSld">
      <pc:chgData name="Mick Mooney" userId="S::mick.mooney@ie.ey.com::e6518e4e-af4a-4bea-b39c-20489a1e5519" providerId="AD" clId="Web-{CB9BF3BD-1BD8-42F3-845E-80611E4CF17B}" dt="2023-08-01T16:10:50.903" v="13" actId="20577"/>
      <pc:docMkLst>
        <pc:docMk/>
      </pc:docMkLst>
      <pc:sldChg chg="modSp">
        <pc:chgData name="Mick Mooney" userId="S::mick.mooney@ie.ey.com::e6518e4e-af4a-4bea-b39c-20489a1e5519" providerId="AD" clId="Web-{CB9BF3BD-1BD8-42F3-845E-80611E4CF17B}" dt="2023-08-01T16:10:50.903" v="13" actId="20577"/>
        <pc:sldMkLst>
          <pc:docMk/>
          <pc:sldMk cId="1074638613" sldId="2147479594"/>
        </pc:sldMkLst>
        <pc:spChg chg="mod">
          <ac:chgData name="Mick Mooney" userId="S::mick.mooney@ie.ey.com::e6518e4e-af4a-4bea-b39c-20489a1e5519" providerId="AD" clId="Web-{CB9BF3BD-1BD8-42F3-845E-80611E4CF17B}" dt="2023-08-01T16:10:50.903" v="13" actId="20577"/>
          <ac:spMkLst>
            <pc:docMk/>
            <pc:sldMk cId="1074638613" sldId="2147479594"/>
            <ac:spMk id="16" creationId="{F14C3BE5-4C89-5ADF-3D39-6B5C58FC690D}"/>
          </ac:spMkLst>
        </pc:spChg>
      </pc:sldChg>
      <pc:sldChg chg="modSp">
        <pc:chgData name="Mick Mooney" userId="S::mick.mooney@ie.ey.com::e6518e4e-af4a-4bea-b39c-20489a1e5519" providerId="AD" clId="Web-{CB9BF3BD-1BD8-42F3-845E-80611E4CF17B}" dt="2023-08-01T16:10:24.637" v="10" actId="20577"/>
        <pc:sldMkLst>
          <pc:docMk/>
          <pc:sldMk cId="604340155" sldId="2147479656"/>
        </pc:sldMkLst>
        <pc:spChg chg="mod">
          <ac:chgData name="Mick Mooney" userId="S::mick.mooney@ie.ey.com::e6518e4e-af4a-4bea-b39c-20489a1e5519" providerId="AD" clId="Web-{CB9BF3BD-1BD8-42F3-845E-80611E4CF17B}" dt="2023-08-01T16:10:24.637" v="10" actId="20577"/>
          <ac:spMkLst>
            <pc:docMk/>
            <pc:sldMk cId="604340155" sldId="2147479656"/>
            <ac:spMk id="6" creationId="{CD7AABE2-7EA9-C5AC-E3CC-E77371DCECAA}"/>
          </ac:spMkLst>
        </pc:spChg>
      </pc:sldChg>
    </pc:docChg>
  </pc:docChgLst>
  <pc:docChgLst>
    <pc:chgData name="David Lynch" userId="666a0384-f147-414d-9e35-a983301ea6cb" providerId="ADAL" clId="{34916257-1681-4F1E-989B-C1A397B854E2}"/>
    <pc:docChg chg="undo custSel addSld delSld modSld modSection">
      <pc:chgData name="David Lynch" userId="666a0384-f147-414d-9e35-a983301ea6cb" providerId="ADAL" clId="{34916257-1681-4F1E-989B-C1A397B854E2}" dt="2023-08-02T15:29:08.596" v="108"/>
      <pc:docMkLst>
        <pc:docMk/>
      </pc:docMkLst>
      <pc:sldChg chg="modSp mod">
        <pc:chgData name="David Lynch" userId="666a0384-f147-414d-9e35-a983301ea6cb" providerId="ADAL" clId="{34916257-1681-4F1E-989B-C1A397B854E2}" dt="2023-08-02T14:59:19.431" v="104" actId="20577"/>
        <pc:sldMkLst>
          <pc:docMk/>
          <pc:sldMk cId="1090918542" sldId="2142535214"/>
        </pc:sldMkLst>
        <pc:spChg chg="mod">
          <ac:chgData name="David Lynch" userId="666a0384-f147-414d-9e35-a983301ea6cb" providerId="ADAL" clId="{34916257-1681-4F1E-989B-C1A397B854E2}" dt="2023-08-02T14:59:19.431" v="104" actId="20577"/>
          <ac:spMkLst>
            <pc:docMk/>
            <pc:sldMk cId="1090918542" sldId="2142535214"/>
            <ac:spMk id="2" creationId="{8A50E309-2AC4-4303-B6FC-73EA888397AE}"/>
          </ac:spMkLst>
        </pc:spChg>
      </pc:sldChg>
      <pc:sldChg chg="modSp mod addCm modCm">
        <pc:chgData name="David Lynch" userId="666a0384-f147-414d-9e35-a983301ea6cb" providerId="ADAL" clId="{34916257-1681-4F1E-989B-C1A397B854E2}" dt="2023-08-02T14:40:14.723" v="66"/>
        <pc:sldMkLst>
          <pc:docMk/>
          <pc:sldMk cId="1500833212" sldId="2142535223"/>
        </pc:sldMkLst>
        <pc:spChg chg="mod">
          <ac:chgData name="David Lynch" userId="666a0384-f147-414d-9e35-a983301ea6cb" providerId="ADAL" clId="{34916257-1681-4F1E-989B-C1A397B854E2}" dt="2023-08-02T14:26:52.041" v="37" actId="20577"/>
          <ac:spMkLst>
            <pc:docMk/>
            <pc:sldMk cId="1500833212" sldId="2142535223"/>
            <ac:spMk id="6" creationId="{EE8F8DA9-9BD3-71FD-4222-7F9D96D073C1}"/>
          </ac:spMkLst>
        </pc:spChg>
      </pc:sldChg>
      <pc:sldChg chg="addCm modCm">
        <pc:chgData name="David Lynch" userId="666a0384-f147-414d-9e35-a983301ea6cb" providerId="ADAL" clId="{34916257-1681-4F1E-989B-C1A397B854E2}" dt="2023-08-02T15:04:08.106" v="106"/>
        <pc:sldMkLst>
          <pc:docMk/>
          <pc:sldMk cId="2995573744" sldId="2147472971"/>
        </pc:sldMkLst>
      </pc:sldChg>
      <pc:sldChg chg="addCm">
        <pc:chgData name="David Lynch" userId="666a0384-f147-414d-9e35-a983301ea6cb" providerId="ADAL" clId="{34916257-1681-4F1E-989B-C1A397B854E2}" dt="2023-08-02T14:30:20.540" v="40"/>
        <pc:sldMkLst>
          <pc:docMk/>
          <pc:sldMk cId="3270732291" sldId="2147473086"/>
        </pc:sldMkLst>
      </pc:sldChg>
      <pc:sldChg chg="addCm">
        <pc:chgData name="David Lynch" userId="666a0384-f147-414d-9e35-a983301ea6cb" providerId="ADAL" clId="{34916257-1681-4F1E-989B-C1A397B854E2}" dt="2023-08-02T15:13:23.967" v="107"/>
        <pc:sldMkLst>
          <pc:docMk/>
          <pc:sldMk cId="3107324555" sldId="2147473173"/>
        </pc:sldMkLst>
      </pc:sldChg>
      <pc:sldChg chg="addCm">
        <pc:chgData name="David Lynch" userId="666a0384-f147-414d-9e35-a983301ea6cb" providerId="ADAL" clId="{34916257-1681-4F1E-989B-C1A397B854E2}" dt="2023-08-02T15:29:08.596" v="108"/>
        <pc:sldMkLst>
          <pc:docMk/>
          <pc:sldMk cId="1370127621" sldId="2147479552"/>
        </pc:sldMkLst>
      </pc:sldChg>
      <pc:sldChg chg="addCm">
        <pc:chgData name="David Lynch" userId="666a0384-f147-414d-9e35-a983301ea6cb" providerId="ADAL" clId="{34916257-1681-4F1E-989B-C1A397B854E2}" dt="2023-08-02T14:55:48.050" v="99"/>
        <pc:sldMkLst>
          <pc:docMk/>
          <pc:sldMk cId="4263117584" sldId="2147479569"/>
        </pc:sldMkLst>
      </pc:sldChg>
      <pc:sldChg chg="addCm modCm">
        <pc:chgData name="David Lynch" userId="666a0384-f147-414d-9e35-a983301ea6cb" providerId="ADAL" clId="{34916257-1681-4F1E-989B-C1A397B854E2}" dt="2023-08-02T14:48:04.348" v="98"/>
        <pc:sldMkLst>
          <pc:docMk/>
          <pc:sldMk cId="1584002695" sldId="2147479590"/>
        </pc:sldMkLst>
      </pc:sldChg>
      <pc:sldChg chg="addCm modCm">
        <pc:chgData name="David Lynch" userId="666a0384-f147-414d-9e35-a983301ea6cb" providerId="ADAL" clId="{34916257-1681-4F1E-989B-C1A397B854E2}" dt="2023-08-02T14:43:44.009" v="95"/>
        <pc:sldMkLst>
          <pc:docMk/>
          <pc:sldMk cId="2074381867" sldId="2147479609"/>
        </pc:sldMkLst>
      </pc:sldChg>
      <pc:sldChg chg="addCm modCm">
        <pc:chgData name="David Lynch" userId="666a0384-f147-414d-9e35-a983301ea6cb" providerId="ADAL" clId="{34916257-1681-4F1E-989B-C1A397B854E2}" dt="2023-08-02T14:42:15.890" v="91"/>
        <pc:sldMkLst>
          <pc:docMk/>
          <pc:sldMk cId="3046752737" sldId="2147479614"/>
        </pc:sldMkLst>
      </pc:sldChg>
      <pc:sldChg chg="addCm">
        <pc:chgData name="David Lynch" userId="666a0384-f147-414d-9e35-a983301ea6cb" providerId="ADAL" clId="{34916257-1681-4F1E-989B-C1A397B854E2}" dt="2023-08-02T14:42:51.058" v="94"/>
        <pc:sldMkLst>
          <pc:docMk/>
          <pc:sldMk cId="3673377692" sldId="2147479616"/>
        </pc:sldMkLst>
      </pc:sldChg>
      <pc:sldChg chg="addCm modCm">
        <pc:chgData name="David Lynch" userId="666a0384-f147-414d-9e35-a983301ea6cb" providerId="ADAL" clId="{34916257-1681-4F1E-989B-C1A397B854E2}" dt="2023-08-02T14:39:16.262" v="64"/>
        <pc:sldMkLst>
          <pc:docMk/>
          <pc:sldMk cId="1127760975" sldId="2147479618"/>
        </pc:sldMkLst>
      </pc:sldChg>
      <pc:sldChg chg="addCm">
        <pc:chgData name="David Lynch" userId="666a0384-f147-414d-9e35-a983301ea6cb" providerId="ADAL" clId="{34916257-1681-4F1E-989B-C1A397B854E2}" dt="2023-08-02T14:42:30.494" v="92"/>
        <pc:sldMkLst>
          <pc:docMk/>
          <pc:sldMk cId="2127201987" sldId="2147479638"/>
        </pc:sldMkLst>
      </pc:sldChg>
      <pc:sldChg chg="addCm">
        <pc:chgData name="David Lynch" userId="666a0384-f147-414d-9e35-a983301ea6cb" providerId="ADAL" clId="{34916257-1681-4F1E-989B-C1A397B854E2}" dt="2023-08-02T14:42:40.035" v="93"/>
        <pc:sldMkLst>
          <pc:docMk/>
          <pc:sldMk cId="209286626" sldId="2147479641"/>
        </pc:sldMkLst>
      </pc:sldChg>
      <pc:sldChg chg="delSp mod">
        <pc:chgData name="David Lynch" userId="666a0384-f147-414d-9e35-a983301ea6cb" providerId="ADAL" clId="{34916257-1681-4F1E-989B-C1A397B854E2}" dt="2023-08-02T14:31:16.156" v="42" actId="478"/>
        <pc:sldMkLst>
          <pc:docMk/>
          <pc:sldMk cId="3831876268" sldId="2147479642"/>
        </pc:sldMkLst>
        <pc:picChg chg="del">
          <ac:chgData name="David Lynch" userId="666a0384-f147-414d-9e35-a983301ea6cb" providerId="ADAL" clId="{34916257-1681-4F1E-989B-C1A397B854E2}" dt="2023-08-02T14:31:16.156" v="42" actId="478"/>
          <ac:picMkLst>
            <pc:docMk/>
            <pc:sldMk cId="3831876268" sldId="2147479642"/>
            <ac:picMk id="5" creationId="{D715D060-1968-C2F4-4D08-BDAFEF29A1DC}"/>
          </ac:picMkLst>
        </pc:picChg>
      </pc:sldChg>
      <pc:sldChg chg="delSp mod">
        <pc:chgData name="David Lynch" userId="666a0384-f147-414d-9e35-a983301ea6cb" providerId="ADAL" clId="{34916257-1681-4F1E-989B-C1A397B854E2}" dt="2023-08-02T14:31:13.109" v="41" actId="478"/>
        <pc:sldMkLst>
          <pc:docMk/>
          <pc:sldMk cId="2915504962" sldId="2147479644"/>
        </pc:sldMkLst>
        <pc:picChg chg="del">
          <ac:chgData name="David Lynch" userId="666a0384-f147-414d-9e35-a983301ea6cb" providerId="ADAL" clId="{34916257-1681-4F1E-989B-C1A397B854E2}" dt="2023-08-02T14:31:13.109" v="41" actId="478"/>
          <ac:picMkLst>
            <pc:docMk/>
            <pc:sldMk cId="2915504962" sldId="2147479644"/>
            <ac:picMk id="5" creationId="{D715D060-1968-C2F4-4D08-BDAFEF29A1DC}"/>
          </ac:picMkLst>
        </pc:picChg>
      </pc:sldChg>
      <pc:sldChg chg="addCm">
        <pc:chgData name="David Lynch" userId="666a0384-f147-414d-9e35-a983301ea6cb" providerId="ADAL" clId="{34916257-1681-4F1E-989B-C1A397B854E2}" dt="2023-08-02T14:57:56.549" v="100"/>
        <pc:sldMkLst>
          <pc:docMk/>
          <pc:sldMk cId="787045591" sldId="2147479651"/>
        </pc:sldMkLst>
      </pc:sldChg>
      <pc:sldChg chg="addCm">
        <pc:chgData name="David Lynch" userId="666a0384-f147-414d-9e35-a983301ea6cb" providerId="ADAL" clId="{34916257-1681-4F1E-989B-C1A397B854E2}" dt="2023-08-02T15:02:15.606" v="105"/>
        <pc:sldMkLst>
          <pc:docMk/>
          <pc:sldMk cId="3656600548" sldId="2147479654"/>
        </pc:sldMkLst>
      </pc:sldChg>
      <pc:sldChg chg="modSp mod">
        <pc:chgData name="David Lynch" userId="666a0384-f147-414d-9e35-a983301ea6cb" providerId="ADAL" clId="{34916257-1681-4F1E-989B-C1A397B854E2}" dt="2023-08-02T14:24:46.509" v="33" actId="20577"/>
        <pc:sldMkLst>
          <pc:docMk/>
          <pc:sldMk cId="3770532317" sldId="2147479657"/>
        </pc:sldMkLst>
        <pc:spChg chg="mod">
          <ac:chgData name="David Lynch" userId="666a0384-f147-414d-9e35-a983301ea6cb" providerId="ADAL" clId="{34916257-1681-4F1E-989B-C1A397B854E2}" dt="2023-08-02T14:24:46.509" v="33" actId="20577"/>
          <ac:spMkLst>
            <pc:docMk/>
            <pc:sldMk cId="3770532317" sldId="2147479657"/>
            <ac:spMk id="18" creationId="{18627840-C1CF-54FE-CD90-C028AD4F3099}"/>
          </ac:spMkLst>
        </pc:spChg>
      </pc:sldChg>
      <pc:sldChg chg="addSp delSp modSp new mod modShow addCm">
        <pc:chgData name="David Lynch" userId="666a0384-f147-414d-9e35-a983301ea6cb" providerId="ADAL" clId="{34916257-1681-4F1E-989B-C1A397B854E2}" dt="2023-08-02T14:41:43.417" v="90" actId="20577"/>
        <pc:sldMkLst>
          <pc:docMk/>
          <pc:sldMk cId="954940349" sldId="2147479682"/>
        </pc:sldMkLst>
        <pc:spChg chg="del">
          <ac:chgData name="David Lynch" userId="666a0384-f147-414d-9e35-a983301ea6cb" providerId="ADAL" clId="{34916257-1681-4F1E-989B-C1A397B854E2}" dt="2023-08-02T14:36:37.893" v="55" actId="478"/>
          <ac:spMkLst>
            <pc:docMk/>
            <pc:sldMk cId="954940349" sldId="2147479682"/>
            <ac:spMk id="2" creationId="{FCF0DE14-F24A-D4E3-5EFB-4A72593370DF}"/>
          </ac:spMkLst>
        </pc:spChg>
        <pc:spChg chg="mod">
          <ac:chgData name="David Lynch" userId="666a0384-f147-414d-9e35-a983301ea6cb" providerId="ADAL" clId="{34916257-1681-4F1E-989B-C1A397B854E2}" dt="2023-08-02T14:41:43.417" v="90" actId="20577"/>
          <ac:spMkLst>
            <pc:docMk/>
            <pc:sldMk cId="954940349" sldId="2147479682"/>
            <ac:spMk id="3" creationId="{D2FF72AF-9783-DFFC-9A7A-6D57999F6F0C}"/>
          </ac:spMkLst>
        </pc:spChg>
        <pc:spChg chg="del">
          <ac:chgData name="David Lynch" userId="666a0384-f147-414d-9e35-a983301ea6cb" providerId="ADAL" clId="{34916257-1681-4F1E-989B-C1A397B854E2}" dt="2023-08-02T14:36:50.280" v="58" actId="478"/>
          <ac:spMkLst>
            <pc:docMk/>
            <pc:sldMk cId="954940349" sldId="2147479682"/>
            <ac:spMk id="4" creationId="{15AB4090-AEBB-5B63-7223-1C822CF7722A}"/>
          </ac:spMkLst>
        </pc:spChg>
        <pc:spChg chg="add mod">
          <ac:chgData name="David Lynch" userId="666a0384-f147-414d-9e35-a983301ea6cb" providerId="ADAL" clId="{34916257-1681-4F1E-989B-C1A397B854E2}" dt="2023-08-02T14:36:44.094" v="57" actId="1076"/>
          <ac:spMkLst>
            <pc:docMk/>
            <pc:sldMk cId="954940349" sldId="2147479682"/>
            <ac:spMk id="5" creationId="{9984D8A5-636C-881D-9820-71C03BAA623C}"/>
          </ac:spMkLst>
        </pc:spChg>
        <pc:spChg chg="add mod">
          <ac:chgData name="David Lynch" userId="666a0384-f147-414d-9e35-a983301ea6cb" providerId="ADAL" clId="{34916257-1681-4F1E-989B-C1A397B854E2}" dt="2023-08-02T14:36:44.094" v="57" actId="1076"/>
          <ac:spMkLst>
            <pc:docMk/>
            <pc:sldMk cId="954940349" sldId="2147479682"/>
            <ac:spMk id="6" creationId="{B78D0F4E-34E3-BCFD-F109-7E2A68C41474}"/>
          </ac:spMkLst>
        </pc:spChg>
        <pc:spChg chg="add mod">
          <ac:chgData name="David Lynch" userId="666a0384-f147-414d-9e35-a983301ea6cb" providerId="ADAL" clId="{34916257-1681-4F1E-989B-C1A397B854E2}" dt="2023-08-02T14:36:44.094" v="57" actId="1076"/>
          <ac:spMkLst>
            <pc:docMk/>
            <pc:sldMk cId="954940349" sldId="2147479682"/>
            <ac:spMk id="9" creationId="{55A7352A-AFB9-9175-7E34-489B2230EB82}"/>
          </ac:spMkLst>
        </pc:spChg>
        <pc:spChg chg="add mod">
          <ac:chgData name="David Lynch" userId="666a0384-f147-414d-9e35-a983301ea6cb" providerId="ADAL" clId="{34916257-1681-4F1E-989B-C1A397B854E2}" dt="2023-08-02T14:36:44.094" v="57" actId="1076"/>
          <ac:spMkLst>
            <pc:docMk/>
            <pc:sldMk cId="954940349" sldId="2147479682"/>
            <ac:spMk id="10" creationId="{A2319A91-2417-FAA1-C38C-3AA9702D1DAE}"/>
          </ac:spMkLst>
        </pc:spChg>
        <pc:spChg chg="add mod">
          <ac:chgData name="David Lynch" userId="666a0384-f147-414d-9e35-a983301ea6cb" providerId="ADAL" clId="{34916257-1681-4F1E-989B-C1A397B854E2}" dt="2023-08-02T14:36:44.094" v="57" actId="1076"/>
          <ac:spMkLst>
            <pc:docMk/>
            <pc:sldMk cId="954940349" sldId="2147479682"/>
            <ac:spMk id="12" creationId="{F5135AC3-0A33-3661-E019-525018A94710}"/>
          </ac:spMkLst>
        </pc:spChg>
        <pc:spChg chg="add mod">
          <ac:chgData name="David Lynch" userId="666a0384-f147-414d-9e35-a983301ea6cb" providerId="ADAL" clId="{34916257-1681-4F1E-989B-C1A397B854E2}" dt="2023-08-02T14:36:44.094" v="57" actId="1076"/>
          <ac:spMkLst>
            <pc:docMk/>
            <pc:sldMk cId="954940349" sldId="2147479682"/>
            <ac:spMk id="13" creationId="{8DBDC67C-629C-23E8-F066-65B8BEFF9B16}"/>
          </ac:spMkLst>
        </pc:spChg>
        <pc:spChg chg="mod">
          <ac:chgData name="David Lynch" userId="666a0384-f147-414d-9e35-a983301ea6cb" providerId="ADAL" clId="{34916257-1681-4F1E-989B-C1A397B854E2}" dt="2023-08-02T14:36:44.094" v="57" actId="1076"/>
          <ac:spMkLst>
            <pc:docMk/>
            <pc:sldMk cId="954940349" sldId="2147479682"/>
            <ac:spMk id="15" creationId="{3DCFECE4-A5AB-9140-A459-DAE038D2FAFE}"/>
          </ac:spMkLst>
        </pc:spChg>
        <pc:spChg chg="mod">
          <ac:chgData name="David Lynch" userId="666a0384-f147-414d-9e35-a983301ea6cb" providerId="ADAL" clId="{34916257-1681-4F1E-989B-C1A397B854E2}" dt="2023-08-02T14:36:44.094" v="57" actId="1076"/>
          <ac:spMkLst>
            <pc:docMk/>
            <pc:sldMk cId="954940349" sldId="2147479682"/>
            <ac:spMk id="16" creationId="{B07672A7-C84F-043B-D580-6D0AF844CEBF}"/>
          </ac:spMkLst>
        </pc:spChg>
        <pc:spChg chg="add mod">
          <ac:chgData name="David Lynch" userId="666a0384-f147-414d-9e35-a983301ea6cb" providerId="ADAL" clId="{34916257-1681-4F1E-989B-C1A397B854E2}" dt="2023-08-02T14:36:44.094" v="57" actId="1076"/>
          <ac:spMkLst>
            <pc:docMk/>
            <pc:sldMk cId="954940349" sldId="2147479682"/>
            <ac:spMk id="17" creationId="{12EC5FBB-092F-C9E8-C17C-6A46600F0275}"/>
          </ac:spMkLst>
        </pc:spChg>
        <pc:spChg chg="add mod">
          <ac:chgData name="David Lynch" userId="666a0384-f147-414d-9e35-a983301ea6cb" providerId="ADAL" clId="{34916257-1681-4F1E-989B-C1A397B854E2}" dt="2023-08-02T14:36:44.094" v="57" actId="1076"/>
          <ac:spMkLst>
            <pc:docMk/>
            <pc:sldMk cId="954940349" sldId="2147479682"/>
            <ac:spMk id="18" creationId="{DC0C62D4-515A-A36E-E2E6-B760F9D6F16F}"/>
          </ac:spMkLst>
        </pc:spChg>
        <pc:spChg chg="add mod">
          <ac:chgData name="David Lynch" userId="666a0384-f147-414d-9e35-a983301ea6cb" providerId="ADAL" clId="{34916257-1681-4F1E-989B-C1A397B854E2}" dt="2023-08-02T14:36:44.094" v="57" actId="1076"/>
          <ac:spMkLst>
            <pc:docMk/>
            <pc:sldMk cId="954940349" sldId="2147479682"/>
            <ac:spMk id="19" creationId="{C49CD4F6-900B-9DFC-61BE-CE0C11E47C6F}"/>
          </ac:spMkLst>
        </pc:spChg>
        <pc:spChg chg="mod">
          <ac:chgData name="David Lynch" userId="666a0384-f147-414d-9e35-a983301ea6cb" providerId="ADAL" clId="{34916257-1681-4F1E-989B-C1A397B854E2}" dt="2023-08-02T14:36:44.094" v="57" actId="1076"/>
          <ac:spMkLst>
            <pc:docMk/>
            <pc:sldMk cId="954940349" sldId="2147479682"/>
            <ac:spMk id="21" creationId="{D93957E4-5EB4-119C-E1D0-F547B1F1AA5B}"/>
          </ac:spMkLst>
        </pc:spChg>
        <pc:spChg chg="mod">
          <ac:chgData name="David Lynch" userId="666a0384-f147-414d-9e35-a983301ea6cb" providerId="ADAL" clId="{34916257-1681-4F1E-989B-C1A397B854E2}" dt="2023-08-02T14:36:44.094" v="57" actId="1076"/>
          <ac:spMkLst>
            <pc:docMk/>
            <pc:sldMk cId="954940349" sldId="2147479682"/>
            <ac:spMk id="22" creationId="{42760B29-1A4C-07FE-5362-E53B76B90DA8}"/>
          </ac:spMkLst>
        </pc:spChg>
        <pc:spChg chg="add mod">
          <ac:chgData name="David Lynch" userId="666a0384-f147-414d-9e35-a983301ea6cb" providerId="ADAL" clId="{34916257-1681-4F1E-989B-C1A397B854E2}" dt="2023-08-02T14:36:44.094" v="57" actId="1076"/>
          <ac:spMkLst>
            <pc:docMk/>
            <pc:sldMk cId="954940349" sldId="2147479682"/>
            <ac:spMk id="24" creationId="{9D15BA5A-6437-0CB3-334B-FFFFAE7108D3}"/>
          </ac:spMkLst>
        </pc:spChg>
        <pc:spChg chg="add mod">
          <ac:chgData name="David Lynch" userId="666a0384-f147-414d-9e35-a983301ea6cb" providerId="ADAL" clId="{34916257-1681-4F1E-989B-C1A397B854E2}" dt="2023-08-02T14:36:44.094" v="57" actId="1076"/>
          <ac:spMkLst>
            <pc:docMk/>
            <pc:sldMk cId="954940349" sldId="2147479682"/>
            <ac:spMk id="25" creationId="{20FF0EBA-9FB1-61E1-30E3-1DD0319DAA5F}"/>
          </ac:spMkLst>
        </pc:spChg>
        <pc:spChg chg="mod">
          <ac:chgData name="David Lynch" userId="666a0384-f147-414d-9e35-a983301ea6cb" providerId="ADAL" clId="{34916257-1681-4F1E-989B-C1A397B854E2}" dt="2023-08-02T14:36:44.094" v="57" actId="1076"/>
          <ac:spMkLst>
            <pc:docMk/>
            <pc:sldMk cId="954940349" sldId="2147479682"/>
            <ac:spMk id="27" creationId="{E4C8A7F8-35EF-25C2-52DD-5D4AF5FE92A8}"/>
          </ac:spMkLst>
        </pc:spChg>
        <pc:spChg chg="mod">
          <ac:chgData name="David Lynch" userId="666a0384-f147-414d-9e35-a983301ea6cb" providerId="ADAL" clId="{34916257-1681-4F1E-989B-C1A397B854E2}" dt="2023-08-02T14:36:44.094" v="57" actId="1076"/>
          <ac:spMkLst>
            <pc:docMk/>
            <pc:sldMk cId="954940349" sldId="2147479682"/>
            <ac:spMk id="28" creationId="{AC9B6E01-C23E-61CA-46F8-858F2371ED80}"/>
          </ac:spMkLst>
        </pc:spChg>
        <pc:spChg chg="add mod">
          <ac:chgData name="David Lynch" userId="666a0384-f147-414d-9e35-a983301ea6cb" providerId="ADAL" clId="{34916257-1681-4F1E-989B-C1A397B854E2}" dt="2023-08-02T14:36:44.094" v="57" actId="1076"/>
          <ac:spMkLst>
            <pc:docMk/>
            <pc:sldMk cId="954940349" sldId="2147479682"/>
            <ac:spMk id="30" creationId="{FFCCCB1C-5E9A-C94A-1550-AD1B44920A2B}"/>
          </ac:spMkLst>
        </pc:spChg>
        <pc:spChg chg="add mod">
          <ac:chgData name="David Lynch" userId="666a0384-f147-414d-9e35-a983301ea6cb" providerId="ADAL" clId="{34916257-1681-4F1E-989B-C1A397B854E2}" dt="2023-08-02T14:36:44.094" v="57" actId="1076"/>
          <ac:spMkLst>
            <pc:docMk/>
            <pc:sldMk cId="954940349" sldId="2147479682"/>
            <ac:spMk id="31" creationId="{0236D5AD-985B-5A67-DE6B-BE81EE675A6E}"/>
          </ac:spMkLst>
        </pc:spChg>
        <pc:spChg chg="add mod">
          <ac:chgData name="David Lynch" userId="666a0384-f147-414d-9e35-a983301ea6cb" providerId="ADAL" clId="{34916257-1681-4F1E-989B-C1A397B854E2}" dt="2023-08-02T14:36:44.094" v="57" actId="1076"/>
          <ac:spMkLst>
            <pc:docMk/>
            <pc:sldMk cId="954940349" sldId="2147479682"/>
            <ac:spMk id="33" creationId="{4A91390C-C5B8-B033-08D3-145643CB2D0B}"/>
          </ac:spMkLst>
        </pc:spChg>
        <pc:spChg chg="add mod">
          <ac:chgData name="David Lynch" userId="666a0384-f147-414d-9e35-a983301ea6cb" providerId="ADAL" clId="{34916257-1681-4F1E-989B-C1A397B854E2}" dt="2023-08-02T14:36:44.094" v="57" actId="1076"/>
          <ac:spMkLst>
            <pc:docMk/>
            <pc:sldMk cId="954940349" sldId="2147479682"/>
            <ac:spMk id="34" creationId="{1151EDD5-0D42-1236-22ED-597042F0E27E}"/>
          </ac:spMkLst>
        </pc:spChg>
        <pc:spChg chg="mod">
          <ac:chgData name="David Lynch" userId="666a0384-f147-414d-9e35-a983301ea6cb" providerId="ADAL" clId="{34916257-1681-4F1E-989B-C1A397B854E2}" dt="2023-08-02T14:36:44.094" v="57" actId="1076"/>
          <ac:spMkLst>
            <pc:docMk/>
            <pc:sldMk cId="954940349" sldId="2147479682"/>
            <ac:spMk id="38" creationId="{04CFDF3D-EB84-8F50-D13B-ED9B1CEFC118}"/>
          </ac:spMkLst>
        </pc:spChg>
        <pc:spChg chg="mod">
          <ac:chgData name="David Lynch" userId="666a0384-f147-414d-9e35-a983301ea6cb" providerId="ADAL" clId="{34916257-1681-4F1E-989B-C1A397B854E2}" dt="2023-08-02T14:36:44.094" v="57" actId="1076"/>
          <ac:spMkLst>
            <pc:docMk/>
            <pc:sldMk cId="954940349" sldId="2147479682"/>
            <ac:spMk id="39" creationId="{5108D7E0-663E-7800-85F2-B3010545E0DF}"/>
          </ac:spMkLst>
        </pc:spChg>
        <pc:spChg chg="mod">
          <ac:chgData name="David Lynch" userId="666a0384-f147-414d-9e35-a983301ea6cb" providerId="ADAL" clId="{34916257-1681-4F1E-989B-C1A397B854E2}" dt="2023-08-02T14:36:44.094" v="57" actId="1076"/>
          <ac:spMkLst>
            <pc:docMk/>
            <pc:sldMk cId="954940349" sldId="2147479682"/>
            <ac:spMk id="41" creationId="{2F065EAF-F9A5-BF43-CDBF-36E3749ED9FC}"/>
          </ac:spMkLst>
        </pc:spChg>
        <pc:spChg chg="mod">
          <ac:chgData name="David Lynch" userId="666a0384-f147-414d-9e35-a983301ea6cb" providerId="ADAL" clId="{34916257-1681-4F1E-989B-C1A397B854E2}" dt="2023-08-02T14:36:44.094" v="57" actId="1076"/>
          <ac:spMkLst>
            <pc:docMk/>
            <pc:sldMk cId="954940349" sldId="2147479682"/>
            <ac:spMk id="42" creationId="{DFA502C0-3919-E776-DB85-6726D69F8E20}"/>
          </ac:spMkLst>
        </pc:spChg>
        <pc:spChg chg="mod">
          <ac:chgData name="David Lynch" userId="666a0384-f147-414d-9e35-a983301ea6cb" providerId="ADAL" clId="{34916257-1681-4F1E-989B-C1A397B854E2}" dt="2023-08-02T14:36:44.094" v="57" actId="1076"/>
          <ac:spMkLst>
            <pc:docMk/>
            <pc:sldMk cId="954940349" sldId="2147479682"/>
            <ac:spMk id="45" creationId="{42C6F404-4303-DA31-BCA8-378CFFD70E47}"/>
          </ac:spMkLst>
        </pc:spChg>
        <pc:spChg chg="mod">
          <ac:chgData name="David Lynch" userId="666a0384-f147-414d-9e35-a983301ea6cb" providerId="ADAL" clId="{34916257-1681-4F1E-989B-C1A397B854E2}" dt="2023-08-02T14:36:44.094" v="57" actId="1076"/>
          <ac:spMkLst>
            <pc:docMk/>
            <pc:sldMk cId="954940349" sldId="2147479682"/>
            <ac:spMk id="46" creationId="{9EE185B8-13F3-3CFD-C42D-4AFD01F4C4D3}"/>
          </ac:spMkLst>
        </pc:spChg>
        <pc:spChg chg="add mod">
          <ac:chgData name="David Lynch" userId="666a0384-f147-414d-9e35-a983301ea6cb" providerId="ADAL" clId="{34916257-1681-4F1E-989B-C1A397B854E2}" dt="2023-08-02T14:36:44.094" v="57" actId="1076"/>
          <ac:spMkLst>
            <pc:docMk/>
            <pc:sldMk cId="954940349" sldId="2147479682"/>
            <ac:spMk id="47" creationId="{EE77C4BF-F22E-BB75-0950-4C0F914969F9}"/>
          </ac:spMkLst>
        </pc:spChg>
        <pc:spChg chg="add mod">
          <ac:chgData name="David Lynch" userId="666a0384-f147-414d-9e35-a983301ea6cb" providerId="ADAL" clId="{34916257-1681-4F1E-989B-C1A397B854E2}" dt="2023-08-02T14:36:44.094" v="57" actId="1076"/>
          <ac:spMkLst>
            <pc:docMk/>
            <pc:sldMk cId="954940349" sldId="2147479682"/>
            <ac:spMk id="48" creationId="{46654D3D-06C9-D726-24F3-D4190712EB64}"/>
          </ac:spMkLst>
        </pc:spChg>
        <pc:spChg chg="add mod">
          <ac:chgData name="David Lynch" userId="666a0384-f147-414d-9e35-a983301ea6cb" providerId="ADAL" clId="{34916257-1681-4F1E-989B-C1A397B854E2}" dt="2023-08-02T14:36:44.094" v="57" actId="1076"/>
          <ac:spMkLst>
            <pc:docMk/>
            <pc:sldMk cId="954940349" sldId="2147479682"/>
            <ac:spMk id="49" creationId="{33B2D960-1F40-BF75-5913-8850D4986A54}"/>
          </ac:spMkLst>
        </pc:spChg>
        <pc:spChg chg="add mod">
          <ac:chgData name="David Lynch" userId="666a0384-f147-414d-9e35-a983301ea6cb" providerId="ADAL" clId="{34916257-1681-4F1E-989B-C1A397B854E2}" dt="2023-08-02T14:36:44.094" v="57" actId="1076"/>
          <ac:spMkLst>
            <pc:docMk/>
            <pc:sldMk cId="954940349" sldId="2147479682"/>
            <ac:spMk id="50" creationId="{22949D0F-AAB2-B659-103A-CA1B509C14EF}"/>
          </ac:spMkLst>
        </pc:spChg>
        <pc:spChg chg="mod">
          <ac:chgData name="David Lynch" userId="666a0384-f147-414d-9e35-a983301ea6cb" providerId="ADAL" clId="{34916257-1681-4F1E-989B-C1A397B854E2}" dt="2023-08-02T14:36:44.094" v="57" actId="1076"/>
          <ac:spMkLst>
            <pc:docMk/>
            <pc:sldMk cId="954940349" sldId="2147479682"/>
            <ac:spMk id="53" creationId="{4C2F5116-2B31-93D8-2BB4-8E95CF565268}"/>
          </ac:spMkLst>
        </pc:spChg>
        <pc:spChg chg="mod">
          <ac:chgData name="David Lynch" userId="666a0384-f147-414d-9e35-a983301ea6cb" providerId="ADAL" clId="{34916257-1681-4F1E-989B-C1A397B854E2}" dt="2023-08-02T14:36:44.094" v="57" actId="1076"/>
          <ac:spMkLst>
            <pc:docMk/>
            <pc:sldMk cId="954940349" sldId="2147479682"/>
            <ac:spMk id="54" creationId="{CD58006D-EE5F-D762-B76C-D5B6FE288D27}"/>
          </ac:spMkLst>
        </pc:spChg>
        <pc:spChg chg="add mod">
          <ac:chgData name="David Lynch" userId="666a0384-f147-414d-9e35-a983301ea6cb" providerId="ADAL" clId="{34916257-1681-4F1E-989B-C1A397B854E2}" dt="2023-08-02T14:36:44.094" v="57" actId="1076"/>
          <ac:spMkLst>
            <pc:docMk/>
            <pc:sldMk cId="954940349" sldId="2147479682"/>
            <ac:spMk id="59" creationId="{E3950E45-BFBC-18C9-62D8-D708F7DCAA40}"/>
          </ac:spMkLst>
        </pc:spChg>
        <pc:spChg chg="add mod">
          <ac:chgData name="David Lynch" userId="666a0384-f147-414d-9e35-a983301ea6cb" providerId="ADAL" clId="{34916257-1681-4F1E-989B-C1A397B854E2}" dt="2023-08-02T14:36:44.094" v="57" actId="1076"/>
          <ac:spMkLst>
            <pc:docMk/>
            <pc:sldMk cId="954940349" sldId="2147479682"/>
            <ac:spMk id="60" creationId="{5E43228B-D513-50ED-9406-EEF3C49196E4}"/>
          </ac:spMkLst>
        </pc:spChg>
        <pc:spChg chg="add mod">
          <ac:chgData name="David Lynch" userId="666a0384-f147-414d-9e35-a983301ea6cb" providerId="ADAL" clId="{34916257-1681-4F1E-989B-C1A397B854E2}" dt="2023-08-02T14:36:44.094" v="57" actId="1076"/>
          <ac:spMkLst>
            <pc:docMk/>
            <pc:sldMk cId="954940349" sldId="2147479682"/>
            <ac:spMk id="61" creationId="{721AF924-E162-AC97-4716-8003E9BD9BD3}"/>
          </ac:spMkLst>
        </pc:spChg>
        <pc:spChg chg="add mod">
          <ac:chgData name="David Lynch" userId="666a0384-f147-414d-9e35-a983301ea6cb" providerId="ADAL" clId="{34916257-1681-4F1E-989B-C1A397B854E2}" dt="2023-08-02T14:36:44.094" v="57" actId="1076"/>
          <ac:spMkLst>
            <pc:docMk/>
            <pc:sldMk cId="954940349" sldId="2147479682"/>
            <ac:spMk id="62" creationId="{1347974E-5655-0B03-431C-CE2C5B2DA14C}"/>
          </ac:spMkLst>
        </pc:spChg>
        <pc:spChg chg="add mod">
          <ac:chgData name="David Lynch" userId="666a0384-f147-414d-9e35-a983301ea6cb" providerId="ADAL" clId="{34916257-1681-4F1E-989B-C1A397B854E2}" dt="2023-08-02T14:36:44.094" v="57" actId="1076"/>
          <ac:spMkLst>
            <pc:docMk/>
            <pc:sldMk cId="954940349" sldId="2147479682"/>
            <ac:spMk id="64" creationId="{E10C6CB0-E6C4-7CC4-533D-272B959E5246}"/>
          </ac:spMkLst>
        </pc:spChg>
        <pc:spChg chg="add mod">
          <ac:chgData name="David Lynch" userId="666a0384-f147-414d-9e35-a983301ea6cb" providerId="ADAL" clId="{34916257-1681-4F1E-989B-C1A397B854E2}" dt="2023-08-02T14:36:44.094" v="57" actId="1076"/>
          <ac:spMkLst>
            <pc:docMk/>
            <pc:sldMk cId="954940349" sldId="2147479682"/>
            <ac:spMk id="65" creationId="{0AFC53F9-5BFA-B010-FD89-1AB3146FD015}"/>
          </ac:spMkLst>
        </pc:spChg>
        <pc:spChg chg="add mod">
          <ac:chgData name="David Lynch" userId="666a0384-f147-414d-9e35-a983301ea6cb" providerId="ADAL" clId="{34916257-1681-4F1E-989B-C1A397B854E2}" dt="2023-08-02T14:36:44.094" v="57" actId="1076"/>
          <ac:spMkLst>
            <pc:docMk/>
            <pc:sldMk cId="954940349" sldId="2147479682"/>
            <ac:spMk id="68" creationId="{0802C5AB-F44A-5417-CA71-E7CA7DF12F83}"/>
          </ac:spMkLst>
        </pc:spChg>
        <pc:spChg chg="add mod">
          <ac:chgData name="David Lynch" userId="666a0384-f147-414d-9e35-a983301ea6cb" providerId="ADAL" clId="{34916257-1681-4F1E-989B-C1A397B854E2}" dt="2023-08-02T14:36:44.094" v="57" actId="1076"/>
          <ac:spMkLst>
            <pc:docMk/>
            <pc:sldMk cId="954940349" sldId="2147479682"/>
            <ac:spMk id="69" creationId="{E38A4052-0CCB-0787-848A-662B39D1E89D}"/>
          </ac:spMkLst>
        </pc:spChg>
        <pc:spChg chg="add mod">
          <ac:chgData name="David Lynch" userId="666a0384-f147-414d-9e35-a983301ea6cb" providerId="ADAL" clId="{34916257-1681-4F1E-989B-C1A397B854E2}" dt="2023-08-02T14:36:44.094" v="57" actId="1076"/>
          <ac:spMkLst>
            <pc:docMk/>
            <pc:sldMk cId="954940349" sldId="2147479682"/>
            <ac:spMk id="71" creationId="{01FE1892-4A20-F8B6-3F75-37433117BDF3}"/>
          </ac:spMkLst>
        </pc:spChg>
        <pc:spChg chg="add mod">
          <ac:chgData name="David Lynch" userId="666a0384-f147-414d-9e35-a983301ea6cb" providerId="ADAL" clId="{34916257-1681-4F1E-989B-C1A397B854E2}" dt="2023-08-02T14:36:44.094" v="57" actId="1076"/>
          <ac:spMkLst>
            <pc:docMk/>
            <pc:sldMk cId="954940349" sldId="2147479682"/>
            <ac:spMk id="72" creationId="{7F475AB1-09E7-10F0-F083-B7CB8D628A58}"/>
          </ac:spMkLst>
        </pc:spChg>
        <pc:spChg chg="add mod">
          <ac:chgData name="David Lynch" userId="666a0384-f147-414d-9e35-a983301ea6cb" providerId="ADAL" clId="{34916257-1681-4F1E-989B-C1A397B854E2}" dt="2023-08-02T14:36:44.094" v="57" actId="1076"/>
          <ac:spMkLst>
            <pc:docMk/>
            <pc:sldMk cId="954940349" sldId="2147479682"/>
            <ac:spMk id="73" creationId="{1523D974-4F35-7655-E0B4-2DF9CB3F4D74}"/>
          </ac:spMkLst>
        </pc:spChg>
        <pc:spChg chg="add mod">
          <ac:chgData name="David Lynch" userId="666a0384-f147-414d-9e35-a983301ea6cb" providerId="ADAL" clId="{34916257-1681-4F1E-989B-C1A397B854E2}" dt="2023-08-02T14:36:44.094" v="57" actId="1076"/>
          <ac:spMkLst>
            <pc:docMk/>
            <pc:sldMk cId="954940349" sldId="2147479682"/>
            <ac:spMk id="74" creationId="{A798CABD-46B4-8CA1-AA45-0525F1AA8ECA}"/>
          </ac:spMkLst>
        </pc:spChg>
        <pc:spChg chg="add mod">
          <ac:chgData name="David Lynch" userId="666a0384-f147-414d-9e35-a983301ea6cb" providerId="ADAL" clId="{34916257-1681-4F1E-989B-C1A397B854E2}" dt="2023-08-02T14:36:44.094" v="57" actId="1076"/>
          <ac:spMkLst>
            <pc:docMk/>
            <pc:sldMk cId="954940349" sldId="2147479682"/>
            <ac:spMk id="75" creationId="{6C791505-B4BF-D747-216E-083492D33672}"/>
          </ac:spMkLst>
        </pc:spChg>
        <pc:spChg chg="mod">
          <ac:chgData name="David Lynch" userId="666a0384-f147-414d-9e35-a983301ea6cb" providerId="ADAL" clId="{34916257-1681-4F1E-989B-C1A397B854E2}" dt="2023-08-02T14:36:44.094" v="57" actId="1076"/>
          <ac:spMkLst>
            <pc:docMk/>
            <pc:sldMk cId="954940349" sldId="2147479682"/>
            <ac:spMk id="79" creationId="{295AA86E-7CED-5911-AFC0-8482F3CBF875}"/>
          </ac:spMkLst>
        </pc:spChg>
        <pc:spChg chg="mod">
          <ac:chgData name="David Lynch" userId="666a0384-f147-414d-9e35-a983301ea6cb" providerId="ADAL" clId="{34916257-1681-4F1E-989B-C1A397B854E2}" dt="2023-08-02T14:36:44.094" v="57" actId="1076"/>
          <ac:spMkLst>
            <pc:docMk/>
            <pc:sldMk cId="954940349" sldId="2147479682"/>
            <ac:spMk id="80" creationId="{FBDE3F53-C186-1F80-4EC1-D13D68FA5392}"/>
          </ac:spMkLst>
        </pc:spChg>
        <pc:spChg chg="mod">
          <ac:chgData name="David Lynch" userId="666a0384-f147-414d-9e35-a983301ea6cb" providerId="ADAL" clId="{34916257-1681-4F1E-989B-C1A397B854E2}" dt="2023-08-02T14:36:44.094" v="57" actId="1076"/>
          <ac:spMkLst>
            <pc:docMk/>
            <pc:sldMk cId="954940349" sldId="2147479682"/>
            <ac:spMk id="81" creationId="{EFD7916F-2890-8AE9-FB57-EE9DF1280F04}"/>
          </ac:spMkLst>
        </pc:spChg>
        <pc:spChg chg="add del mod">
          <ac:chgData name="David Lynch" userId="666a0384-f147-414d-9e35-a983301ea6cb" providerId="ADAL" clId="{34916257-1681-4F1E-989B-C1A397B854E2}" dt="2023-08-02T14:38:00.599" v="62" actId="478"/>
          <ac:spMkLst>
            <pc:docMk/>
            <pc:sldMk cId="954940349" sldId="2147479682"/>
            <ac:spMk id="82" creationId="{E5D1FF68-AD82-19D9-CBDD-4AC2AFE7EC01}"/>
          </ac:spMkLst>
        </pc:spChg>
        <pc:spChg chg="add mod">
          <ac:chgData name="David Lynch" userId="666a0384-f147-414d-9e35-a983301ea6cb" providerId="ADAL" clId="{34916257-1681-4F1E-989B-C1A397B854E2}" dt="2023-08-02T14:36:44.094" v="57" actId="1076"/>
          <ac:spMkLst>
            <pc:docMk/>
            <pc:sldMk cId="954940349" sldId="2147479682"/>
            <ac:spMk id="83" creationId="{F0392758-BEE4-8D19-FADB-63C58396A227}"/>
          </ac:spMkLst>
        </pc:spChg>
        <pc:spChg chg="add mod">
          <ac:chgData name="David Lynch" userId="666a0384-f147-414d-9e35-a983301ea6cb" providerId="ADAL" clId="{34916257-1681-4F1E-989B-C1A397B854E2}" dt="2023-08-02T14:36:44.094" v="57" actId="1076"/>
          <ac:spMkLst>
            <pc:docMk/>
            <pc:sldMk cId="954940349" sldId="2147479682"/>
            <ac:spMk id="84" creationId="{5CC937B5-E7F4-F291-90CB-38CFBD6B0B37}"/>
          </ac:spMkLst>
        </pc:spChg>
        <pc:spChg chg="add mod">
          <ac:chgData name="David Lynch" userId="666a0384-f147-414d-9e35-a983301ea6cb" providerId="ADAL" clId="{34916257-1681-4F1E-989B-C1A397B854E2}" dt="2023-08-02T14:36:44.094" v="57" actId="1076"/>
          <ac:spMkLst>
            <pc:docMk/>
            <pc:sldMk cId="954940349" sldId="2147479682"/>
            <ac:spMk id="85" creationId="{0E2162CC-E0C1-2D84-EAE8-D3882CCDBEE9}"/>
          </ac:spMkLst>
        </pc:spChg>
        <pc:spChg chg="add mod">
          <ac:chgData name="David Lynch" userId="666a0384-f147-414d-9e35-a983301ea6cb" providerId="ADAL" clId="{34916257-1681-4F1E-989B-C1A397B854E2}" dt="2023-08-02T14:36:44.094" v="57" actId="1076"/>
          <ac:spMkLst>
            <pc:docMk/>
            <pc:sldMk cId="954940349" sldId="2147479682"/>
            <ac:spMk id="86" creationId="{8370F938-DB18-B083-AD0C-D33B7295C9D5}"/>
          </ac:spMkLst>
        </pc:spChg>
        <pc:spChg chg="add mod">
          <ac:chgData name="David Lynch" userId="666a0384-f147-414d-9e35-a983301ea6cb" providerId="ADAL" clId="{34916257-1681-4F1E-989B-C1A397B854E2}" dt="2023-08-02T14:36:44.094" v="57" actId="1076"/>
          <ac:spMkLst>
            <pc:docMk/>
            <pc:sldMk cId="954940349" sldId="2147479682"/>
            <ac:spMk id="87" creationId="{BD348819-F721-77A7-D50E-42785185C127}"/>
          </ac:spMkLst>
        </pc:spChg>
        <pc:spChg chg="add mod">
          <ac:chgData name="David Lynch" userId="666a0384-f147-414d-9e35-a983301ea6cb" providerId="ADAL" clId="{34916257-1681-4F1E-989B-C1A397B854E2}" dt="2023-08-02T14:36:44.094" v="57" actId="1076"/>
          <ac:spMkLst>
            <pc:docMk/>
            <pc:sldMk cId="954940349" sldId="2147479682"/>
            <ac:spMk id="88" creationId="{5E4E2FBC-F696-A1BA-9355-54E09666394F}"/>
          </ac:spMkLst>
        </pc:spChg>
        <pc:spChg chg="mod">
          <ac:chgData name="David Lynch" userId="666a0384-f147-414d-9e35-a983301ea6cb" providerId="ADAL" clId="{34916257-1681-4F1E-989B-C1A397B854E2}" dt="2023-08-02T14:36:44.094" v="57" actId="1076"/>
          <ac:spMkLst>
            <pc:docMk/>
            <pc:sldMk cId="954940349" sldId="2147479682"/>
            <ac:spMk id="90" creationId="{7F8689BC-22F3-ADD5-D48C-CE1082BF7D3C}"/>
          </ac:spMkLst>
        </pc:spChg>
        <pc:spChg chg="mod">
          <ac:chgData name="David Lynch" userId="666a0384-f147-414d-9e35-a983301ea6cb" providerId="ADAL" clId="{34916257-1681-4F1E-989B-C1A397B854E2}" dt="2023-08-02T14:36:44.094" v="57" actId="1076"/>
          <ac:spMkLst>
            <pc:docMk/>
            <pc:sldMk cId="954940349" sldId="2147479682"/>
            <ac:spMk id="91" creationId="{DBB5BA82-ECEA-8DB9-D17B-1934FF3ACE0A}"/>
          </ac:spMkLst>
        </pc:spChg>
        <pc:spChg chg="mod">
          <ac:chgData name="David Lynch" userId="666a0384-f147-414d-9e35-a983301ea6cb" providerId="ADAL" clId="{34916257-1681-4F1E-989B-C1A397B854E2}" dt="2023-08-02T14:36:44.094" v="57" actId="1076"/>
          <ac:spMkLst>
            <pc:docMk/>
            <pc:sldMk cId="954940349" sldId="2147479682"/>
            <ac:spMk id="93" creationId="{00A34392-E44A-AC3D-6537-094F0E6D92E6}"/>
          </ac:spMkLst>
        </pc:spChg>
        <pc:spChg chg="mod">
          <ac:chgData name="David Lynch" userId="666a0384-f147-414d-9e35-a983301ea6cb" providerId="ADAL" clId="{34916257-1681-4F1E-989B-C1A397B854E2}" dt="2023-08-02T14:36:44.094" v="57" actId="1076"/>
          <ac:spMkLst>
            <pc:docMk/>
            <pc:sldMk cId="954940349" sldId="2147479682"/>
            <ac:spMk id="94" creationId="{DC5436E3-36BD-8EFD-5596-7BFBCB1F9D3E}"/>
          </ac:spMkLst>
        </pc:spChg>
        <pc:spChg chg="add mod">
          <ac:chgData name="David Lynch" userId="666a0384-f147-414d-9e35-a983301ea6cb" providerId="ADAL" clId="{34916257-1681-4F1E-989B-C1A397B854E2}" dt="2023-08-02T14:36:44.094" v="57" actId="1076"/>
          <ac:spMkLst>
            <pc:docMk/>
            <pc:sldMk cId="954940349" sldId="2147479682"/>
            <ac:spMk id="96" creationId="{80B7BC0F-0A54-96F2-9BBA-3271C359C0FE}"/>
          </ac:spMkLst>
        </pc:spChg>
        <pc:spChg chg="mod">
          <ac:chgData name="David Lynch" userId="666a0384-f147-414d-9e35-a983301ea6cb" providerId="ADAL" clId="{34916257-1681-4F1E-989B-C1A397B854E2}" dt="2023-08-02T14:36:44.094" v="57" actId="1076"/>
          <ac:spMkLst>
            <pc:docMk/>
            <pc:sldMk cId="954940349" sldId="2147479682"/>
            <ac:spMk id="98" creationId="{21B45C62-DA94-49CE-AC8A-365B0885027A}"/>
          </ac:spMkLst>
        </pc:spChg>
        <pc:spChg chg="mod">
          <ac:chgData name="David Lynch" userId="666a0384-f147-414d-9e35-a983301ea6cb" providerId="ADAL" clId="{34916257-1681-4F1E-989B-C1A397B854E2}" dt="2023-08-02T14:36:44.094" v="57" actId="1076"/>
          <ac:spMkLst>
            <pc:docMk/>
            <pc:sldMk cId="954940349" sldId="2147479682"/>
            <ac:spMk id="99" creationId="{594F8856-D242-29D5-AA32-7347A87B69A9}"/>
          </ac:spMkLst>
        </pc:spChg>
        <pc:spChg chg="mod">
          <ac:chgData name="David Lynch" userId="666a0384-f147-414d-9e35-a983301ea6cb" providerId="ADAL" clId="{34916257-1681-4F1E-989B-C1A397B854E2}" dt="2023-08-02T14:36:44.094" v="57" actId="1076"/>
          <ac:spMkLst>
            <pc:docMk/>
            <pc:sldMk cId="954940349" sldId="2147479682"/>
            <ac:spMk id="101" creationId="{BB7B83CD-7C3F-6303-09BE-3A0CAD123AA6}"/>
          </ac:spMkLst>
        </pc:spChg>
        <pc:spChg chg="mod">
          <ac:chgData name="David Lynch" userId="666a0384-f147-414d-9e35-a983301ea6cb" providerId="ADAL" clId="{34916257-1681-4F1E-989B-C1A397B854E2}" dt="2023-08-02T14:36:44.094" v="57" actId="1076"/>
          <ac:spMkLst>
            <pc:docMk/>
            <pc:sldMk cId="954940349" sldId="2147479682"/>
            <ac:spMk id="102" creationId="{5195CB89-AB90-D3EC-1B4A-6592D836997C}"/>
          </ac:spMkLst>
        </pc:spChg>
        <pc:spChg chg="add mod">
          <ac:chgData name="David Lynch" userId="666a0384-f147-414d-9e35-a983301ea6cb" providerId="ADAL" clId="{34916257-1681-4F1E-989B-C1A397B854E2}" dt="2023-08-02T14:36:44.094" v="57" actId="1076"/>
          <ac:spMkLst>
            <pc:docMk/>
            <pc:sldMk cId="954940349" sldId="2147479682"/>
            <ac:spMk id="103" creationId="{D739ADE7-E800-8EB0-F4FA-35C8190192F5}"/>
          </ac:spMkLst>
        </pc:spChg>
        <pc:spChg chg="mod">
          <ac:chgData name="David Lynch" userId="666a0384-f147-414d-9e35-a983301ea6cb" providerId="ADAL" clId="{34916257-1681-4F1E-989B-C1A397B854E2}" dt="2023-08-02T14:36:44.094" v="57" actId="1076"/>
          <ac:spMkLst>
            <pc:docMk/>
            <pc:sldMk cId="954940349" sldId="2147479682"/>
            <ac:spMk id="105" creationId="{9C2FD063-7F20-0679-740D-1B4DD0E049D1}"/>
          </ac:spMkLst>
        </pc:spChg>
        <pc:spChg chg="mod">
          <ac:chgData name="David Lynch" userId="666a0384-f147-414d-9e35-a983301ea6cb" providerId="ADAL" clId="{34916257-1681-4F1E-989B-C1A397B854E2}" dt="2023-08-02T14:36:44.094" v="57" actId="1076"/>
          <ac:spMkLst>
            <pc:docMk/>
            <pc:sldMk cId="954940349" sldId="2147479682"/>
            <ac:spMk id="106" creationId="{DAFB4F68-9353-CC3F-711F-4B7F06561CED}"/>
          </ac:spMkLst>
        </pc:spChg>
        <pc:grpChg chg="add mod">
          <ac:chgData name="David Lynch" userId="666a0384-f147-414d-9e35-a983301ea6cb" providerId="ADAL" clId="{34916257-1681-4F1E-989B-C1A397B854E2}" dt="2023-08-02T14:36:44.094" v="57" actId="1076"/>
          <ac:grpSpMkLst>
            <pc:docMk/>
            <pc:sldMk cId="954940349" sldId="2147479682"/>
            <ac:grpSpMk id="14" creationId="{81FBAE6D-AB79-91F8-5AF4-8C7C615C08DC}"/>
          </ac:grpSpMkLst>
        </pc:grpChg>
        <pc:grpChg chg="add mod">
          <ac:chgData name="David Lynch" userId="666a0384-f147-414d-9e35-a983301ea6cb" providerId="ADAL" clId="{34916257-1681-4F1E-989B-C1A397B854E2}" dt="2023-08-02T14:36:44.094" v="57" actId="1076"/>
          <ac:grpSpMkLst>
            <pc:docMk/>
            <pc:sldMk cId="954940349" sldId="2147479682"/>
            <ac:grpSpMk id="20" creationId="{3751149F-039E-48E6-DB4C-D3F015427D54}"/>
          </ac:grpSpMkLst>
        </pc:grpChg>
        <pc:grpChg chg="add mod">
          <ac:chgData name="David Lynch" userId="666a0384-f147-414d-9e35-a983301ea6cb" providerId="ADAL" clId="{34916257-1681-4F1E-989B-C1A397B854E2}" dt="2023-08-02T14:36:44.094" v="57" actId="1076"/>
          <ac:grpSpMkLst>
            <pc:docMk/>
            <pc:sldMk cId="954940349" sldId="2147479682"/>
            <ac:grpSpMk id="26" creationId="{C3656772-68D6-BC18-AE29-F2868EFAC3D5}"/>
          </ac:grpSpMkLst>
        </pc:grpChg>
        <pc:grpChg chg="add del mod">
          <ac:chgData name="David Lynch" userId="666a0384-f147-414d-9e35-a983301ea6cb" providerId="ADAL" clId="{34916257-1681-4F1E-989B-C1A397B854E2}" dt="2023-08-02T14:38:00.599" v="62" actId="478"/>
          <ac:grpSpMkLst>
            <pc:docMk/>
            <pc:sldMk cId="954940349" sldId="2147479682"/>
            <ac:grpSpMk id="37" creationId="{6B1F0E61-9B83-7B2B-5DAC-998497E8BD00}"/>
          </ac:grpSpMkLst>
        </pc:grpChg>
        <pc:grpChg chg="add mod">
          <ac:chgData name="David Lynch" userId="666a0384-f147-414d-9e35-a983301ea6cb" providerId="ADAL" clId="{34916257-1681-4F1E-989B-C1A397B854E2}" dt="2023-08-02T14:36:44.094" v="57" actId="1076"/>
          <ac:grpSpMkLst>
            <pc:docMk/>
            <pc:sldMk cId="954940349" sldId="2147479682"/>
            <ac:grpSpMk id="40" creationId="{98A10B21-4292-24F1-6DF8-91300474FBA0}"/>
          </ac:grpSpMkLst>
        </pc:grpChg>
        <pc:grpChg chg="add del mod">
          <ac:chgData name="David Lynch" userId="666a0384-f147-414d-9e35-a983301ea6cb" providerId="ADAL" clId="{34916257-1681-4F1E-989B-C1A397B854E2}" dt="2023-08-02T14:38:00.599" v="62" actId="478"/>
          <ac:grpSpMkLst>
            <pc:docMk/>
            <pc:sldMk cId="954940349" sldId="2147479682"/>
            <ac:grpSpMk id="44" creationId="{E2E2F59F-ADF6-C59E-D3E8-A317F7262776}"/>
          </ac:grpSpMkLst>
        </pc:grpChg>
        <pc:grpChg chg="add mod">
          <ac:chgData name="David Lynch" userId="666a0384-f147-414d-9e35-a983301ea6cb" providerId="ADAL" clId="{34916257-1681-4F1E-989B-C1A397B854E2}" dt="2023-08-02T14:36:44.094" v="57" actId="1076"/>
          <ac:grpSpMkLst>
            <pc:docMk/>
            <pc:sldMk cId="954940349" sldId="2147479682"/>
            <ac:grpSpMk id="52" creationId="{F58CA350-41DD-1B60-4E0E-86A791763BE2}"/>
          </ac:grpSpMkLst>
        </pc:grpChg>
        <pc:grpChg chg="add mod">
          <ac:chgData name="David Lynch" userId="666a0384-f147-414d-9e35-a983301ea6cb" providerId="ADAL" clId="{34916257-1681-4F1E-989B-C1A397B854E2}" dt="2023-08-02T14:36:44.094" v="57" actId="1076"/>
          <ac:grpSpMkLst>
            <pc:docMk/>
            <pc:sldMk cId="954940349" sldId="2147479682"/>
            <ac:grpSpMk id="76" creationId="{A67994D0-B9D1-8C97-1908-731C44B4E74E}"/>
          </ac:grpSpMkLst>
        </pc:grpChg>
        <pc:grpChg chg="mod">
          <ac:chgData name="David Lynch" userId="666a0384-f147-414d-9e35-a983301ea6cb" providerId="ADAL" clId="{34916257-1681-4F1E-989B-C1A397B854E2}" dt="2023-08-02T14:36:44.094" v="57" actId="1076"/>
          <ac:grpSpMkLst>
            <pc:docMk/>
            <pc:sldMk cId="954940349" sldId="2147479682"/>
            <ac:grpSpMk id="77" creationId="{40E65C97-43A4-6D76-157C-577B482F1D95}"/>
          </ac:grpSpMkLst>
        </pc:grpChg>
        <pc:grpChg chg="add mod">
          <ac:chgData name="David Lynch" userId="666a0384-f147-414d-9e35-a983301ea6cb" providerId="ADAL" clId="{34916257-1681-4F1E-989B-C1A397B854E2}" dt="2023-08-02T14:36:44.094" v="57" actId="1076"/>
          <ac:grpSpMkLst>
            <pc:docMk/>
            <pc:sldMk cId="954940349" sldId="2147479682"/>
            <ac:grpSpMk id="89" creationId="{5B4E8D3C-A944-210D-7446-9DE8EF20E46C}"/>
          </ac:grpSpMkLst>
        </pc:grpChg>
        <pc:grpChg chg="add mod">
          <ac:chgData name="David Lynch" userId="666a0384-f147-414d-9e35-a983301ea6cb" providerId="ADAL" clId="{34916257-1681-4F1E-989B-C1A397B854E2}" dt="2023-08-02T14:36:44.094" v="57" actId="1076"/>
          <ac:grpSpMkLst>
            <pc:docMk/>
            <pc:sldMk cId="954940349" sldId="2147479682"/>
            <ac:grpSpMk id="92" creationId="{293ACA4B-F3E2-3B99-A3BB-48C49D53B046}"/>
          </ac:grpSpMkLst>
        </pc:grpChg>
        <pc:grpChg chg="add mod">
          <ac:chgData name="David Lynch" userId="666a0384-f147-414d-9e35-a983301ea6cb" providerId="ADAL" clId="{34916257-1681-4F1E-989B-C1A397B854E2}" dt="2023-08-02T14:36:44.094" v="57" actId="1076"/>
          <ac:grpSpMkLst>
            <pc:docMk/>
            <pc:sldMk cId="954940349" sldId="2147479682"/>
            <ac:grpSpMk id="97" creationId="{A4AD4569-5406-37B4-E14E-6F4394A1182C}"/>
          </ac:grpSpMkLst>
        </pc:grpChg>
        <pc:grpChg chg="add mod">
          <ac:chgData name="David Lynch" userId="666a0384-f147-414d-9e35-a983301ea6cb" providerId="ADAL" clId="{34916257-1681-4F1E-989B-C1A397B854E2}" dt="2023-08-02T14:36:44.094" v="57" actId="1076"/>
          <ac:grpSpMkLst>
            <pc:docMk/>
            <pc:sldMk cId="954940349" sldId="2147479682"/>
            <ac:grpSpMk id="100" creationId="{67D59DD4-7A2E-2DCE-F7EF-66CDE373EEAD}"/>
          </ac:grpSpMkLst>
        </pc:grpChg>
        <pc:grpChg chg="add mod">
          <ac:chgData name="David Lynch" userId="666a0384-f147-414d-9e35-a983301ea6cb" providerId="ADAL" clId="{34916257-1681-4F1E-989B-C1A397B854E2}" dt="2023-08-02T14:36:44.094" v="57" actId="1076"/>
          <ac:grpSpMkLst>
            <pc:docMk/>
            <pc:sldMk cId="954940349" sldId="2147479682"/>
            <ac:grpSpMk id="104" creationId="{B4010633-A724-20AF-A8AA-9E034CACDBF2}"/>
          </ac:grpSpMkLst>
        </pc:grpChg>
        <pc:picChg chg="add mod">
          <ac:chgData name="David Lynch" userId="666a0384-f147-414d-9e35-a983301ea6cb" providerId="ADAL" clId="{34916257-1681-4F1E-989B-C1A397B854E2}" dt="2023-08-02T14:36:44.094" v="57" actId="1076"/>
          <ac:picMkLst>
            <pc:docMk/>
            <pc:sldMk cId="954940349" sldId="2147479682"/>
            <ac:picMk id="11" creationId="{EC3AE51E-5A02-6F4A-EEB1-39D2CBF51249}"/>
          </ac:picMkLst>
        </pc:picChg>
        <pc:picChg chg="mod">
          <ac:chgData name="David Lynch" userId="666a0384-f147-414d-9e35-a983301ea6cb" providerId="ADAL" clId="{34916257-1681-4F1E-989B-C1A397B854E2}" dt="2023-08-02T14:36:44.094" v="57" actId="1076"/>
          <ac:picMkLst>
            <pc:docMk/>
            <pc:sldMk cId="954940349" sldId="2147479682"/>
            <ac:picMk id="23" creationId="{589EADB6-0C2B-08A3-BDE8-78FB941F519B}"/>
          </ac:picMkLst>
        </pc:picChg>
        <pc:picChg chg="mod">
          <ac:chgData name="David Lynch" userId="666a0384-f147-414d-9e35-a983301ea6cb" providerId="ADAL" clId="{34916257-1681-4F1E-989B-C1A397B854E2}" dt="2023-08-02T14:36:44.094" v="57" actId="1076"/>
          <ac:picMkLst>
            <pc:docMk/>
            <pc:sldMk cId="954940349" sldId="2147479682"/>
            <ac:picMk id="29" creationId="{E3B168C8-781A-BE83-BAF0-4D339579322F}"/>
          </ac:picMkLst>
        </pc:picChg>
        <pc:picChg chg="add mod">
          <ac:chgData name="David Lynch" userId="666a0384-f147-414d-9e35-a983301ea6cb" providerId="ADAL" clId="{34916257-1681-4F1E-989B-C1A397B854E2}" dt="2023-08-02T14:36:44.094" v="57" actId="1076"/>
          <ac:picMkLst>
            <pc:docMk/>
            <pc:sldMk cId="954940349" sldId="2147479682"/>
            <ac:picMk id="32" creationId="{7CA3334A-18A9-094E-4425-B3C6BCCE6502}"/>
          </ac:picMkLst>
        </pc:picChg>
        <pc:picChg chg="add mod">
          <ac:chgData name="David Lynch" userId="666a0384-f147-414d-9e35-a983301ea6cb" providerId="ADAL" clId="{34916257-1681-4F1E-989B-C1A397B854E2}" dt="2023-08-02T14:36:44.094" v="57" actId="1076"/>
          <ac:picMkLst>
            <pc:docMk/>
            <pc:sldMk cId="954940349" sldId="2147479682"/>
            <ac:picMk id="35" creationId="{9D864D4B-F2B2-1718-749C-E9349493049B}"/>
          </ac:picMkLst>
        </pc:picChg>
        <pc:picChg chg="add mod">
          <ac:chgData name="David Lynch" userId="666a0384-f147-414d-9e35-a983301ea6cb" providerId="ADAL" clId="{34916257-1681-4F1E-989B-C1A397B854E2}" dt="2023-08-02T14:36:44.094" v="57" actId="1076"/>
          <ac:picMkLst>
            <pc:docMk/>
            <pc:sldMk cId="954940349" sldId="2147479682"/>
            <ac:picMk id="36" creationId="{643BED2A-71FB-5500-FF3F-489899AF8E9E}"/>
          </ac:picMkLst>
        </pc:picChg>
        <pc:picChg chg="mod">
          <ac:chgData name="David Lynch" userId="666a0384-f147-414d-9e35-a983301ea6cb" providerId="ADAL" clId="{34916257-1681-4F1E-989B-C1A397B854E2}" dt="2023-08-02T14:36:44.094" v="57" actId="1076"/>
          <ac:picMkLst>
            <pc:docMk/>
            <pc:sldMk cId="954940349" sldId="2147479682"/>
            <ac:picMk id="43" creationId="{2BA379A3-5380-C602-802F-85A54B4C06BD}"/>
          </ac:picMkLst>
        </pc:picChg>
        <pc:picChg chg="add mod">
          <ac:chgData name="David Lynch" userId="666a0384-f147-414d-9e35-a983301ea6cb" providerId="ADAL" clId="{34916257-1681-4F1E-989B-C1A397B854E2}" dt="2023-08-02T14:36:44.094" v="57" actId="1076"/>
          <ac:picMkLst>
            <pc:docMk/>
            <pc:sldMk cId="954940349" sldId="2147479682"/>
            <ac:picMk id="51" creationId="{1281F069-D6CE-D379-9CF8-07087C683DC2}"/>
          </ac:picMkLst>
        </pc:picChg>
        <pc:picChg chg="mod">
          <ac:chgData name="David Lynch" userId="666a0384-f147-414d-9e35-a983301ea6cb" providerId="ADAL" clId="{34916257-1681-4F1E-989B-C1A397B854E2}" dt="2023-08-02T14:36:44.094" v="57" actId="1076"/>
          <ac:picMkLst>
            <pc:docMk/>
            <pc:sldMk cId="954940349" sldId="2147479682"/>
            <ac:picMk id="55" creationId="{684C2A9A-9D3D-5908-EE93-C2C4A5902A77}"/>
          </ac:picMkLst>
        </pc:picChg>
        <pc:picChg chg="add mod">
          <ac:chgData name="David Lynch" userId="666a0384-f147-414d-9e35-a983301ea6cb" providerId="ADAL" clId="{34916257-1681-4F1E-989B-C1A397B854E2}" dt="2023-08-02T14:36:44.094" v="57" actId="1076"/>
          <ac:picMkLst>
            <pc:docMk/>
            <pc:sldMk cId="954940349" sldId="2147479682"/>
            <ac:picMk id="56" creationId="{5F271462-6325-0E56-C47B-BEE4B4B0DD6B}"/>
          </ac:picMkLst>
        </pc:picChg>
        <pc:picChg chg="add mod">
          <ac:chgData name="David Lynch" userId="666a0384-f147-414d-9e35-a983301ea6cb" providerId="ADAL" clId="{34916257-1681-4F1E-989B-C1A397B854E2}" dt="2023-08-02T14:36:44.094" v="57" actId="1076"/>
          <ac:picMkLst>
            <pc:docMk/>
            <pc:sldMk cId="954940349" sldId="2147479682"/>
            <ac:picMk id="66" creationId="{F7F6A689-0CC6-B8CB-42BF-D868BBAE3BA8}"/>
          </ac:picMkLst>
        </pc:picChg>
        <pc:picChg chg="add mod">
          <ac:chgData name="David Lynch" userId="666a0384-f147-414d-9e35-a983301ea6cb" providerId="ADAL" clId="{34916257-1681-4F1E-989B-C1A397B854E2}" dt="2023-08-02T14:36:44.094" v="57" actId="1076"/>
          <ac:picMkLst>
            <pc:docMk/>
            <pc:sldMk cId="954940349" sldId="2147479682"/>
            <ac:picMk id="67" creationId="{75B715B5-DE9B-6E00-27CE-744CA75E89E7}"/>
          </ac:picMkLst>
        </pc:picChg>
        <pc:picChg chg="add mod">
          <ac:chgData name="David Lynch" userId="666a0384-f147-414d-9e35-a983301ea6cb" providerId="ADAL" clId="{34916257-1681-4F1E-989B-C1A397B854E2}" dt="2023-08-02T14:36:44.094" v="57" actId="1076"/>
          <ac:picMkLst>
            <pc:docMk/>
            <pc:sldMk cId="954940349" sldId="2147479682"/>
            <ac:picMk id="70" creationId="{0E423793-9482-D8CA-8BB9-43A651062178}"/>
          </ac:picMkLst>
        </pc:picChg>
        <pc:picChg chg="mod">
          <ac:chgData name="David Lynch" userId="666a0384-f147-414d-9e35-a983301ea6cb" providerId="ADAL" clId="{34916257-1681-4F1E-989B-C1A397B854E2}" dt="2023-08-02T14:36:44.094" v="57" actId="1076"/>
          <ac:picMkLst>
            <pc:docMk/>
            <pc:sldMk cId="954940349" sldId="2147479682"/>
            <ac:picMk id="78" creationId="{644D32D7-F561-855A-81F4-1C6F1BBDE604}"/>
          </ac:picMkLst>
        </pc:picChg>
        <pc:picChg chg="add mod">
          <ac:chgData name="David Lynch" userId="666a0384-f147-414d-9e35-a983301ea6cb" providerId="ADAL" clId="{34916257-1681-4F1E-989B-C1A397B854E2}" dt="2023-08-02T14:36:44.094" v="57" actId="1076"/>
          <ac:picMkLst>
            <pc:docMk/>
            <pc:sldMk cId="954940349" sldId="2147479682"/>
            <ac:picMk id="95" creationId="{16651F3A-FD65-8E04-D50F-6F821413045C}"/>
          </ac:picMkLst>
        </pc:picChg>
        <pc:picChg chg="add mod">
          <ac:chgData name="David Lynch" userId="666a0384-f147-414d-9e35-a983301ea6cb" providerId="ADAL" clId="{34916257-1681-4F1E-989B-C1A397B854E2}" dt="2023-08-02T14:36:44.094" v="57" actId="1076"/>
          <ac:picMkLst>
            <pc:docMk/>
            <pc:sldMk cId="954940349" sldId="2147479682"/>
            <ac:picMk id="107" creationId="{279C1773-01FC-D62D-FBFD-54A60BBAD7BA}"/>
          </ac:picMkLst>
        </pc:picChg>
        <pc:picChg chg="add mod">
          <ac:chgData name="David Lynch" userId="666a0384-f147-414d-9e35-a983301ea6cb" providerId="ADAL" clId="{34916257-1681-4F1E-989B-C1A397B854E2}" dt="2023-08-02T14:36:44.094" v="57" actId="1076"/>
          <ac:picMkLst>
            <pc:docMk/>
            <pc:sldMk cId="954940349" sldId="2147479682"/>
            <ac:picMk id="108" creationId="{6601F7C9-60BE-76FD-75E9-7008D9FFD1DB}"/>
          </ac:picMkLst>
        </pc:picChg>
        <pc:picChg chg="add del mod">
          <ac:chgData name="David Lynch" userId="666a0384-f147-414d-9e35-a983301ea6cb" providerId="ADAL" clId="{34916257-1681-4F1E-989B-C1A397B854E2}" dt="2023-08-02T14:38:00.599" v="62" actId="478"/>
          <ac:picMkLst>
            <pc:docMk/>
            <pc:sldMk cId="954940349" sldId="2147479682"/>
            <ac:picMk id="109" creationId="{872F07A2-6E7E-D239-F7CF-093272EC5B67}"/>
          </ac:picMkLst>
        </pc:picChg>
        <pc:picChg chg="add mod">
          <ac:chgData name="David Lynch" userId="666a0384-f147-414d-9e35-a983301ea6cb" providerId="ADAL" clId="{34916257-1681-4F1E-989B-C1A397B854E2}" dt="2023-08-02T14:36:44.094" v="57" actId="1076"/>
          <ac:picMkLst>
            <pc:docMk/>
            <pc:sldMk cId="954940349" sldId="2147479682"/>
            <ac:picMk id="110" creationId="{A4F8056F-F636-369A-EECE-D48DFB298690}"/>
          </ac:picMkLst>
        </pc:picChg>
        <pc:picChg chg="add mod">
          <ac:chgData name="David Lynch" userId="666a0384-f147-414d-9e35-a983301ea6cb" providerId="ADAL" clId="{34916257-1681-4F1E-989B-C1A397B854E2}" dt="2023-08-02T14:36:44.094" v="57" actId="1076"/>
          <ac:picMkLst>
            <pc:docMk/>
            <pc:sldMk cId="954940349" sldId="2147479682"/>
            <ac:picMk id="111" creationId="{4BF91444-561F-279C-1195-4903E33992CE}"/>
          </ac:picMkLst>
        </pc:picChg>
        <pc:picChg chg="add del mod">
          <ac:chgData name="David Lynch" userId="666a0384-f147-414d-9e35-a983301ea6cb" providerId="ADAL" clId="{34916257-1681-4F1E-989B-C1A397B854E2}" dt="2023-08-02T14:38:00.599" v="62" actId="478"/>
          <ac:picMkLst>
            <pc:docMk/>
            <pc:sldMk cId="954940349" sldId="2147479682"/>
            <ac:picMk id="112" creationId="{55C24ABE-26F7-8140-F878-23764DEFE605}"/>
          </ac:picMkLst>
        </pc:picChg>
        <pc:picChg chg="add mod">
          <ac:chgData name="David Lynch" userId="666a0384-f147-414d-9e35-a983301ea6cb" providerId="ADAL" clId="{34916257-1681-4F1E-989B-C1A397B854E2}" dt="2023-08-02T14:36:44.094" v="57" actId="1076"/>
          <ac:picMkLst>
            <pc:docMk/>
            <pc:sldMk cId="954940349" sldId="2147479682"/>
            <ac:picMk id="113" creationId="{39B95E94-DDAF-9C0D-2146-5E94E6952F5E}"/>
          </ac:picMkLst>
        </pc:picChg>
        <pc:cxnChg chg="add mod">
          <ac:chgData name="David Lynch" userId="666a0384-f147-414d-9e35-a983301ea6cb" providerId="ADAL" clId="{34916257-1681-4F1E-989B-C1A397B854E2}" dt="2023-08-02T14:36:44.094" v="57" actId="1076"/>
          <ac:cxnSpMkLst>
            <pc:docMk/>
            <pc:sldMk cId="954940349" sldId="2147479682"/>
            <ac:cxnSpMk id="7" creationId="{011E4A00-BAA7-ACBB-4A3B-EC9133CEFCBA}"/>
          </ac:cxnSpMkLst>
        </pc:cxnChg>
        <pc:cxnChg chg="add mod">
          <ac:chgData name="David Lynch" userId="666a0384-f147-414d-9e35-a983301ea6cb" providerId="ADAL" clId="{34916257-1681-4F1E-989B-C1A397B854E2}" dt="2023-08-02T14:36:44.094" v="57" actId="1076"/>
          <ac:cxnSpMkLst>
            <pc:docMk/>
            <pc:sldMk cId="954940349" sldId="2147479682"/>
            <ac:cxnSpMk id="8" creationId="{57C38EFA-393A-92FD-7046-4DCBFBCD9C91}"/>
          </ac:cxnSpMkLst>
        </pc:cxnChg>
        <pc:cxnChg chg="add mod">
          <ac:chgData name="David Lynch" userId="666a0384-f147-414d-9e35-a983301ea6cb" providerId="ADAL" clId="{34916257-1681-4F1E-989B-C1A397B854E2}" dt="2023-08-02T14:36:44.094" v="57" actId="1076"/>
          <ac:cxnSpMkLst>
            <pc:docMk/>
            <pc:sldMk cId="954940349" sldId="2147479682"/>
            <ac:cxnSpMk id="57" creationId="{58C313B1-FDFF-2E09-FE44-01D177CE2922}"/>
          </ac:cxnSpMkLst>
        </pc:cxnChg>
        <pc:cxnChg chg="add mod">
          <ac:chgData name="David Lynch" userId="666a0384-f147-414d-9e35-a983301ea6cb" providerId="ADAL" clId="{34916257-1681-4F1E-989B-C1A397B854E2}" dt="2023-08-02T14:36:44.094" v="57" actId="1076"/>
          <ac:cxnSpMkLst>
            <pc:docMk/>
            <pc:sldMk cId="954940349" sldId="2147479682"/>
            <ac:cxnSpMk id="58" creationId="{668BEF24-2D16-FB71-D947-BCB497956BCF}"/>
          </ac:cxnSpMkLst>
        </pc:cxnChg>
        <pc:cxnChg chg="add mod">
          <ac:chgData name="David Lynch" userId="666a0384-f147-414d-9e35-a983301ea6cb" providerId="ADAL" clId="{34916257-1681-4F1E-989B-C1A397B854E2}" dt="2023-08-02T14:36:44.094" v="57" actId="1076"/>
          <ac:cxnSpMkLst>
            <pc:docMk/>
            <pc:sldMk cId="954940349" sldId="2147479682"/>
            <ac:cxnSpMk id="63" creationId="{103E5FC9-BB35-537E-7FC1-24D4E7F48083}"/>
          </ac:cxnSpMkLst>
        </pc:cxnChg>
      </pc:sldChg>
      <pc:sldChg chg="addSp delSp modSp new del mod">
        <pc:chgData name="David Lynch" userId="666a0384-f147-414d-9e35-a983301ea6cb" providerId="ADAL" clId="{34916257-1681-4F1E-989B-C1A397B854E2}" dt="2023-08-02T14:36:28.439" v="53" actId="680"/>
        <pc:sldMkLst>
          <pc:docMk/>
          <pc:sldMk cId="3134490103" sldId="2147479682"/>
        </pc:sldMkLst>
        <pc:spChg chg="add del">
          <ac:chgData name="David Lynch" userId="666a0384-f147-414d-9e35-a983301ea6cb" providerId="ADAL" clId="{34916257-1681-4F1E-989B-C1A397B854E2}" dt="2023-08-02T14:36:27.123" v="52" actId="478"/>
          <ac:spMkLst>
            <pc:docMk/>
            <pc:sldMk cId="3134490103" sldId="2147479682"/>
            <ac:spMk id="2" creationId="{F14D0C52-FF64-0489-2321-851E7427082E}"/>
          </ac:spMkLst>
        </pc:spChg>
        <pc:spChg chg="add del mod">
          <ac:chgData name="David Lynch" userId="666a0384-f147-414d-9e35-a983301ea6cb" providerId="ADAL" clId="{34916257-1681-4F1E-989B-C1A397B854E2}" dt="2023-08-02T14:36:18.185" v="49"/>
          <ac:spMkLst>
            <pc:docMk/>
            <pc:sldMk cId="3134490103" sldId="2147479682"/>
            <ac:spMk id="5" creationId="{7D17B3DA-6EE1-4B76-D961-96DFA6CCE26C}"/>
          </ac:spMkLst>
        </pc:spChg>
        <pc:spChg chg="add del mod">
          <ac:chgData name="David Lynch" userId="666a0384-f147-414d-9e35-a983301ea6cb" providerId="ADAL" clId="{34916257-1681-4F1E-989B-C1A397B854E2}" dt="2023-08-02T14:36:18.185" v="49"/>
          <ac:spMkLst>
            <pc:docMk/>
            <pc:sldMk cId="3134490103" sldId="2147479682"/>
            <ac:spMk id="6" creationId="{1B4BEFE2-D85E-1C3C-5C2C-0797D0C88EB7}"/>
          </ac:spMkLst>
        </pc:spChg>
        <pc:spChg chg="add del mod">
          <ac:chgData name="David Lynch" userId="666a0384-f147-414d-9e35-a983301ea6cb" providerId="ADAL" clId="{34916257-1681-4F1E-989B-C1A397B854E2}" dt="2023-08-02T14:36:18.185" v="49"/>
          <ac:spMkLst>
            <pc:docMk/>
            <pc:sldMk cId="3134490103" sldId="2147479682"/>
            <ac:spMk id="9" creationId="{FA768C42-B3C3-7511-72F4-D3E6CAA52851}"/>
          </ac:spMkLst>
        </pc:spChg>
        <pc:spChg chg="add del mod">
          <ac:chgData name="David Lynch" userId="666a0384-f147-414d-9e35-a983301ea6cb" providerId="ADAL" clId="{34916257-1681-4F1E-989B-C1A397B854E2}" dt="2023-08-02T14:36:18.185" v="49"/>
          <ac:spMkLst>
            <pc:docMk/>
            <pc:sldMk cId="3134490103" sldId="2147479682"/>
            <ac:spMk id="10" creationId="{BD8CE0F8-19A0-165C-B1F9-93F30EB6EE17}"/>
          </ac:spMkLst>
        </pc:spChg>
        <pc:spChg chg="add del mod">
          <ac:chgData name="David Lynch" userId="666a0384-f147-414d-9e35-a983301ea6cb" providerId="ADAL" clId="{34916257-1681-4F1E-989B-C1A397B854E2}" dt="2023-08-02T14:36:18.185" v="49"/>
          <ac:spMkLst>
            <pc:docMk/>
            <pc:sldMk cId="3134490103" sldId="2147479682"/>
            <ac:spMk id="12" creationId="{036FF200-F31E-6275-FA3A-D9C3BEE7FF3C}"/>
          </ac:spMkLst>
        </pc:spChg>
        <pc:spChg chg="add del mod">
          <ac:chgData name="David Lynch" userId="666a0384-f147-414d-9e35-a983301ea6cb" providerId="ADAL" clId="{34916257-1681-4F1E-989B-C1A397B854E2}" dt="2023-08-02T14:36:18.185" v="49"/>
          <ac:spMkLst>
            <pc:docMk/>
            <pc:sldMk cId="3134490103" sldId="2147479682"/>
            <ac:spMk id="13" creationId="{C5E6C87D-79DF-1867-C4D2-92EB0A2B4A8D}"/>
          </ac:spMkLst>
        </pc:spChg>
        <pc:spChg chg="mod">
          <ac:chgData name="David Lynch" userId="666a0384-f147-414d-9e35-a983301ea6cb" providerId="ADAL" clId="{34916257-1681-4F1E-989B-C1A397B854E2}" dt="2023-08-02T14:36:15.798" v="48"/>
          <ac:spMkLst>
            <pc:docMk/>
            <pc:sldMk cId="3134490103" sldId="2147479682"/>
            <ac:spMk id="15" creationId="{87F8D619-4B92-F18D-0E50-83C949729F7B}"/>
          </ac:spMkLst>
        </pc:spChg>
        <pc:spChg chg="mod">
          <ac:chgData name="David Lynch" userId="666a0384-f147-414d-9e35-a983301ea6cb" providerId="ADAL" clId="{34916257-1681-4F1E-989B-C1A397B854E2}" dt="2023-08-02T14:36:15.798" v="48"/>
          <ac:spMkLst>
            <pc:docMk/>
            <pc:sldMk cId="3134490103" sldId="2147479682"/>
            <ac:spMk id="16" creationId="{71DE32D2-E56B-958C-1DD0-B6B191F88F3D}"/>
          </ac:spMkLst>
        </pc:spChg>
        <pc:spChg chg="add del mod">
          <ac:chgData name="David Lynch" userId="666a0384-f147-414d-9e35-a983301ea6cb" providerId="ADAL" clId="{34916257-1681-4F1E-989B-C1A397B854E2}" dt="2023-08-02T14:36:18.185" v="49"/>
          <ac:spMkLst>
            <pc:docMk/>
            <pc:sldMk cId="3134490103" sldId="2147479682"/>
            <ac:spMk id="17" creationId="{9D0ABFE0-EABE-F364-9BDD-EFF5D74DABDA}"/>
          </ac:spMkLst>
        </pc:spChg>
        <pc:spChg chg="add del mod">
          <ac:chgData name="David Lynch" userId="666a0384-f147-414d-9e35-a983301ea6cb" providerId="ADAL" clId="{34916257-1681-4F1E-989B-C1A397B854E2}" dt="2023-08-02T14:36:18.185" v="49"/>
          <ac:spMkLst>
            <pc:docMk/>
            <pc:sldMk cId="3134490103" sldId="2147479682"/>
            <ac:spMk id="18" creationId="{62DA7B81-DD35-E4AB-F0B3-2D8C7A02FD52}"/>
          </ac:spMkLst>
        </pc:spChg>
        <pc:spChg chg="add del mod">
          <ac:chgData name="David Lynch" userId="666a0384-f147-414d-9e35-a983301ea6cb" providerId="ADAL" clId="{34916257-1681-4F1E-989B-C1A397B854E2}" dt="2023-08-02T14:36:18.185" v="49"/>
          <ac:spMkLst>
            <pc:docMk/>
            <pc:sldMk cId="3134490103" sldId="2147479682"/>
            <ac:spMk id="19" creationId="{93FD086F-9032-339B-2A7C-CDBFC7F4E1B3}"/>
          </ac:spMkLst>
        </pc:spChg>
        <pc:spChg chg="mod">
          <ac:chgData name="David Lynch" userId="666a0384-f147-414d-9e35-a983301ea6cb" providerId="ADAL" clId="{34916257-1681-4F1E-989B-C1A397B854E2}" dt="2023-08-02T14:36:15.798" v="48"/>
          <ac:spMkLst>
            <pc:docMk/>
            <pc:sldMk cId="3134490103" sldId="2147479682"/>
            <ac:spMk id="21" creationId="{BC8A15E4-E973-834A-3C2F-A762567F4B34}"/>
          </ac:spMkLst>
        </pc:spChg>
        <pc:spChg chg="mod">
          <ac:chgData name="David Lynch" userId="666a0384-f147-414d-9e35-a983301ea6cb" providerId="ADAL" clId="{34916257-1681-4F1E-989B-C1A397B854E2}" dt="2023-08-02T14:36:15.798" v="48"/>
          <ac:spMkLst>
            <pc:docMk/>
            <pc:sldMk cId="3134490103" sldId="2147479682"/>
            <ac:spMk id="22" creationId="{2DC053D9-813E-5157-5F3D-3F510DE72224}"/>
          </ac:spMkLst>
        </pc:spChg>
        <pc:spChg chg="add del mod">
          <ac:chgData name="David Lynch" userId="666a0384-f147-414d-9e35-a983301ea6cb" providerId="ADAL" clId="{34916257-1681-4F1E-989B-C1A397B854E2}" dt="2023-08-02T14:36:18.185" v="49"/>
          <ac:spMkLst>
            <pc:docMk/>
            <pc:sldMk cId="3134490103" sldId="2147479682"/>
            <ac:spMk id="24" creationId="{24C2A029-F638-4A0E-832D-4DDE88FA7792}"/>
          </ac:spMkLst>
        </pc:spChg>
        <pc:spChg chg="add del mod">
          <ac:chgData name="David Lynch" userId="666a0384-f147-414d-9e35-a983301ea6cb" providerId="ADAL" clId="{34916257-1681-4F1E-989B-C1A397B854E2}" dt="2023-08-02T14:36:18.185" v="49"/>
          <ac:spMkLst>
            <pc:docMk/>
            <pc:sldMk cId="3134490103" sldId="2147479682"/>
            <ac:spMk id="25" creationId="{F10765A3-2295-6F7B-4698-05C4F928A610}"/>
          </ac:spMkLst>
        </pc:spChg>
        <pc:spChg chg="mod">
          <ac:chgData name="David Lynch" userId="666a0384-f147-414d-9e35-a983301ea6cb" providerId="ADAL" clId="{34916257-1681-4F1E-989B-C1A397B854E2}" dt="2023-08-02T14:36:15.798" v="48"/>
          <ac:spMkLst>
            <pc:docMk/>
            <pc:sldMk cId="3134490103" sldId="2147479682"/>
            <ac:spMk id="27" creationId="{74EF3690-2C66-D8BC-D811-527BD81E1982}"/>
          </ac:spMkLst>
        </pc:spChg>
        <pc:spChg chg="mod">
          <ac:chgData name="David Lynch" userId="666a0384-f147-414d-9e35-a983301ea6cb" providerId="ADAL" clId="{34916257-1681-4F1E-989B-C1A397B854E2}" dt="2023-08-02T14:36:15.798" v="48"/>
          <ac:spMkLst>
            <pc:docMk/>
            <pc:sldMk cId="3134490103" sldId="2147479682"/>
            <ac:spMk id="28" creationId="{A983C650-62A9-E38D-8786-B5E3294AA356}"/>
          </ac:spMkLst>
        </pc:spChg>
        <pc:spChg chg="add del mod">
          <ac:chgData name="David Lynch" userId="666a0384-f147-414d-9e35-a983301ea6cb" providerId="ADAL" clId="{34916257-1681-4F1E-989B-C1A397B854E2}" dt="2023-08-02T14:36:18.185" v="49"/>
          <ac:spMkLst>
            <pc:docMk/>
            <pc:sldMk cId="3134490103" sldId="2147479682"/>
            <ac:spMk id="30" creationId="{504F0AA6-8A64-6718-6952-E9F02C9CE31D}"/>
          </ac:spMkLst>
        </pc:spChg>
        <pc:spChg chg="add del mod">
          <ac:chgData name="David Lynch" userId="666a0384-f147-414d-9e35-a983301ea6cb" providerId="ADAL" clId="{34916257-1681-4F1E-989B-C1A397B854E2}" dt="2023-08-02T14:36:18.185" v="49"/>
          <ac:spMkLst>
            <pc:docMk/>
            <pc:sldMk cId="3134490103" sldId="2147479682"/>
            <ac:spMk id="31" creationId="{A24087B7-B22C-C88B-C8CE-C0253125E6A2}"/>
          </ac:spMkLst>
        </pc:spChg>
        <pc:spChg chg="add del mod">
          <ac:chgData name="David Lynch" userId="666a0384-f147-414d-9e35-a983301ea6cb" providerId="ADAL" clId="{34916257-1681-4F1E-989B-C1A397B854E2}" dt="2023-08-02T14:36:18.185" v="49"/>
          <ac:spMkLst>
            <pc:docMk/>
            <pc:sldMk cId="3134490103" sldId="2147479682"/>
            <ac:spMk id="33" creationId="{59885158-C2B1-24F6-E2DC-F01DC38DB6A9}"/>
          </ac:spMkLst>
        </pc:spChg>
        <pc:spChg chg="add del mod">
          <ac:chgData name="David Lynch" userId="666a0384-f147-414d-9e35-a983301ea6cb" providerId="ADAL" clId="{34916257-1681-4F1E-989B-C1A397B854E2}" dt="2023-08-02T14:36:18.185" v="49"/>
          <ac:spMkLst>
            <pc:docMk/>
            <pc:sldMk cId="3134490103" sldId="2147479682"/>
            <ac:spMk id="34" creationId="{CBCD176E-E80B-16CE-B01F-DA96571EBDB1}"/>
          </ac:spMkLst>
        </pc:spChg>
        <pc:spChg chg="mod">
          <ac:chgData name="David Lynch" userId="666a0384-f147-414d-9e35-a983301ea6cb" providerId="ADAL" clId="{34916257-1681-4F1E-989B-C1A397B854E2}" dt="2023-08-02T14:36:15.798" v="48"/>
          <ac:spMkLst>
            <pc:docMk/>
            <pc:sldMk cId="3134490103" sldId="2147479682"/>
            <ac:spMk id="38" creationId="{DBDC0ECF-8185-37BF-C115-84667B7FCF34}"/>
          </ac:spMkLst>
        </pc:spChg>
        <pc:spChg chg="mod">
          <ac:chgData name="David Lynch" userId="666a0384-f147-414d-9e35-a983301ea6cb" providerId="ADAL" clId="{34916257-1681-4F1E-989B-C1A397B854E2}" dt="2023-08-02T14:36:15.798" v="48"/>
          <ac:spMkLst>
            <pc:docMk/>
            <pc:sldMk cId="3134490103" sldId="2147479682"/>
            <ac:spMk id="39" creationId="{8D66B3AF-BE4D-8CA7-E68C-2BB8D8D15489}"/>
          </ac:spMkLst>
        </pc:spChg>
        <pc:spChg chg="mod">
          <ac:chgData name="David Lynch" userId="666a0384-f147-414d-9e35-a983301ea6cb" providerId="ADAL" clId="{34916257-1681-4F1E-989B-C1A397B854E2}" dt="2023-08-02T14:36:15.798" v="48"/>
          <ac:spMkLst>
            <pc:docMk/>
            <pc:sldMk cId="3134490103" sldId="2147479682"/>
            <ac:spMk id="41" creationId="{8C40835A-46E4-5A5C-0B2F-2BE2173FBF7B}"/>
          </ac:spMkLst>
        </pc:spChg>
        <pc:spChg chg="mod">
          <ac:chgData name="David Lynch" userId="666a0384-f147-414d-9e35-a983301ea6cb" providerId="ADAL" clId="{34916257-1681-4F1E-989B-C1A397B854E2}" dt="2023-08-02T14:36:15.798" v="48"/>
          <ac:spMkLst>
            <pc:docMk/>
            <pc:sldMk cId="3134490103" sldId="2147479682"/>
            <ac:spMk id="42" creationId="{04D7C6DF-3DDF-706A-9379-93AE354A1D6B}"/>
          </ac:spMkLst>
        </pc:spChg>
        <pc:spChg chg="mod">
          <ac:chgData name="David Lynch" userId="666a0384-f147-414d-9e35-a983301ea6cb" providerId="ADAL" clId="{34916257-1681-4F1E-989B-C1A397B854E2}" dt="2023-08-02T14:36:15.798" v="48"/>
          <ac:spMkLst>
            <pc:docMk/>
            <pc:sldMk cId="3134490103" sldId="2147479682"/>
            <ac:spMk id="45" creationId="{5DC70ECB-EB2F-FCD1-95E9-72E4E0720A6E}"/>
          </ac:spMkLst>
        </pc:spChg>
        <pc:spChg chg="mod">
          <ac:chgData name="David Lynch" userId="666a0384-f147-414d-9e35-a983301ea6cb" providerId="ADAL" clId="{34916257-1681-4F1E-989B-C1A397B854E2}" dt="2023-08-02T14:36:15.798" v="48"/>
          <ac:spMkLst>
            <pc:docMk/>
            <pc:sldMk cId="3134490103" sldId="2147479682"/>
            <ac:spMk id="46" creationId="{DA998366-393B-8BA1-B0C4-1FCAA474497E}"/>
          </ac:spMkLst>
        </pc:spChg>
        <pc:spChg chg="add del mod">
          <ac:chgData name="David Lynch" userId="666a0384-f147-414d-9e35-a983301ea6cb" providerId="ADAL" clId="{34916257-1681-4F1E-989B-C1A397B854E2}" dt="2023-08-02T14:36:18.185" v="49"/>
          <ac:spMkLst>
            <pc:docMk/>
            <pc:sldMk cId="3134490103" sldId="2147479682"/>
            <ac:spMk id="47" creationId="{28FA1CE6-9FE1-CBF8-E4DE-529B4966D1E2}"/>
          </ac:spMkLst>
        </pc:spChg>
        <pc:spChg chg="add del mod">
          <ac:chgData name="David Lynch" userId="666a0384-f147-414d-9e35-a983301ea6cb" providerId="ADAL" clId="{34916257-1681-4F1E-989B-C1A397B854E2}" dt="2023-08-02T14:36:18.185" v="49"/>
          <ac:spMkLst>
            <pc:docMk/>
            <pc:sldMk cId="3134490103" sldId="2147479682"/>
            <ac:spMk id="48" creationId="{C1AFFC9E-0CDD-6C41-9F28-D1502D5D9ABE}"/>
          </ac:spMkLst>
        </pc:spChg>
        <pc:spChg chg="add del mod">
          <ac:chgData name="David Lynch" userId="666a0384-f147-414d-9e35-a983301ea6cb" providerId="ADAL" clId="{34916257-1681-4F1E-989B-C1A397B854E2}" dt="2023-08-02T14:36:18.185" v="49"/>
          <ac:spMkLst>
            <pc:docMk/>
            <pc:sldMk cId="3134490103" sldId="2147479682"/>
            <ac:spMk id="49" creationId="{3BB88243-6E87-30E7-3542-CDAB4596BC7F}"/>
          </ac:spMkLst>
        </pc:spChg>
        <pc:spChg chg="add del mod">
          <ac:chgData name="David Lynch" userId="666a0384-f147-414d-9e35-a983301ea6cb" providerId="ADAL" clId="{34916257-1681-4F1E-989B-C1A397B854E2}" dt="2023-08-02T14:36:18.185" v="49"/>
          <ac:spMkLst>
            <pc:docMk/>
            <pc:sldMk cId="3134490103" sldId="2147479682"/>
            <ac:spMk id="50" creationId="{66A1E8BC-DCD9-273D-F803-EACF0C43D684}"/>
          </ac:spMkLst>
        </pc:spChg>
        <pc:spChg chg="mod">
          <ac:chgData name="David Lynch" userId="666a0384-f147-414d-9e35-a983301ea6cb" providerId="ADAL" clId="{34916257-1681-4F1E-989B-C1A397B854E2}" dt="2023-08-02T14:36:15.798" v="48"/>
          <ac:spMkLst>
            <pc:docMk/>
            <pc:sldMk cId="3134490103" sldId="2147479682"/>
            <ac:spMk id="53" creationId="{0EDA9E12-D68E-F4EF-95CB-12D23CE99630}"/>
          </ac:spMkLst>
        </pc:spChg>
        <pc:spChg chg="mod">
          <ac:chgData name="David Lynch" userId="666a0384-f147-414d-9e35-a983301ea6cb" providerId="ADAL" clId="{34916257-1681-4F1E-989B-C1A397B854E2}" dt="2023-08-02T14:36:15.798" v="48"/>
          <ac:spMkLst>
            <pc:docMk/>
            <pc:sldMk cId="3134490103" sldId="2147479682"/>
            <ac:spMk id="54" creationId="{057F82CF-E544-AAA5-F3EC-361F6847D4F2}"/>
          </ac:spMkLst>
        </pc:spChg>
        <pc:spChg chg="add del mod">
          <ac:chgData name="David Lynch" userId="666a0384-f147-414d-9e35-a983301ea6cb" providerId="ADAL" clId="{34916257-1681-4F1E-989B-C1A397B854E2}" dt="2023-08-02T14:36:18.185" v="49"/>
          <ac:spMkLst>
            <pc:docMk/>
            <pc:sldMk cId="3134490103" sldId="2147479682"/>
            <ac:spMk id="59" creationId="{64727AAC-DAEB-285E-56A4-10EB2E9EAE81}"/>
          </ac:spMkLst>
        </pc:spChg>
        <pc:spChg chg="add del mod">
          <ac:chgData name="David Lynch" userId="666a0384-f147-414d-9e35-a983301ea6cb" providerId="ADAL" clId="{34916257-1681-4F1E-989B-C1A397B854E2}" dt="2023-08-02T14:36:18.185" v="49"/>
          <ac:spMkLst>
            <pc:docMk/>
            <pc:sldMk cId="3134490103" sldId="2147479682"/>
            <ac:spMk id="60" creationId="{47F68908-8C7C-4A35-8102-22143B4A161C}"/>
          </ac:spMkLst>
        </pc:spChg>
        <pc:spChg chg="add del mod">
          <ac:chgData name="David Lynch" userId="666a0384-f147-414d-9e35-a983301ea6cb" providerId="ADAL" clId="{34916257-1681-4F1E-989B-C1A397B854E2}" dt="2023-08-02T14:36:18.185" v="49"/>
          <ac:spMkLst>
            <pc:docMk/>
            <pc:sldMk cId="3134490103" sldId="2147479682"/>
            <ac:spMk id="61" creationId="{6CF66952-9586-A023-C7A7-EC4923446902}"/>
          </ac:spMkLst>
        </pc:spChg>
        <pc:spChg chg="add del mod">
          <ac:chgData name="David Lynch" userId="666a0384-f147-414d-9e35-a983301ea6cb" providerId="ADAL" clId="{34916257-1681-4F1E-989B-C1A397B854E2}" dt="2023-08-02T14:36:18.185" v="49"/>
          <ac:spMkLst>
            <pc:docMk/>
            <pc:sldMk cId="3134490103" sldId="2147479682"/>
            <ac:spMk id="62" creationId="{C292FDAE-6B40-B558-B81C-817A68C5FF01}"/>
          </ac:spMkLst>
        </pc:spChg>
        <pc:spChg chg="add del mod">
          <ac:chgData name="David Lynch" userId="666a0384-f147-414d-9e35-a983301ea6cb" providerId="ADAL" clId="{34916257-1681-4F1E-989B-C1A397B854E2}" dt="2023-08-02T14:36:18.185" v="49"/>
          <ac:spMkLst>
            <pc:docMk/>
            <pc:sldMk cId="3134490103" sldId="2147479682"/>
            <ac:spMk id="64" creationId="{AD140026-4EE1-AE28-D578-883B42DDC461}"/>
          </ac:spMkLst>
        </pc:spChg>
        <pc:spChg chg="add del mod">
          <ac:chgData name="David Lynch" userId="666a0384-f147-414d-9e35-a983301ea6cb" providerId="ADAL" clId="{34916257-1681-4F1E-989B-C1A397B854E2}" dt="2023-08-02T14:36:18.185" v="49"/>
          <ac:spMkLst>
            <pc:docMk/>
            <pc:sldMk cId="3134490103" sldId="2147479682"/>
            <ac:spMk id="65" creationId="{C9B16CDB-29C9-8720-A4FF-C1A4BA17208A}"/>
          </ac:spMkLst>
        </pc:spChg>
        <pc:spChg chg="add del mod">
          <ac:chgData name="David Lynch" userId="666a0384-f147-414d-9e35-a983301ea6cb" providerId="ADAL" clId="{34916257-1681-4F1E-989B-C1A397B854E2}" dt="2023-08-02T14:36:18.185" v="49"/>
          <ac:spMkLst>
            <pc:docMk/>
            <pc:sldMk cId="3134490103" sldId="2147479682"/>
            <ac:spMk id="68" creationId="{D94BECD2-7019-296A-6A33-F1AB62F23887}"/>
          </ac:spMkLst>
        </pc:spChg>
        <pc:spChg chg="add del mod">
          <ac:chgData name="David Lynch" userId="666a0384-f147-414d-9e35-a983301ea6cb" providerId="ADAL" clId="{34916257-1681-4F1E-989B-C1A397B854E2}" dt="2023-08-02T14:36:18.185" v="49"/>
          <ac:spMkLst>
            <pc:docMk/>
            <pc:sldMk cId="3134490103" sldId="2147479682"/>
            <ac:spMk id="69" creationId="{F84794A7-84EA-9851-2D43-CDEAA4E4BD8B}"/>
          </ac:spMkLst>
        </pc:spChg>
        <pc:spChg chg="add del mod">
          <ac:chgData name="David Lynch" userId="666a0384-f147-414d-9e35-a983301ea6cb" providerId="ADAL" clId="{34916257-1681-4F1E-989B-C1A397B854E2}" dt="2023-08-02T14:36:18.185" v="49"/>
          <ac:spMkLst>
            <pc:docMk/>
            <pc:sldMk cId="3134490103" sldId="2147479682"/>
            <ac:spMk id="71" creationId="{A6C6B893-5CB3-4D8D-7801-14E2DE6813ED}"/>
          </ac:spMkLst>
        </pc:spChg>
        <pc:spChg chg="add del mod">
          <ac:chgData name="David Lynch" userId="666a0384-f147-414d-9e35-a983301ea6cb" providerId="ADAL" clId="{34916257-1681-4F1E-989B-C1A397B854E2}" dt="2023-08-02T14:36:18.185" v="49"/>
          <ac:spMkLst>
            <pc:docMk/>
            <pc:sldMk cId="3134490103" sldId="2147479682"/>
            <ac:spMk id="72" creationId="{FBB39C7B-8983-E9BE-014E-B7A5856FF2C2}"/>
          </ac:spMkLst>
        </pc:spChg>
        <pc:spChg chg="add del mod">
          <ac:chgData name="David Lynch" userId="666a0384-f147-414d-9e35-a983301ea6cb" providerId="ADAL" clId="{34916257-1681-4F1E-989B-C1A397B854E2}" dt="2023-08-02T14:36:18.185" v="49"/>
          <ac:spMkLst>
            <pc:docMk/>
            <pc:sldMk cId="3134490103" sldId="2147479682"/>
            <ac:spMk id="73" creationId="{0F5B02EC-B718-C306-E822-992B492A829E}"/>
          </ac:spMkLst>
        </pc:spChg>
        <pc:spChg chg="add del mod">
          <ac:chgData name="David Lynch" userId="666a0384-f147-414d-9e35-a983301ea6cb" providerId="ADAL" clId="{34916257-1681-4F1E-989B-C1A397B854E2}" dt="2023-08-02T14:36:18.185" v="49"/>
          <ac:spMkLst>
            <pc:docMk/>
            <pc:sldMk cId="3134490103" sldId="2147479682"/>
            <ac:spMk id="74" creationId="{B1FD2F21-AF39-9BFE-E4F1-E8A4EF6DDEEC}"/>
          </ac:spMkLst>
        </pc:spChg>
        <pc:spChg chg="add del mod">
          <ac:chgData name="David Lynch" userId="666a0384-f147-414d-9e35-a983301ea6cb" providerId="ADAL" clId="{34916257-1681-4F1E-989B-C1A397B854E2}" dt="2023-08-02T14:36:18.185" v="49"/>
          <ac:spMkLst>
            <pc:docMk/>
            <pc:sldMk cId="3134490103" sldId="2147479682"/>
            <ac:spMk id="75" creationId="{A02B435A-F50C-CA2F-6D45-723B0B51175B}"/>
          </ac:spMkLst>
        </pc:spChg>
        <pc:spChg chg="mod">
          <ac:chgData name="David Lynch" userId="666a0384-f147-414d-9e35-a983301ea6cb" providerId="ADAL" clId="{34916257-1681-4F1E-989B-C1A397B854E2}" dt="2023-08-02T14:36:15.798" v="48"/>
          <ac:spMkLst>
            <pc:docMk/>
            <pc:sldMk cId="3134490103" sldId="2147479682"/>
            <ac:spMk id="79" creationId="{9DA323ED-0280-1EEB-3590-C77CFD532412}"/>
          </ac:spMkLst>
        </pc:spChg>
        <pc:spChg chg="mod">
          <ac:chgData name="David Lynch" userId="666a0384-f147-414d-9e35-a983301ea6cb" providerId="ADAL" clId="{34916257-1681-4F1E-989B-C1A397B854E2}" dt="2023-08-02T14:36:15.798" v="48"/>
          <ac:spMkLst>
            <pc:docMk/>
            <pc:sldMk cId="3134490103" sldId="2147479682"/>
            <ac:spMk id="80" creationId="{5F931EC4-5BED-1C77-B94F-A37F1EB2F11C}"/>
          </ac:spMkLst>
        </pc:spChg>
        <pc:spChg chg="mod">
          <ac:chgData name="David Lynch" userId="666a0384-f147-414d-9e35-a983301ea6cb" providerId="ADAL" clId="{34916257-1681-4F1E-989B-C1A397B854E2}" dt="2023-08-02T14:36:15.798" v="48"/>
          <ac:spMkLst>
            <pc:docMk/>
            <pc:sldMk cId="3134490103" sldId="2147479682"/>
            <ac:spMk id="81" creationId="{65C137CB-ECAB-101B-4319-0A14CA4285E7}"/>
          </ac:spMkLst>
        </pc:spChg>
        <pc:spChg chg="add del mod">
          <ac:chgData name="David Lynch" userId="666a0384-f147-414d-9e35-a983301ea6cb" providerId="ADAL" clId="{34916257-1681-4F1E-989B-C1A397B854E2}" dt="2023-08-02T14:36:18.185" v="49"/>
          <ac:spMkLst>
            <pc:docMk/>
            <pc:sldMk cId="3134490103" sldId="2147479682"/>
            <ac:spMk id="82" creationId="{264760C0-5D10-F575-D725-3F1EE780AD9A}"/>
          </ac:spMkLst>
        </pc:spChg>
        <pc:spChg chg="add del mod">
          <ac:chgData name="David Lynch" userId="666a0384-f147-414d-9e35-a983301ea6cb" providerId="ADAL" clId="{34916257-1681-4F1E-989B-C1A397B854E2}" dt="2023-08-02T14:36:18.185" v="49"/>
          <ac:spMkLst>
            <pc:docMk/>
            <pc:sldMk cId="3134490103" sldId="2147479682"/>
            <ac:spMk id="83" creationId="{D3F378D2-B505-60CC-90BE-120DFE207581}"/>
          </ac:spMkLst>
        </pc:spChg>
        <pc:spChg chg="add del mod">
          <ac:chgData name="David Lynch" userId="666a0384-f147-414d-9e35-a983301ea6cb" providerId="ADAL" clId="{34916257-1681-4F1E-989B-C1A397B854E2}" dt="2023-08-02T14:36:18.185" v="49"/>
          <ac:spMkLst>
            <pc:docMk/>
            <pc:sldMk cId="3134490103" sldId="2147479682"/>
            <ac:spMk id="84" creationId="{6C643BEA-5150-217F-76BD-FCA8E9141E88}"/>
          </ac:spMkLst>
        </pc:spChg>
        <pc:spChg chg="add del mod">
          <ac:chgData name="David Lynch" userId="666a0384-f147-414d-9e35-a983301ea6cb" providerId="ADAL" clId="{34916257-1681-4F1E-989B-C1A397B854E2}" dt="2023-08-02T14:36:18.185" v="49"/>
          <ac:spMkLst>
            <pc:docMk/>
            <pc:sldMk cId="3134490103" sldId="2147479682"/>
            <ac:spMk id="85" creationId="{B3E79659-2D59-25A0-7654-B525C9A8F6EF}"/>
          </ac:spMkLst>
        </pc:spChg>
        <pc:spChg chg="add del mod">
          <ac:chgData name="David Lynch" userId="666a0384-f147-414d-9e35-a983301ea6cb" providerId="ADAL" clId="{34916257-1681-4F1E-989B-C1A397B854E2}" dt="2023-08-02T14:36:18.185" v="49"/>
          <ac:spMkLst>
            <pc:docMk/>
            <pc:sldMk cId="3134490103" sldId="2147479682"/>
            <ac:spMk id="86" creationId="{54B64380-CB23-0FD4-5863-94F2A8DE22DC}"/>
          </ac:spMkLst>
        </pc:spChg>
        <pc:spChg chg="add del mod">
          <ac:chgData name="David Lynch" userId="666a0384-f147-414d-9e35-a983301ea6cb" providerId="ADAL" clId="{34916257-1681-4F1E-989B-C1A397B854E2}" dt="2023-08-02T14:36:18.185" v="49"/>
          <ac:spMkLst>
            <pc:docMk/>
            <pc:sldMk cId="3134490103" sldId="2147479682"/>
            <ac:spMk id="87" creationId="{4053CEBD-DC8F-FDC3-D1BC-5BC2B38CB2F1}"/>
          </ac:spMkLst>
        </pc:spChg>
        <pc:spChg chg="add del mod">
          <ac:chgData name="David Lynch" userId="666a0384-f147-414d-9e35-a983301ea6cb" providerId="ADAL" clId="{34916257-1681-4F1E-989B-C1A397B854E2}" dt="2023-08-02T14:36:18.185" v="49"/>
          <ac:spMkLst>
            <pc:docMk/>
            <pc:sldMk cId="3134490103" sldId="2147479682"/>
            <ac:spMk id="88" creationId="{673E36F7-359C-BD70-C65C-F7D68159F6BF}"/>
          </ac:spMkLst>
        </pc:spChg>
        <pc:spChg chg="mod">
          <ac:chgData name="David Lynch" userId="666a0384-f147-414d-9e35-a983301ea6cb" providerId="ADAL" clId="{34916257-1681-4F1E-989B-C1A397B854E2}" dt="2023-08-02T14:36:15.798" v="48"/>
          <ac:spMkLst>
            <pc:docMk/>
            <pc:sldMk cId="3134490103" sldId="2147479682"/>
            <ac:spMk id="90" creationId="{BE01A7A0-202C-9DAE-1B78-C989EC38D3EF}"/>
          </ac:spMkLst>
        </pc:spChg>
        <pc:spChg chg="mod">
          <ac:chgData name="David Lynch" userId="666a0384-f147-414d-9e35-a983301ea6cb" providerId="ADAL" clId="{34916257-1681-4F1E-989B-C1A397B854E2}" dt="2023-08-02T14:36:15.798" v="48"/>
          <ac:spMkLst>
            <pc:docMk/>
            <pc:sldMk cId="3134490103" sldId="2147479682"/>
            <ac:spMk id="91" creationId="{B0DB6862-5D2A-4C22-DF27-E25CE2F56C75}"/>
          </ac:spMkLst>
        </pc:spChg>
        <pc:spChg chg="mod">
          <ac:chgData name="David Lynch" userId="666a0384-f147-414d-9e35-a983301ea6cb" providerId="ADAL" clId="{34916257-1681-4F1E-989B-C1A397B854E2}" dt="2023-08-02T14:36:15.798" v="48"/>
          <ac:spMkLst>
            <pc:docMk/>
            <pc:sldMk cId="3134490103" sldId="2147479682"/>
            <ac:spMk id="93" creationId="{8B5C5673-8E2C-CE34-63AF-882F3BA26B29}"/>
          </ac:spMkLst>
        </pc:spChg>
        <pc:spChg chg="mod">
          <ac:chgData name="David Lynch" userId="666a0384-f147-414d-9e35-a983301ea6cb" providerId="ADAL" clId="{34916257-1681-4F1E-989B-C1A397B854E2}" dt="2023-08-02T14:36:15.798" v="48"/>
          <ac:spMkLst>
            <pc:docMk/>
            <pc:sldMk cId="3134490103" sldId="2147479682"/>
            <ac:spMk id="94" creationId="{C259A01D-B4BB-5A7E-CDD0-73AD81857EAE}"/>
          </ac:spMkLst>
        </pc:spChg>
        <pc:spChg chg="add del mod">
          <ac:chgData name="David Lynch" userId="666a0384-f147-414d-9e35-a983301ea6cb" providerId="ADAL" clId="{34916257-1681-4F1E-989B-C1A397B854E2}" dt="2023-08-02T14:36:18.185" v="49"/>
          <ac:spMkLst>
            <pc:docMk/>
            <pc:sldMk cId="3134490103" sldId="2147479682"/>
            <ac:spMk id="96" creationId="{71CD6D01-5583-B637-08B8-EFF1D936BE19}"/>
          </ac:spMkLst>
        </pc:spChg>
        <pc:spChg chg="mod">
          <ac:chgData name="David Lynch" userId="666a0384-f147-414d-9e35-a983301ea6cb" providerId="ADAL" clId="{34916257-1681-4F1E-989B-C1A397B854E2}" dt="2023-08-02T14:36:15.798" v="48"/>
          <ac:spMkLst>
            <pc:docMk/>
            <pc:sldMk cId="3134490103" sldId="2147479682"/>
            <ac:spMk id="98" creationId="{0A2725F1-DAC5-1FBE-7A9A-413BF42F9A8C}"/>
          </ac:spMkLst>
        </pc:spChg>
        <pc:spChg chg="mod">
          <ac:chgData name="David Lynch" userId="666a0384-f147-414d-9e35-a983301ea6cb" providerId="ADAL" clId="{34916257-1681-4F1E-989B-C1A397B854E2}" dt="2023-08-02T14:36:15.798" v="48"/>
          <ac:spMkLst>
            <pc:docMk/>
            <pc:sldMk cId="3134490103" sldId="2147479682"/>
            <ac:spMk id="99" creationId="{2119A93E-EBD5-211F-61B2-689FEE0BF998}"/>
          </ac:spMkLst>
        </pc:spChg>
        <pc:spChg chg="mod">
          <ac:chgData name="David Lynch" userId="666a0384-f147-414d-9e35-a983301ea6cb" providerId="ADAL" clId="{34916257-1681-4F1E-989B-C1A397B854E2}" dt="2023-08-02T14:36:15.798" v="48"/>
          <ac:spMkLst>
            <pc:docMk/>
            <pc:sldMk cId="3134490103" sldId="2147479682"/>
            <ac:spMk id="101" creationId="{8A6C9A5E-59BA-6A61-4B39-B232EF2FBE0B}"/>
          </ac:spMkLst>
        </pc:spChg>
        <pc:spChg chg="mod">
          <ac:chgData name="David Lynch" userId="666a0384-f147-414d-9e35-a983301ea6cb" providerId="ADAL" clId="{34916257-1681-4F1E-989B-C1A397B854E2}" dt="2023-08-02T14:36:15.798" v="48"/>
          <ac:spMkLst>
            <pc:docMk/>
            <pc:sldMk cId="3134490103" sldId="2147479682"/>
            <ac:spMk id="102" creationId="{5CF695A9-5BD4-1851-5AB1-59D38ED0380B}"/>
          </ac:spMkLst>
        </pc:spChg>
        <pc:spChg chg="add del mod">
          <ac:chgData name="David Lynch" userId="666a0384-f147-414d-9e35-a983301ea6cb" providerId="ADAL" clId="{34916257-1681-4F1E-989B-C1A397B854E2}" dt="2023-08-02T14:36:18.185" v="49"/>
          <ac:spMkLst>
            <pc:docMk/>
            <pc:sldMk cId="3134490103" sldId="2147479682"/>
            <ac:spMk id="103" creationId="{53EEDB6C-7FD9-01D7-1446-A4E5626AAB90}"/>
          </ac:spMkLst>
        </pc:spChg>
        <pc:spChg chg="mod">
          <ac:chgData name="David Lynch" userId="666a0384-f147-414d-9e35-a983301ea6cb" providerId="ADAL" clId="{34916257-1681-4F1E-989B-C1A397B854E2}" dt="2023-08-02T14:36:15.798" v="48"/>
          <ac:spMkLst>
            <pc:docMk/>
            <pc:sldMk cId="3134490103" sldId="2147479682"/>
            <ac:spMk id="105" creationId="{8599C341-16E1-9E24-05F3-0D18488FED8B}"/>
          </ac:spMkLst>
        </pc:spChg>
        <pc:spChg chg="mod">
          <ac:chgData name="David Lynch" userId="666a0384-f147-414d-9e35-a983301ea6cb" providerId="ADAL" clId="{34916257-1681-4F1E-989B-C1A397B854E2}" dt="2023-08-02T14:36:15.798" v="48"/>
          <ac:spMkLst>
            <pc:docMk/>
            <pc:sldMk cId="3134490103" sldId="2147479682"/>
            <ac:spMk id="106" creationId="{0ED7F945-6D23-AA35-B121-49315ED5802E}"/>
          </ac:spMkLst>
        </pc:spChg>
        <pc:spChg chg="add del mod">
          <ac:chgData name="David Lynch" userId="666a0384-f147-414d-9e35-a983301ea6cb" providerId="ADAL" clId="{34916257-1681-4F1E-989B-C1A397B854E2}" dt="2023-08-02T14:36:24.148" v="51"/>
          <ac:spMkLst>
            <pc:docMk/>
            <pc:sldMk cId="3134490103" sldId="2147479682"/>
            <ac:spMk id="114" creationId="{9704FE63-96E4-B48B-230C-D2E7890DCD88}"/>
          </ac:spMkLst>
        </pc:spChg>
        <pc:spChg chg="add del mod">
          <ac:chgData name="David Lynch" userId="666a0384-f147-414d-9e35-a983301ea6cb" providerId="ADAL" clId="{34916257-1681-4F1E-989B-C1A397B854E2}" dt="2023-08-02T14:36:24.148" v="51"/>
          <ac:spMkLst>
            <pc:docMk/>
            <pc:sldMk cId="3134490103" sldId="2147479682"/>
            <ac:spMk id="115" creationId="{F4F1F45E-67CB-A128-7AA1-22C39D1169CB}"/>
          </ac:spMkLst>
        </pc:spChg>
        <pc:spChg chg="add del mod">
          <ac:chgData name="David Lynch" userId="666a0384-f147-414d-9e35-a983301ea6cb" providerId="ADAL" clId="{34916257-1681-4F1E-989B-C1A397B854E2}" dt="2023-08-02T14:36:24.148" v="51"/>
          <ac:spMkLst>
            <pc:docMk/>
            <pc:sldMk cId="3134490103" sldId="2147479682"/>
            <ac:spMk id="118" creationId="{B672178E-393C-C58F-50D9-FC571EBAD711}"/>
          </ac:spMkLst>
        </pc:spChg>
        <pc:spChg chg="add del mod">
          <ac:chgData name="David Lynch" userId="666a0384-f147-414d-9e35-a983301ea6cb" providerId="ADAL" clId="{34916257-1681-4F1E-989B-C1A397B854E2}" dt="2023-08-02T14:36:24.148" v="51"/>
          <ac:spMkLst>
            <pc:docMk/>
            <pc:sldMk cId="3134490103" sldId="2147479682"/>
            <ac:spMk id="119" creationId="{5684AB9F-AF65-11A9-9996-FBAB95B8BFEF}"/>
          </ac:spMkLst>
        </pc:spChg>
        <pc:spChg chg="add del mod">
          <ac:chgData name="David Lynch" userId="666a0384-f147-414d-9e35-a983301ea6cb" providerId="ADAL" clId="{34916257-1681-4F1E-989B-C1A397B854E2}" dt="2023-08-02T14:36:24.148" v="51"/>
          <ac:spMkLst>
            <pc:docMk/>
            <pc:sldMk cId="3134490103" sldId="2147479682"/>
            <ac:spMk id="121" creationId="{983A2BEF-D950-4680-E956-EEB990B85042}"/>
          </ac:spMkLst>
        </pc:spChg>
        <pc:spChg chg="add del mod">
          <ac:chgData name="David Lynch" userId="666a0384-f147-414d-9e35-a983301ea6cb" providerId="ADAL" clId="{34916257-1681-4F1E-989B-C1A397B854E2}" dt="2023-08-02T14:36:24.148" v="51"/>
          <ac:spMkLst>
            <pc:docMk/>
            <pc:sldMk cId="3134490103" sldId="2147479682"/>
            <ac:spMk id="122" creationId="{3FF5BDEE-08D9-F870-B567-94B44E75B067}"/>
          </ac:spMkLst>
        </pc:spChg>
        <pc:spChg chg="mod">
          <ac:chgData name="David Lynch" userId="666a0384-f147-414d-9e35-a983301ea6cb" providerId="ADAL" clId="{34916257-1681-4F1E-989B-C1A397B854E2}" dt="2023-08-02T14:36:19.835" v="50"/>
          <ac:spMkLst>
            <pc:docMk/>
            <pc:sldMk cId="3134490103" sldId="2147479682"/>
            <ac:spMk id="124" creationId="{CE9AB855-F17E-BB62-DBDE-0A1266588844}"/>
          </ac:spMkLst>
        </pc:spChg>
        <pc:spChg chg="mod">
          <ac:chgData name="David Lynch" userId="666a0384-f147-414d-9e35-a983301ea6cb" providerId="ADAL" clId="{34916257-1681-4F1E-989B-C1A397B854E2}" dt="2023-08-02T14:36:19.835" v="50"/>
          <ac:spMkLst>
            <pc:docMk/>
            <pc:sldMk cId="3134490103" sldId="2147479682"/>
            <ac:spMk id="125" creationId="{1E9CC54A-A104-DF64-B069-40BDB5B6291F}"/>
          </ac:spMkLst>
        </pc:spChg>
        <pc:spChg chg="add del mod">
          <ac:chgData name="David Lynch" userId="666a0384-f147-414d-9e35-a983301ea6cb" providerId="ADAL" clId="{34916257-1681-4F1E-989B-C1A397B854E2}" dt="2023-08-02T14:36:24.148" v="51"/>
          <ac:spMkLst>
            <pc:docMk/>
            <pc:sldMk cId="3134490103" sldId="2147479682"/>
            <ac:spMk id="126" creationId="{04460274-D6DF-48A6-93D6-CB4A466DD1CE}"/>
          </ac:spMkLst>
        </pc:spChg>
        <pc:spChg chg="add del mod">
          <ac:chgData name="David Lynch" userId="666a0384-f147-414d-9e35-a983301ea6cb" providerId="ADAL" clId="{34916257-1681-4F1E-989B-C1A397B854E2}" dt="2023-08-02T14:36:24.148" v="51"/>
          <ac:spMkLst>
            <pc:docMk/>
            <pc:sldMk cId="3134490103" sldId="2147479682"/>
            <ac:spMk id="127" creationId="{776B2680-BDE9-620F-786D-F9DD07CCFB84}"/>
          </ac:spMkLst>
        </pc:spChg>
        <pc:spChg chg="add del mod">
          <ac:chgData name="David Lynch" userId="666a0384-f147-414d-9e35-a983301ea6cb" providerId="ADAL" clId="{34916257-1681-4F1E-989B-C1A397B854E2}" dt="2023-08-02T14:36:24.148" v="51"/>
          <ac:spMkLst>
            <pc:docMk/>
            <pc:sldMk cId="3134490103" sldId="2147479682"/>
            <ac:spMk id="128" creationId="{BE16550A-3598-C9FE-BC48-57704BAFF848}"/>
          </ac:spMkLst>
        </pc:spChg>
        <pc:spChg chg="mod">
          <ac:chgData name="David Lynch" userId="666a0384-f147-414d-9e35-a983301ea6cb" providerId="ADAL" clId="{34916257-1681-4F1E-989B-C1A397B854E2}" dt="2023-08-02T14:36:19.835" v="50"/>
          <ac:spMkLst>
            <pc:docMk/>
            <pc:sldMk cId="3134490103" sldId="2147479682"/>
            <ac:spMk id="130" creationId="{84B9AA77-2441-CF23-EAAB-873081FE7019}"/>
          </ac:spMkLst>
        </pc:spChg>
        <pc:spChg chg="mod">
          <ac:chgData name="David Lynch" userId="666a0384-f147-414d-9e35-a983301ea6cb" providerId="ADAL" clId="{34916257-1681-4F1E-989B-C1A397B854E2}" dt="2023-08-02T14:36:19.835" v="50"/>
          <ac:spMkLst>
            <pc:docMk/>
            <pc:sldMk cId="3134490103" sldId="2147479682"/>
            <ac:spMk id="131" creationId="{9132688A-1CB0-0EB3-C3E4-A6AC83782B09}"/>
          </ac:spMkLst>
        </pc:spChg>
        <pc:spChg chg="add del mod">
          <ac:chgData name="David Lynch" userId="666a0384-f147-414d-9e35-a983301ea6cb" providerId="ADAL" clId="{34916257-1681-4F1E-989B-C1A397B854E2}" dt="2023-08-02T14:36:24.148" v="51"/>
          <ac:spMkLst>
            <pc:docMk/>
            <pc:sldMk cId="3134490103" sldId="2147479682"/>
            <ac:spMk id="133" creationId="{2ED53BF4-2311-81BD-EF31-DD4169B07A0A}"/>
          </ac:spMkLst>
        </pc:spChg>
        <pc:spChg chg="add del mod">
          <ac:chgData name="David Lynch" userId="666a0384-f147-414d-9e35-a983301ea6cb" providerId="ADAL" clId="{34916257-1681-4F1E-989B-C1A397B854E2}" dt="2023-08-02T14:36:24.148" v="51"/>
          <ac:spMkLst>
            <pc:docMk/>
            <pc:sldMk cId="3134490103" sldId="2147479682"/>
            <ac:spMk id="134" creationId="{235CC9A5-6E0F-5DAB-B0E4-6C1CDACBAAA0}"/>
          </ac:spMkLst>
        </pc:spChg>
        <pc:spChg chg="mod">
          <ac:chgData name="David Lynch" userId="666a0384-f147-414d-9e35-a983301ea6cb" providerId="ADAL" clId="{34916257-1681-4F1E-989B-C1A397B854E2}" dt="2023-08-02T14:36:19.835" v="50"/>
          <ac:spMkLst>
            <pc:docMk/>
            <pc:sldMk cId="3134490103" sldId="2147479682"/>
            <ac:spMk id="136" creationId="{FB59277E-F068-8914-0C0F-AE61EB526874}"/>
          </ac:spMkLst>
        </pc:spChg>
        <pc:spChg chg="mod">
          <ac:chgData name="David Lynch" userId="666a0384-f147-414d-9e35-a983301ea6cb" providerId="ADAL" clId="{34916257-1681-4F1E-989B-C1A397B854E2}" dt="2023-08-02T14:36:19.835" v="50"/>
          <ac:spMkLst>
            <pc:docMk/>
            <pc:sldMk cId="3134490103" sldId="2147479682"/>
            <ac:spMk id="137" creationId="{8AB93A83-B0B6-4D5A-AEA3-7ABC35530A5C}"/>
          </ac:spMkLst>
        </pc:spChg>
        <pc:spChg chg="add del mod">
          <ac:chgData name="David Lynch" userId="666a0384-f147-414d-9e35-a983301ea6cb" providerId="ADAL" clId="{34916257-1681-4F1E-989B-C1A397B854E2}" dt="2023-08-02T14:36:24.148" v="51"/>
          <ac:spMkLst>
            <pc:docMk/>
            <pc:sldMk cId="3134490103" sldId="2147479682"/>
            <ac:spMk id="139" creationId="{10A477B3-7F03-6377-D715-D7485A791D6D}"/>
          </ac:spMkLst>
        </pc:spChg>
        <pc:spChg chg="add del mod">
          <ac:chgData name="David Lynch" userId="666a0384-f147-414d-9e35-a983301ea6cb" providerId="ADAL" clId="{34916257-1681-4F1E-989B-C1A397B854E2}" dt="2023-08-02T14:36:24.148" v="51"/>
          <ac:spMkLst>
            <pc:docMk/>
            <pc:sldMk cId="3134490103" sldId="2147479682"/>
            <ac:spMk id="140" creationId="{CB577AED-22F0-3957-FB24-F0820F8C7672}"/>
          </ac:spMkLst>
        </pc:spChg>
        <pc:spChg chg="add del mod">
          <ac:chgData name="David Lynch" userId="666a0384-f147-414d-9e35-a983301ea6cb" providerId="ADAL" clId="{34916257-1681-4F1E-989B-C1A397B854E2}" dt="2023-08-02T14:36:24.148" v="51"/>
          <ac:spMkLst>
            <pc:docMk/>
            <pc:sldMk cId="3134490103" sldId="2147479682"/>
            <ac:spMk id="142" creationId="{6359BA5B-AB2B-F63C-09BB-1A01429F0B75}"/>
          </ac:spMkLst>
        </pc:spChg>
        <pc:spChg chg="add del mod">
          <ac:chgData name="David Lynch" userId="666a0384-f147-414d-9e35-a983301ea6cb" providerId="ADAL" clId="{34916257-1681-4F1E-989B-C1A397B854E2}" dt="2023-08-02T14:36:24.148" v="51"/>
          <ac:spMkLst>
            <pc:docMk/>
            <pc:sldMk cId="3134490103" sldId="2147479682"/>
            <ac:spMk id="143" creationId="{86D19AB0-12EA-36E8-968B-583D1943F366}"/>
          </ac:spMkLst>
        </pc:spChg>
        <pc:spChg chg="mod">
          <ac:chgData name="David Lynch" userId="666a0384-f147-414d-9e35-a983301ea6cb" providerId="ADAL" clId="{34916257-1681-4F1E-989B-C1A397B854E2}" dt="2023-08-02T14:36:19.835" v="50"/>
          <ac:spMkLst>
            <pc:docMk/>
            <pc:sldMk cId="3134490103" sldId="2147479682"/>
            <ac:spMk id="147" creationId="{83AFACFC-F59A-D347-05DE-3CEAC79488EB}"/>
          </ac:spMkLst>
        </pc:spChg>
        <pc:spChg chg="mod">
          <ac:chgData name="David Lynch" userId="666a0384-f147-414d-9e35-a983301ea6cb" providerId="ADAL" clId="{34916257-1681-4F1E-989B-C1A397B854E2}" dt="2023-08-02T14:36:19.835" v="50"/>
          <ac:spMkLst>
            <pc:docMk/>
            <pc:sldMk cId="3134490103" sldId="2147479682"/>
            <ac:spMk id="148" creationId="{08D90DFF-BAE0-A4AF-612E-0E9D8F72172C}"/>
          </ac:spMkLst>
        </pc:spChg>
        <pc:spChg chg="mod">
          <ac:chgData name="David Lynch" userId="666a0384-f147-414d-9e35-a983301ea6cb" providerId="ADAL" clId="{34916257-1681-4F1E-989B-C1A397B854E2}" dt="2023-08-02T14:36:19.835" v="50"/>
          <ac:spMkLst>
            <pc:docMk/>
            <pc:sldMk cId="3134490103" sldId="2147479682"/>
            <ac:spMk id="150" creationId="{5B443A4B-97C2-4575-AE5F-D8F6A10AB639}"/>
          </ac:spMkLst>
        </pc:spChg>
        <pc:spChg chg="mod">
          <ac:chgData name="David Lynch" userId="666a0384-f147-414d-9e35-a983301ea6cb" providerId="ADAL" clId="{34916257-1681-4F1E-989B-C1A397B854E2}" dt="2023-08-02T14:36:19.835" v="50"/>
          <ac:spMkLst>
            <pc:docMk/>
            <pc:sldMk cId="3134490103" sldId="2147479682"/>
            <ac:spMk id="151" creationId="{5581F584-85DE-8992-AD93-FC6655E77062}"/>
          </ac:spMkLst>
        </pc:spChg>
        <pc:spChg chg="mod">
          <ac:chgData name="David Lynch" userId="666a0384-f147-414d-9e35-a983301ea6cb" providerId="ADAL" clId="{34916257-1681-4F1E-989B-C1A397B854E2}" dt="2023-08-02T14:36:19.835" v="50"/>
          <ac:spMkLst>
            <pc:docMk/>
            <pc:sldMk cId="3134490103" sldId="2147479682"/>
            <ac:spMk id="154" creationId="{A8B379DE-44F8-09F9-0100-7E149E6F55E5}"/>
          </ac:spMkLst>
        </pc:spChg>
        <pc:spChg chg="mod">
          <ac:chgData name="David Lynch" userId="666a0384-f147-414d-9e35-a983301ea6cb" providerId="ADAL" clId="{34916257-1681-4F1E-989B-C1A397B854E2}" dt="2023-08-02T14:36:19.835" v="50"/>
          <ac:spMkLst>
            <pc:docMk/>
            <pc:sldMk cId="3134490103" sldId="2147479682"/>
            <ac:spMk id="155" creationId="{221522D8-D27F-59BA-98B2-BC498A5C0C15}"/>
          </ac:spMkLst>
        </pc:spChg>
        <pc:spChg chg="add del mod">
          <ac:chgData name="David Lynch" userId="666a0384-f147-414d-9e35-a983301ea6cb" providerId="ADAL" clId="{34916257-1681-4F1E-989B-C1A397B854E2}" dt="2023-08-02T14:36:24.148" v="51"/>
          <ac:spMkLst>
            <pc:docMk/>
            <pc:sldMk cId="3134490103" sldId="2147479682"/>
            <ac:spMk id="156" creationId="{1F4E74F8-D3AE-6778-F865-1BF12CFFE7D3}"/>
          </ac:spMkLst>
        </pc:spChg>
        <pc:spChg chg="add del mod">
          <ac:chgData name="David Lynch" userId="666a0384-f147-414d-9e35-a983301ea6cb" providerId="ADAL" clId="{34916257-1681-4F1E-989B-C1A397B854E2}" dt="2023-08-02T14:36:24.148" v="51"/>
          <ac:spMkLst>
            <pc:docMk/>
            <pc:sldMk cId="3134490103" sldId="2147479682"/>
            <ac:spMk id="157" creationId="{5E505FF8-FBDB-F6E7-D879-93A98B13B7A7}"/>
          </ac:spMkLst>
        </pc:spChg>
        <pc:spChg chg="add del mod">
          <ac:chgData name="David Lynch" userId="666a0384-f147-414d-9e35-a983301ea6cb" providerId="ADAL" clId="{34916257-1681-4F1E-989B-C1A397B854E2}" dt="2023-08-02T14:36:24.148" v="51"/>
          <ac:spMkLst>
            <pc:docMk/>
            <pc:sldMk cId="3134490103" sldId="2147479682"/>
            <ac:spMk id="158" creationId="{AD0C2EBF-7639-B9C3-9D70-8F2CD898A4FE}"/>
          </ac:spMkLst>
        </pc:spChg>
        <pc:spChg chg="add del mod">
          <ac:chgData name="David Lynch" userId="666a0384-f147-414d-9e35-a983301ea6cb" providerId="ADAL" clId="{34916257-1681-4F1E-989B-C1A397B854E2}" dt="2023-08-02T14:36:24.148" v="51"/>
          <ac:spMkLst>
            <pc:docMk/>
            <pc:sldMk cId="3134490103" sldId="2147479682"/>
            <ac:spMk id="159" creationId="{FF80437C-841C-9198-5D6D-B958609B22E7}"/>
          </ac:spMkLst>
        </pc:spChg>
        <pc:spChg chg="mod">
          <ac:chgData name="David Lynch" userId="666a0384-f147-414d-9e35-a983301ea6cb" providerId="ADAL" clId="{34916257-1681-4F1E-989B-C1A397B854E2}" dt="2023-08-02T14:36:19.835" v="50"/>
          <ac:spMkLst>
            <pc:docMk/>
            <pc:sldMk cId="3134490103" sldId="2147479682"/>
            <ac:spMk id="162" creationId="{3ACB4812-A70E-AF3A-CD32-AB0ED96B00A1}"/>
          </ac:spMkLst>
        </pc:spChg>
        <pc:spChg chg="mod">
          <ac:chgData name="David Lynch" userId="666a0384-f147-414d-9e35-a983301ea6cb" providerId="ADAL" clId="{34916257-1681-4F1E-989B-C1A397B854E2}" dt="2023-08-02T14:36:19.835" v="50"/>
          <ac:spMkLst>
            <pc:docMk/>
            <pc:sldMk cId="3134490103" sldId="2147479682"/>
            <ac:spMk id="163" creationId="{DBB889F6-C95B-2788-03E1-FB9FE62B01AD}"/>
          </ac:spMkLst>
        </pc:spChg>
        <pc:spChg chg="add del mod">
          <ac:chgData name="David Lynch" userId="666a0384-f147-414d-9e35-a983301ea6cb" providerId="ADAL" clId="{34916257-1681-4F1E-989B-C1A397B854E2}" dt="2023-08-02T14:36:24.148" v="51"/>
          <ac:spMkLst>
            <pc:docMk/>
            <pc:sldMk cId="3134490103" sldId="2147479682"/>
            <ac:spMk id="168" creationId="{392A5065-4745-D9D9-2C6D-C7F308D3F1D1}"/>
          </ac:spMkLst>
        </pc:spChg>
        <pc:spChg chg="add del mod">
          <ac:chgData name="David Lynch" userId="666a0384-f147-414d-9e35-a983301ea6cb" providerId="ADAL" clId="{34916257-1681-4F1E-989B-C1A397B854E2}" dt="2023-08-02T14:36:24.148" v="51"/>
          <ac:spMkLst>
            <pc:docMk/>
            <pc:sldMk cId="3134490103" sldId="2147479682"/>
            <ac:spMk id="169" creationId="{0194B689-1606-187D-A134-30FF4C37A52E}"/>
          </ac:spMkLst>
        </pc:spChg>
        <pc:spChg chg="add del mod">
          <ac:chgData name="David Lynch" userId="666a0384-f147-414d-9e35-a983301ea6cb" providerId="ADAL" clId="{34916257-1681-4F1E-989B-C1A397B854E2}" dt="2023-08-02T14:36:24.148" v="51"/>
          <ac:spMkLst>
            <pc:docMk/>
            <pc:sldMk cId="3134490103" sldId="2147479682"/>
            <ac:spMk id="170" creationId="{3C02AC36-A859-998B-81EB-AA5D542FDD74}"/>
          </ac:spMkLst>
        </pc:spChg>
        <pc:spChg chg="add del mod">
          <ac:chgData name="David Lynch" userId="666a0384-f147-414d-9e35-a983301ea6cb" providerId="ADAL" clId="{34916257-1681-4F1E-989B-C1A397B854E2}" dt="2023-08-02T14:36:24.148" v="51"/>
          <ac:spMkLst>
            <pc:docMk/>
            <pc:sldMk cId="3134490103" sldId="2147479682"/>
            <ac:spMk id="171" creationId="{270F7E9D-3528-CA0C-04C6-D40424A5AD07}"/>
          </ac:spMkLst>
        </pc:spChg>
        <pc:spChg chg="add del mod">
          <ac:chgData name="David Lynch" userId="666a0384-f147-414d-9e35-a983301ea6cb" providerId="ADAL" clId="{34916257-1681-4F1E-989B-C1A397B854E2}" dt="2023-08-02T14:36:24.148" v="51"/>
          <ac:spMkLst>
            <pc:docMk/>
            <pc:sldMk cId="3134490103" sldId="2147479682"/>
            <ac:spMk id="173" creationId="{69054390-B862-ABC4-B494-DCA8165898C1}"/>
          </ac:spMkLst>
        </pc:spChg>
        <pc:spChg chg="add del mod">
          <ac:chgData name="David Lynch" userId="666a0384-f147-414d-9e35-a983301ea6cb" providerId="ADAL" clId="{34916257-1681-4F1E-989B-C1A397B854E2}" dt="2023-08-02T14:36:24.148" v="51"/>
          <ac:spMkLst>
            <pc:docMk/>
            <pc:sldMk cId="3134490103" sldId="2147479682"/>
            <ac:spMk id="174" creationId="{EB4B449F-3B6B-DDC2-BDED-97085F7151DB}"/>
          </ac:spMkLst>
        </pc:spChg>
        <pc:spChg chg="add del mod">
          <ac:chgData name="David Lynch" userId="666a0384-f147-414d-9e35-a983301ea6cb" providerId="ADAL" clId="{34916257-1681-4F1E-989B-C1A397B854E2}" dt="2023-08-02T14:36:24.148" v="51"/>
          <ac:spMkLst>
            <pc:docMk/>
            <pc:sldMk cId="3134490103" sldId="2147479682"/>
            <ac:spMk id="177" creationId="{6AB1A767-5B93-3FDA-5527-D5390AED35BC}"/>
          </ac:spMkLst>
        </pc:spChg>
        <pc:spChg chg="add del mod">
          <ac:chgData name="David Lynch" userId="666a0384-f147-414d-9e35-a983301ea6cb" providerId="ADAL" clId="{34916257-1681-4F1E-989B-C1A397B854E2}" dt="2023-08-02T14:36:24.148" v="51"/>
          <ac:spMkLst>
            <pc:docMk/>
            <pc:sldMk cId="3134490103" sldId="2147479682"/>
            <ac:spMk id="178" creationId="{8F85A78F-D2C5-7B88-C5B1-79CC5CD6CC1F}"/>
          </ac:spMkLst>
        </pc:spChg>
        <pc:spChg chg="add del mod">
          <ac:chgData name="David Lynch" userId="666a0384-f147-414d-9e35-a983301ea6cb" providerId="ADAL" clId="{34916257-1681-4F1E-989B-C1A397B854E2}" dt="2023-08-02T14:36:24.148" v="51"/>
          <ac:spMkLst>
            <pc:docMk/>
            <pc:sldMk cId="3134490103" sldId="2147479682"/>
            <ac:spMk id="180" creationId="{54CAE7D0-37F5-FA17-84DA-C2AD644D6BC2}"/>
          </ac:spMkLst>
        </pc:spChg>
        <pc:spChg chg="add del mod">
          <ac:chgData name="David Lynch" userId="666a0384-f147-414d-9e35-a983301ea6cb" providerId="ADAL" clId="{34916257-1681-4F1E-989B-C1A397B854E2}" dt="2023-08-02T14:36:24.148" v="51"/>
          <ac:spMkLst>
            <pc:docMk/>
            <pc:sldMk cId="3134490103" sldId="2147479682"/>
            <ac:spMk id="181" creationId="{263ED54D-5ACC-4EF4-DC7C-48739189526D}"/>
          </ac:spMkLst>
        </pc:spChg>
        <pc:spChg chg="add del mod">
          <ac:chgData name="David Lynch" userId="666a0384-f147-414d-9e35-a983301ea6cb" providerId="ADAL" clId="{34916257-1681-4F1E-989B-C1A397B854E2}" dt="2023-08-02T14:36:24.148" v="51"/>
          <ac:spMkLst>
            <pc:docMk/>
            <pc:sldMk cId="3134490103" sldId="2147479682"/>
            <ac:spMk id="182" creationId="{48964937-D150-E535-64D7-AA579EE5A888}"/>
          </ac:spMkLst>
        </pc:spChg>
        <pc:spChg chg="add del mod">
          <ac:chgData name="David Lynch" userId="666a0384-f147-414d-9e35-a983301ea6cb" providerId="ADAL" clId="{34916257-1681-4F1E-989B-C1A397B854E2}" dt="2023-08-02T14:36:24.148" v="51"/>
          <ac:spMkLst>
            <pc:docMk/>
            <pc:sldMk cId="3134490103" sldId="2147479682"/>
            <ac:spMk id="183" creationId="{DBB8CA34-2A6E-AE73-5586-1534708AB315}"/>
          </ac:spMkLst>
        </pc:spChg>
        <pc:spChg chg="add del mod">
          <ac:chgData name="David Lynch" userId="666a0384-f147-414d-9e35-a983301ea6cb" providerId="ADAL" clId="{34916257-1681-4F1E-989B-C1A397B854E2}" dt="2023-08-02T14:36:24.148" v="51"/>
          <ac:spMkLst>
            <pc:docMk/>
            <pc:sldMk cId="3134490103" sldId="2147479682"/>
            <ac:spMk id="184" creationId="{4BED3D93-AEFA-487D-7104-5A9F5415B9F5}"/>
          </ac:spMkLst>
        </pc:spChg>
        <pc:spChg chg="mod">
          <ac:chgData name="David Lynch" userId="666a0384-f147-414d-9e35-a983301ea6cb" providerId="ADAL" clId="{34916257-1681-4F1E-989B-C1A397B854E2}" dt="2023-08-02T14:36:19.835" v="50"/>
          <ac:spMkLst>
            <pc:docMk/>
            <pc:sldMk cId="3134490103" sldId="2147479682"/>
            <ac:spMk id="188" creationId="{DC5304B8-DA80-1F0F-B95D-F4AF9D5EC26F}"/>
          </ac:spMkLst>
        </pc:spChg>
        <pc:spChg chg="mod">
          <ac:chgData name="David Lynch" userId="666a0384-f147-414d-9e35-a983301ea6cb" providerId="ADAL" clId="{34916257-1681-4F1E-989B-C1A397B854E2}" dt="2023-08-02T14:36:19.835" v="50"/>
          <ac:spMkLst>
            <pc:docMk/>
            <pc:sldMk cId="3134490103" sldId="2147479682"/>
            <ac:spMk id="189" creationId="{978A1105-4667-E90D-653C-6431F8DCA173}"/>
          </ac:spMkLst>
        </pc:spChg>
        <pc:spChg chg="mod">
          <ac:chgData name="David Lynch" userId="666a0384-f147-414d-9e35-a983301ea6cb" providerId="ADAL" clId="{34916257-1681-4F1E-989B-C1A397B854E2}" dt="2023-08-02T14:36:19.835" v="50"/>
          <ac:spMkLst>
            <pc:docMk/>
            <pc:sldMk cId="3134490103" sldId="2147479682"/>
            <ac:spMk id="190" creationId="{0D78EB4D-FBEA-5D55-B1F5-1AC59096E4DF}"/>
          </ac:spMkLst>
        </pc:spChg>
        <pc:spChg chg="add del mod">
          <ac:chgData name="David Lynch" userId="666a0384-f147-414d-9e35-a983301ea6cb" providerId="ADAL" clId="{34916257-1681-4F1E-989B-C1A397B854E2}" dt="2023-08-02T14:36:24.148" v="51"/>
          <ac:spMkLst>
            <pc:docMk/>
            <pc:sldMk cId="3134490103" sldId="2147479682"/>
            <ac:spMk id="191" creationId="{52BCD706-3586-AE81-F67F-243AB1DA54C5}"/>
          </ac:spMkLst>
        </pc:spChg>
        <pc:spChg chg="add del mod">
          <ac:chgData name="David Lynch" userId="666a0384-f147-414d-9e35-a983301ea6cb" providerId="ADAL" clId="{34916257-1681-4F1E-989B-C1A397B854E2}" dt="2023-08-02T14:36:24.148" v="51"/>
          <ac:spMkLst>
            <pc:docMk/>
            <pc:sldMk cId="3134490103" sldId="2147479682"/>
            <ac:spMk id="192" creationId="{E9C1AB1D-C180-D3A1-33C1-5C8DE0520E53}"/>
          </ac:spMkLst>
        </pc:spChg>
        <pc:spChg chg="add del mod">
          <ac:chgData name="David Lynch" userId="666a0384-f147-414d-9e35-a983301ea6cb" providerId="ADAL" clId="{34916257-1681-4F1E-989B-C1A397B854E2}" dt="2023-08-02T14:36:24.148" v="51"/>
          <ac:spMkLst>
            <pc:docMk/>
            <pc:sldMk cId="3134490103" sldId="2147479682"/>
            <ac:spMk id="193" creationId="{53C52787-8564-0B9B-5BE9-38AB4AD230D5}"/>
          </ac:spMkLst>
        </pc:spChg>
        <pc:spChg chg="add del mod">
          <ac:chgData name="David Lynch" userId="666a0384-f147-414d-9e35-a983301ea6cb" providerId="ADAL" clId="{34916257-1681-4F1E-989B-C1A397B854E2}" dt="2023-08-02T14:36:24.148" v="51"/>
          <ac:spMkLst>
            <pc:docMk/>
            <pc:sldMk cId="3134490103" sldId="2147479682"/>
            <ac:spMk id="194" creationId="{0028723B-EFB4-1F14-BC80-E68EE6C0E10E}"/>
          </ac:spMkLst>
        </pc:spChg>
        <pc:spChg chg="add del mod">
          <ac:chgData name="David Lynch" userId="666a0384-f147-414d-9e35-a983301ea6cb" providerId="ADAL" clId="{34916257-1681-4F1E-989B-C1A397B854E2}" dt="2023-08-02T14:36:24.148" v="51"/>
          <ac:spMkLst>
            <pc:docMk/>
            <pc:sldMk cId="3134490103" sldId="2147479682"/>
            <ac:spMk id="195" creationId="{6D3E0455-D387-2A97-9E7B-278EA221DBEB}"/>
          </ac:spMkLst>
        </pc:spChg>
        <pc:spChg chg="add del mod">
          <ac:chgData name="David Lynch" userId="666a0384-f147-414d-9e35-a983301ea6cb" providerId="ADAL" clId="{34916257-1681-4F1E-989B-C1A397B854E2}" dt="2023-08-02T14:36:24.148" v="51"/>
          <ac:spMkLst>
            <pc:docMk/>
            <pc:sldMk cId="3134490103" sldId="2147479682"/>
            <ac:spMk id="196" creationId="{B639DE0C-3D19-9502-B319-F296E5A74D48}"/>
          </ac:spMkLst>
        </pc:spChg>
        <pc:spChg chg="add del mod">
          <ac:chgData name="David Lynch" userId="666a0384-f147-414d-9e35-a983301ea6cb" providerId="ADAL" clId="{34916257-1681-4F1E-989B-C1A397B854E2}" dt="2023-08-02T14:36:24.148" v="51"/>
          <ac:spMkLst>
            <pc:docMk/>
            <pc:sldMk cId="3134490103" sldId="2147479682"/>
            <ac:spMk id="197" creationId="{7300A1B3-14BC-9395-B118-544A24F92A00}"/>
          </ac:spMkLst>
        </pc:spChg>
        <pc:spChg chg="mod">
          <ac:chgData name="David Lynch" userId="666a0384-f147-414d-9e35-a983301ea6cb" providerId="ADAL" clId="{34916257-1681-4F1E-989B-C1A397B854E2}" dt="2023-08-02T14:36:19.835" v="50"/>
          <ac:spMkLst>
            <pc:docMk/>
            <pc:sldMk cId="3134490103" sldId="2147479682"/>
            <ac:spMk id="199" creationId="{E7105F19-89CF-21D1-2F8C-7167B637A671}"/>
          </ac:spMkLst>
        </pc:spChg>
        <pc:spChg chg="mod">
          <ac:chgData name="David Lynch" userId="666a0384-f147-414d-9e35-a983301ea6cb" providerId="ADAL" clId="{34916257-1681-4F1E-989B-C1A397B854E2}" dt="2023-08-02T14:36:19.835" v="50"/>
          <ac:spMkLst>
            <pc:docMk/>
            <pc:sldMk cId="3134490103" sldId="2147479682"/>
            <ac:spMk id="200" creationId="{5028A4FA-AC31-E47F-0ED9-6AAD101994BA}"/>
          </ac:spMkLst>
        </pc:spChg>
        <pc:spChg chg="mod">
          <ac:chgData name="David Lynch" userId="666a0384-f147-414d-9e35-a983301ea6cb" providerId="ADAL" clId="{34916257-1681-4F1E-989B-C1A397B854E2}" dt="2023-08-02T14:36:19.835" v="50"/>
          <ac:spMkLst>
            <pc:docMk/>
            <pc:sldMk cId="3134490103" sldId="2147479682"/>
            <ac:spMk id="202" creationId="{786C08EC-F599-8010-4834-C7DE3940CB45}"/>
          </ac:spMkLst>
        </pc:spChg>
        <pc:spChg chg="mod">
          <ac:chgData name="David Lynch" userId="666a0384-f147-414d-9e35-a983301ea6cb" providerId="ADAL" clId="{34916257-1681-4F1E-989B-C1A397B854E2}" dt="2023-08-02T14:36:19.835" v="50"/>
          <ac:spMkLst>
            <pc:docMk/>
            <pc:sldMk cId="3134490103" sldId="2147479682"/>
            <ac:spMk id="203" creationId="{31BCBD13-64D2-FA04-FF55-19E3EA79651D}"/>
          </ac:spMkLst>
        </pc:spChg>
        <pc:spChg chg="add del mod">
          <ac:chgData name="David Lynch" userId="666a0384-f147-414d-9e35-a983301ea6cb" providerId="ADAL" clId="{34916257-1681-4F1E-989B-C1A397B854E2}" dt="2023-08-02T14:36:24.148" v="51"/>
          <ac:spMkLst>
            <pc:docMk/>
            <pc:sldMk cId="3134490103" sldId="2147479682"/>
            <ac:spMk id="205" creationId="{C36821E7-B85A-1624-62DD-7B6642AD9803}"/>
          </ac:spMkLst>
        </pc:spChg>
        <pc:spChg chg="mod">
          <ac:chgData name="David Lynch" userId="666a0384-f147-414d-9e35-a983301ea6cb" providerId="ADAL" clId="{34916257-1681-4F1E-989B-C1A397B854E2}" dt="2023-08-02T14:36:19.835" v="50"/>
          <ac:spMkLst>
            <pc:docMk/>
            <pc:sldMk cId="3134490103" sldId="2147479682"/>
            <ac:spMk id="207" creationId="{7A0B036F-5CB5-C01B-FD75-305E83A8D9AE}"/>
          </ac:spMkLst>
        </pc:spChg>
        <pc:spChg chg="mod">
          <ac:chgData name="David Lynch" userId="666a0384-f147-414d-9e35-a983301ea6cb" providerId="ADAL" clId="{34916257-1681-4F1E-989B-C1A397B854E2}" dt="2023-08-02T14:36:19.835" v="50"/>
          <ac:spMkLst>
            <pc:docMk/>
            <pc:sldMk cId="3134490103" sldId="2147479682"/>
            <ac:spMk id="208" creationId="{AB1CED5D-DFB7-DE5C-DBC7-8154E7BF6088}"/>
          </ac:spMkLst>
        </pc:spChg>
        <pc:spChg chg="mod">
          <ac:chgData name="David Lynch" userId="666a0384-f147-414d-9e35-a983301ea6cb" providerId="ADAL" clId="{34916257-1681-4F1E-989B-C1A397B854E2}" dt="2023-08-02T14:36:19.835" v="50"/>
          <ac:spMkLst>
            <pc:docMk/>
            <pc:sldMk cId="3134490103" sldId="2147479682"/>
            <ac:spMk id="210" creationId="{51FDC7AF-EF2C-94BD-12D5-031E3567170D}"/>
          </ac:spMkLst>
        </pc:spChg>
        <pc:spChg chg="mod">
          <ac:chgData name="David Lynch" userId="666a0384-f147-414d-9e35-a983301ea6cb" providerId="ADAL" clId="{34916257-1681-4F1E-989B-C1A397B854E2}" dt="2023-08-02T14:36:19.835" v="50"/>
          <ac:spMkLst>
            <pc:docMk/>
            <pc:sldMk cId="3134490103" sldId="2147479682"/>
            <ac:spMk id="211" creationId="{67A178ED-360A-4278-D12B-A98A357D68C5}"/>
          </ac:spMkLst>
        </pc:spChg>
        <pc:spChg chg="add del mod">
          <ac:chgData name="David Lynch" userId="666a0384-f147-414d-9e35-a983301ea6cb" providerId="ADAL" clId="{34916257-1681-4F1E-989B-C1A397B854E2}" dt="2023-08-02T14:36:24.148" v="51"/>
          <ac:spMkLst>
            <pc:docMk/>
            <pc:sldMk cId="3134490103" sldId="2147479682"/>
            <ac:spMk id="212" creationId="{28E507FA-2111-088A-CDAB-2ECC0A3903DC}"/>
          </ac:spMkLst>
        </pc:spChg>
        <pc:spChg chg="mod">
          <ac:chgData name="David Lynch" userId="666a0384-f147-414d-9e35-a983301ea6cb" providerId="ADAL" clId="{34916257-1681-4F1E-989B-C1A397B854E2}" dt="2023-08-02T14:36:19.835" v="50"/>
          <ac:spMkLst>
            <pc:docMk/>
            <pc:sldMk cId="3134490103" sldId="2147479682"/>
            <ac:spMk id="214" creationId="{C6D4CEAD-5530-BC1C-16C9-3106CB56813B}"/>
          </ac:spMkLst>
        </pc:spChg>
        <pc:spChg chg="mod">
          <ac:chgData name="David Lynch" userId="666a0384-f147-414d-9e35-a983301ea6cb" providerId="ADAL" clId="{34916257-1681-4F1E-989B-C1A397B854E2}" dt="2023-08-02T14:36:19.835" v="50"/>
          <ac:spMkLst>
            <pc:docMk/>
            <pc:sldMk cId="3134490103" sldId="2147479682"/>
            <ac:spMk id="215" creationId="{D73312A1-FA31-E868-0317-4E45F86F615C}"/>
          </ac:spMkLst>
        </pc:spChg>
        <pc:grpChg chg="add del mod">
          <ac:chgData name="David Lynch" userId="666a0384-f147-414d-9e35-a983301ea6cb" providerId="ADAL" clId="{34916257-1681-4F1E-989B-C1A397B854E2}" dt="2023-08-02T14:36:18.185" v="49"/>
          <ac:grpSpMkLst>
            <pc:docMk/>
            <pc:sldMk cId="3134490103" sldId="2147479682"/>
            <ac:grpSpMk id="14" creationId="{0F3850E5-676B-ABC9-E4ED-258026566AB6}"/>
          </ac:grpSpMkLst>
        </pc:grpChg>
        <pc:grpChg chg="add del mod">
          <ac:chgData name="David Lynch" userId="666a0384-f147-414d-9e35-a983301ea6cb" providerId="ADAL" clId="{34916257-1681-4F1E-989B-C1A397B854E2}" dt="2023-08-02T14:36:18.185" v="49"/>
          <ac:grpSpMkLst>
            <pc:docMk/>
            <pc:sldMk cId="3134490103" sldId="2147479682"/>
            <ac:grpSpMk id="20" creationId="{D784664A-1F14-5E32-F239-A1C7CE3C5C12}"/>
          </ac:grpSpMkLst>
        </pc:grpChg>
        <pc:grpChg chg="add del mod">
          <ac:chgData name="David Lynch" userId="666a0384-f147-414d-9e35-a983301ea6cb" providerId="ADAL" clId="{34916257-1681-4F1E-989B-C1A397B854E2}" dt="2023-08-02T14:36:18.185" v="49"/>
          <ac:grpSpMkLst>
            <pc:docMk/>
            <pc:sldMk cId="3134490103" sldId="2147479682"/>
            <ac:grpSpMk id="26" creationId="{0BD2B55A-989E-3098-A9A4-CB6A622D89AE}"/>
          </ac:grpSpMkLst>
        </pc:grpChg>
        <pc:grpChg chg="add del mod">
          <ac:chgData name="David Lynch" userId="666a0384-f147-414d-9e35-a983301ea6cb" providerId="ADAL" clId="{34916257-1681-4F1E-989B-C1A397B854E2}" dt="2023-08-02T14:36:18.185" v="49"/>
          <ac:grpSpMkLst>
            <pc:docMk/>
            <pc:sldMk cId="3134490103" sldId="2147479682"/>
            <ac:grpSpMk id="37" creationId="{B5536533-3B39-FA40-81FE-9CAD9F98E36A}"/>
          </ac:grpSpMkLst>
        </pc:grpChg>
        <pc:grpChg chg="add del mod">
          <ac:chgData name="David Lynch" userId="666a0384-f147-414d-9e35-a983301ea6cb" providerId="ADAL" clId="{34916257-1681-4F1E-989B-C1A397B854E2}" dt="2023-08-02T14:36:18.185" v="49"/>
          <ac:grpSpMkLst>
            <pc:docMk/>
            <pc:sldMk cId="3134490103" sldId="2147479682"/>
            <ac:grpSpMk id="40" creationId="{DD5F2E89-C158-AACB-8276-F4592B9290C6}"/>
          </ac:grpSpMkLst>
        </pc:grpChg>
        <pc:grpChg chg="add del mod">
          <ac:chgData name="David Lynch" userId="666a0384-f147-414d-9e35-a983301ea6cb" providerId="ADAL" clId="{34916257-1681-4F1E-989B-C1A397B854E2}" dt="2023-08-02T14:36:18.185" v="49"/>
          <ac:grpSpMkLst>
            <pc:docMk/>
            <pc:sldMk cId="3134490103" sldId="2147479682"/>
            <ac:grpSpMk id="44" creationId="{5B85F79D-D1C2-3F20-F38D-06088EB32356}"/>
          </ac:grpSpMkLst>
        </pc:grpChg>
        <pc:grpChg chg="add del mod">
          <ac:chgData name="David Lynch" userId="666a0384-f147-414d-9e35-a983301ea6cb" providerId="ADAL" clId="{34916257-1681-4F1E-989B-C1A397B854E2}" dt="2023-08-02T14:36:18.185" v="49"/>
          <ac:grpSpMkLst>
            <pc:docMk/>
            <pc:sldMk cId="3134490103" sldId="2147479682"/>
            <ac:grpSpMk id="52" creationId="{CF1F1261-D84A-AA41-9B45-6FF03B9A706F}"/>
          </ac:grpSpMkLst>
        </pc:grpChg>
        <pc:grpChg chg="add del mod">
          <ac:chgData name="David Lynch" userId="666a0384-f147-414d-9e35-a983301ea6cb" providerId="ADAL" clId="{34916257-1681-4F1E-989B-C1A397B854E2}" dt="2023-08-02T14:36:18.185" v="49"/>
          <ac:grpSpMkLst>
            <pc:docMk/>
            <pc:sldMk cId="3134490103" sldId="2147479682"/>
            <ac:grpSpMk id="76" creationId="{8967C2CF-79D1-9DCC-5CF3-4F1E36033D76}"/>
          </ac:grpSpMkLst>
        </pc:grpChg>
        <pc:grpChg chg="mod">
          <ac:chgData name="David Lynch" userId="666a0384-f147-414d-9e35-a983301ea6cb" providerId="ADAL" clId="{34916257-1681-4F1E-989B-C1A397B854E2}" dt="2023-08-02T14:36:15.798" v="48"/>
          <ac:grpSpMkLst>
            <pc:docMk/>
            <pc:sldMk cId="3134490103" sldId="2147479682"/>
            <ac:grpSpMk id="77" creationId="{86CDA2F4-02B1-47D7-836C-B29018C09EC1}"/>
          </ac:grpSpMkLst>
        </pc:grpChg>
        <pc:grpChg chg="add del mod">
          <ac:chgData name="David Lynch" userId="666a0384-f147-414d-9e35-a983301ea6cb" providerId="ADAL" clId="{34916257-1681-4F1E-989B-C1A397B854E2}" dt="2023-08-02T14:36:18.185" v="49"/>
          <ac:grpSpMkLst>
            <pc:docMk/>
            <pc:sldMk cId="3134490103" sldId="2147479682"/>
            <ac:grpSpMk id="89" creationId="{67C85D91-8726-7A44-07D6-FB1715D6BBF1}"/>
          </ac:grpSpMkLst>
        </pc:grpChg>
        <pc:grpChg chg="add del mod">
          <ac:chgData name="David Lynch" userId="666a0384-f147-414d-9e35-a983301ea6cb" providerId="ADAL" clId="{34916257-1681-4F1E-989B-C1A397B854E2}" dt="2023-08-02T14:36:18.185" v="49"/>
          <ac:grpSpMkLst>
            <pc:docMk/>
            <pc:sldMk cId="3134490103" sldId="2147479682"/>
            <ac:grpSpMk id="92" creationId="{A5CE7B92-21F9-4741-10B1-53467CE38EF1}"/>
          </ac:grpSpMkLst>
        </pc:grpChg>
        <pc:grpChg chg="add del mod">
          <ac:chgData name="David Lynch" userId="666a0384-f147-414d-9e35-a983301ea6cb" providerId="ADAL" clId="{34916257-1681-4F1E-989B-C1A397B854E2}" dt="2023-08-02T14:36:18.185" v="49"/>
          <ac:grpSpMkLst>
            <pc:docMk/>
            <pc:sldMk cId="3134490103" sldId="2147479682"/>
            <ac:grpSpMk id="97" creationId="{15663DA1-DB89-C996-AA33-D3A78F02CF3C}"/>
          </ac:grpSpMkLst>
        </pc:grpChg>
        <pc:grpChg chg="add del mod">
          <ac:chgData name="David Lynch" userId="666a0384-f147-414d-9e35-a983301ea6cb" providerId="ADAL" clId="{34916257-1681-4F1E-989B-C1A397B854E2}" dt="2023-08-02T14:36:18.185" v="49"/>
          <ac:grpSpMkLst>
            <pc:docMk/>
            <pc:sldMk cId="3134490103" sldId="2147479682"/>
            <ac:grpSpMk id="100" creationId="{DFBA8DEE-AB24-1864-1278-D6F153BABA68}"/>
          </ac:grpSpMkLst>
        </pc:grpChg>
        <pc:grpChg chg="add del mod">
          <ac:chgData name="David Lynch" userId="666a0384-f147-414d-9e35-a983301ea6cb" providerId="ADAL" clId="{34916257-1681-4F1E-989B-C1A397B854E2}" dt="2023-08-02T14:36:18.185" v="49"/>
          <ac:grpSpMkLst>
            <pc:docMk/>
            <pc:sldMk cId="3134490103" sldId="2147479682"/>
            <ac:grpSpMk id="104" creationId="{D82C4C2F-80BF-1A40-6E24-D7E56F9A049F}"/>
          </ac:grpSpMkLst>
        </pc:grpChg>
        <pc:grpChg chg="add del mod">
          <ac:chgData name="David Lynch" userId="666a0384-f147-414d-9e35-a983301ea6cb" providerId="ADAL" clId="{34916257-1681-4F1E-989B-C1A397B854E2}" dt="2023-08-02T14:36:24.148" v="51"/>
          <ac:grpSpMkLst>
            <pc:docMk/>
            <pc:sldMk cId="3134490103" sldId="2147479682"/>
            <ac:grpSpMk id="123" creationId="{3872B999-9537-BE6F-A4BE-31BDF66C3414}"/>
          </ac:grpSpMkLst>
        </pc:grpChg>
        <pc:grpChg chg="add del mod">
          <ac:chgData name="David Lynch" userId="666a0384-f147-414d-9e35-a983301ea6cb" providerId="ADAL" clId="{34916257-1681-4F1E-989B-C1A397B854E2}" dt="2023-08-02T14:36:24.148" v="51"/>
          <ac:grpSpMkLst>
            <pc:docMk/>
            <pc:sldMk cId="3134490103" sldId="2147479682"/>
            <ac:grpSpMk id="129" creationId="{7081F548-0325-8891-D0BC-3309CC048ECE}"/>
          </ac:grpSpMkLst>
        </pc:grpChg>
        <pc:grpChg chg="add del mod">
          <ac:chgData name="David Lynch" userId="666a0384-f147-414d-9e35-a983301ea6cb" providerId="ADAL" clId="{34916257-1681-4F1E-989B-C1A397B854E2}" dt="2023-08-02T14:36:24.148" v="51"/>
          <ac:grpSpMkLst>
            <pc:docMk/>
            <pc:sldMk cId="3134490103" sldId="2147479682"/>
            <ac:grpSpMk id="135" creationId="{4F2252FF-2DA4-2A20-056B-2F9FDFD0BE29}"/>
          </ac:grpSpMkLst>
        </pc:grpChg>
        <pc:grpChg chg="add del mod">
          <ac:chgData name="David Lynch" userId="666a0384-f147-414d-9e35-a983301ea6cb" providerId="ADAL" clId="{34916257-1681-4F1E-989B-C1A397B854E2}" dt="2023-08-02T14:36:24.148" v="51"/>
          <ac:grpSpMkLst>
            <pc:docMk/>
            <pc:sldMk cId="3134490103" sldId="2147479682"/>
            <ac:grpSpMk id="146" creationId="{39635581-A139-8BBF-7260-B635D3E206C6}"/>
          </ac:grpSpMkLst>
        </pc:grpChg>
        <pc:grpChg chg="add del mod">
          <ac:chgData name="David Lynch" userId="666a0384-f147-414d-9e35-a983301ea6cb" providerId="ADAL" clId="{34916257-1681-4F1E-989B-C1A397B854E2}" dt="2023-08-02T14:36:24.148" v="51"/>
          <ac:grpSpMkLst>
            <pc:docMk/>
            <pc:sldMk cId="3134490103" sldId="2147479682"/>
            <ac:grpSpMk id="149" creationId="{CB0DC2DC-1962-A499-DBBB-AD3903C0E8E3}"/>
          </ac:grpSpMkLst>
        </pc:grpChg>
        <pc:grpChg chg="add del mod">
          <ac:chgData name="David Lynch" userId="666a0384-f147-414d-9e35-a983301ea6cb" providerId="ADAL" clId="{34916257-1681-4F1E-989B-C1A397B854E2}" dt="2023-08-02T14:36:24.148" v="51"/>
          <ac:grpSpMkLst>
            <pc:docMk/>
            <pc:sldMk cId="3134490103" sldId="2147479682"/>
            <ac:grpSpMk id="153" creationId="{D603E56A-462F-C906-7B84-2F4EBEF45496}"/>
          </ac:grpSpMkLst>
        </pc:grpChg>
        <pc:grpChg chg="add del mod">
          <ac:chgData name="David Lynch" userId="666a0384-f147-414d-9e35-a983301ea6cb" providerId="ADAL" clId="{34916257-1681-4F1E-989B-C1A397B854E2}" dt="2023-08-02T14:36:24.148" v="51"/>
          <ac:grpSpMkLst>
            <pc:docMk/>
            <pc:sldMk cId="3134490103" sldId="2147479682"/>
            <ac:grpSpMk id="161" creationId="{8AF38B82-7060-39AF-E220-02A1AA41A26B}"/>
          </ac:grpSpMkLst>
        </pc:grpChg>
        <pc:grpChg chg="add del mod">
          <ac:chgData name="David Lynch" userId="666a0384-f147-414d-9e35-a983301ea6cb" providerId="ADAL" clId="{34916257-1681-4F1E-989B-C1A397B854E2}" dt="2023-08-02T14:36:24.148" v="51"/>
          <ac:grpSpMkLst>
            <pc:docMk/>
            <pc:sldMk cId="3134490103" sldId="2147479682"/>
            <ac:grpSpMk id="185" creationId="{F17EE221-46FC-A4A9-91A8-C654FD683216}"/>
          </ac:grpSpMkLst>
        </pc:grpChg>
        <pc:grpChg chg="mod">
          <ac:chgData name="David Lynch" userId="666a0384-f147-414d-9e35-a983301ea6cb" providerId="ADAL" clId="{34916257-1681-4F1E-989B-C1A397B854E2}" dt="2023-08-02T14:36:19.835" v="50"/>
          <ac:grpSpMkLst>
            <pc:docMk/>
            <pc:sldMk cId="3134490103" sldId="2147479682"/>
            <ac:grpSpMk id="186" creationId="{42AD147A-114A-A9A9-68FF-5FBEFE8214B2}"/>
          </ac:grpSpMkLst>
        </pc:grpChg>
        <pc:grpChg chg="add del mod">
          <ac:chgData name="David Lynch" userId="666a0384-f147-414d-9e35-a983301ea6cb" providerId="ADAL" clId="{34916257-1681-4F1E-989B-C1A397B854E2}" dt="2023-08-02T14:36:24.148" v="51"/>
          <ac:grpSpMkLst>
            <pc:docMk/>
            <pc:sldMk cId="3134490103" sldId="2147479682"/>
            <ac:grpSpMk id="198" creationId="{C5885D32-D6A4-001E-E446-9797FBF5F771}"/>
          </ac:grpSpMkLst>
        </pc:grpChg>
        <pc:grpChg chg="add del mod">
          <ac:chgData name="David Lynch" userId="666a0384-f147-414d-9e35-a983301ea6cb" providerId="ADAL" clId="{34916257-1681-4F1E-989B-C1A397B854E2}" dt="2023-08-02T14:36:24.148" v="51"/>
          <ac:grpSpMkLst>
            <pc:docMk/>
            <pc:sldMk cId="3134490103" sldId="2147479682"/>
            <ac:grpSpMk id="201" creationId="{C6E33CB3-3C5C-2958-A560-D4D68647CFA4}"/>
          </ac:grpSpMkLst>
        </pc:grpChg>
        <pc:grpChg chg="add del mod">
          <ac:chgData name="David Lynch" userId="666a0384-f147-414d-9e35-a983301ea6cb" providerId="ADAL" clId="{34916257-1681-4F1E-989B-C1A397B854E2}" dt="2023-08-02T14:36:24.148" v="51"/>
          <ac:grpSpMkLst>
            <pc:docMk/>
            <pc:sldMk cId="3134490103" sldId="2147479682"/>
            <ac:grpSpMk id="206" creationId="{A16F8352-86D6-2926-9E54-7B46F7165140}"/>
          </ac:grpSpMkLst>
        </pc:grpChg>
        <pc:grpChg chg="add del mod">
          <ac:chgData name="David Lynch" userId="666a0384-f147-414d-9e35-a983301ea6cb" providerId="ADAL" clId="{34916257-1681-4F1E-989B-C1A397B854E2}" dt="2023-08-02T14:36:24.148" v="51"/>
          <ac:grpSpMkLst>
            <pc:docMk/>
            <pc:sldMk cId="3134490103" sldId="2147479682"/>
            <ac:grpSpMk id="209" creationId="{63FDCE1D-D931-8DBF-BD4E-5EC749FD7F14}"/>
          </ac:grpSpMkLst>
        </pc:grpChg>
        <pc:grpChg chg="add del mod">
          <ac:chgData name="David Lynch" userId="666a0384-f147-414d-9e35-a983301ea6cb" providerId="ADAL" clId="{34916257-1681-4F1E-989B-C1A397B854E2}" dt="2023-08-02T14:36:24.148" v="51"/>
          <ac:grpSpMkLst>
            <pc:docMk/>
            <pc:sldMk cId="3134490103" sldId="2147479682"/>
            <ac:grpSpMk id="213" creationId="{9E086126-757E-87DE-4DCE-8C55E21FAA38}"/>
          </ac:grpSpMkLst>
        </pc:grpChg>
        <pc:picChg chg="add del mod">
          <ac:chgData name="David Lynch" userId="666a0384-f147-414d-9e35-a983301ea6cb" providerId="ADAL" clId="{34916257-1681-4F1E-989B-C1A397B854E2}" dt="2023-08-02T14:36:18.185" v="49"/>
          <ac:picMkLst>
            <pc:docMk/>
            <pc:sldMk cId="3134490103" sldId="2147479682"/>
            <ac:picMk id="11" creationId="{D1D16C26-17CF-B080-5114-C12F01068801}"/>
          </ac:picMkLst>
        </pc:picChg>
        <pc:picChg chg="mod">
          <ac:chgData name="David Lynch" userId="666a0384-f147-414d-9e35-a983301ea6cb" providerId="ADAL" clId="{34916257-1681-4F1E-989B-C1A397B854E2}" dt="2023-08-02T14:36:15.798" v="48"/>
          <ac:picMkLst>
            <pc:docMk/>
            <pc:sldMk cId="3134490103" sldId="2147479682"/>
            <ac:picMk id="23" creationId="{20837495-C6B7-A5CA-4AB2-F3541377AE43}"/>
          </ac:picMkLst>
        </pc:picChg>
        <pc:picChg chg="mod">
          <ac:chgData name="David Lynch" userId="666a0384-f147-414d-9e35-a983301ea6cb" providerId="ADAL" clId="{34916257-1681-4F1E-989B-C1A397B854E2}" dt="2023-08-02T14:36:15.798" v="48"/>
          <ac:picMkLst>
            <pc:docMk/>
            <pc:sldMk cId="3134490103" sldId="2147479682"/>
            <ac:picMk id="29" creationId="{F2990AFA-57CA-7772-435F-9ADBFECE34F5}"/>
          </ac:picMkLst>
        </pc:picChg>
        <pc:picChg chg="add del mod">
          <ac:chgData name="David Lynch" userId="666a0384-f147-414d-9e35-a983301ea6cb" providerId="ADAL" clId="{34916257-1681-4F1E-989B-C1A397B854E2}" dt="2023-08-02T14:36:18.185" v="49"/>
          <ac:picMkLst>
            <pc:docMk/>
            <pc:sldMk cId="3134490103" sldId="2147479682"/>
            <ac:picMk id="32" creationId="{F083C529-15E2-3117-445B-394898D46D78}"/>
          </ac:picMkLst>
        </pc:picChg>
        <pc:picChg chg="add del mod">
          <ac:chgData name="David Lynch" userId="666a0384-f147-414d-9e35-a983301ea6cb" providerId="ADAL" clId="{34916257-1681-4F1E-989B-C1A397B854E2}" dt="2023-08-02T14:36:18.185" v="49"/>
          <ac:picMkLst>
            <pc:docMk/>
            <pc:sldMk cId="3134490103" sldId="2147479682"/>
            <ac:picMk id="35" creationId="{3EEBA7F8-2C24-CCFE-CF60-0A909EC514F5}"/>
          </ac:picMkLst>
        </pc:picChg>
        <pc:picChg chg="add del mod">
          <ac:chgData name="David Lynch" userId="666a0384-f147-414d-9e35-a983301ea6cb" providerId="ADAL" clId="{34916257-1681-4F1E-989B-C1A397B854E2}" dt="2023-08-02T14:36:18.185" v="49"/>
          <ac:picMkLst>
            <pc:docMk/>
            <pc:sldMk cId="3134490103" sldId="2147479682"/>
            <ac:picMk id="36" creationId="{2FE206AE-5B78-F15D-47ED-E7BECCBC9B79}"/>
          </ac:picMkLst>
        </pc:picChg>
        <pc:picChg chg="mod">
          <ac:chgData name="David Lynch" userId="666a0384-f147-414d-9e35-a983301ea6cb" providerId="ADAL" clId="{34916257-1681-4F1E-989B-C1A397B854E2}" dt="2023-08-02T14:36:15.798" v="48"/>
          <ac:picMkLst>
            <pc:docMk/>
            <pc:sldMk cId="3134490103" sldId="2147479682"/>
            <ac:picMk id="43" creationId="{C815B265-5B99-83C2-C18C-A7773826E292}"/>
          </ac:picMkLst>
        </pc:picChg>
        <pc:picChg chg="add del mod">
          <ac:chgData name="David Lynch" userId="666a0384-f147-414d-9e35-a983301ea6cb" providerId="ADAL" clId="{34916257-1681-4F1E-989B-C1A397B854E2}" dt="2023-08-02T14:36:18.185" v="49"/>
          <ac:picMkLst>
            <pc:docMk/>
            <pc:sldMk cId="3134490103" sldId="2147479682"/>
            <ac:picMk id="51" creationId="{8F8185F3-7902-7C69-382E-E2A55009EBEE}"/>
          </ac:picMkLst>
        </pc:picChg>
        <pc:picChg chg="mod">
          <ac:chgData name="David Lynch" userId="666a0384-f147-414d-9e35-a983301ea6cb" providerId="ADAL" clId="{34916257-1681-4F1E-989B-C1A397B854E2}" dt="2023-08-02T14:36:15.798" v="48"/>
          <ac:picMkLst>
            <pc:docMk/>
            <pc:sldMk cId="3134490103" sldId="2147479682"/>
            <ac:picMk id="55" creationId="{2CA62F78-2AAF-E3DE-6023-E715A26A7D8F}"/>
          </ac:picMkLst>
        </pc:picChg>
        <pc:picChg chg="add del mod">
          <ac:chgData name="David Lynch" userId="666a0384-f147-414d-9e35-a983301ea6cb" providerId="ADAL" clId="{34916257-1681-4F1E-989B-C1A397B854E2}" dt="2023-08-02T14:36:18.185" v="49"/>
          <ac:picMkLst>
            <pc:docMk/>
            <pc:sldMk cId="3134490103" sldId="2147479682"/>
            <ac:picMk id="56" creationId="{3DB3095D-1C53-0EA5-D643-4A8CFE2CD656}"/>
          </ac:picMkLst>
        </pc:picChg>
        <pc:picChg chg="add del mod">
          <ac:chgData name="David Lynch" userId="666a0384-f147-414d-9e35-a983301ea6cb" providerId="ADAL" clId="{34916257-1681-4F1E-989B-C1A397B854E2}" dt="2023-08-02T14:36:18.185" v="49"/>
          <ac:picMkLst>
            <pc:docMk/>
            <pc:sldMk cId="3134490103" sldId="2147479682"/>
            <ac:picMk id="66" creationId="{3BE8BF72-5AEB-5372-4810-9D7D5F7ABC3A}"/>
          </ac:picMkLst>
        </pc:picChg>
        <pc:picChg chg="add del mod">
          <ac:chgData name="David Lynch" userId="666a0384-f147-414d-9e35-a983301ea6cb" providerId="ADAL" clId="{34916257-1681-4F1E-989B-C1A397B854E2}" dt="2023-08-02T14:36:18.185" v="49"/>
          <ac:picMkLst>
            <pc:docMk/>
            <pc:sldMk cId="3134490103" sldId="2147479682"/>
            <ac:picMk id="67" creationId="{C68D4A56-AD6A-4C48-373A-B2171FB58CAE}"/>
          </ac:picMkLst>
        </pc:picChg>
        <pc:picChg chg="add del mod">
          <ac:chgData name="David Lynch" userId="666a0384-f147-414d-9e35-a983301ea6cb" providerId="ADAL" clId="{34916257-1681-4F1E-989B-C1A397B854E2}" dt="2023-08-02T14:36:18.185" v="49"/>
          <ac:picMkLst>
            <pc:docMk/>
            <pc:sldMk cId="3134490103" sldId="2147479682"/>
            <ac:picMk id="70" creationId="{29B58CA0-2F41-ACD8-4B7A-CB4F2F1C3C60}"/>
          </ac:picMkLst>
        </pc:picChg>
        <pc:picChg chg="mod">
          <ac:chgData name="David Lynch" userId="666a0384-f147-414d-9e35-a983301ea6cb" providerId="ADAL" clId="{34916257-1681-4F1E-989B-C1A397B854E2}" dt="2023-08-02T14:36:15.798" v="48"/>
          <ac:picMkLst>
            <pc:docMk/>
            <pc:sldMk cId="3134490103" sldId="2147479682"/>
            <ac:picMk id="78" creationId="{FB456783-158B-F493-5CBA-970829D7773F}"/>
          </ac:picMkLst>
        </pc:picChg>
        <pc:picChg chg="add del mod">
          <ac:chgData name="David Lynch" userId="666a0384-f147-414d-9e35-a983301ea6cb" providerId="ADAL" clId="{34916257-1681-4F1E-989B-C1A397B854E2}" dt="2023-08-02T14:36:18.185" v="49"/>
          <ac:picMkLst>
            <pc:docMk/>
            <pc:sldMk cId="3134490103" sldId="2147479682"/>
            <ac:picMk id="95" creationId="{BFE89109-E4D4-161B-661D-B67E30AE0823}"/>
          </ac:picMkLst>
        </pc:picChg>
        <pc:picChg chg="add del mod">
          <ac:chgData name="David Lynch" userId="666a0384-f147-414d-9e35-a983301ea6cb" providerId="ADAL" clId="{34916257-1681-4F1E-989B-C1A397B854E2}" dt="2023-08-02T14:36:18.185" v="49"/>
          <ac:picMkLst>
            <pc:docMk/>
            <pc:sldMk cId="3134490103" sldId="2147479682"/>
            <ac:picMk id="107" creationId="{A31E59E7-4640-93ED-E61A-9AB3A9FD13E8}"/>
          </ac:picMkLst>
        </pc:picChg>
        <pc:picChg chg="add del mod">
          <ac:chgData name="David Lynch" userId="666a0384-f147-414d-9e35-a983301ea6cb" providerId="ADAL" clId="{34916257-1681-4F1E-989B-C1A397B854E2}" dt="2023-08-02T14:36:18.185" v="49"/>
          <ac:picMkLst>
            <pc:docMk/>
            <pc:sldMk cId="3134490103" sldId="2147479682"/>
            <ac:picMk id="108" creationId="{062AF399-F720-DE44-E039-B3B25AD25ACA}"/>
          </ac:picMkLst>
        </pc:picChg>
        <pc:picChg chg="add del mod">
          <ac:chgData name="David Lynch" userId="666a0384-f147-414d-9e35-a983301ea6cb" providerId="ADAL" clId="{34916257-1681-4F1E-989B-C1A397B854E2}" dt="2023-08-02T14:36:18.185" v="49"/>
          <ac:picMkLst>
            <pc:docMk/>
            <pc:sldMk cId="3134490103" sldId="2147479682"/>
            <ac:picMk id="109" creationId="{A3A0EE2A-AFCB-6EFB-D146-D48A48AAA53D}"/>
          </ac:picMkLst>
        </pc:picChg>
        <pc:picChg chg="add del mod">
          <ac:chgData name="David Lynch" userId="666a0384-f147-414d-9e35-a983301ea6cb" providerId="ADAL" clId="{34916257-1681-4F1E-989B-C1A397B854E2}" dt="2023-08-02T14:36:18.185" v="49"/>
          <ac:picMkLst>
            <pc:docMk/>
            <pc:sldMk cId="3134490103" sldId="2147479682"/>
            <ac:picMk id="110" creationId="{DC55FD7A-BA1A-0537-F245-E2D9C9ADB136}"/>
          </ac:picMkLst>
        </pc:picChg>
        <pc:picChg chg="add del mod">
          <ac:chgData name="David Lynch" userId="666a0384-f147-414d-9e35-a983301ea6cb" providerId="ADAL" clId="{34916257-1681-4F1E-989B-C1A397B854E2}" dt="2023-08-02T14:36:18.185" v="49"/>
          <ac:picMkLst>
            <pc:docMk/>
            <pc:sldMk cId="3134490103" sldId="2147479682"/>
            <ac:picMk id="111" creationId="{E5B3ABDC-3DEC-77DF-A446-B8C78392B582}"/>
          </ac:picMkLst>
        </pc:picChg>
        <pc:picChg chg="add del mod">
          <ac:chgData name="David Lynch" userId="666a0384-f147-414d-9e35-a983301ea6cb" providerId="ADAL" clId="{34916257-1681-4F1E-989B-C1A397B854E2}" dt="2023-08-02T14:36:18.185" v="49"/>
          <ac:picMkLst>
            <pc:docMk/>
            <pc:sldMk cId="3134490103" sldId="2147479682"/>
            <ac:picMk id="112" creationId="{0934698B-0BDE-F0DA-9C6D-C0580FC62EA5}"/>
          </ac:picMkLst>
        </pc:picChg>
        <pc:picChg chg="add del mod">
          <ac:chgData name="David Lynch" userId="666a0384-f147-414d-9e35-a983301ea6cb" providerId="ADAL" clId="{34916257-1681-4F1E-989B-C1A397B854E2}" dt="2023-08-02T14:36:18.185" v="49"/>
          <ac:picMkLst>
            <pc:docMk/>
            <pc:sldMk cId="3134490103" sldId="2147479682"/>
            <ac:picMk id="113" creationId="{174E744D-8E0F-A30F-6204-B351C6A945C0}"/>
          </ac:picMkLst>
        </pc:picChg>
        <pc:picChg chg="add del mod">
          <ac:chgData name="David Lynch" userId="666a0384-f147-414d-9e35-a983301ea6cb" providerId="ADAL" clId="{34916257-1681-4F1E-989B-C1A397B854E2}" dt="2023-08-02T14:36:24.148" v="51"/>
          <ac:picMkLst>
            <pc:docMk/>
            <pc:sldMk cId="3134490103" sldId="2147479682"/>
            <ac:picMk id="120" creationId="{76721BD8-84A0-9EB6-0B4D-FBD89B8D7B7B}"/>
          </ac:picMkLst>
        </pc:picChg>
        <pc:picChg chg="mod">
          <ac:chgData name="David Lynch" userId="666a0384-f147-414d-9e35-a983301ea6cb" providerId="ADAL" clId="{34916257-1681-4F1E-989B-C1A397B854E2}" dt="2023-08-02T14:36:19.835" v="50"/>
          <ac:picMkLst>
            <pc:docMk/>
            <pc:sldMk cId="3134490103" sldId="2147479682"/>
            <ac:picMk id="132" creationId="{F14ECDD7-0D4C-1B14-F241-2E8FC4E66E5B}"/>
          </ac:picMkLst>
        </pc:picChg>
        <pc:picChg chg="mod">
          <ac:chgData name="David Lynch" userId="666a0384-f147-414d-9e35-a983301ea6cb" providerId="ADAL" clId="{34916257-1681-4F1E-989B-C1A397B854E2}" dt="2023-08-02T14:36:19.835" v="50"/>
          <ac:picMkLst>
            <pc:docMk/>
            <pc:sldMk cId="3134490103" sldId="2147479682"/>
            <ac:picMk id="138" creationId="{524E9841-5879-7A84-CA9E-38F23A886FF4}"/>
          </ac:picMkLst>
        </pc:picChg>
        <pc:picChg chg="add del mod">
          <ac:chgData name="David Lynch" userId="666a0384-f147-414d-9e35-a983301ea6cb" providerId="ADAL" clId="{34916257-1681-4F1E-989B-C1A397B854E2}" dt="2023-08-02T14:36:24.148" v="51"/>
          <ac:picMkLst>
            <pc:docMk/>
            <pc:sldMk cId="3134490103" sldId="2147479682"/>
            <ac:picMk id="141" creationId="{370B0FE3-AC30-0A4C-019E-4CC9E729CAAE}"/>
          </ac:picMkLst>
        </pc:picChg>
        <pc:picChg chg="add del mod">
          <ac:chgData name="David Lynch" userId="666a0384-f147-414d-9e35-a983301ea6cb" providerId="ADAL" clId="{34916257-1681-4F1E-989B-C1A397B854E2}" dt="2023-08-02T14:36:24.148" v="51"/>
          <ac:picMkLst>
            <pc:docMk/>
            <pc:sldMk cId="3134490103" sldId="2147479682"/>
            <ac:picMk id="144" creationId="{3F2F36BE-97E9-3731-B166-80C696B43881}"/>
          </ac:picMkLst>
        </pc:picChg>
        <pc:picChg chg="add del mod">
          <ac:chgData name="David Lynch" userId="666a0384-f147-414d-9e35-a983301ea6cb" providerId="ADAL" clId="{34916257-1681-4F1E-989B-C1A397B854E2}" dt="2023-08-02T14:36:24.148" v="51"/>
          <ac:picMkLst>
            <pc:docMk/>
            <pc:sldMk cId="3134490103" sldId="2147479682"/>
            <ac:picMk id="145" creationId="{9AFB7BF3-A383-14FE-E7A3-F1F8CC90A51D}"/>
          </ac:picMkLst>
        </pc:picChg>
        <pc:picChg chg="mod">
          <ac:chgData name="David Lynch" userId="666a0384-f147-414d-9e35-a983301ea6cb" providerId="ADAL" clId="{34916257-1681-4F1E-989B-C1A397B854E2}" dt="2023-08-02T14:36:19.835" v="50"/>
          <ac:picMkLst>
            <pc:docMk/>
            <pc:sldMk cId="3134490103" sldId="2147479682"/>
            <ac:picMk id="152" creationId="{90377285-9302-89FE-CADC-3E6FB6B83502}"/>
          </ac:picMkLst>
        </pc:picChg>
        <pc:picChg chg="add del mod">
          <ac:chgData name="David Lynch" userId="666a0384-f147-414d-9e35-a983301ea6cb" providerId="ADAL" clId="{34916257-1681-4F1E-989B-C1A397B854E2}" dt="2023-08-02T14:36:24.148" v="51"/>
          <ac:picMkLst>
            <pc:docMk/>
            <pc:sldMk cId="3134490103" sldId="2147479682"/>
            <ac:picMk id="160" creationId="{AA7814CF-B686-C3E8-A8DF-431B63754ACD}"/>
          </ac:picMkLst>
        </pc:picChg>
        <pc:picChg chg="mod">
          <ac:chgData name="David Lynch" userId="666a0384-f147-414d-9e35-a983301ea6cb" providerId="ADAL" clId="{34916257-1681-4F1E-989B-C1A397B854E2}" dt="2023-08-02T14:36:19.835" v="50"/>
          <ac:picMkLst>
            <pc:docMk/>
            <pc:sldMk cId="3134490103" sldId="2147479682"/>
            <ac:picMk id="164" creationId="{BB5767AC-5AE4-9009-06A4-4292036FB38C}"/>
          </ac:picMkLst>
        </pc:picChg>
        <pc:picChg chg="add del mod">
          <ac:chgData name="David Lynch" userId="666a0384-f147-414d-9e35-a983301ea6cb" providerId="ADAL" clId="{34916257-1681-4F1E-989B-C1A397B854E2}" dt="2023-08-02T14:36:24.148" v="51"/>
          <ac:picMkLst>
            <pc:docMk/>
            <pc:sldMk cId="3134490103" sldId="2147479682"/>
            <ac:picMk id="165" creationId="{BC048D6D-511A-11B1-657D-7FD952A1DD5A}"/>
          </ac:picMkLst>
        </pc:picChg>
        <pc:picChg chg="add del mod">
          <ac:chgData name="David Lynch" userId="666a0384-f147-414d-9e35-a983301ea6cb" providerId="ADAL" clId="{34916257-1681-4F1E-989B-C1A397B854E2}" dt="2023-08-02T14:36:24.148" v="51"/>
          <ac:picMkLst>
            <pc:docMk/>
            <pc:sldMk cId="3134490103" sldId="2147479682"/>
            <ac:picMk id="175" creationId="{CD58DA50-6FD0-B01A-3C1A-34BFBDB61260}"/>
          </ac:picMkLst>
        </pc:picChg>
        <pc:picChg chg="add del mod">
          <ac:chgData name="David Lynch" userId="666a0384-f147-414d-9e35-a983301ea6cb" providerId="ADAL" clId="{34916257-1681-4F1E-989B-C1A397B854E2}" dt="2023-08-02T14:36:24.148" v="51"/>
          <ac:picMkLst>
            <pc:docMk/>
            <pc:sldMk cId="3134490103" sldId="2147479682"/>
            <ac:picMk id="176" creationId="{97B2C8D7-3825-2A05-83EC-563F99E32229}"/>
          </ac:picMkLst>
        </pc:picChg>
        <pc:picChg chg="add del mod">
          <ac:chgData name="David Lynch" userId="666a0384-f147-414d-9e35-a983301ea6cb" providerId="ADAL" clId="{34916257-1681-4F1E-989B-C1A397B854E2}" dt="2023-08-02T14:36:24.148" v="51"/>
          <ac:picMkLst>
            <pc:docMk/>
            <pc:sldMk cId="3134490103" sldId="2147479682"/>
            <ac:picMk id="179" creationId="{C6986985-F970-CC4C-5AC4-C843FCDCCC94}"/>
          </ac:picMkLst>
        </pc:picChg>
        <pc:picChg chg="mod">
          <ac:chgData name="David Lynch" userId="666a0384-f147-414d-9e35-a983301ea6cb" providerId="ADAL" clId="{34916257-1681-4F1E-989B-C1A397B854E2}" dt="2023-08-02T14:36:19.835" v="50"/>
          <ac:picMkLst>
            <pc:docMk/>
            <pc:sldMk cId="3134490103" sldId="2147479682"/>
            <ac:picMk id="187" creationId="{0EC142C7-BF9E-9024-8971-C77A22B7680E}"/>
          </ac:picMkLst>
        </pc:picChg>
        <pc:picChg chg="add del mod">
          <ac:chgData name="David Lynch" userId="666a0384-f147-414d-9e35-a983301ea6cb" providerId="ADAL" clId="{34916257-1681-4F1E-989B-C1A397B854E2}" dt="2023-08-02T14:36:24.148" v="51"/>
          <ac:picMkLst>
            <pc:docMk/>
            <pc:sldMk cId="3134490103" sldId="2147479682"/>
            <ac:picMk id="204" creationId="{9374CFCC-CCC1-66DA-E0FE-1BFE02FE1F89}"/>
          </ac:picMkLst>
        </pc:picChg>
        <pc:picChg chg="add del mod">
          <ac:chgData name="David Lynch" userId="666a0384-f147-414d-9e35-a983301ea6cb" providerId="ADAL" clId="{34916257-1681-4F1E-989B-C1A397B854E2}" dt="2023-08-02T14:36:24.148" v="51"/>
          <ac:picMkLst>
            <pc:docMk/>
            <pc:sldMk cId="3134490103" sldId="2147479682"/>
            <ac:picMk id="216" creationId="{3B5F1139-8479-61A1-33DE-F92F386CC6FE}"/>
          </ac:picMkLst>
        </pc:picChg>
        <pc:picChg chg="add del mod">
          <ac:chgData name="David Lynch" userId="666a0384-f147-414d-9e35-a983301ea6cb" providerId="ADAL" clId="{34916257-1681-4F1E-989B-C1A397B854E2}" dt="2023-08-02T14:36:24.148" v="51"/>
          <ac:picMkLst>
            <pc:docMk/>
            <pc:sldMk cId="3134490103" sldId="2147479682"/>
            <ac:picMk id="217" creationId="{E2CFFE6E-2D12-6F8C-2DCB-AF968B2D8106}"/>
          </ac:picMkLst>
        </pc:picChg>
        <pc:picChg chg="add del mod">
          <ac:chgData name="David Lynch" userId="666a0384-f147-414d-9e35-a983301ea6cb" providerId="ADAL" clId="{34916257-1681-4F1E-989B-C1A397B854E2}" dt="2023-08-02T14:36:24.148" v="51"/>
          <ac:picMkLst>
            <pc:docMk/>
            <pc:sldMk cId="3134490103" sldId="2147479682"/>
            <ac:picMk id="218" creationId="{731C7974-59B4-0248-AFFB-94AFEFE618FF}"/>
          </ac:picMkLst>
        </pc:picChg>
        <pc:picChg chg="add del mod">
          <ac:chgData name="David Lynch" userId="666a0384-f147-414d-9e35-a983301ea6cb" providerId="ADAL" clId="{34916257-1681-4F1E-989B-C1A397B854E2}" dt="2023-08-02T14:36:24.148" v="51"/>
          <ac:picMkLst>
            <pc:docMk/>
            <pc:sldMk cId="3134490103" sldId="2147479682"/>
            <ac:picMk id="219" creationId="{5F498889-2412-49BD-6D60-967188FD9BF7}"/>
          </ac:picMkLst>
        </pc:picChg>
        <pc:picChg chg="add del mod">
          <ac:chgData name="David Lynch" userId="666a0384-f147-414d-9e35-a983301ea6cb" providerId="ADAL" clId="{34916257-1681-4F1E-989B-C1A397B854E2}" dt="2023-08-02T14:36:24.148" v="51"/>
          <ac:picMkLst>
            <pc:docMk/>
            <pc:sldMk cId="3134490103" sldId="2147479682"/>
            <ac:picMk id="220" creationId="{1B0AA3F4-51F5-0F94-5B06-1B5B079824E0}"/>
          </ac:picMkLst>
        </pc:picChg>
        <pc:picChg chg="add del mod">
          <ac:chgData name="David Lynch" userId="666a0384-f147-414d-9e35-a983301ea6cb" providerId="ADAL" clId="{34916257-1681-4F1E-989B-C1A397B854E2}" dt="2023-08-02T14:36:24.148" v="51"/>
          <ac:picMkLst>
            <pc:docMk/>
            <pc:sldMk cId="3134490103" sldId="2147479682"/>
            <ac:picMk id="221" creationId="{1FF6B90D-9974-6F27-C3FA-E8D326380E6E}"/>
          </ac:picMkLst>
        </pc:picChg>
        <pc:picChg chg="add del mod">
          <ac:chgData name="David Lynch" userId="666a0384-f147-414d-9e35-a983301ea6cb" providerId="ADAL" clId="{34916257-1681-4F1E-989B-C1A397B854E2}" dt="2023-08-02T14:36:24.148" v="51"/>
          <ac:picMkLst>
            <pc:docMk/>
            <pc:sldMk cId="3134490103" sldId="2147479682"/>
            <ac:picMk id="222" creationId="{6D04F633-E237-9B36-0902-3A8FC3FF041E}"/>
          </ac:picMkLst>
        </pc:picChg>
        <pc:cxnChg chg="add del mod">
          <ac:chgData name="David Lynch" userId="666a0384-f147-414d-9e35-a983301ea6cb" providerId="ADAL" clId="{34916257-1681-4F1E-989B-C1A397B854E2}" dt="2023-08-02T14:36:18.185" v="49"/>
          <ac:cxnSpMkLst>
            <pc:docMk/>
            <pc:sldMk cId="3134490103" sldId="2147479682"/>
            <ac:cxnSpMk id="7" creationId="{B669BBD1-5D04-7721-28C7-DE3D65747A2A}"/>
          </ac:cxnSpMkLst>
        </pc:cxnChg>
        <pc:cxnChg chg="add del mod">
          <ac:chgData name="David Lynch" userId="666a0384-f147-414d-9e35-a983301ea6cb" providerId="ADAL" clId="{34916257-1681-4F1E-989B-C1A397B854E2}" dt="2023-08-02T14:36:18.185" v="49"/>
          <ac:cxnSpMkLst>
            <pc:docMk/>
            <pc:sldMk cId="3134490103" sldId="2147479682"/>
            <ac:cxnSpMk id="8" creationId="{9D1261F8-5BFC-E4E3-088F-F5FC0E8BC503}"/>
          </ac:cxnSpMkLst>
        </pc:cxnChg>
        <pc:cxnChg chg="add del mod">
          <ac:chgData name="David Lynch" userId="666a0384-f147-414d-9e35-a983301ea6cb" providerId="ADAL" clId="{34916257-1681-4F1E-989B-C1A397B854E2}" dt="2023-08-02T14:36:18.185" v="49"/>
          <ac:cxnSpMkLst>
            <pc:docMk/>
            <pc:sldMk cId="3134490103" sldId="2147479682"/>
            <ac:cxnSpMk id="57" creationId="{347121A3-6B38-2A3F-93CE-16052B178020}"/>
          </ac:cxnSpMkLst>
        </pc:cxnChg>
        <pc:cxnChg chg="add del mod">
          <ac:chgData name="David Lynch" userId="666a0384-f147-414d-9e35-a983301ea6cb" providerId="ADAL" clId="{34916257-1681-4F1E-989B-C1A397B854E2}" dt="2023-08-02T14:36:18.185" v="49"/>
          <ac:cxnSpMkLst>
            <pc:docMk/>
            <pc:sldMk cId="3134490103" sldId="2147479682"/>
            <ac:cxnSpMk id="58" creationId="{C430A09F-B021-870E-56DC-BC79C11C8FCD}"/>
          </ac:cxnSpMkLst>
        </pc:cxnChg>
        <pc:cxnChg chg="add del mod">
          <ac:chgData name="David Lynch" userId="666a0384-f147-414d-9e35-a983301ea6cb" providerId="ADAL" clId="{34916257-1681-4F1E-989B-C1A397B854E2}" dt="2023-08-02T14:36:18.185" v="49"/>
          <ac:cxnSpMkLst>
            <pc:docMk/>
            <pc:sldMk cId="3134490103" sldId="2147479682"/>
            <ac:cxnSpMk id="63" creationId="{67C23F6D-2778-B1E6-99D5-A2B75E4E184B}"/>
          </ac:cxnSpMkLst>
        </pc:cxnChg>
        <pc:cxnChg chg="add del mod">
          <ac:chgData name="David Lynch" userId="666a0384-f147-414d-9e35-a983301ea6cb" providerId="ADAL" clId="{34916257-1681-4F1E-989B-C1A397B854E2}" dt="2023-08-02T14:36:24.148" v="51"/>
          <ac:cxnSpMkLst>
            <pc:docMk/>
            <pc:sldMk cId="3134490103" sldId="2147479682"/>
            <ac:cxnSpMk id="116" creationId="{89B2B1E2-6853-94FA-0BA4-99CC55E4C841}"/>
          </ac:cxnSpMkLst>
        </pc:cxnChg>
        <pc:cxnChg chg="add del mod">
          <ac:chgData name="David Lynch" userId="666a0384-f147-414d-9e35-a983301ea6cb" providerId="ADAL" clId="{34916257-1681-4F1E-989B-C1A397B854E2}" dt="2023-08-02T14:36:24.148" v="51"/>
          <ac:cxnSpMkLst>
            <pc:docMk/>
            <pc:sldMk cId="3134490103" sldId="2147479682"/>
            <ac:cxnSpMk id="117" creationId="{8A26F713-01B4-1BB9-E45C-4E8222704895}"/>
          </ac:cxnSpMkLst>
        </pc:cxnChg>
        <pc:cxnChg chg="add del mod">
          <ac:chgData name="David Lynch" userId="666a0384-f147-414d-9e35-a983301ea6cb" providerId="ADAL" clId="{34916257-1681-4F1E-989B-C1A397B854E2}" dt="2023-08-02T14:36:24.148" v="51"/>
          <ac:cxnSpMkLst>
            <pc:docMk/>
            <pc:sldMk cId="3134490103" sldId="2147479682"/>
            <ac:cxnSpMk id="166" creationId="{D60FB413-2A26-B579-5945-CE001CED051C}"/>
          </ac:cxnSpMkLst>
        </pc:cxnChg>
        <pc:cxnChg chg="add del mod">
          <ac:chgData name="David Lynch" userId="666a0384-f147-414d-9e35-a983301ea6cb" providerId="ADAL" clId="{34916257-1681-4F1E-989B-C1A397B854E2}" dt="2023-08-02T14:36:24.148" v="51"/>
          <ac:cxnSpMkLst>
            <pc:docMk/>
            <pc:sldMk cId="3134490103" sldId="2147479682"/>
            <ac:cxnSpMk id="167" creationId="{0B636F58-978F-A274-1370-0526E1A7BB2D}"/>
          </ac:cxnSpMkLst>
        </pc:cxnChg>
        <pc:cxnChg chg="add del mod">
          <ac:chgData name="David Lynch" userId="666a0384-f147-414d-9e35-a983301ea6cb" providerId="ADAL" clId="{34916257-1681-4F1E-989B-C1A397B854E2}" dt="2023-08-02T14:36:24.148" v="51"/>
          <ac:cxnSpMkLst>
            <pc:docMk/>
            <pc:sldMk cId="3134490103" sldId="2147479682"/>
            <ac:cxnSpMk id="172" creationId="{8F5BD9F5-754D-6A8B-BC90-82DCDEFD6E9D}"/>
          </ac:cxnSpMkLst>
        </pc:cxnChg>
      </pc:sldChg>
      <pc:sldChg chg="addSp delSp modSp new mod modShow addCm">
        <pc:chgData name="David Lynch" userId="666a0384-f147-414d-9e35-a983301ea6cb" providerId="ADAL" clId="{34916257-1681-4F1E-989B-C1A397B854E2}" dt="2023-08-02T14:41:07.857" v="74"/>
        <pc:sldMkLst>
          <pc:docMk/>
          <pc:sldMk cId="2015443442" sldId="2147479683"/>
        </pc:sldMkLst>
        <pc:spChg chg="del">
          <ac:chgData name="David Lynch" userId="666a0384-f147-414d-9e35-a983301ea6cb" providerId="ADAL" clId="{34916257-1681-4F1E-989B-C1A397B854E2}" dt="2023-08-02T14:40:21.114" v="68" actId="478"/>
          <ac:spMkLst>
            <pc:docMk/>
            <pc:sldMk cId="2015443442" sldId="2147479683"/>
            <ac:spMk id="2" creationId="{04E9019F-B9DC-5218-92A5-01F0BF1A33E5}"/>
          </ac:spMkLst>
        </pc:spChg>
        <pc:spChg chg="add del mod">
          <ac:chgData name="David Lynch" userId="666a0384-f147-414d-9e35-a983301ea6cb" providerId="ADAL" clId="{34916257-1681-4F1E-989B-C1A397B854E2}" dt="2023-08-02T14:40:22.933" v="70"/>
          <ac:spMkLst>
            <pc:docMk/>
            <pc:sldMk cId="2015443442" sldId="2147479683"/>
            <ac:spMk id="5" creationId="{40EAEE92-844D-4A65-FEEB-497E16A98979}"/>
          </ac:spMkLst>
        </pc:spChg>
        <pc:spChg chg="add del mod">
          <ac:chgData name="David Lynch" userId="666a0384-f147-414d-9e35-a983301ea6cb" providerId="ADAL" clId="{34916257-1681-4F1E-989B-C1A397B854E2}" dt="2023-08-02T14:40:22.933" v="70"/>
          <ac:spMkLst>
            <pc:docMk/>
            <pc:sldMk cId="2015443442" sldId="2147479683"/>
            <ac:spMk id="6" creationId="{280D8775-6025-75E6-8E5E-93E0D34B121C}"/>
          </ac:spMkLst>
        </pc:spChg>
        <pc:spChg chg="add del mod">
          <ac:chgData name="David Lynch" userId="666a0384-f147-414d-9e35-a983301ea6cb" providerId="ADAL" clId="{34916257-1681-4F1E-989B-C1A397B854E2}" dt="2023-08-02T14:40:22.933" v="70"/>
          <ac:spMkLst>
            <pc:docMk/>
            <pc:sldMk cId="2015443442" sldId="2147479683"/>
            <ac:spMk id="7" creationId="{F75A469F-E861-7A48-7B7D-CE709BA33406}"/>
          </ac:spMkLst>
        </pc:spChg>
        <pc:spChg chg="add del mod">
          <ac:chgData name="David Lynch" userId="666a0384-f147-414d-9e35-a983301ea6cb" providerId="ADAL" clId="{34916257-1681-4F1E-989B-C1A397B854E2}" dt="2023-08-02T14:40:22.933" v="70"/>
          <ac:spMkLst>
            <pc:docMk/>
            <pc:sldMk cId="2015443442" sldId="2147479683"/>
            <ac:spMk id="8" creationId="{F6F111AB-57D6-009B-B155-52B74E1C9DE5}"/>
          </ac:spMkLst>
        </pc:spChg>
        <pc:spChg chg="add del mod">
          <ac:chgData name="David Lynch" userId="666a0384-f147-414d-9e35-a983301ea6cb" providerId="ADAL" clId="{34916257-1681-4F1E-989B-C1A397B854E2}" dt="2023-08-02T14:40:22.933" v="70"/>
          <ac:spMkLst>
            <pc:docMk/>
            <pc:sldMk cId="2015443442" sldId="2147479683"/>
            <ac:spMk id="9" creationId="{CDF0532E-8528-2DDD-FEDE-D1C0E84F0811}"/>
          </ac:spMkLst>
        </pc:spChg>
        <pc:spChg chg="add del mod">
          <ac:chgData name="David Lynch" userId="666a0384-f147-414d-9e35-a983301ea6cb" providerId="ADAL" clId="{34916257-1681-4F1E-989B-C1A397B854E2}" dt="2023-08-02T14:40:22.933" v="70"/>
          <ac:spMkLst>
            <pc:docMk/>
            <pc:sldMk cId="2015443442" sldId="2147479683"/>
            <ac:spMk id="10" creationId="{24484256-ABC9-7C7A-F8A9-3456AA7E2A52}"/>
          </ac:spMkLst>
        </pc:spChg>
        <pc:spChg chg="add del mod">
          <ac:chgData name="David Lynch" userId="666a0384-f147-414d-9e35-a983301ea6cb" providerId="ADAL" clId="{34916257-1681-4F1E-989B-C1A397B854E2}" dt="2023-08-02T14:40:22.933" v="70"/>
          <ac:spMkLst>
            <pc:docMk/>
            <pc:sldMk cId="2015443442" sldId="2147479683"/>
            <ac:spMk id="11" creationId="{95DD5A19-E123-9083-717A-952C9E730E1D}"/>
          </ac:spMkLst>
        </pc:spChg>
        <pc:spChg chg="add del mod">
          <ac:chgData name="David Lynch" userId="666a0384-f147-414d-9e35-a983301ea6cb" providerId="ADAL" clId="{34916257-1681-4F1E-989B-C1A397B854E2}" dt="2023-08-02T14:40:22.933" v="70"/>
          <ac:spMkLst>
            <pc:docMk/>
            <pc:sldMk cId="2015443442" sldId="2147479683"/>
            <ac:spMk id="12" creationId="{6CBC3A82-00AD-BB7A-BE19-9AACBC4712F7}"/>
          </ac:spMkLst>
        </pc:spChg>
        <pc:spChg chg="add del mod">
          <ac:chgData name="David Lynch" userId="666a0384-f147-414d-9e35-a983301ea6cb" providerId="ADAL" clId="{34916257-1681-4F1E-989B-C1A397B854E2}" dt="2023-08-02T14:40:22.933" v="70"/>
          <ac:spMkLst>
            <pc:docMk/>
            <pc:sldMk cId="2015443442" sldId="2147479683"/>
            <ac:spMk id="13" creationId="{46260F64-49E3-508C-F054-DF0526BB27B6}"/>
          </ac:spMkLst>
        </pc:spChg>
        <pc:spChg chg="add del mod">
          <ac:chgData name="David Lynch" userId="666a0384-f147-414d-9e35-a983301ea6cb" providerId="ADAL" clId="{34916257-1681-4F1E-989B-C1A397B854E2}" dt="2023-08-02T14:40:22.933" v="70"/>
          <ac:spMkLst>
            <pc:docMk/>
            <pc:sldMk cId="2015443442" sldId="2147479683"/>
            <ac:spMk id="14" creationId="{4B306AA3-CC3A-71E8-4D33-EB490D8B4613}"/>
          </ac:spMkLst>
        </pc:spChg>
        <pc:spChg chg="add del mod">
          <ac:chgData name="David Lynch" userId="666a0384-f147-414d-9e35-a983301ea6cb" providerId="ADAL" clId="{34916257-1681-4F1E-989B-C1A397B854E2}" dt="2023-08-02T14:40:22.933" v="70"/>
          <ac:spMkLst>
            <pc:docMk/>
            <pc:sldMk cId="2015443442" sldId="2147479683"/>
            <ac:spMk id="15" creationId="{DEC8EF4F-77DB-1789-AE2D-6B9C50CE37D6}"/>
          </ac:spMkLst>
        </pc:spChg>
        <pc:spChg chg="add del mod">
          <ac:chgData name="David Lynch" userId="666a0384-f147-414d-9e35-a983301ea6cb" providerId="ADAL" clId="{34916257-1681-4F1E-989B-C1A397B854E2}" dt="2023-08-02T14:40:22.933" v="70"/>
          <ac:spMkLst>
            <pc:docMk/>
            <pc:sldMk cId="2015443442" sldId="2147479683"/>
            <ac:spMk id="16" creationId="{2789BA16-A5F0-5F85-840E-242AE625302A}"/>
          </ac:spMkLst>
        </pc:spChg>
        <pc:spChg chg="add del mod">
          <ac:chgData name="David Lynch" userId="666a0384-f147-414d-9e35-a983301ea6cb" providerId="ADAL" clId="{34916257-1681-4F1E-989B-C1A397B854E2}" dt="2023-08-02T14:40:22.933" v="70"/>
          <ac:spMkLst>
            <pc:docMk/>
            <pc:sldMk cId="2015443442" sldId="2147479683"/>
            <ac:spMk id="17" creationId="{073A3D7D-6F4F-C483-F28F-3C4D7AE3140F}"/>
          </ac:spMkLst>
        </pc:spChg>
        <pc:spChg chg="add del mod">
          <ac:chgData name="David Lynch" userId="666a0384-f147-414d-9e35-a983301ea6cb" providerId="ADAL" clId="{34916257-1681-4F1E-989B-C1A397B854E2}" dt="2023-08-02T14:40:22.933" v="70"/>
          <ac:spMkLst>
            <pc:docMk/>
            <pc:sldMk cId="2015443442" sldId="2147479683"/>
            <ac:spMk id="18" creationId="{C8EE7200-8895-01FE-B9A1-BF51463C0E3C}"/>
          </ac:spMkLst>
        </pc:spChg>
        <pc:spChg chg="add del mod">
          <ac:chgData name="David Lynch" userId="666a0384-f147-414d-9e35-a983301ea6cb" providerId="ADAL" clId="{34916257-1681-4F1E-989B-C1A397B854E2}" dt="2023-08-02T14:40:22.933" v="70"/>
          <ac:spMkLst>
            <pc:docMk/>
            <pc:sldMk cId="2015443442" sldId="2147479683"/>
            <ac:spMk id="19" creationId="{E41D369C-4639-BD81-77DC-93D8E28D0CA7}"/>
          </ac:spMkLst>
        </pc:spChg>
        <pc:spChg chg="add del mod">
          <ac:chgData name="David Lynch" userId="666a0384-f147-414d-9e35-a983301ea6cb" providerId="ADAL" clId="{34916257-1681-4F1E-989B-C1A397B854E2}" dt="2023-08-02T14:40:22.933" v="70"/>
          <ac:spMkLst>
            <pc:docMk/>
            <pc:sldMk cId="2015443442" sldId="2147479683"/>
            <ac:spMk id="20" creationId="{810AE0FF-D91F-4D87-3F68-E91FCBC31504}"/>
          </ac:spMkLst>
        </pc:spChg>
        <pc:spChg chg="mod">
          <ac:chgData name="David Lynch" userId="666a0384-f147-414d-9e35-a983301ea6cb" providerId="ADAL" clId="{34916257-1681-4F1E-989B-C1A397B854E2}" dt="2023-08-02T14:40:21.649" v="69"/>
          <ac:spMkLst>
            <pc:docMk/>
            <pc:sldMk cId="2015443442" sldId="2147479683"/>
            <ac:spMk id="22" creationId="{AE0963E5-0C33-8FE0-D25F-FFF7FF8022A8}"/>
          </ac:spMkLst>
        </pc:spChg>
        <pc:spChg chg="mod">
          <ac:chgData name="David Lynch" userId="666a0384-f147-414d-9e35-a983301ea6cb" providerId="ADAL" clId="{34916257-1681-4F1E-989B-C1A397B854E2}" dt="2023-08-02T14:40:21.649" v="69"/>
          <ac:spMkLst>
            <pc:docMk/>
            <pc:sldMk cId="2015443442" sldId="2147479683"/>
            <ac:spMk id="23" creationId="{DF8A54F2-8538-E58C-5501-76CA8959D51D}"/>
          </ac:spMkLst>
        </pc:spChg>
        <pc:spChg chg="mod">
          <ac:chgData name="David Lynch" userId="666a0384-f147-414d-9e35-a983301ea6cb" providerId="ADAL" clId="{34916257-1681-4F1E-989B-C1A397B854E2}" dt="2023-08-02T14:40:21.649" v="69"/>
          <ac:spMkLst>
            <pc:docMk/>
            <pc:sldMk cId="2015443442" sldId="2147479683"/>
            <ac:spMk id="24" creationId="{D54822D0-65FF-16F5-3136-7CA7CE2D8581}"/>
          </ac:spMkLst>
        </pc:spChg>
        <pc:spChg chg="mod">
          <ac:chgData name="David Lynch" userId="666a0384-f147-414d-9e35-a983301ea6cb" providerId="ADAL" clId="{34916257-1681-4F1E-989B-C1A397B854E2}" dt="2023-08-02T14:40:21.649" v="69"/>
          <ac:spMkLst>
            <pc:docMk/>
            <pc:sldMk cId="2015443442" sldId="2147479683"/>
            <ac:spMk id="25" creationId="{3570E0C0-7FE6-7649-9861-768A1CDAB80B}"/>
          </ac:spMkLst>
        </pc:spChg>
        <pc:spChg chg="mod">
          <ac:chgData name="David Lynch" userId="666a0384-f147-414d-9e35-a983301ea6cb" providerId="ADAL" clId="{34916257-1681-4F1E-989B-C1A397B854E2}" dt="2023-08-02T14:40:21.649" v="69"/>
          <ac:spMkLst>
            <pc:docMk/>
            <pc:sldMk cId="2015443442" sldId="2147479683"/>
            <ac:spMk id="27" creationId="{6D641157-197A-4643-4E11-E322CC138D66}"/>
          </ac:spMkLst>
        </pc:spChg>
        <pc:spChg chg="mod">
          <ac:chgData name="David Lynch" userId="666a0384-f147-414d-9e35-a983301ea6cb" providerId="ADAL" clId="{34916257-1681-4F1E-989B-C1A397B854E2}" dt="2023-08-02T14:40:21.649" v="69"/>
          <ac:spMkLst>
            <pc:docMk/>
            <pc:sldMk cId="2015443442" sldId="2147479683"/>
            <ac:spMk id="28" creationId="{E566835E-7933-2974-2628-EFB4ED145549}"/>
          </ac:spMkLst>
        </pc:spChg>
        <pc:spChg chg="mod">
          <ac:chgData name="David Lynch" userId="666a0384-f147-414d-9e35-a983301ea6cb" providerId="ADAL" clId="{34916257-1681-4F1E-989B-C1A397B854E2}" dt="2023-08-02T14:40:21.649" v="69"/>
          <ac:spMkLst>
            <pc:docMk/>
            <pc:sldMk cId="2015443442" sldId="2147479683"/>
            <ac:spMk id="29" creationId="{B0E90102-2D1B-7A57-A018-0495732BD6D8}"/>
          </ac:spMkLst>
        </pc:spChg>
        <pc:spChg chg="mod">
          <ac:chgData name="David Lynch" userId="666a0384-f147-414d-9e35-a983301ea6cb" providerId="ADAL" clId="{34916257-1681-4F1E-989B-C1A397B854E2}" dt="2023-08-02T14:40:21.649" v="69"/>
          <ac:spMkLst>
            <pc:docMk/>
            <pc:sldMk cId="2015443442" sldId="2147479683"/>
            <ac:spMk id="32" creationId="{C063A70A-C3D1-A16F-9B9B-E51726A8927D}"/>
          </ac:spMkLst>
        </pc:spChg>
        <pc:spChg chg="mod">
          <ac:chgData name="David Lynch" userId="666a0384-f147-414d-9e35-a983301ea6cb" providerId="ADAL" clId="{34916257-1681-4F1E-989B-C1A397B854E2}" dt="2023-08-02T14:40:21.649" v="69"/>
          <ac:spMkLst>
            <pc:docMk/>
            <pc:sldMk cId="2015443442" sldId="2147479683"/>
            <ac:spMk id="35" creationId="{7B59EECB-1699-529C-6FFE-FB2DC0020185}"/>
          </ac:spMkLst>
        </pc:spChg>
        <pc:spChg chg="mod">
          <ac:chgData name="David Lynch" userId="666a0384-f147-414d-9e35-a983301ea6cb" providerId="ADAL" clId="{34916257-1681-4F1E-989B-C1A397B854E2}" dt="2023-08-02T14:40:21.649" v="69"/>
          <ac:spMkLst>
            <pc:docMk/>
            <pc:sldMk cId="2015443442" sldId="2147479683"/>
            <ac:spMk id="36" creationId="{B0DF7A64-DB44-0D62-2973-462536A443AB}"/>
          </ac:spMkLst>
        </pc:spChg>
        <pc:spChg chg="mod">
          <ac:chgData name="David Lynch" userId="666a0384-f147-414d-9e35-a983301ea6cb" providerId="ADAL" clId="{34916257-1681-4F1E-989B-C1A397B854E2}" dt="2023-08-02T14:40:21.649" v="69"/>
          <ac:spMkLst>
            <pc:docMk/>
            <pc:sldMk cId="2015443442" sldId="2147479683"/>
            <ac:spMk id="37" creationId="{FC895002-06FB-F0D3-A974-569EB73551EB}"/>
          </ac:spMkLst>
        </pc:spChg>
        <pc:spChg chg="mod">
          <ac:chgData name="David Lynch" userId="666a0384-f147-414d-9e35-a983301ea6cb" providerId="ADAL" clId="{34916257-1681-4F1E-989B-C1A397B854E2}" dt="2023-08-02T14:40:21.649" v="69"/>
          <ac:spMkLst>
            <pc:docMk/>
            <pc:sldMk cId="2015443442" sldId="2147479683"/>
            <ac:spMk id="38" creationId="{59771D8B-7E6F-96A4-A2D0-AEC20466B803}"/>
          </ac:spMkLst>
        </pc:spChg>
        <pc:spChg chg="mod">
          <ac:chgData name="David Lynch" userId="666a0384-f147-414d-9e35-a983301ea6cb" providerId="ADAL" clId="{34916257-1681-4F1E-989B-C1A397B854E2}" dt="2023-08-02T14:40:21.649" v="69"/>
          <ac:spMkLst>
            <pc:docMk/>
            <pc:sldMk cId="2015443442" sldId="2147479683"/>
            <ac:spMk id="39" creationId="{522B6F5C-EEFB-AC37-2806-FB674CE73874}"/>
          </ac:spMkLst>
        </pc:spChg>
        <pc:spChg chg="mod">
          <ac:chgData name="David Lynch" userId="666a0384-f147-414d-9e35-a983301ea6cb" providerId="ADAL" clId="{34916257-1681-4F1E-989B-C1A397B854E2}" dt="2023-08-02T14:40:21.649" v="69"/>
          <ac:spMkLst>
            <pc:docMk/>
            <pc:sldMk cId="2015443442" sldId="2147479683"/>
            <ac:spMk id="40" creationId="{49084711-7E7F-6723-51F7-395B801278E9}"/>
          </ac:spMkLst>
        </pc:spChg>
        <pc:spChg chg="mod">
          <ac:chgData name="David Lynch" userId="666a0384-f147-414d-9e35-a983301ea6cb" providerId="ADAL" clId="{34916257-1681-4F1E-989B-C1A397B854E2}" dt="2023-08-02T14:40:21.649" v="69"/>
          <ac:spMkLst>
            <pc:docMk/>
            <pc:sldMk cId="2015443442" sldId="2147479683"/>
            <ac:spMk id="41" creationId="{AF244F81-31A6-4533-8924-E2C03422A490}"/>
          </ac:spMkLst>
        </pc:spChg>
        <pc:spChg chg="mod">
          <ac:chgData name="David Lynch" userId="666a0384-f147-414d-9e35-a983301ea6cb" providerId="ADAL" clId="{34916257-1681-4F1E-989B-C1A397B854E2}" dt="2023-08-02T14:40:21.649" v="69"/>
          <ac:spMkLst>
            <pc:docMk/>
            <pc:sldMk cId="2015443442" sldId="2147479683"/>
            <ac:spMk id="42" creationId="{86179267-A7C4-F8C1-EE29-C7DAF7CDE8FE}"/>
          </ac:spMkLst>
        </pc:spChg>
        <pc:spChg chg="mod">
          <ac:chgData name="David Lynch" userId="666a0384-f147-414d-9e35-a983301ea6cb" providerId="ADAL" clId="{34916257-1681-4F1E-989B-C1A397B854E2}" dt="2023-08-02T14:40:21.649" v="69"/>
          <ac:spMkLst>
            <pc:docMk/>
            <pc:sldMk cId="2015443442" sldId="2147479683"/>
            <ac:spMk id="43" creationId="{8752D985-1401-DA3D-1BCA-31F737667135}"/>
          </ac:spMkLst>
        </pc:spChg>
        <pc:spChg chg="mod">
          <ac:chgData name="David Lynch" userId="666a0384-f147-414d-9e35-a983301ea6cb" providerId="ADAL" clId="{34916257-1681-4F1E-989B-C1A397B854E2}" dt="2023-08-02T14:40:21.649" v="69"/>
          <ac:spMkLst>
            <pc:docMk/>
            <pc:sldMk cId="2015443442" sldId="2147479683"/>
            <ac:spMk id="44" creationId="{0B68475B-3EF0-EEA1-6219-B7DB6BB6454B}"/>
          </ac:spMkLst>
        </pc:spChg>
        <pc:spChg chg="mod">
          <ac:chgData name="David Lynch" userId="666a0384-f147-414d-9e35-a983301ea6cb" providerId="ADAL" clId="{34916257-1681-4F1E-989B-C1A397B854E2}" dt="2023-08-02T14:40:21.649" v="69"/>
          <ac:spMkLst>
            <pc:docMk/>
            <pc:sldMk cId="2015443442" sldId="2147479683"/>
            <ac:spMk id="45" creationId="{AFFE918D-F57C-AEEE-328E-254AEE766DB3}"/>
          </ac:spMkLst>
        </pc:spChg>
        <pc:spChg chg="mod">
          <ac:chgData name="David Lynch" userId="666a0384-f147-414d-9e35-a983301ea6cb" providerId="ADAL" clId="{34916257-1681-4F1E-989B-C1A397B854E2}" dt="2023-08-02T14:40:21.649" v="69"/>
          <ac:spMkLst>
            <pc:docMk/>
            <pc:sldMk cId="2015443442" sldId="2147479683"/>
            <ac:spMk id="46" creationId="{4CF36EEB-FE3D-8A3D-AB19-264080A01ACE}"/>
          </ac:spMkLst>
        </pc:spChg>
        <pc:spChg chg="mod">
          <ac:chgData name="David Lynch" userId="666a0384-f147-414d-9e35-a983301ea6cb" providerId="ADAL" clId="{34916257-1681-4F1E-989B-C1A397B854E2}" dt="2023-08-02T14:40:21.649" v="69"/>
          <ac:spMkLst>
            <pc:docMk/>
            <pc:sldMk cId="2015443442" sldId="2147479683"/>
            <ac:spMk id="47" creationId="{11EBB91F-81D8-7D86-68BC-EAECF9C8DC6A}"/>
          </ac:spMkLst>
        </pc:spChg>
        <pc:spChg chg="mod">
          <ac:chgData name="David Lynch" userId="666a0384-f147-414d-9e35-a983301ea6cb" providerId="ADAL" clId="{34916257-1681-4F1E-989B-C1A397B854E2}" dt="2023-08-02T14:40:21.649" v="69"/>
          <ac:spMkLst>
            <pc:docMk/>
            <pc:sldMk cId="2015443442" sldId="2147479683"/>
            <ac:spMk id="48" creationId="{D94287BF-CB78-784A-7B52-10E84840474C}"/>
          </ac:spMkLst>
        </pc:spChg>
        <pc:spChg chg="mod">
          <ac:chgData name="David Lynch" userId="666a0384-f147-414d-9e35-a983301ea6cb" providerId="ADAL" clId="{34916257-1681-4F1E-989B-C1A397B854E2}" dt="2023-08-02T14:40:21.649" v="69"/>
          <ac:spMkLst>
            <pc:docMk/>
            <pc:sldMk cId="2015443442" sldId="2147479683"/>
            <ac:spMk id="49" creationId="{8D6B2F4E-8D09-2289-722D-DD04D20C0874}"/>
          </ac:spMkLst>
        </pc:spChg>
        <pc:spChg chg="mod">
          <ac:chgData name="David Lynch" userId="666a0384-f147-414d-9e35-a983301ea6cb" providerId="ADAL" clId="{34916257-1681-4F1E-989B-C1A397B854E2}" dt="2023-08-02T14:40:21.649" v="69"/>
          <ac:spMkLst>
            <pc:docMk/>
            <pc:sldMk cId="2015443442" sldId="2147479683"/>
            <ac:spMk id="50" creationId="{B83EAC49-D416-6C53-69EF-AE48748F0274}"/>
          </ac:spMkLst>
        </pc:spChg>
        <pc:spChg chg="mod">
          <ac:chgData name="David Lynch" userId="666a0384-f147-414d-9e35-a983301ea6cb" providerId="ADAL" clId="{34916257-1681-4F1E-989B-C1A397B854E2}" dt="2023-08-02T14:40:21.649" v="69"/>
          <ac:spMkLst>
            <pc:docMk/>
            <pc:sldMk cId="2015443442" sldId="2147479683"/>
            <ac:spMk id="51" creationId="{837F403B-4CFC-E548-B47B-596AEB3C7104}"/>
          </ac:spMkLst>
        </pc:spChg>
        <pc:spChg chg="mod">
          <ac:chgData name="David Lynch" userId="666a0384-f147-414d-9e35-a983301ea6cb" providerId="ADAL" clId="{34916257-1681-4F1E-989B-C1A397B854E2}" dt="2023-08-02T14:40:21.649" v="69"/>
          <ac:spMkLst>
            <pc:docMk/>
            <pc:sldMk cId="2015443442" sldId="2147479683"/>
            <ac:spMk id="52" creationId="{C9C6D438-CEE9-EB5F-9F90-1CFD7E50D58A}"/>
          </ac:spMkLst>
        </pc:spChg>
        <pc:spChg chg="mod">
          <ac:chgData name="David Lynch" userId="666a0384-f147-414d-9e35-a983301ea6cb" providerId="ADAL" clId="{34916257-1681-4F1E-989B-C1A397B854E2}" dt="2023-08-02T14:40:21.649" v="69"/>
          <ac:spMkLst>
            <pc:docMk/>
            <pc:sldMk cId="2015443442" sldId="2147479683"/>
            <ac:spMk id="53" creationId="{D09F5CCC-3201-02AA-F47A-43010C8C7F64}"/>
          </ac:spMkLst>
        </pc:spChg>
        <pc:spChg chg="mod">
          <ac:chgData name="David Lynch" userId="666a0384-f147-414d-9e35-a983301ea6cb" providerId="ADAL" clId="{34916257-1681-4F1E-989B-C1A397B854E2}" dt="2023-08-02T14:40:21.649" v="69"/>
          <ac:spMkLst>
            <pc:docMk/>
            <pc:sldMk cId="2015443442" sldId="2147479683"/>
            <ac:spMk id="54" creationId="{2F94D666-3B62-DA20-E842-91D48C90C362}"/>
          </ac:spMkLst>
        </pc:spChg>
        <pc:spChg chg="add del mod">
          <ac:chgData name="David Lynch" userId="666a0384-f147-414d-9e35-a983301ea6cb" providerId="ADAL" clId="{34916257-1681-4F1E-989B-C1A397B854E2}" dt="2023-08-02T14:40:22.933" v="70"/>
          <ac:spMkLst>
            <pc:docMk/>
            <pc:sldMk cId="2015443442" sldId="2147479683"/>
            <ac:spMk id="57" creationId="{A6B3D5B3-8C35-0EE3-910E-03CE423968C1}"/>
          </ac:spMkLst>
        </pc:spChg>
        <pc:spChg chg="add del mod">
          <ac:chgData name="David Lynch" userId="666a0384-f147-414d-9e35-a983301ea6cb" providerId="ADAL" clId="{34916257-1681-4F1E-989B-C1A397B854E2}" dt="2023-08-02T14:40:22.933" v="70"/>
          <ac:spMkLst>
            <pc:docMk/>
            <pc:sldMk cId="2015443442" sldId="2147479683"/>
            <ac:spMk id="58" creationId="{1531ACC0-F3B0-20D4-26FA-2404C62BCF3A}"/>
          </ac:spMkLst>
        </pc:spChg>
        <pc:spChg chg="add del mod">
          <ac:chgData name="David Lynch" userId="666a0384-f147-414d-9e35-a983301ea6cb" providerId="ADAL" clId="{34916257-1681-4F1E-989B-C1A397B854E2}" dt="2023-08-02T14:40:22.933" v="70"/>
          <ac:spMkLst>
            <pc:docMk/>
            <pc:sldMk cId="2015443442" sldId="2147479683"/>
            <ac:spMk id="59" creationId="{09935557-DFB2-D9FE-9F4B-72B612CFA4E1}"/>
          </ac:spMkLst>
        </pc:spChg>
        <pc:spChg chg="add del mod">
          <ac:chgData name="David Lynch" userId="666a0384-f147-414d-9e35-a983301ea6cb" providerId="ADAL" clId="{34916257-1681-4F1E-989B-C1A397B854E2}" dt="2023-08-02T14:40:22.933" v="70"/>
          <ac:spMkLst>
            <pc:docMk/>
            <pc:sldMk cId="2015443442" sldId="2147479683"/>
            <ac:spMk id="60" creationId="{DA659101-1471-9376-2342-6AF20A768B36}"/>
          </ac:spMkLst>
        </pc:spChg>
        <pc:spChg chg="add del mod">
          <ac:chgData name="David Lynch" userId="666a0384-f147-414d-9e35-a983301ea6cb" providerId="ADAL" clId="{34916257-1681-4F1E-989B-C1A397B854E2}" dt="2023-08-02T14:40:22.933" v="70"/>
          <ac:spMkLst>
            <pc:docMk/>
            <pc:sldMk cId="2015443442" sldId="2147479683"/>
            <ac:spMk id="61" creationId="{4CF92D2F-CE03-8EC9-995E-EBD1AF68FFAD}"/>
          </ac:spMkLst>
        </pc:spChg>
        <pc:spChg chg="add del mod">
          <ac:chgData name="David Lynch" userId="666a0384-f147-414d-9e35-a983301ea6cb" providerId="ADAL" clId="{34916257-1681-4F1E-989B-C1A397B854E2}" dt="2023-08-02T14:40:22.933" v="70"/>
          <ac:spMkLst>
            <pc:docMk/>
            <pc:sldMk cId="2015443442" sldId="2147479683"/>
            <ac:spMk id="62" creationId="{80D487FF-4C5C-7107-0AF2-C5A1918C10DC}"/>
          </ac:spMkLst>
        </pc:spChg>
        <pc:spChg chg="add del mod">
          <ac:chgData name="David Lynch" userId="666a0384-f147-414d-9e35-a983301ea6cb" providerId="ADAL" clId="{34916257-1681-4F1E-989B-C1A397B854E2}" dt="2023-08-02T14:40:22.933" v="70"/>
          <ac:spMkLst>
            <pc:docMk/>
            <pc:sldMk cId="2015443442" sldId="2147479683"/>
            <ac:spMk id="63" creationId="{23B1F8A5-E0A2-652C-62F0-E2095B145832}"/>
          </ac:spMkLst>
        </pc:spChg>
        <pc:spChg chg="add mod">
          <ac:chgData name="David Lynch" userId="666a0384-f147-414d-9e35-a983301ea6cb" providerId="ADAL" clId="{34916257-1681-4F1E-989B-C1A397B854E2}" dt="2023-08-02T14:40:24.328" v="71"/>
          <ac:spMkLst>
            <pc:docMk/>
            <pc:sldMk cId="2015443442" sldId="2147479683"/>
            <ac:spMk id="64" creationId="{24161BEC-6A5A-5DCF-D7EE-6040166883A8}"/>
          </ac:spMkLst>
        </pc:spChg>
        <pc:spChg chg="add mod">
          <ac:chgData name="David Lynch" userId="666a0384-f147-414d-9e35-a983301ea6cb" providerId="ADAL" clId="{34916257-1681-4F1E-989B-C1A397B854E2}" dt="2023-08-02T14:40:24.328" v="71"/>
          <ac:spMkLst>
            <pc:docMk/>
            <pc:sldMk cId="2015443442" sldId="2147479683"/>
            <ac:spMk id="65" creationId="{112B29F6-9E6C-C7C0-8020-9669671E299F}"/>
          </ac:spMkLst>
        </pc:spChg>
        <pc:spChg chg="add mod">
          <ac:chgData name="David Lynch" userId="666a0384-f147-414d-9e35-a983301ea6cb" providerId="ADAL" clId="{34916257-1681-4F1E-989B-C1A397B854E2}" dt="2023-08-02T14:40:24.328" v="71"/>
          <ac:spMkLst>
            <pc:docMk/>
            <pc:sldMk cId="2015443442" sldId="2147479683"/>
            <ac:spMk id="66" creationId="{747BF436-365B-0A92-7F51-D7F30D3E5FDB}"/>
          </ac:spMkLst>
        </pc:spChg>
        <pc:spChg chg="add mod">
          <ac:chgData name="David Lynch" userId="666a0384-f147-414d-9e35-a983301ea6cb" providerId="ADAL" clId="{34916257-1681-4F1E-989B-C1A397B854E2}" dt="2023-08-02T14:40:24.328" v="71"/>
          <ac:spMkLst>
            <pc:docMk/>
            <pc:sldMk cId="2015443442" sldId="2147479683"/>
            <ac:spMk id="67" creationId="{4B97A60B-1800-EDC0-DA9C-EFFDDFD1D802}"/>
          </ac:spMkLst>
        </pc:spChg>
        <pc:spChg chg="add mod">
          <ac:chgData name="David Lynch" userId="666a0384-f147-414d-9e35-a983301ea6cb" providerId="ADAL" clId="{34916257-1681-4F1E-989B-C1A397B854E2}" dt="2023-08-02T14:40:24.328" v="71"/>
          <ac:spMkLst>
            <pc:docMk/>
            <pc:sldMk cId="2015443442" sldId="2147479683"/>
            <ac:spMk id="68" creationId="{DC6F51C7-F973-91B3-7CEA-F32153B02ED6}"/>
          </ac:spMkLst>
        </pc:spChg>
        <pc:spChg chg="add mod">
          <ac:chgData name="David Lynch" userId="666a0384-f147-414d-9e35-a983301ea6cb" providerId="ADAL" clId="{34916257-1681-4F1E-989B-C1A397B854E2}" dt="2023-08-02T14:40:24.328" v="71"/>
          <ac:spMkLst>
            <pc:docMk/>
            <pc:sldMk cId="2015443442" sldId="2147479683"/>
            <ac:spMk id="69" creationId="{E32ABC63-6842-045D-FA2E-B6CE8475E1D5}"/>
          </ac:spMkLst>
        </pc:spChg>
        <pc:spChg chg="add mod">
          <ac:chgData name="David Lynch" userId="666a0384-f147-414d-9e35-a983301ea6cb" providerId="ADAL" clId="{34916257-1681-4F1E-989B-C1A397B854E2}" dt="2023-08-02T14:40:24.328" v="71"/>
          <ac:spMkLst>
            <pc:docMk/>
            <pc:sldMk cId="2015443442" sldId="2147479683"/>
            <ac:spMk id="70" creationId="{F08BEB03-2EEB-AD11-36D9-5170261835BC}"/>
          </ac:spMkLst>
        </pc:spChg>
        <pc:spChg chg="add mod">
          <ac:chgData name="David Lynch" userId="666a0384-f147-414d-9e35-a983301ea6cb" providerId="ADAL" clId="{34916257-1681-4F1E-989B-C1A397B854E2}" dt="2023-08-02T14:40:24.328" v="71"/>
          <ac:spMkLst>
            <pc:docMk/>
            <pc:sldMk cId="2015443442" sldId="2147479683"/>
            <ac:spMk id="71" creationId="{EAD21127-E343-6E68-2F39-8A8B4BF2AE37}"/>
          </ac:spMkLst>
        </pc:spChg>
        <pc:spChg chg="add mod">
          <ac:chgData name="David Lynch" userId="666a0384-f147-414d-9e35-a983301ea6cb" providerId="ADAL" clId="{34916257-1681-4F1E-989B-C1A397B854E2}" dt="2023-08-02T14:40:24.328" v="71"/>
          <ac:spMkLst>
            <pc:docMk/>
            <pc:sldMk cId="2015443442" sldId="2147479683"/>
            <ac:spMk id="72" creationId="{B2B33827-CAAB-B770-20ED-F54C4F9E64AA}"/>
          </ac:spMkLst>
        </pc:spChg>
        <pc:spChg chg="add mod">
          <ac:chgData name="David Lynch" userId="666a0384-f147-414d-9e35-a983301ea6cb" providerId="ADAL" clId="{34916257-1681-4F1E-989B-C1A397B854E2}" dt="2023-08-02T14:40:24.328" v="71"/>
          <ac:spMkLst>
            <pc:docMk/>
            <pc:sldMk cId="2015443442" sldId="2147479683"/>
            <ac:spMk id="73" creationId="{6D9789E2-19F1-A8CD-ACE0-9B9A4E3C517B}"/>
          </ac:spMkLst>
        </pc:spChg>
        <pc:spChg chg="add mod">
          <ac:chgData name="David Lynch" userId="666a0384-f147-414d-9e35-a983301ea6cb" providerId="ADAL" clId="{34916257-1681-4F1E-989B-C1A397B854E2}" dt="2023-08-02T14:40:24.328" v="71"/>
          <ac:spMkLst>
            <pc:docMk/>
            <pc:sldMk cId="2015443442" sldId="2147479683"/>
            <ac:spMk id="74" creationId="{2E96678E-8323-783D-6739-E7C405F3D8C3}"/>
          </ac:spMkLst>
        </pc:spChg>
        <pc:spChg chg="add mod">
          <ac:chgData name="David Lynch" userId="666a0384-f147-414d-9e35-a983301ea6cb" providerId="ADAL" clId="{34916257-1681-4F1E-989B-C1A397B854E2}" dt="2023-08-02T14:40:24.328" v="71"/>
          <ac:spMkLst>
            <pc:docMk/>
            <pc:sldMk cId="2015443442" sldId="2147479683"/>
            <ac:spMk id="75" creationId="{BFDDC8CE-61A3-493C-F97A-4130748A1901}"/>
          </ac:spMkLst>
        </pc:spChg>
        <pc:spChg chg="add mod">
          <ac:chgData name="David Lynch" userId="666a0384-f147-414d-9e35-a983301ea6cb" providerId="ADAL" clId="{34916257-1681-4F1E-989B-C1A397B854E2}" dt="2023-08-02T14:40:24.328" v="71"/>
          <ac:spMkLst>
            <pc:docMk/>
            <pc:sldMk cId="2015443442" sldId="2147479683"/>
            <ac:spMk id="76" creationId="{3AD90018-317D-2CAC-55AB-C6E54183E497}"/>
          </ac:spMkLst>
        </pc:spChg>
        <pc:spChg chg="add mod">
          <ac:chgData name="David Lynch" userId="666a0384-f147-414d-9e35-a983301ea6cb" providerId="ADAL" clId="{34916257-1681-4F1E-989B-C1A397B854E2}" dt="2023-08-02T14:40:24.328" v="71"/>
          <ac:spMkLst>
            <pc:docMk/>
            <pc:sldMk cId="2015443442" sldId="2147479683"/>
            <ac:spMk id="77" creationId="{921713CC-3500-6DDD-F1B1-FE9E99D3F878}"/>
          </ac:spMkLst>
        </pc:spChg>
        <pc:spChg chg="add mod">
          <ac:chgData name="David Lynch" userId="666a0384-f147-414d-9e35-a983301ea6cb" providerId="ADAL" clId="{34916257-1681-4F1E-989B-C1A397B854E2}" dt="2023-08-02T14:40:24.328" v="71"/>
          <ac:spMkLst>
            <pc:docMk/>
            <pc:sldMk cId="2015443442" sldId="2147479683"/>
            <ac:spMk id="78" creationId="{3481CC8D-C9E7-3EA9-7EE9-41B927E864A6}"/>
          </ac:spMkLst>
        </pc:spChg>
        <pc:spChg chg="add mod">
          <ac:chgData name="David Lynch" userId="666a0384-f147-414d-9e35-a983301ea6cb" providerId="ADAL" clId="{34916257-1681-4F1E-989B-C1A397B854E2}" dt="2023-08-02T14:40:24.328" v="71"/>
          <ac:spMkLst>
            <pc:docMk/>
            <pc:sldMk cId="2015443442" sldId="2147479683"/>
            <ac:spMk id="79" creationId="{12D69E85-2F52-D8DB-E0A8-79471616C74A}"/>
          </ac:spMkLst>
        </pc:spChg>
        <pc:spChg chg="mod">
          <ac:chgData name="David Lynch" userId="666a0384-f147-414d-9e35-a983301ea6cb" providerId="ADAL" clId="{34916257-1681-4F1E-989B-C1A397B854E2}" dt="2023-08-02T14:40:24.328" v="71"/>
          <ac:spMkLst>
            <pc:docMk/>
            <pc:sldMk cId="2015443442" sldId="2147479683"/>
            <ac:spMk id="81" creationId="{388931DC-D292-61B5-BE40-64196FB440D1}"/>
          </ac:spMkLst>
        </pc:spChg>
        <pc:spChg chg="mod">
          <ac:chgData name="David Lynch" userId="666a0384-f147-414d-9e35-a983301ea6cb" providerId="ADAL" clId="{34916257-1681-4F1E-989B-C1A397B854E2}" dt="2023-08-02T14:40:24.328" v="71"/>
          <ac:spMkLst>
            <pc:docMk/>
            <pc:sldMk cId="2015443442" sldId="2147479683"/>
            <ac:spMk id="82" creationId="{2F06342E-0787-5ECB-BC5D-F81B92DBE5D4}"/>
          </ac:spMkLst>
        </pc:spChg>
        <pc:spChg chg="mod">
          <ac:chgData name="David Lynch" userId="666a0384-f147-414d-9e35-a983301ea6cb" providerId="ADAL" clId="{34916257-1681-4F1E-989B-C1A397B854E2}" dt="2023-08-02T14:40:24.328" v="71"/>
          <ac:spMkLst>
            <pc:docMk/>
            <pc:sldMk cId="2015443442" sldId="2147479683"/>
            <ac:spMk id="83" creationId="{FFE0EC23-BABA-4B8F-A5F2-C2C1E7E4BB1D}"/>
          </ac:spMkLst>
        </pc:spChg>
        <pc:spChg chg="mod">
          <ac:chgData name="David Lynch" userId="666a0384-f147-414d-9e35-a983301ea6cb" providerId="ADAL" clId="{34916257-1681-4F1E-989B-C1A397B854E2}" dt="2023-08-02T14:40:24.328" v="71"/>
          <ac:spMkLst>
            <pc:docMk/>
            <pc:sldMk cId="2015443442" sldId="2147479683"/>
            <ac:spMk id="84" creationId="{B0E26D1A-F9B7-291D-F763-D9A25A844120}"/>
          </ac:spMkLst>
        </pc:spChg>
        <pc:spChg chg="mod">
          <ac:chgData name="David Lynch" userId="666a0384-f147-414d-9e35-a983301ea6cb" providerId="ADAL" clId="{34916257-1681-4F1E-989B-C1A397B854E2}" dt="2023-08-02T14:40:24.328" v="71"/>
          <ac:spMkLst>
            <pc:docMk/>
            <pc:sldMk cId="2015443442" sldId="2147479683"/>
            <ac:spMk id="86" creationId="{B64936C4-9626-22BF-6E35-7E5CCC664523}"/>
          </ac:spMkLst>
        </pc:spChg>
        <pc:spChg chg="mod">
          <ac:chgData name="David Lynch" userId="666a0384-f147-414d-9e35-a983301ea6cb" providerId="ADAL" clId="{34916257-1681-4F1E-989B-C1A397B854E2}" dt="2023-08-02T14:40:24.328" v="71"/>
          <ac:spMkLst>
            <pc:docMk/>
            <pc:sldMk cId="2015443442" sldId="2147479683"/>
            <ac:spMk id="87" creationId="{8A6F9B1D-A6AA-363A-878F-F94F88735BD5}"/>
          </ac:spMkLst>
        </pc:spChg>
        <pc:spChg chg="mod">
          <ac:chgData name="David Lynch" userId="666a0384-f147-414d-9e35-a983301ea6cb" providerId="ADAL" clId="{34916257-1681-4F1E-989B-C1A397B854E2}" dt="2023-08-02T14:40:24.328" v="71"/>
          <ac:spMkLst>
            <pc:docMk/>
            <pc:sldMk cId="2015443442" sldId="2147479683"/>
            <ac:spMk id="88" creationId="{533320D6-D0AC-AF0C-B0F9-7CE745F51C29}"/>
          </ac:spMkLst>
        </pc:spChg>
        <pc:spChg chg="mod">
          <ac:chgData name="David Lynch" userId="666a0384-f147-414d-9e35-a983301ea6cb" providerId="ADAL" clId="{34916257-1681-4F1E-989B-C1A397B854E2}" dt="2023-08-02T14:40:24.328" v="71"/>
          <ac:spMkLst>
            <pc:docMk/>
            <pc:sldMk cId="2015443442" sldId="2147479683"/>
            <ac:spMk id="91" creationId="{6596B196-B319-8CC5-BEF3-8DF667D1FA2E}"/>
          </ac:spMkLst>
        </pc:spChg>
        <pc:spChg chg="mod">
          <ac:chgData name="David Lynch" userId="666a0384-f147-414d-9e35-a983301ea6cb" providerId="ADAL" clId="{34916257-1681-4F1E-989B-C1A397B854E2}" dt="2023-08-02T14:40:24.328" v="71"/>
          <ac:spMkLst>
            <pc:docMk/>
            <pc:sldMk cId="2015443442" sldId="2147479683"/>
            <ac:spMk id="94" creationId="{06147953-2EEE-FFFB-E533-39B13E89CA8C}"/>
          </ac:spMkLst>
        </pc:spChg>
        <pc:spChg chg="mod">
          <ac:chgData name="David Lynch" userId="666a0384-f147-414d-9e35-a983301ea6cb" providerId="ADAL" clId="{34916257-1681-4F1E-989B-C1A397B854E2}" dt="2023-08-02T14:40:24.328" v="71"/>
          <ac:spMkLst>
            <pc:docMk/>
            <pc:sldMk cId="2015443442" sldId="2147479683"/>
            <ac:spMk id="95" creationId="{3D8E38AB-7C62-8B78-8438-8E5FA66B4864}"/>
          </ac:spMkLst>
        </pc:spChg>
        <pc:spChg chg="mod">
          <ac:chgData name="David Lynch" userId="666a0384-f147-414d-9e35-a983301ea6cb" providerId="ADAL" clId="{34916257-1681-4F1E-989B-C1A397B854E2}" dt="2023-08-02T14:40:24.328" v="71"/>
          <ac:spMkLst>
            <pc:docMk/>
            <pc:sldMk cId="2015443442" sldId="2147479683"/>
            <ac:spMk id="96" creationId="{36E6E964-E87F-FA4E-96D9-5F2B89355E4F}"/>
          </ac:spMkLst>
        </pc:spChg>
        <pc:spChg chg="mod">
          <ac:chgData name="David Lynch" userId="666a0384-f147-414d-9e35-a983301ea6cb" providerId="ADAL" clId="{34916257-1681-4F1E-989B-C1A397B854E2}" dt="2023-08-02T14:40:24.328" v="71"/>
          <ac:spMkLst>
            <pc:docMk/>
            <pc:sldMk cId="2015443442" sldId="2147479683"/>
            <ac:spMk id="97" creationId="{FADC49F2-B8E2-B748-1817-A31F8F9A06FB}"/>
          </ac:spMkLst>
        </pc:spChg>
        <pc:spChg chg="mod">
          <ac:chgData name="David Lynch" userId="666a0384-f147-414d-9e35-a983301ea6cb" providerId="ADAL" clId="{34916257-1681-4F1E-989B-C1A397B854E2}" dt="2023-08-02T14:40:24.328" v="71"/>
          <ac:spMkLst>
            <pc:docMk/>
            <pc:sldMk cId="2015443442" sldId="2147479683"/>
            <ac:spMk id="98" creationId="{5F65C354-1D51-6316-9F47-84E49A981E88}"/>
          </ac:spMkLst>
        </pc:spChg>
        <pc:spChg chg="mod">
          <ac:chgData name="David Lynch" userId="666a0384-f147-414d-9e35-a983301ea6cb" providerId="ADAL" clId="{34916257-1681-4F1E-989B-C1A397B854E2}" dt="2023-08-02T14:40:24.328" v="71"/>
          <ac:spMkLst>
            <pc:docMk/>
            <pc:sldMk cId="2015443442" sldId="2147479683"/>
            <ac:spMk id="99" creationId="{54AD994D-0608-6250-A6D7-83433C643224}"/>
          </ac:spMkLst>
        </pc:spChg>
        <pc:spChg chg="mod">
          <ac:chgData name="David Lynch" userId="666a0384-f147-414d-9e35-a983301ea6cb" providerId="ADAL" clId="{34916257-1681-4F1E-989B-C1A397B854E2}" dt="2023-08-02T14:40:24.328" v="71"/>
          <ac:spMkLst>
            <pc:docMk/>
            <pc:sldMk cId="2015443442" sldId="2147479683"/>
            <ac:spMk id="100" creationId="{E811943D-7FDC-BA24-2616-2D2E9FA6EDA6}"/>
          </ac:spMkLst>
        </pc:spChg>
        <pc:spChg chg="mod">
          <ac:chgData name="David Lynch" userId="666a0384-f147-414d-9e35-a983301ea6cb" providerId="ADAL" clId="{34916257-1681-4F1E-989B-C1A397B854E2}" dt="2023-08-02T14:40:24.328" v="71"/>
          <ac:spMkLst>
            <pc:docMk/>
            <pc:sldMk cId="2015443442" sldId="2147479683"/>
            <ac:spMk id="101" creationId="{5C729096-63C2-8804-F2FC-2FCD2A0C99B4}"/>
          </ac:spMkLst>
        </pc:spChg>
        <pc:spChg chg="mod">
          <ac:chgData name="David Lynch" userId="666a0384-f147-414d-9e35-a983301ea6cb" providerId="ADAL" clId="{34916257-1681-4F1E-989B-C1A397B854E2}" dt="2023-08-02T14:40:24.328" v="71"/>
          <ac:spMkLst>
            <pc:docMk/>
            <pc:sldMk cId="2015443442" sldId="2147479683"/>
            <ac:spMk id="102" creationId="{2B13F30C-6813-8737-5277-72C43D4D95A4}"/>
          </ac:spMkLst>
        </pc:spChg>
        <pc:spChg chg="mod">
          <ac:chgData name="David Lynch" userId="666a0384-f147-414d-9e35-a983301ea6cb" providerId="ADAL" clId="{34916257-1681-4F1E-989B-C1A397B854E2}" dt="2023-08-02T14:40:24.328" v="71"/>
          <ac:spMkLst>
            <pc:docMk/>
            <pc:sldMk cId="2015443442" sldId="2147479683"/>
            <ac:spMk id="103" creationId="{B46F246C-35B8-0DDD-1577-1D53F221E5B4}"/>
          </ac:spMkLst>
        </pc:spChg>
        <pc:spChg chg="mod">
          <ac:chgData name="David Lynch" userId="666a0384-f147-414d-9e35-a983301ea6cb" providerId="ADAL" clId="{34916257-1681-4F1E-989B-C1A397B854E2}" dt="2023-08-02T14:40:24.328" v="71"/>
          <ac:spMkLst>
            <pc:docMk/>
            <pc:sldMk cId="2015443442" sldId="2147479683"/>
            <ac:spMk id="104" creationId="{8B64C5AE-470E-6D9E-8792-0C3864DB8147}"/>
          </ac:spMkLst>
        </pc:spChg>
        <pc:spChg chg="mod">
          <ac:chgData name="David Lynch" userId="666a0384-f147-414d-9e35-a983301ea6cb" providerId="ADAL" clId="{34916257-1681-4F1E-989B-C1A397B854E2}" dt="2023-08-02T14:40:24.328" v="71"/>
          <ac:spMkLst>
            <pc:docMk/>
            <pc:sldMk cId="2015443442" sldId="2147479683"/>
            <ac:spMk id="105" creationId="{2A4AEBA5-59FA-9EDB-3DAB-F014E4F61CB6}"/>
          </ac:spMkLst>
        </pc:spChg>
        <pc:spChg chg="mod">
          <ac:chgData name="David Lynch" userId="666a0384-f147-414d-9e35-a983301ea6cb" providerId="ADAL" clId="{34916257-1681-4F1E-989B-C1A397B854E2}" dt="2023-08-02T14:40:24.328" v="71"/>
          <ac:spMkLst>
            <pc:docMk/>
            <pc:sldMk cId="2015443442" sldId="2147479683"/>
            <ac:spMk id="106" creationId="{997E2866-E837-26D6-9ECF-69A710BBF643}"/>
          </ac:spMkLst>
        </pc:spChg>
        <pc:spChg chg="mod">
          <ac:chgData name="David Lynch" userId="666a0384-f147-414d-9e35-a983301ea6cb" providerId="ADAL" clId="{34916257-1681-4F1E-989B-C1A397B854E2}" dt="2023-08-02T14:40:24.328" v="71"/>
          <ac:spMkLst>
            <pc:docMk/>
            <pc:sldMk cId="2015443442" sldId="2147479683"/>
            <ac:spMk id="107" creationId="{90C5C5B7-AEBB-CE24-ABD0-46C18DAE3095}"/>
          </ac:spMkLst>
        </pc:spChg>
        <pc:spChg chg="mod">
          <ac:chgData name="David Lynch" userId="666a0384-f147-414d-9e35-a983301ea6cb" providerId="ADAL" clId="{34916257-1681-4F1E-989B-C1A397B854E2}" dt="2023-08-02T14:40:24.328" v="71"/>
          <ac:spMkLst>
            <pc:docMk/>
            <pc:sldMk cId="2015443442" sldId="2147479683"/>
            <ac:spMk id="108" creationId="{21586E4C-9851-1970-1B15-1FEA71055767}"/>
          </ac:spMkLst>
        </pc:spChg>
        <pc:spChg chg="mod">
          <ac:chgData name="David Lynch" userId="666a0384-f147-414d-9e35-a983301ea6cb" providerId="ADAL" clId="{34916257-1681-4F1E-989B-C1A397B854E2}" dt="2023-08-02T14:40:24.328" v="71"/>
          <ac:spMkLst>
            <pc:docMk/>
            <pc:sldMk cId="2015443442" sldId="2147479683"/>
            <ac:spMk id="109" creationId="{5E5462A4-7B00-33CE-EF8C-AE3B3BE4A712}"/>
          </ac:spMkLst>
        </pc:spChg>
        <pc:spChg chg="mod">
          <ac:chgData name="David Lynch" userId="666a0384-f147-414d-9e35-a983301ea6cb" providerId="ADAL" clId="{34916257-1681-4F1E-989B-C1A397B854E2}" dt="2023-08-02T14:40:24.328" v="71"/>
          <ac:spMkLst>
            <pc:docMk/>
            <pc:sldMk cId="2015443442" sldId="2147479683"/>
            <ac:spMk id="110" creationId="{D80529A2-9633-EBBB-EF68-85255A750307}"/>
          </ac:spMkLst>
        </pc:spChg>
        <pc:spChg chg="mod">
          <ac:chgData name="David Lynch" userId="666a0384-f147-414d-9e35-a983301ea6cb" providerId="ADAL" clId="{34916257-1681-4F1E-989B-C1A397B854E2}" dt="2023-08-02T14:40:24.328" v="71"/>
          <ac:spMkLst>
            <pc:docMk/>
            <pc:sldMk cId="2015443442" sldId="2147479683"/>
            <ac:spMk id="111" creationId="{C994DDA1-048D-938E-7416-4695BD597DD5}"/>
          </ac:spMkLst>
        </pc:spChg>
        <pc:spChg chg="mod">
          <ac:chgData name="David Lynch" userId="666a0384-f147-414d-9e35-a983301ea6cb" providerId="ADAL" clId="{34916257-1681-4F1E-989B-C1A397B854E2}" dt="2023-08-02T14:40:24.328" v="71"/>
          <ac:spMkLst>
            <pc:docMk/>
            <pc:sldMk cId="2015443442" sldId="2147479683"/>
            <ac:spMk id="112" creationId="{4B2C7F4F-701B-6A9A-327A-378F47E6DFF2}"/>
          </ac:spMkLst>
        </pc:spChg>
        <pc:spChg chg="mod">
          <ac:chgData name="David Lynch" userId="666a0384-f147-414d-9e35-a983301ea6cb" providerId="ADAL" clId="{34916257-1681-4F1E-989B-C1A397B854E2}" dt="2023-08-02T14:40:24.328" v="71"/>
          <ac:spMkLst>
            <pc:docMk/>
            <pc:sldMk cId="2015443442" sldId="2147479683"/>
            <ac:spMk id="113" creationId="{31062669-3B35-3E28-05DA-C9367917B66D}"/>
          </ac:spMkLst>
        </pc:spChg>
        <pc:spChg chg="add mod">
          <ac:chgData name="David Lynch" userId="666a0384-f147-414d-9e35-a983301ea6cb" providerId="ADAL" clId="{34916257-1681-4F1E-989B-C1A397B854E2}" dt="2023-08-02T14:40:24.328" v="71"/>
          <ac:spMkLst>
            <pc:docMk/>
            <pc:sldMk cId="2015443442" sldId="2147479683"/>
            <ac:spMk id="116" creationId="{61C1CB68-D0DE-7C78-196C-32FDC46BD155}"/>
          </ac:spMkLst>
        </pc:spChg>
        <pc:spChg chg="add mod">
          <ac:chgData name="David Lynch" userId="666a0384-f147-414d-9e35-a983301ea6cb" providerId="ADAL" clId="{34916257-1681-4F1E-989B-C1A397B854E2}" dt="2023-08-02T14:40:24.328" v="71"/>
          <ac:spMkLst>
            <pc:docMk/>
            <pc:sldMk cId="2015443442" sldId="2147479683"/>
            <ac:spMk id="117" creationId="{0B3DA14C-0755-0C39-E1EB-DCBED80F65A9}"/>
          </ac:spMkLst>
        </pc:spChg>
        <pc:spChg chg="add mod">
          <ac:chgData name="David Lynch" userId="666a0384-f147-414d-9e35-a983301ea6cb" providerId="ADAL" clId="{34916257-1681-4F1E-989B-C1A397B854E2}" dt="2023-08-02T14:40:24.328" v="71"/>
          <ac:spMkLst>
            <pc:docMk/>
            <pc:sldMk cId="2015443442" sldId="2147479683"/>
            <ac:spMk id="118" creationId="{32836F20-33F7-A702-0F3A-09AB2973CC05}"/>
          </ac:spMkLst>
        </pc:spChg>
        <pc:spChg chg="add mod">
          <ac:chgData name="David Lynch" userId="666a0384-f147-414d-9e35-a983301ea6cb" providerId="ADAL" clId="{34916257-1681-4F1E-989B-C1A397B854E2}" dt="2023-08-02T14:40:24.328" v="71"/>
          <ac:spMkLst>
            <pc:docMk/>
            <pc:sldMk cId="2015443442" sldId="2147479683"/>
            <ac:spMk id="119" creationId="{5CF474C4-A1E7-5C49-225B-F3E4C45724BE}"/>
          </ac:spMkLst>
        </pc:spChg>
        <pc:spChg chg="add mod">
          <ac:chgData name="David Lynch" userId="666a0384-f147-414d-9e35-a983301ea6cb" providerId="ADAL" clId="{34916257-1681-4F1E-989B-C1A397B854E2}" dt="2023-08-02T14:40:24.328" v="71"/>
          <ac:spMkLst>
            <pc:docMk/>
            <pc:sldMk cId="2015443442" sldId="2147479683"/>
            <ac:spMk id="120" creationId="{E3322F3E-007D-A0D1-CB09-59408E28A4F1}"/>
          </ac:spMkLst>
        </pc:spChg>
        <pc:spChg chg="add mod">
          <ac:chgData name="David Lynch" userId="666a0384-f147-414d-9e35-a983301ea6cb" providerId="ADAL" clId="{34916257-1681-4F1E-989B-C1A397B854E2}" dt="2023-08-02T14:40:24.328" v="71"/>
          <ac:spMkLst>
            <pc:docMk/>
            <pc:sldMk cId="2015443442" sldId="2147479683"/>
            <ac:spMk id="121" creationId="{6766DE7E-BA62-9AB8-64FE-7AF37269AB0C}"/>
          </ac:spMkLst>
        </pc:spChg>
        <pc:spChg chg="add mod">
          <ac:chgData name="David Lynch" userId="666a0384-f147-414d-9e35-a983301ea6cb" providerId="ADAL" clId="{34916257-1681-4F1E-989B-C1A397B854E2}" dt="2023-08-02T14:40:24.328" v="71"/>
          <ac:spMkLst>
            <pc:docMk/>
            <pc:sldMk cId="2015443442" sldId="2147479683"/>
            <ac:spMk id="122" creationId="{5C843442-DE37-40B5-AAD7-D9C9BDE984B0}"/>
          </ac:spMkLst>
        </pc:spChg>
        <pc:spChg chg="add mod">
          <ac:chgData name="David Lynch" userId="666a0384-f147-414d-9e35-a983301ea6cb" providerId="ADAL" clId="{34916257-1681-4F1E-989B-C1A397B854E2}" dt="2023-08-02T14:41:07.857" v="74"/>
          <ac:spMkLst>
            <pc:docMk/>
            <pc:sldMk cId="2015443442" sldId="2147479683"/>
            <ac:spMk id="123" creationId="{B18721CB-771E-F56D-03AD-2C8005BA3E97}"/>
          </ac:spMkLst>
        </pc:spChg>
        <pc:grpChg chg="add del mod">
          <ac:chgData name="David Lynch" userId="666a0384-f147-414d-9e35-a983301ea6cb" providerId="ADAL" clId="{34916257-1681-4F1E-989B-C1A397B854E2}" dt="2023-08-02T14:40:22.933" v="70"/>
          <ac:grpSpMkLst>
            <pc:docMk/>
            <pc:sldMk cId="2015443442" sldId="2147479683"/>
            <ac:grpSpMk id="21" creationId="{5E730200-2E31-06C6-993B-EF0430D37321}"/>
          </ac:grpSpMkLst>
        </pc:grpChg>
        <pc:grpChg chg="mod">
          <ac:chgData name="David Lynch" userId="666a0384-f147-414d-9e35-a983301ea6cb" providerId="ADAL" clId="{34916257-1681-4F1E-989B-C1A397B854E2}" dt="2023-08-02T14:40:21.649" v="69"/>
          <ac:grpSpMkLst>
            <pc:docMk/>
            <pc:sldMk cId="2015443442" sldId="2147479683"/>
            <ac:grpSpMk id="26" creationId="{2C381B75-F880-A255-6F9C-624BFB6FD2DC}"/>
          </ac:grpSpMkLst>
        </pc:grpChg>
        <pc:grpChg chg="add mod">
          <ac:chgData name="David Lynch" userId="666a0384-f147-414d-9e35-a983301ea6cb" providerId="ADAL" clId="{34916257-1681-4F1E-989B-C1A397B854E2}" dt="2023-08-02T14:40:24.328" v="71"/>
          <ac:grpSpMkLst>
            <pc:docMk/>
            <pc:sldMk cId="2015443442" sldId="2147479683"/>
            <ac:grpSpMk id="80" creationId="{AF971465-5C3B-9310-EED8-274D249C800C}"/>
          </ac:grpSpMkLst>
        </pc:grpChg>
        <pc:grpChg chg="mod">
          <ac:chgData name="David Lynch" userId="666a0384-f147-414d-9e35-a983301ea6cb" providerId="ADAL" clId="{34916257-1681-4F1E-989B-C1A397B854E2}" dt="2023-08-02T14:40:24.328" v="71"/>
          <ac:grpSpMkLst>
            <pc:docMk/>
            <pc:sldMk cId="2015443442" sldId="2147479683"/>
            <ac:grpSpMk id="85" creationId="{55ECD157-1720-0000-23D2-368299EC2CE8}"/>
          </ac:grpSpMkLst>
        </pc:grpChg>
        <pc:picChg chg="mod">
          <ac:chgData name="David Lynch" userId="666a0384-f147-414d-9e35-a983301ea6cb" providerId="ADAL" clId="{34916257-1681-4F1E-989B-C1A397B854E2}" dt="2023-08-02T14:40:21.649" v="69"/>
          <ac:picMkLst>
            <pc:docMk/>
            <pc:sldMk cId="2015443442" sldId="2147479683"/>
            <ac:picMk id="30" creationId="{D8B2BA0D-4FD2-1EEA-E26B-51BFF537AB87}"/>
          </ac:picMkLst>
        </pc:picChg>
        <pc:picChg chg="mod">
          <ac:chgData name="David Lynch" userId="666a0384-f147-414d-9e35-a983301ea6cb" providerId="ADAL" clId="{34916257-1681-4F1E-989B-C1A397B854E2}" dt="2023-08-02T14:40:21.649" v="69"/>
          <ac:picMkLst>
            <pc:docMk/>
            <pc:sldMk cId="2015443442" sldId="2147479683"/>
            <ac:picMk id="31" creationId="{D12C5485-7E6F-B43E-81B1-10E9CED71A67}"/>
          </ac:picMkLst>
        </pc:picChg>
        <pc:picChg chg="mod">
          <ac:chgData name="David Lynch" userId="666a0384-f147-414d-9e35-a983301ea6cb" providerId="ADAL" clId="{34916257-1681-4F1E-989B-C1A397B854E2}" dt="2023-08-02T14:40:24.328" v="71"/>
          <ac:picMkLst>
            <pc:docMk/>
            <pc:sldMk cId="2015443442" sldId="2147479683"/>
            <ac:picMk id="89" creationId="{02A98C7A-7BB8-5CB8-0F50-85F5E51C95E4}"/>
          </ac:picMkLst>
        </pc:picChg>
        <pc:picChg chg="mod">
          <ac:chgData name="David Lynch" userId="666a0384-f147-414d-9e35-a983301ea6cb" providerId="ADAL" clId="{34916257-1681-4F1E-989B-C1A397B854E2}" dt="2023-08-02T14:40:24.328" v="71"/>
          <ac:picMkLst>
            <pc:docMk/>
            <pc:sldMk cId="2015443442" sldId="2147479683"/>
            <ac:picMk id="90" creationId="{4C3AB228-68AB-BAF4-6A00-058686B0BE05}"/>
          </ac:picMkLst>
        </pc:picChg>
        <pc:cxnChg chg="mod">
          <ac:chgData name="David Lynch" userId="666a0384-f147-414d-9e35-a983301ea6cb" providerId="ADAL" clId="{34916257-1681-4F1E-989B-C1A397B854E2}" dt="2023-08-02T14:40:21.649" v="69"/>
          <ac:cxnSpMkLst>
            <pc:docMk/>
            <pc:sldMk cId="2015443442" sldId="2147479683"/>
            <ac:cxnSpMk id="33" creationId="{359B8D5E-0D0A-219F-F23B-D755F6477340}"/>
          </ac:cxnSpMkLst>
        </pc:cxnChg>
        <pc:cxnChg chg="mod">
          <ac:chgData name="David Lynch" userId="666a0384-f147-414d-9e35-a983301ea6cb" providerId="ADAL" clId="{34916257-1681-4F1E-989B-C1A397B854E2}" dt="2023-08-02T14:40:21.649" v="69"/>
          <ac:cxnSpMkLst>
            <pc:docMk/>
            <pc:sldMk cId="2015443442" sldId="2147479683"/>
            <ac:cxnSpMk id="34" creationId="{F8A7DE27-6829-64B7-FED7-00FDF5127D6C}"/>
          </ac:cxnSpMkLst>
        </pc:cxnChg>
        <pc:cxnChg chg="add del mod">
          <ac:chgData name="David Lynch" userId="666a0384-f147-414d-9e35-a983301ea6cb" providerId="ADAL" clId="{34916257-1681-4F1E-989B-C1A397B854E2}" dt="2023-08-02T14:40:22.933" v="70"/>
          <ac:cxnSpMkLst>
            <pc:docMk/>
            <pc:sldMk cId="2015443442" sldId="2147479683"/>
            <ac:cxnSpMk id="55" creationId="{1D017CB3-3218-31F5-E5AB-60E83C43E3EB}"/>
          </ac:cxnSpMkLst>
        </pc:cxnChg>
        <pc:cxnChg chg="add del mod">
          <ac:chgData name="David Lynch" userId="666a0384-f147-414d-9e35-a983301ea6cb" providerId="ADAL" clId="{34916257-1681-4F1E-989B-C1A397B854E2}" dt="2023-08-02T14:40:22.933" v="70"/>
          <ac:cxnSpMkLst>
            <pc:docMk/>
            <pc:sldMk cId="2015443442" sldId="2147479683"/>
            <ac:cxnSpMk id="56" creationId="{17B93E27-AD7A-1085-207F-A3529F212009}"/>
          </ac:cxnSpMkLst>
        </pc:cxnChg>
        <pc:cxnChg chg="mod">
          <ac:chgData name="David Lynch" userId="666a0384-f147-414d-9e35-a983301ea6cb" providerId="ADAL" clId="{34916257-1681-4F1E-989B-C1A397B854E2}" dt="2023-08-02T14:40:24.328" v="71"/>
          <ac:cxnSpMkLst>
            <pc:docMk/>
            <pc:sldMk cId="2015443442" sldId="2147479683"/>
            <ac:cxnSpMk id="92" creationId="{AD0F4EAE-DD7C-F2B7-319A-ED2A892EE923}"/>
          </ac:cxnSpMkLst>
        </pc:cxnChg>
        <pc:cxnChg chg="mod">
          <ac:chgData name="David Lynch" userId="666a0384-f147-414d-9e35-a983301ea6cb" providerId="ADAL" clId="{34916257-1681-4F1E-989B-C1A397B854E2}" dt="2023-08-02T14:40:24.328" v="71"/>
          <ac:cxnSpMkLst>
            <pc:docMk/>
            <pc:sldMk cId="2015443442" sldId="2147479683"/>
            <ac:cxnSpMk id="93" creationId="{B9DCB518-779A-8692-094F-E06DE4138A0E}"/>
          </ac:cxnSpMkLst>
        </pc:cxnChg>
        <pc:cxnChg chg="add mod">
          <ac:chgData name="David Lynch" userId="666a0384-f147-414d-9e35-a983301ea6cb" providerId="ADAL" clId="{34916257-1681-4F1E-989B-C1A397B854E2}" dt="2023-08-02T14:40:24.328" v="71"/>
          <ac:cxnSpMkLst>
            <pc:docMk/>
            <pc:sldMk cId="2015443442" sldId="2147479683"/>
            <ac:cxnSpMk id="114" creationId="{ACF79EC6-4314-A08C-75BB-2304A4A052BE}"/>
          </ac:cxnSpMkLst>
        </pc:cxnChg>
        <pc:cxnChg chg="add mod">
          <ac:chgData name="David Lynch" userId="666a0384-f147-414d-9e35-a983301ea6cb" providerId="ADAL" clId="{34916257-1681-4F1E-989B-C1A397B854E2}" dt="2023-08-02T14:40:24.328" v="71"/>
          <ac:cxnSpMkLst>
            <pc:docMk/>
            <pc:sldMk cId="2015443442" sldId="2147479683"/>
            <ac:cxnSpMk id="115" creationId="{D04CF7CE-9025-91EB-59BF-AC0C2432D7B7}"/>
          </ac:cxnSpMkLst>
        </pc:cxnChg>
      </pc:sldChg>
    </pc:docChg>
  </pc:docChgLst>
  <pc:docChgLst>
    <pc:chgData name="Jeffrey Obi" userId="S::jeffrey.obi@ie.ey.com::488f269d-1fa2-455e-bf95-7695136a100d" providerId="AD" clId="Web-{4A9A8F90-8582-1A40-9638-2BF317F8D742}"/>
    <pc:docChg chg="modSld">
      <pc:chgData name="Jeffrey Obi" userId="S::jeffrey.obi@ie.ey.com::488f269d-1fa2-455e-bf95-7695136a100d" providerId="AD" clId="Web-{4A9A8F90-8582-1A40-9638-2BF317F8D742}" dt="2023-07-28T08:46:18.660" v="150"/>
      <pc:docMkLst>
        <pc:docMk/>
      </pc:docMkLst>
      <pc:sldChg chg="modSp">
        <pc:chgData name="Jeffrey Obi" userId="S::jeffrey.obi@ie.ey.com::488f269d-1fa2-455e-bf95-7695136a100d" providerId="AD" clId="Web-{4A9A8F90-8582-1A40-9638-2BF317F8D742}" dt="2023-07-28T08:44:23.251" v="116" actId="20577"/>
        <pc:sldMkLst>
          <pc:docMk/>
          <pc:sldMk cId="4281992946" sldId="2147479607"/>
        </pc:sldMkLst>
        <pc:spChg chg="mod">
          <ac:chgData name="Jeffrey Obi" userId="S::jeffrey.obi@ie.ey.com::488f269d-1fa2-455e-bf95-7695136a100d" providerId="AD" clId="Web-{4A9A8F90-8582-1A40-9638-2BF317F8D742}" dt="2023-07-27T15:10:26.381" v="5" actId="20577"/>
          <ac:spMkLst>
            <pc:docMk/>
            <pc:sldMk cId="4281992946" sldId="2147479607"/>
            <ac:spMk id="8" creationId="{7824D54C-15D2-467C-A016-166944D0781C}"/>
          </ac:spMkLst>
        </pc:spChg>
        <pc:spChg chg="mod">
          <ac:chgData name="Jeffrey Obi" userId="S::jeffrey.obi@ie.ey.com::488f269d-1fa2-455e-bf95-7695136a100d" providerId="AD" clId="Web-{4A9A8F90-8582-1A40-9638-2BF317F8D742}" dt="2023-07-28T08:43:57.641" v="114" actId="20577"/>
          <ac:spMkLst>
            <pc:docMk/>
            <pc:sldMk cId="4281992946" sldId="2147479607"/>
            <ac:spMk id="11" creationId="{9EE04F04-F794-4453-963E-5CFBB6620A43}"/>
          </ac:spMkLst>
        </pc:spChg>
        <pc:spChg chg="mod">
          <ac:chgData name="Jeffrey Obi" userId="S::jeffrey.obi@ie.ey.com::488f269d-1fa2-455e-bf95-7695136a100d" providerId="AD" clId="Web-{4A9A8F90-8582-1A40-9638-2BF317F8D742}" dt="2023-07-28T08:44:23.251" v="116" actId="20577"/>
          <ac:spMkLst>
            <pc:docMk/>
            <pc:sldMk cId="4281992946" sldId="2147479607"/>
            <ac:spMk id="12" creationId="{FB93CF21-DAD5-4B79-9666-F5B05BE3DD14}"/>
          </ac:spMkLst>
        </pc:spChg>
        <pc:spChg chg="mod">
          <ac:chgData name="Jeffrey Obi" userId="S::jeffrey.obi@ie.ey.com::488f269d-1fa2-455e-bf95-7695136a100d" providerId="AD" clId="Web-{4A9A8F90-8582-1A40-9638-2BF317F8D742}" dt="2023-07-28T08:44:15.970" v="115" actId="20577"/>
          <ac:spMkLst>
            <pc:docMk/>
            <pc:sldMk cId="4281992946" sldId="2147479607"/>
            <ac:spMk id="13" creationId="{D642F10C-58A5-4B16-A89B-076AEE9416C7}"/>
          </ac:spMkLst>
        </pc:spChg>
      </pc:sldChg>
      <pc:sldChg chg="modSp">
        <pc:chgData name="Jeffrey Obi" userId="S::jeffrey.obi@ie.ey.com::488f269d-1fa2-455e-bf95-7695136a100d" providerId="AD" clId="Web-{4A9A8F90-8582-1A40-9638-2BF317F8D742}" dt="2023-07-28T08:46:18.660" v="150"/>
        <pc:sldMkLst>
          <pc:docMk/>
          <pc:sldMk cId="2915504962" sldId="2147479644"/>
        </pc:sldMkLst>
        <pc:graphicFrameChg chg="mod modGraphic">
          <ac:chgData name="Jeffrey Obi" userId="S::jeffrey.obi@ie.ey.com::488f269d-1fa2-455e-bf95-7695136a100d" providerId="AD" clId="Web-{4A9A8F90-8582-1A40-9638-2BF317F8D742}" dt="2023-07-28T08:46:18.660" v="150"/>
          <ac:graphicFrameMkLst>
            <pc:docMk/>
            <pc:sldMk cId="2915504962" sldId="2147479644"/>
            <ac:graphicFrameMk id="10" creationId="{C373DE96-CF83-C1C7-EAE3-76F41D608563}"/>
          </ac:graphicFrameMkLst>
        </pc:graphicFrameChg>
      </pc:sldChg>
    </pc:docChg>
  </pc:docChgLst>
  <pc:docChgLst>
    <pc:chgData name="Ahmed Helmy" userId="S::ahmed.helmy@ie.ey.com::00ab2dc9-190a-451b-8f35-a658adf790b2" providerId="AD" clId="Web-{354B7812-C152-DCEF-48EC-0AAA295C0AF6}"/>
    <pc:docChg chg="modSld">
      <pc:chgData name="Ahmed Helmy" userId="S::ahmed.helmy@ie.ey.com::00ab2dc9-190a-451b-8f35-a658adf790b2" providerId="AD" clId="Web-{354B7812-C152-DCEF-48EC-0AAA295C0AF6}" dt="2023-07-31T15:17:56.363" v="159" actId="1076"/>
      <pc:docMkLst>
        <pc:docMk/>
      </pc:docMkLst>
      <pc:sldChg chg="modSp">
        <pc:chgData name="Ahmed Helmy" userId="S::ahmed.helmy@ie.ey.com::00ab2dc9-190a-451b-8f35-a658adf790b2" providerId="AD" clId="Web-{354B7812-C152-DCEF-48EC-0AAA295C0AF6}" dt="2023-07-31T15:17:56.363" v="159" actId="1076"/>
        <pc:sldMkLst>
          <pc:docMk/>
          <pc:sldMk cId="946023888" sldId="2147479621"/>
        </pc:sldMkLst>
        <pc:spChg chg="mod">
          <ac:chgData name="Ahmed Helmy" userId="S::ahmed.helmy@ie.ey.com::00ab2dc9-190a-451b-8f35-a658adf790b2" providerId="AD" clId="Web-{354B7812-C152-DCEF-48EC-0AAA295C0AF6}" dt="2023-07-31T15:13:15.050" v="105" actId="20577"/>
          <ac:spMkLst>
            <pc:docMk/>
            <pc:sldMk cId="946023888" sldId="2147479621"/>
            <ac:spMk id="6" creationId="{E2571F8B-AD2A-D600-602E-DB30E505AC01}"/>
          </ac:spMkLst>
        </pc:spChg>
        <pc:spChg chg="mod">
          <ac:chgData name="Ahmed Helmy" userId="S::ahmed.helmy@ie.ey.com::00ab2dc9-190a-451b-8f35-a658adf790b2" providerId="AD" clId="Web-{354B7812-C152-DCEF-48EC-0AAA295C0AF6}" dt="2023-07-31T15:17:53.879" v="158" actId="1076"/>
          <ac:spMkLst>
            <pc:docMk/>
            <pc:sldMk cId="946023888" sldId="2147479621"/>
            <ac:spMk id="9" creationId="{83760D19-A613-4D14-0AB1-CA0FA010B805}"/>
          </ac:spMkLst>
        </pc:spChg>
        <pc:spChg chg="mod">
          <ac:chgData name="Ahmed Helmy" userId="S::ahmed.helmy@ie.ey.com::00ab2dc9-190a-451b-8f35-a658adf790b2" providerId="AD" clId="Web-{354B7812-C152-DCEF-48EC-0AAA295C0AF6}" dt="2023-07-31T15:15:33.248" v="142" actId="20577"/>
          <ac:spMkLst>
            <pc:docMk/>
            <pc:sldMk cId="946023888" sldId="2147479621"/>
            <ac:spMk id="12" creationId="{08BEDC15-550A-8B09-8EE9-B656C25CCE0E}"/>
          </ac:spMkLst>
        </pc:spChg>
        <pc:spChg chg="mod">
          <ac:chgData name="Ahmed Helmy" userId="S::ahmed.helmy@ie.ey.com::00ab2dc9-190a-451b-8f35-a658adf790b2" providerId="AD" clId="Web-{354B7812-C152-DCEF-48EC-0AAA295C0AF6}" dt="2023-07-31T15:17:39.066" v="157" actId="20577"/>
          <ac:spMkLst>
            <pc:docMk/>
            <pc:sldMk cId="946023888" sldId="2147479621"/>
            <ac:spMk id="13" creationId="{E748F713-E74C-59FC-9CFF-3BCC4E83C7CF}"/>
          </ac:spMkLst>
        </pc:spChg>
        <pc:picChg chg="mod">
          <ac:chgData name="Ahmed Helmy" userId="S::ahmed.helmy@ie.ey.com::00ab2dc9-190a-451b-8f35-a658adf790b2" providerId="AD" clId="Web-{354B7812-C152-DCEF-48EC-0AAA295C0AF6}" dt="2023-07-31T15:14:53.684" v="138" actId="1076"/>
          <ac:picMkLst>
            <pc:docMk/>
            <pc:sldMk cId="946023888" sldId="2147479621"/>
            <ac:picMk id="5" creationId="{39EB1CE7-D4D0-3F20-25EC-4498051AEAED}"/>
          </ac:picMkLst>
        </pc:picChg>
        <pc:picChg chg="mod">
          <ac:chgData name="Ahmed Helmy" userId="S::ahmed.helmy@ie.ey.com::00ab2dc9-190a-451b-8f35-a658adf790b2" providerId="AD" clId="Web-{354B7812-C152-DCEF-48EC-0AAA295C0AF6}" dt="2023-07-31T15:17:56.363" v="159" actId="1076"/>
          <ac:picMkLst>
            <pc:docMk/>
            <pc:sldMk cId="946023888" sldId="2147479621"/>
            <ac:picMk id="11" creationId="{C4D40C43-4B75-6C94-52AB-F6770A07F9D5}"/>
          </ac:picMkLst>
        </pc:picChg>
      </pc:sldChg>
    </pc:docChg>
  </pc:docChgLst>
  <pc:docChgLst>
    <pc:chgData name="Ahmed Helmy" userId="S::ahmed.helmy@ie.ey.com::00ab2dc9-190a-451b-8f35-a658adf790b2" providerId="AD" clId="Web-{0AD93A83-35ED-CB09-E8A3-24A7DEF4BDB0}"/>
    <pc:docChg chg="modSld">
      <pc:chgData name="Ahmed Helmy" userId="S::ahmed.helmy@ie.ey.com::00ab2dc9-190a-451b-8f35-a658adf790b2" providerId="AD" clId="Web-{0AD93A83-35ED-CB09-E8A3-24A7DEF4BDB0}" dt="2023-07-25T16:59:48.858" v="891" actId="1076"/>
      <pc:docMkLst>
        <pc:docMk/>
      </pc:docMkLst>
      <pc:sldChg chg="addSp delSp modSp">
        <pc:chgData name="Ahmed Helmy" userId="S::ahmed.helmy@ie.ey.com::00ab2dc9-190a-451b-8f35-a658adf790b2" providerId="AD" clId="Web-{0AD93A83-35ED-CB09-E8A3-24A7DEF4BDB0}" dt="2023-07-25T16:59:48.858" v="891" actId="1076"/>
        <pc:sldMkLst>
          <pc:docMk/>
          <pc:sldMk cId="946023888" sldId="2147479621"/>
        </pc:sldMkLst>
        <pc:spChg chg="mod">
          <ac:chgData name="Ahmed Helmy" userId="S::ahmed.helmy@ie.ey.com::00ab2dc9-190a-451b-8f35-a658adf790b2" providerId="AD" clId="Web-{0AD93A83-35ED-CB09-E8A3-24A7DEF4BDB0}" dt="2023-07-25T15:29:09.391" v="182" actId="20577"/>
          <ac:spMkLst>
            <pc:docMk/>
            <pc:sldMk cId="946023888" sldId="2147479621"/>
            <ac:spMk id="3" creationId="{CFB267DA-7178-6B10-B032-0214E0933B7B}"/>
          </ac:spMkLst>
        </pc:spChg>
        <pc:spChg chg="mod">
          <ac:chgData name="Ahmed Helmy" userId="S::ahmed.helmy@ie.ey.com::00ab2dc9-190a-451b-8f35-a658adf790b2" providerId="AD" clId="Web-{0AD93A83-35ED-CB09-E8A3-24A7DEF4BDB0}" dt="2023-07-25T16:59:48.858" v="891" actId="1076"/>
          <ac:spMkLst>
            <pc:docMk/>
            <pc:sldMk cId="946023888" sldId="2147479621"/>
            <ac:spMk id="6" creationId="{E2571F8B-AD2A-D600-602E-DB30E505AC01}"/>
          </ac:spMkLst>
        </pc:spChg>
        <pc:spChg chg="add mod">
          <ac:chgData name="Ahmed Helmy" userId="S::ahmed.helmy@ie.ey.com::00ab2dc9-190a-451b-8f35-a658adf790b2" providerId="AD" clId="Web-{0AD93A83-35ED-CB09-E8A3-24A7DEF4BDB0}" dt="2023-07-25T16:59:43.624" v="889" actId="1076"/>
          <ac:spMkLst>
            <pc:docMk/>
            <pc:sldMk cId="946023888" sldId="2147479621"/>
            <ac:spMk id="13" creationId="{E748F713-E74C-59FC-9CFF-3BCC4E83C7CF}"/>
          </ac:spMkLst>
        </pc:spChg>
        <pc:picChg chg="add del mod">
          <ac:chgData name="Ahmed Helmy" userId="S::ahmed.helmy@ie.ey.com::00ab2dc9-190a-451b-8f35-a658adf790b2" providerId="AD" clId="Web-{0AD93A83-35ED-CB09-E8A3-24A7DEF4BDB0}" dt="2023-07-25T15:31:25.380" v="189"/>
          <ac:picMkLst>
            <pc:docMk/>
            <pc:sldMk cId="946023888" sldId="2147479621"/>
            <ac:picMk id="7" creationId="{9BDA045C-7539-A697-232C-1DDE44F6A312}"/>
          </ac:picMkLst>
        </pc:picChg>
        <pc:picChg chg="add del mod">
          <ac:chgData name="Ahmed Helmy" userId="S::ahmed.helmy@ie.ey.com::00ab2dc9-190a-451b-8f35-a658adf790b2" providerId="AD" clId="Web-{0AD93A83-35ED-CB09-E8A3-24A7DEF4BDB0}" dt="2023-07-25T15:57:58.522" v="257"/>
          <ac:picMkLst>
            <pc:docMk/>
            <pc:sldMk cId="946023888" sldId="2147479621"/>
            <ac:picMk id="7" creationId="{B023364F-36EE-88AC-CFAF-DDE24E1934DB}"/>
          </ac:picMkLst>
        </pc:picChg>
        <pc:picChg chg="add del mod">
          <ac:chgData name="Ahmed Helmy" userId="S::ahmed.helmy@ie.ey.com::00ab2dc9-190a-451b-8f35-a658adf790b2" providerId="AD" clId="Web-{0AD93A83-35ED-CB09-E8A3-24A7DEF4BDB0}" dt="2023-07-25T15:59:51.104" v="265"/>
          <ac:picMkLst>
            <pc:docMk/>
            <pc:sldMk cId="946023888" sldId="2147479621"/>
            <ac:picMk id="9" creationId="{A3D3401D-74B4-ED8C-652B-572D4B755E69}"/>
          </ac:picMkLst>
        </pc:picChg>
        <pc:picChg chg="add del mod">
          <ac:chgData name="Ahmed Helmy" userId="S::ahmed.helmy@ie.ey.com::00ab2dc9-190a-451b-8f35-a658adf790b2" providerId="AD" clId="Web-{0AD93A83-35ED-CB09-E8A3-24A7DEF4BDB0}" dt="2023-07-25T16:06:12.632" v="282"/>
          <ac:picMkLst>
            <pc:docMk/>
            <pc:sldMk cId="946023888" sldId="2147479621"/>
            <ac:picMk id="10" creationId="{B3CD8B11-F51A-6322-0CA6-C02479D41D2D}"/>
          </ac:picMkLst>
        </pc:picChg>
        <pc:picChg chg="add mod">
          <ac:chgData name="Ahmed Helmy" userId="S::ahmed.helmy@ie.ey.com::00ab2dc9-190a-451b-8f35-a658adf790b2" providerId="AD" clId="Web-{0AD93A83-35ED-CB09-E8A3-24A7DEF4BDB0}" dt="2023-07-25T16:11:07.063" v="335" actId="14100"/>
          <ac:picMkLst>
            <pc:docMk/>
            <pc:sldMk cId="946023888" sldId="2147479621"/>
            <ac:picMk id="11" creationId="{C4D40C43-4B75-6C94-52AB-F6770A07F9D5}"/>
          </ac:picMkLst>
        </pc:picChg>
        <pc:picChg chg="add del mod">
          <ac:chgData name="Ahmed Helmy" userId="S::ahmed.helmy@ie.ey.com::00ab2dc9-190a-451b-8f35-a658adf790b2" providerId="AD" clId="Web-{0AD93A83-35ED-CB09-E8A3-24A7DEF4BDB0}" dt="2023-07-25T16:07:19.540" v="303"/>
          <ac:picMkLst>
            <pc:docMk/>
            <pc:sldMk cId="946023888" sldId="2147479621"/>
            <ac:picMk id="12" creationId="{F75668B3-2401-08A5-AB70-ABCB290A2572}"/>
          </ac:picMkLst>
        </pc:picChg>
      </pc:sldChg>
    </pc:docChg>
  </pc:docChgLst>
  <pc:docChgLst>
    <pc:chgData name="Andre Pereira" userId="74b00e37-b10e-438f-b76f-cc778a15f235" providerId="ADAL" clId="{1A4FE416-BE1D-4301-A39C-669E7436231B}"/>
    <pc:docChg chg="undo custSel addSld delSld modSld sldOrd modSection">
      <pc:chgData name="Andre Pereira" userId="74b00e37-b10e-438f-b76f-cc778a15f235" providerId="ADAL" clId="{1A4FE416-BE1D-4301-A39C-669E7436231B}" dt="2023-08-01T10:39:15.491" v="1191" actId="20577"/>
      <pc:docMkLst>
        <pc:docMk/>
      </pc:docMkLst>
      <pc:sldChg chg="modSp mod">
        <pc:chgData name="Andre Pereira" userId="74b00e37-b10e-438f-b76f-cc778a15f235" providerId="ADAL" clId="{1A4FE416-BE1D-4301-A39C-669E7436231B}" dt="2023-07-25T10:05:50.395" v="87" actId="20577"/>
        <pc:sldMkLst>
          <pc:docMk/>
          <pc:sldMk cId="2343093282" sldId="2142535231"/>
        </pc:sldMkLst>
        <pc:spChg chg="mod">
          <ac:chgData name="Andre Pereira" userId="74b00e37-b10e-438f-b76f-cc778a15f235" providerId="ADAL" clId="{1A4FE416-BE1D-4301-A39C-669E7436231B}" dt="2023-07-25T10:05:50.395" v="87" actId="20577"/>
          <ac:spMkLst>
            <pc:docMk/>
            <pc:sldMk cId="2343093282" sldId="2142535231"/>
            <ac:spMk id="42" creationId="{33342C3C-E577-4D3F-AACC-6DE72D6DBD0F}"/>
          </ac:spMkLst>
        </pc:spChg>
      </pc:sldChg>
      <pc:sldChg chg="modSp mod">
        <pc:chgData name="Andre Pereira" userId="74b00e37-b10e-438f-b76f-cc778a15f235" providerId="ADAL" clId="{1A4FE416-BE1D-4301-A39C-669E7436231B}" dt="2023-07-25T10:05:19.642" v="69" actId="20577"/>
        <pc:sldMkLst>
          <pc:docMk/>
          <pc:sldMk cId="932388999" sldId="2142535252"/>
        </pc:sldMkLst>
        <pc:spChg chg="mod">
          <ac:chgData name="Andre Pereira" userId="74b00e37-b10e-438f-b76f-cc778a15f235" providerId="ADAL" clId="{1A4FE416-BE1D-4301-A39C-669E7436231B}" dt="2023-07-25T10:05:19.642" v="69" actId="20577"/>
          <ac:spMkLst>
            <pc:docMk/>
            <pc:sldMk cId="932388999" sldId="2142535252"/>
            <ac:spMk id="3" creationId="{344904A7-DCF3-485F-99B8-3977E039158D}"/>
          </ac:spMkLst>
        </pc:spChg>
      </pc:sldChg>
      <pc:sldChg chg="add del">
        <pc:chgData name="Andre Pereira" userId="74b00e37-b10e-438f-b76f-cc778a15f235" providerId="ADAL" clId="{1A4FE416-BE1D-4301-A39C-669E7436231B}" dt="2023-07-27T15:59:43.959" v="983"/>
        <pc:sldMkLst>
          <pc:docMk/>
          <pc:sldMk cId="1691223875" sldId="2147473170"/>
        </pc:sldMkLst>
      </pc:sldChg>
      <pc:sldChg chg="addSp delSp modSp mod">
        <pc:chgData name="Andre Pereira" userId="74b00e37-b10e-438f-b76f-cc778a15f235" providerId="ADAL" clId="{1A4FE416-BE1D-4301-A39C-669E7436231B}" dt="2023-07-27T15:27:47.111" v="979" actId="1036"/>
        <pc:sldMkLst>
          <pc:docMk/>
          <pc:sldMk cId="1445273778" sldId="2147479553"/>
        </pc:sldMkLst>
        <pc:spChg chg="mod">
          <ac:chgData name="Andre Pereira" userId="74b00e37-b10e-438f-b76f-cc778a15f235" providerId="ADAL" clId="{1A4FE416-BE1D-4301-A39C-669E7436231B}" dt="2023-07-27T15:06:48.225" v="456" actId="1076"/>
          <ac:spMkLst>
            <pc:docMk/>
            <pc:sldMk cId="1445273778" sldId="2147479553"/>
            <ac:spMk id="8" creationId="{7824D54C-15D2-467C-A016-166944D0781C}"/>
          </ac:spMkLst>
        </pc:spChg>
        <pc:spChg chg="mod">
          <ac:chgData name="Andre Pereira" userId="74b00e37-b10e-438f-b76f-cc778a15f235" providerId="ADAL" clId="{1A4FE416-BE1D-4301-A39C-669E7436231B}" dt="2023-07-27T15:27:47.111" v="979" actId="1036"/>
          <ac:spMkLst>
            <pc:docMk/>
            <pc:sldMk cId="1445273778" sldId="2147479553"/>
            <ac:spMk id="23" creationId="{A9887EBC-10C5-4002-9DD4-5F914E2E2300}"/>
          </ac:spMkLst>
        </pc:spChg>
        <pc:spChg chg="mod">
          <ac:chgData name="Andre Pereira" userId="74b00e37-b10e-438f-b76f-cc778a15f235" providerId="ADAL" clId="{1A4FE416-BE1D-4301-A39C-669E7436231B}" dt="2023-07-27T15:27:47.111" v="979" actId="1036"/>
          <ac:spMkLst>
            <pc:docMk/>
            <pc:sldMk cId="1445273778" sldId="2147479553"/>
            <ac:spMk id="24" creationId="{A14AC15F-BA7E-43D3-8970-E9C46D51E09D}"/>
          </ac:spMkLst>
        </pc:spChg>
        <pc:spChg chg="del">
          <ac:chgData name="Andre Pereira" userId="74b00e37-b10e-438f-b76f-cc778a15f235" providerId="ADAL" clId="{1A4FE416-BE1D-4301-A39C-669E7436231B}" dt="2023-07-27T15:07:01.572" v="457" actId="478"/>
          <ac:spMkLst>
            <pc:docMk/>
            <pc:sldMk cId="1445273778" sldId="2147479553"/>
            <ac:spMk id="25" creationId="{F1B097F8-720C-4C41-B66A-D1BB7754A6BD}"/>
          </ac:spMkLst>
        </pc:spChg>
        <pc:spChg chg="del">
          <ac:chgData name="Andre Pereira" userId="74b00e37-b10e-438f-b76f-cc778a15f235" providerId="ADAL" clId="{1A4FE416-BE1D-4301-A39C-669E7436231B}" dt="2023-07-27T14:57:59.578" v="300" actId="478"/>
          <ac:spMkLst>
            <pc:docMk/>
            <pc:sldMk cId="1445273778" sldId="2147479553"/>
            <ac:spMk id="26" creationId="{BBB404C7-DB5F-4277-A311-AF9D887457B7}"/>
          </ac:spMkLst>
        </pc:spChg>
        <pc:spChg chg="del">
          <ac:chgData name="Andre Pereira" userId="74b00e37-b10e-438f-b76f-cc778a15f235" providerId="ADAL" clId="{1A4FE416-BE1D-4301-A39C-669E7436231B}" dt="2023-07-27T14:57:59.578" v="300" actId="478"/>
          <ac:spMkLst>
            <pc:docMk/>
            <pc:sldMk cId="1445273778" sldId="2147479553"/>
            <ac:spMk id="27" creationId="{22C9564B-CDD0-4E21-8819-226812DC7B06}"/>
          </ac:spMkLst>
        </pc:spChg>
        <pc:spChg chg="del mod">
          <ac:chgData name="Andre Pereira" userId="74b00e37-b10e-438f-b76f-cc778a15f235" providerId="ADAL" clId="{1A4FE416-BE1D-4301-A39C-669E7436231B}" dt="2023-07-27T15:07:01.572" v="457" actId="478"/>
          <ac:spMkLst>
            <pc:docMk/>
            <pc:sldMk cId="1445273778" sldId="2147479553"/>
            <ac:spMk id="28" creationId="{04B15EE4-5491-4FC7-B703-667811B37AFA}"/>
          </ac:spMkLst>
        </pc:spChg>
        <pc:spChg chg="add mod">
          <ac:chgData name="Andre Pereira" userId="74b00e37-b10e-438f-b76f-cc778a15f235" providerId="ADAL" clId="{1A4FE416-BE1D-4301-A39C-669E7436231B}" dt="2023-07-27T15:27:47.111" v="979" actId="1036"/>
          <ac:spMkLst>
            <pc:docMk/>
            <pc:sldMk cId="1445273778" sldId="2147479553"/>
            <ac:spMk id="29" creationId="{1090DEB8-8565-41FD-9C14-545491B72F47}"/>
          </ac:spMkLst>
        </pc:spChg>
        <pc:spChg chg="add mod">
          <ac:chgData name="Andre Pereira" userId="74b00e37-b10e-438f-b76f-cc778a15f235" providerId="ADAL" clId="{1A4FE416-BE1D-4301-A39C-669E7436231B}" dt="2023-07-27T15:27:47.111" v="979" actId="1036"/>
          <ac:spMkLst>
            <pc:docMk/>
            <pc:sldMk cId="1445273778" sldId="2147479553"/>
            <ac:spMk id="30" creationId="{B8B17719-DD78-4D94-9FFD-F3C01FF652CB}"/>
          </ac:spMkLst>
        </pc:spChg>
        <pc:spChg chg="del">
          <ac:chgData name="Andre Pereira" userId="74b00e37-b10e-438f-b76f-cc778a15f235" providerId="ADAL" clId="{1A4FE416-BE1D-4301-A39C-669E7436231B}" dt="2023-07-27T15:07:01.572" v="457" actId="478"/>
          <ac:spMkLst>
            <pc:docMk/>
            <pc:sldMk cId="1445273778" sldId="2147479553"/>
            <ac:spMk id="31" creationId="{DA8F839A-5097-4E8E-8016-1FAB3A36BEDA}"/>
          </ac:spMkLst>
        </pc:spChg>
        <pc:spChg chg="mod">
          <ac:chgData name="Andre Pereira" userId="74b00e37-b10e-438f-b76f-cc778a15f235" providerId="ADAL" clId="{1A4FE416-BE1D-4301-A39C-669E7436231B}" dt="2023-07-27T15:27:47.111" v="979" actId="1036"/>
          <ac:spMkLst>
            <pc:docMk/>
            <pc:sldMk cId="1445273778" sldId="2147479553"/>
            <ac:spMk id="32" creationId="{A7E45D3A-3FD2-4D37-BED5-750E0B8E333C}"/>
          </ac:spMkLst>
        </pc:spChg>
        <pc:spChg chg="mod">
          <ac:chgData name="Andre Pereira" userId="74b00e37-b10e-438f-b76f-cc778a15f235" providerId="ADAL" clId="{1A4FE416-BE1D-4301-A39C-669E7436231B}" dt="2023-07-27T15:27:47.111" v="979" actId="1036"/>
          <ac:spMkLst>
            <pc:docMk/>
            <pc:sldMk cId="1445273778" sldId="2147479553"/>
            <ac:spMk id="33" creationId="{6C4330BF-A589-4958-A824-03762CB8E860}"/>
          </ac:spMkLst>
        </pc:spChg>
        <pc:spChg chg="del">
          <ac:chgData name="Andre Pereira" userId="74b00e37-b10e-438f-b76f-cc778a15f235" providerId="ADAL" clId="{1A4FE416-BE1D-4301-A39C-669E7436231B}" dt="2023-07-27T15:07:01.572" v="457" actId="478"/>
          <ac:spMkLst>
            <pc:docMk/>
            <pc:sldMk cId="1445273778" sldId="2147479553"/>
            <ac:spMk id="34" creationId="{2A72C1DB-87D8-44F9-827C-3F5A08B55393}"/>
          </ac:spMkLst>
        </pc:spChg>
        <pc:spChg chg="del">
          <ac:chgData name="Andre Pereira" userId="74b00e37-b10e-438f-b76f-cc778a15f235" providerId="ADAL" clId="{1A4FE416-BE1D-4301-A39C-669E7436231B}" dt="2023-07-27T14:57:59.578" v="300" actId="478"/>
          <ac:spMkLst>
            <pc:docMk/>
            <pc:sldMk cId="1445273778" sldId="2147479553"/>
            <ac:spMk id="35" creationId="{400FB52E-56AB-40DF-9D86-642D006E331E}"/>
          </ac:spMkLst>
        </pc:spChg>
        <pc:spChg chg="add mod">
          <ac:chgData name="Andre Pereira" userId="74b00e37-b10e-438f-b76f-cc778a15f235" providerId="ADAL" clId="{1A4FE416-BE1D-4301-A39C-669E7436231B}" dt="2023-07-27T15:27:47.111" v="979" actId="1036"/>
          <ac:spMkLst>
            <pc:docMk/>
            <pc:sldMk cId="1445273778" sldId="2147479553"/>
            <ac:spMk id="36" creationId="{136A894F-08FD-407C-8CFF-2D7329FDCCB1}"/>
          </ac:spMkLst>
        </pc:spChg>
        <pc:spChg chg="add mod">
          <ac:chgData name="Andre Pereira" userId="74b00e37-b10e-438f-b76f-cc778a15f235" providerId="ADAL" clId="{1A4FE416-BE1D-4301-A39C-669E7436231B}" dt="2023-07-27T15:27:47.111" v="979" actId="1036"/>
          <ac:spMkLst>
            <pc:docMk/>
            <pc:sldMk cId="1445273778" sldId="2147479553"/>
            <ac:spMk id="37" creationId="{510519A2-F8B6-4E56-A0C5-C99899FD340B}"/>
          </ac:spMkLst>
        </pc:spChg>
        <pc:spChg chg="add mod">
          <ac:chgData name="Andre Pereira" userId="74b00e37-b10e-438f-b76f-cc778a15f235" providerId="ADAL" clId="{1A4FE416-BE1D-4301-A39C-669E7436231B}" dt="2023-07-27T15:27:47.111" v="979" actId="1036"/>
          <ac:spMkLst>
            <pc:docMk/>
            <pc:sldMk cId="1445273778" sldId="2147479553"/>
            <ac:spMk id="38" creationId="{E49C93C2-E762-46EC-BED4-46A521F6D5A6}"/>
          </ac:spMkLst>
        </pc:spChg>
        <pc:spChg chg="del">
          <ac:chgData name="Andre Pereira" userId="74b00e37-b10e-438f-b76f-cc778a15f235" providerId="ADAL" clId="{1A4FE416-BE1D-4301-A39C-669E7436231B}" dt="2023-07-27T14:57:59.578" v="300" actId="478"/>
          <ac:spMkLst>
            <pc:docMk/>
            <pc:sldMk cId="1445273778" sldId="2147479553"/>
            <ac:spMk id="39" creationId="{648E35EF-2F0F-45D6-8BD6-FAADB431FA82}"/>
          </ac:spMkLst>
        </pc:spChg>
        <pc:spChg chg="add mod">
          <ac:chgData name="Andre Pereira" userId="74b00e37-b10e-438f-b76f-cc778a15f235" providerId="ADAL" clId="{1A4FE416-BE1D-4301-A39C-669E7436231B}" dt="2023-07-27T15:27:47.111" v="979" actId="1036"/>
          <ac:spMkLst>
            <pc:docMk/>
            <pc:sldMk cId="1445273778" sldId="2147479553"/>
            <ac:spMk id="40" creationId="{D16CF8F4-6F4D-44CC-AE62-8DDE644394D5}"/>
          </ac:spMkLst>
        </pc:spChg>
        <pc:spChg chg="mod">
          <ac:chgData name="Andre Pereira" userId="74b00e37-b10e-438f-b76f-cc778a15f235" providerId="ADAL" clId="{1A4FE416-BE1D-4301-A39C-669E7436231B}" dt="2023-07-27T15:27:47.111" v="979" actId="1036"/>
          <ac:spMkLst>
            <pc:docMk/>
            <pc:sldMk cId="1445273778" sldId="2147479553"/>
            <ac:spMk id="41" creationId="{987EF1B3-418D-4C37-97BD-51B2339F010C}"/>
          </ac:spMkLst>
        </pc:spChg>
        <pc:spChg chg="mod">
          <ac:chgData name="Andre Pereira" userId="74b00e37-b10e-438f-b76f-cc778a15f235" providerId="ADAL" clId="{1A4FE416-BE1D-4301-A39C-669E7436231B}" dt="2023-07-27T15:27:47.111" v="979" actId="1036"/>
          <ac:spMkLst>
            <pc:docMk/>
            <pc:sldMk cId="1445273778" sldId="2147479553"/>
            <ac:spMk id="42" creationId="{D8436C69-2130-4FF2-942B-0080FC6E51B8}"/>
          </ac:spMkLst>
        </pc:spChg>
        <pc:spChg chg="add mod">
          <ac:chgData name="Andre Pereira" userId="74b00e37-b10e-438f-b76f-cc778a15f235" providerId="ADAL" clId="{1A4FE416-BE1D-4301-A39C-669E7436231B}" dt="2023-07-27T15:27:47.111" v="979" actId="1036"/>
          <ac:spMkLst>
            <pc:docMk/>
            <pc:sldMk cId="1445273778" sldId="2147479553"/>
            <ac:spMk id="43" creationId="{5C0F6DC9-8594-4727-A402-CF444F0118F2}"/>
          </ac:spMkLst>
        </pc:spChg>
        <pc:spChg chg="add mod">
          <ac:chgData name="Andre Pereira" userId="74b00e37-b10e-438f-b76f-cc778a15f235" providerId="ADAL" clId="{1A4FE416-BE1D-4301-A39C-669E7436231B}" dt="2023-07-27T15:27:47.111" v="979" actId="1036"/>
          <ac:spMkLst>
            <pc:docMk/>
            <pc:sldMk cId="1445273778" sldId="2147479553"/>
            <ac:spMk id="44" creationId="{C2ACF22B-5A56-468F-855A-AE6E5C4988E4}"/>
          </ac:spMkLst>
        </pc:spChg>
        <pc:spChg chg="add mod">
          <ac:chgData name="Andre Pereira" userId="74b00e37-b10e-438f-b76f-cc778a15f235" providerId="ADAL" clId="{1A4FE416-BE1D-4301-A39C-669E7436231B}" dt="2023-07-27T15:27:47.111" v="979" actId="1036"/>
          <ac:spMkLst>
            <pc:docMk/>
            <pc:sldMk cId="1445273778" sldId="2147479553"/>
            <ac:spMk id="45" creationId="{24B69343-A08B-416D-B965-66E561D1CFC5}"/>
          </ac:spMkLst>
        </pc:spChg>
        <pc:spChg chg="del">
          <ac:chgData name="Andre Pereira" userId="74b00e37-b10e-438f-b76f-cc778a15f235" providerId="ADAL" clId="{1A4FE416-BE1D-4301-A39C-669E7436231B}" dt="2023-07-27T15:07:01.572" v="457" actId="478"/>
          <ac:spMkLst>
            <pc:docMk/>
            <pc:sldMk cId="1445273778" sldId="2147479553"/>
            <ac:spMk id="46" creationId="{3934BF05-652B-4D27-8273-AEBA25F56641}"/>
          </ac:spMkLst>
        </pc:spChg>
        <pc:spChg chg="mod">
          <ac:chgData name="Andre Pereira" userId="74b00e37-b10e-438f-b76f-cc778a15f235" providerId="ADAL" clId="{1A4FE416-BE1D-4301-A39C-669E7436231B}" dt="2023-07-27T15:27:47.111" v="979" actId="1036"/>
          <ac:spMkLst>
            <pc:docMk/>
            <pc:sldMk cId="1445273778" sldId="2147479553"/>
            <ac:spMk id="47" creationId="{D91830E2-A04A-450E-B503-556C2EA6066A}"/>
          </ac:spMkLst>
        </pc:spChg>
        <pc:spChg chg="mod">
          <ac:chgData name="Andre Pereira" userId="74b00e37-b10e-438f-b76f-cc778a15f235" providerId="ADAL" clId="{1A4FE416-BE1D-4301-A39C-669E7436231B}" dt="2023-07-27T15:27:47.111" v="979" actId="1036"/>
          <ac:spMkLst>
            <pc:docMk/>
            <pc:sldMk cId="1445273778" sldId="2147479553"/>
            <ac:spMk id="48" creationId="{044196F3-5B76-4A57-BE5E-1AEF9EA52041}"/>
          </ac:spMkLst>
        </pc:spChg>
        <pc:spChg chg="del">
          <ac:chgData name="Andre Pereira" userId="74b00e37-b10e-438f-b76f-cc778a15f235" providerId="ADAL" clId="{1A4FE416-BE1D-4301-A39C-669E7436231B}" dt="2023-07-27T15:07:01.572" v="457" actId="478"/>
          <ac:spMkLst>
            <pc:docMk/>
            <pc:sldMk cId="1445273778" sldId="2147479553"/>
            <ac:spMk id="49" creationId="{8BCAB0F7-B589-434E-99BD-AE0FF1D265EA}"/>
          </ac:spMkLst>
        </pc:spChg>
        <pc:spChg chg="mod">
          <ac:chgData name="Andre Pereira" userId="74b00e37-b10e-438f-b76f-cc778a15f235" providerId="ADAL" clId="{1A4FE416-BE1D-4301-A39C-669E7436231B}" dt="2023-07-27T15:27:47.111" v="979" actId="1036"/>
          <ac:spMkLst>
            <pc:docMk/>
            <pc:sldMk cId="1445273778" sldId="2147479553"/>
            <ac:spMk id="50" creationId="{EA96CE0F-4324-4948-9BD3-167D39665C29}"/>
          </ac:spMkLst>
        </pc:spChg>
        <pc:spChg chg="mod">
          <ac:chgData name="Andre Pereira" userId="74b00e37-b10e-438f-b76f-cc778a15f235" providerId="ADAL" clId="{1A4FE416-BE1D-4301-A39C-669E7436231B}" dt="2023-07-27T15:27:47.111" v="979" actId="1036"/>
          <ac:spMkLst>
            <pc:docMk/>
            <pc:sldMk cId="1445273778" sldId="2147479553"/>
            <ac:spMk id="51" creationId="{FA7A90AE-5190-43A3-BD61-B6337938FEA3}"/>
          </ac:spMkLst>
        </pc:spChg>
        <pc:spChg chg="del">
          <ac:chgData name="Andre Pereira" userId="74b00e37-b10e-438f-b76f-cc778a15f235" providerId="ADAL" clId="{1A4FE416-BE1D-4301-A39C-669E7436231B}" dt="2023-07-27T15:07:01.572" v="457" actId="478"/>
          <ac:spMkLst>
            <pc:docMk/>
            <pc:sldMk cId="1445273778" sldId="2147479553"/>
            <ac:spMk id="52" creationId="{55A0DCED-8761-40CF-BED6-A75DAE915382}"/>
          </ac:spMkLst>
        </pc:spChg>
        <pc:spChg chg="del mod">
          <ac:chgData name="Andre Pereira" userId="74b00e37-b10e-438f-b76f-cc778a15f235" providerId="ADAL" clId="{1A4FE416-BE1D-4301-A39C-669E7436231B}" dt="2023-07-27T15:07:01.572" v="457" actId="478"/>
          <ac:spMkLst>
            <pc:docMk/>
            <pc:sldMk cId="1445273778" sldId="2147479553"/>
            <ac:spMk id="53" creationId="{50E53C33-7711-4B31-8596-76372CAEFB6B}"/>
          </ac:spMkLst>
        </pc:spChg>
        <pc:spChg chg="mod">
          <ac:chgData name="Andre Pereira" userId="74b00e37-b10e-438f-b76f-cc778a15f235" providerId="ADAL" clId="{1A4FE416-BE1D-4301-A39C-669E7436231B}" dt="2023-07-27T15:27:47.111" v="979" actId="1036"/>
          <ac:spMkLst>
            <pc:docMk/>
            <pc:sldMk cId="1445273778" sldId="2147479553"/>
            <ac:spMk id="54" creationId="{F529249F-E18C-4824-BD48-F930277D6667}"/>
          </ac:spMkLst>
        </pc:spChg>
        <pc:spChg chg="mod">
          <ac:chgData name="Andre Pereira" userId="74b00e37-b10e-438f-b76f-cc778a15f235" providerId="ADAL" clId="{1A4FE416-BE1D-4301-A39C-669E7436231B}" dt="2023-07-27T15:27:47.111" v="979" actId="1036"/>
          <ac:spMkLst>
            <pc:docMk/>
            <pc:sldMk cId="1445273778" sldId="2147479553"/>
            <ac:spMk id="55" creationId="{0864B2C0-60B2-49EF-B27B-9876BD8E1733}"/>
          </ac:spMkLst>
        </pc:spChg>
        <pc:spChg chg="add mod">
          <ac:chgData name="Andre Pereira" userId="74b00e37-b10e-438f-b76f-cc778a15f235" providerId="ADAL" clId="{1A4FE416-BE1D-4301-A39C-669E7436231B}" dt="2023-07-27T15:27:47.111" v="979" actId="1036"/>
          <ac:spMkLst>
            <pc:docMk/>
            <pc:sldMk cId="1445273778" sldId="2147479553"/>
            <ac:spMk id="56" creationId="{810CA59E-2EF8-4F6C-8B94-00154F266C56}"/>
          </ac:spMkLst>
        </pc:spChg>
        <pc:spChg chg="add mod">
          <ac:chgData name="Andre Pereira" userId="74b00e37-b10e-438f-b76f-cc778a15f235" providerId="ADAL" clId="{1A4FE416-BE1D-4301-A39C-669E7436231B}" dt="2023-07-27T15:27:47.111" v="979" actId="1036"/>
          <ac:spMkLst>
            <pc:docMk/>
            <pc:sldMk cId="1445273778" sldId="2147479553"/>
            <ac:spMk id="57" creationId="{7376DE5E-EEB3-4D94-BB15-A5B94E80704F}"/>
          </ac:spMkLst>
        </pc:spChg>
        <pc:spChg chg="add mod">
          <ac:chgData name="Andre Pereira" userId="74b00e37-b10e-438f-b76f-cc778a15f235" providerId="ADAL" clId="{1A4FE416-BE1D-4301-A39C-669E7436231B}" dt="2023-07-27T15:27:47.111" v="979" actId="1036"/>
          <ac:spMkLst>
            <pc:docMk/>
            <pc:sldMk cId="1445273778" sldId="2147479553"/>
            <ac:spMk id="58" creationId="{BF80A93B-1A72-4237-ABD7-B8D97AFBDB1D}"/>
          </ac:spMkLst>
        </pc:spChg>
        <pc:spChg chg="add mod">
          <ac:chgData name="Andre Pereira" userId="74b00e37-b10e-438f-b76f-cc778a15f235" providerId="ADAL" clId="{1A4FE416-BE1D-4301-A39C-669E7436231B}" dt="2023-07-27T15:10:43.296" v="633"/>
          <ac:spMkLst>
            <pc:docMk/>
            <pc:sldMk cId="1445273778" sldId="2147479553"/>
            <ac:spMk id="59" creationId="{44EEE582-B348-4370-858B-F9C507121804}"/>
          </ac:spMkLst>
        </pc:spChg>
        <pc:spChg chg="add mod">
          <ac:chgData name="Andre Pereira" userId="74b00e37-b10e-438f-b76f-cc778a15f235" providerId="ADAL" clId="{1A4FE416-BE1D-4301-A39C-669E7436231B}" dt="2023-07-27T15:27:47.111" v="979" actId="1036"/>
          <ac:spMkLst>
            <pc:docMk/>
            <pc:sldMk cId="1445273778" sldId="2147479553"/>
            <ac:spMk id="60" creationId="{6E36921E-CA21-4879-A684-A82EA46CCE56}"/>
          </ac:spMkLst>
        </pc:spChg>
        <pc:spChg chg="add mod">
          <ac:chgData name="Andre Pereira" userId="74b00e37-b10e-438f-b76f-cc778a15f235" providerId="ADAL" clId="{1A4FE416-BE1D-4301-A39C-669E7436231B}" dt="2023-07-27T15:27:32.150" v="975" actId="1036"/>
          <ac:spMkLst>
            <pc:docMk/>
            <pc:sldMk cId="1445273778" sldId="2147479553"/>
            <ac:spMk id="61" creationId="{05D940C3-869E-4A99-8605-F0FCD7B4745B}"/>
          </ac:spMkLst>
        </pc:spChg>
        <pc:picChg chg="del mod">
          <ac:chgData name="Andre Pereira" userId="74b00e37-b10e-438f-b76f-cc778a15f235" providerId="ADAL" clId="{1A4FE416-BE1D-4301-A39C-669E7436231B}" dt="2023-07-27T14:53:39.199" v="120" actId="478"/>
          <ac:picMkLst>
            <pc:docMk/>
            <pc:sldMk cId="1445273778" sldId="2147479553"/>
            <ac:picMk id="103" creationId="{8B9069AD-BA3C-8A72-3999-84475B72E502}"/>
          </ac:picMkLst>
        </pc:picChg>
      </pc:sldChg>
      <pc:sldChg chg="addSp delSp modSp add mod">
        <pc:chgData name="Andre Pereira" userId="74b00e37-b10e-438f-b76f-cc778a15f235" providerId="ADAL" clId="{1A4FE416-BE1D-4301-A39C-669E7436231B}" dt="2023-07-26T08:53:19.104" v="118"/>
        <pc:sldMkLst>
          <pc:docMk/>
          <pc:sldMk cId="1361792716" sldId="2147479632"/>
        </pc:sldMkLst>
        <pc:spChg chg="del">
          <ac:chgData name="Andre Pereira" userId="74b00e37-b10e-438f-b76f-cc778a15f235" providerId="ADAL" clId="{1A4FE416-BE1D-4301-A39C-669E7436231B}" dt="2023-07-26T08:47:20.434" v="113" actId="478"/>
          <ac:spMkLst>
            <pc:docMk/>
            <pc:sldMk cId="1361792716" sldId="2147479632"/>
            <ac:spMk id="3" creationId="{39ABD435-15FB-40A4-BA87-DE1432D0CB94}"/>
          </ac:spMkLst>
        </pc:spChg>
        <pc:spChg chg="mod">
          <ac:chgData name="Andre Pereira" userId="74b00e37-b10e-438f-b76f-cc778a15f235" providerId="ADAL" clId="{1A4FE416-BE1D-4301-A39C-669E7436231B}" dt="2023-07-26T08:46:52.209" v="105" actId="20577"/>
          <ac:spMkLst>
            <pc:docMk/>
            <pc:sldMk cId="1361792716" sldId="2147479632"/>
            <ac:spMk id="8" creationId="{7824D54C-15D2-467C-A016-166944D0781C}"/>
          </ac:spMkLst>
        </pc:spChg>
        <pc:spChg chg="del">
          <ac:chgData name="Andre Pereira" userId="74b00e37-b10e-438f-b76f-cc778a15f235" providerId="ADAL" clId="{1A4FE416-BE1D-4301-A39C-669E7436231B}" dt="2023-07-26T08:47:20.434" v="113" actId="478"/>
          <ac:spMkLst>
            <pc:docMk/>
            <pc:sldMk cId="1361792716" sldId="2147479632"/>
            <ac:spMk id="13" creationId="{048EA923-201C-4127-A92A-D71D55B16DD9}"/>
          </ac:spMkLst>
        </pc:spChg>
        <pc:spChg chg="del">
          <ac:chgData name="Andre Pereira" userId="74b00e37-b10e-438f-b76f-cc778a15f235" providerId="ADAL" clId="{1A4FE416-BE1D-4301-A39C-669E7436231B}" dt="2023-07-26T08:47:20.434" v="113" actId="478"/>
          <ac:spMkLst>
            <pc:docMk/>
            <pc:sldMk cId="1361792716" sldId="2147479632"/>
            <ac:spMk id="15" creationId="{2FC46DA3-6AC1-45FB-A9CF-08126F196F61}"/>
          </ac:spMkLst>
        </pc:spChg>
        <pc:spChg chg="mod">
          <ac:chgData name="Andre Pereira" userId="74b00e37-b10e-438f-b76f-cc778a15f235" providerId="ADAL" clId="{1A4FE416-BE1D-4301-A39C-669E7436231B}" dt="2023-07-26T08:53:19.104" v="118"/>
          <ac:spMkLst>
            <pc:docMk/>
            <pc:sldMk cId="1361792716" sldId="2147479632"/>
            <ac:spMk id="17" creationId="{8C9460DB-676C-4AF1-BB43-13950E17CBA7}"/>
          </ac:spMkLst>
        </pc:spChg>
        <pc:spChg chg="del">
          <ac:chgData name="Andre Pereira" userId="74b00e37-b10e-438f-b76f-cc778a15f235" providerId="ADAL" clId="{1A4FE416-BE1D-4301-A39C-669E7436231B}" dt="2023-07-26T08:47:20.434" v="113" actId="478"/>
          <ac:spMkLst>
            <pc:docMk/>
            <pc:sldMk cId="1361792716" sldId="2147479632"/>
            <ac:spMk id="22" creationId="{CA33DD07-C332-43FF-B1BE-BC81570F83D3}"/>
          </ac:spMkLst>
        </pc:spChg>
        <pc:picChg chg="add mod">
          <ac:chgData name="Andre Pereira" userId="74b00e37-b10e-438f-b76f-cc778a15f235" providerId="ADAL" clId="{1A4FE416-BE1D-4301-A39C-669E7436231B}" dt="2023-07-26T08:47:31.622" v="115" actId="208"/>
          <ac:picMkLst>
            <pc:docMk/>
            <pc:sldMk cId="1361792716" sldId="2147479632"/>
            <ac:picMk id="4" creationId="{1AA9E0EE-B671-4BAA-9478-C9937E34B4A7}"/>
          </ac:picMkLst>
        </pc:picChg>
        <pc:picChg chg="del">
          <ac:chgData name="Andre Pereira" userId="74b00e37-b10e-438f-b76f-cc778a15f235" providerId="ADAL" clId="{1A4FE416-BE1D-4301-A39C-669E7436231B}" dt="2023-07-26T08:46:55.741" v="106" actId="478"/>
          <ac:picMkLst>
            <pc:docMk/>
            <pc:sldMk cId="1361792716" sldId="2147479632"/>
            <ac:picMk id="16" creationId="{4757B2B1-4730-470F-B866-761B6AB490A8}"/>
          </ac:picMkLst>
        </pc:picChg>
        <pc:cxnChg chg="del">
          <ac:chgData name="Andre Pereira" userId="74b00e37-b10e-438f-b76f-cc778a15f235" providerId="ADAL" clId="{1A4FE416-BE1D-4301-A39C-669E7436231B}" dt="2023-07-26T08:47:20.434" v="113" actId="478"/>
          <ac:cxnSpMkLst>
            <pc:docMk/>
            <pc:sldMk cId="1361792716" sldId="2147479632"/>
            <ac:cxnSpMk id="12" creationId="{E69D93B9-FD47-4D2D-ACDA-EB43855A1E04}"/>
          </ac:cxnSpMkLst>
        </pc:cxnChg>
        <pc:cxnChg chg="del">
          <ac:chgData name="Andre Pereira" userId="74b00e37-b10e-438f-b76f-cc778a15f235" providerId="ADAL" clId="{1A4FE416-BE1D-4301-A39C-669E7436231B}" dt="2023-07-26T08:47:20.434" v="113" actId="478"/>
          <ac:cxnSpMkLst>
            <pc:docMk/>
            <pc:sldMk cId="1361792716" sldId="2147479632"/>
            <ac:cxnSpMk id="14" creationId="{E75D4A01-2AAB-40C3-B3D8-12C00E63778F}"/>
          </ac:cxnSpMkLst>
        </pc:cxnChg>
      </pc:sldChg>
      <pc:sldChg chg="new del">
        <pc:chgData name="Andre Pereira" userId="74b00e37-b10e-438f-b76f-cc778a15f235" providerId="ADAL" clId="{1A4FE416-BE1D-4301-A39C-669E7436231B}" dt="2023-07-27T16:12:34.663" v="988" actId="47"/>
        <pc:sldMkLst>
          <pc:docMk/>
          <pc:sldMk cId="2019833726" sldId="2147479648"/>
        </pc:sldMkLst>
      </pc:sldChg>
      <pc:sldChg chg="addSp delSp modSp add mod ord">
        <pc:chgData name="Andre Pereira" userId="74b00e37-b10e-438f-b76f-cc778a15f235" providerId="ADAL" clId="{1A4FE416-BE1D-4301-A39C-669E7436231B}" dt="2023-07-27T16:21:29.237" v="1141" actId="6549"/>
        <pc:sldMkLst>
          <pc:docMk/>
          <pc:sldMk cId="1412110567" sldId="2147479649"/>
        </pc:sldMkLst>
        <pc:spChg chg="mod">
          <ac:chgData name="Andre Pereira" userId="74b00e37-b10e-438f-b76f-cc778a15f235" providerId="ADAL" clId="{1A4FE416-BE1D-4301-A39C-669E7436231B}" dt="2023-07-27T16:13:03.619" v="997" actId="20577"/>
          <ac:spMkLst>
            <pc:docMk/>
            <pc:sldMk cId="1412110567" sldId="2147479649"/>
            <ac:spMk id="8" creationId="{7824D54C-15D2-467C-A016-166944D0781C}"/>
          </ac:spMkLst>
        </pc:spChg>
        <pc:spChg chg="mod">
          <ac:chgData name="Andre Pereira" userId="74b00e37-b10e-438f-b76f-cc778a15f235" providerId="ADAL" clId="{1A4FE416-BE1D-4301-A39C-669E7436231B}" dt="2023-07-27T16:21:29.237" v="1141" actId="6549"/>
          <ac:spMkLst>
            <pc:docMk/>
            <pc:sldMk cId="1412110567" sldId="2147479649"/>
            <ac:spMk id="17" creationId="{8C9460DB-676C-4AF1-BB43-13950E17CBA7}"/>
          </ac:spMkLst>
        </pc:spChg>
        <pc:picChg chg="del">
          <ac:chgData name="Andre Pereira" userId="74b00e37-b10e-438f-b76f-cc778a15f235" providerId="ADAL" clId="{1A4FE416-BE1D-4301-A39C-669E7436231B}" dt="2023-07-27T16:13:06.688" v="998" actId="478"/>
          <ac:picMkLst>
            <pc:docMk/>
            <pc:sldMk cId="1412110567" sldId="2147479649"/>
            <ac:picMk id="4" creationId="{1AA9E0EE-B671-4BAA-9478-C9937E34B4A7}"/>
          </ac:picMkLst>
        </pc:picChg>
        <pc:picChg chg="add mod">
          <ac:chgData name="Andre Pereira" userId="74b00e37-b10e-438f-b76f-cc778a15f235" providerId="ADAL" clId="{1A4FE416-BE1D-4301-A39C-669E7436231B}" dt="2023-07-27T16:20:00.735" v="1112" actId="1037"/>
          <ac:picMkLst>
            <pc:docMk/>
            <pc:sldMk cId="1412110567" sldId="2147479649"/>
            <ac:picMk id="5" creationId="{8848BE7F-3AEA-4077-B245-356AC85198A7}"/>
          </ac:picMkLst>
        </pc:picChg>
      </pc:sldChg>
      <pc:sldChg chg="addSp delSp modSp add mod ord">
        <pc:chgData name="Andre Pereira" userId="74b00e37-b10e-438f-b76f-cc778a15f235" providerId="ADAL" clId="{1A4FE416-BE1D-4301-A39C-669E7436231B}" dt="2023-07-27T17:23:53.739" v="1154" actId="1076"/>
        <pc:sldMkLst>
          <pc:docMk/>
          <pc:sldMk cId="3733227749" sldId="2147479650"/>
        </pc:sldMkLst>
        <pc:spChg chg="del">
          <ac:chgData name="Andre Pereira" userId="74b00e37-b10e-438f-b76f-cc778a15f235" providerId="ADAL" clId="{1A4FE416-BE1D-4301-A39C-669E7436231B}" dt="2023-07-27T17:08:14.737" v="1143" actId="478"/>
          <ac:spMkLst>
            <pc:docMk/>
            <pc:sldMk cId="3733227749" sldId="2147479650"/>
            <ac:spMk id="17" creationId="{8C9460DB-676C-4AF1-BB43-13950E17CBA7}"/>
          </ac:spMkLst>
        </pc:spChg>
        <pc:picChg chg="del">
          <ac:chgData name="Andre Pereira" userId="74b00e37-b10e-438f-b76f-cc778a15f235" providerId="ADAL" clId="{1A4FE416-BE1D-4301-A39C-669E7436231B}" dt="2023-07-27T17:08:17.653" v="1144" actId="478"/>
          <ac:picMkLst>
            <pc:docMk/>
            <pc:sldMk cId="3733227749" sldId="2147479650"/>
            <ac:picMk id="5" creationId="{8848BE7F-3AEA-4077-B245-356AC85198A7}"/>
          </ac:picMkLst>
        </pc:picChg>
        <pc:picChg chg="add mod">
          <ac:chgData name="Andre Pereira" userId="74b00e37-b10e-438f-b76f-cc778a15f235" providerId="ADAL" clId="{1A4FE416-BE1D-4301-A39C-669E7436231B}" dt="2023-07-27T17:23:53.739" v="1154" actId="1076"/>
          <ac:picMkLst>
            <pc:docMk/>
            <pc:sldMk cId="3733227749" sldId="2147479650"/>
            <ac:picMk id="6" creationId="{F8644399-7F34-45B1-970D-95E89F958322}"/>
          </ac:picMkLst>
        </pc:picChg>
      </pc:sldChg>
      <pc:sldChg chg="addSp delSp modSp add mod">
        <pc:chgData name="Andre Pereira" userId="74b00e37-b10e-438f-b76f-cc778a15f235" providerId="ADAL" clId="{1A4FE416-BE1D-4301-A39C-669E7436231B}" dt="2023-07-27T17:24:29.034" v="1160" actId="1076"/>
        <pc:sldMkLst>
          <pc:docMk/>
          <pc:sldMk cId="898990910" sldId="2147479652"/>
        </pc:sldMkLst>
        <pc:picChg chg="add mod">
          <ac:chgData name="Andre Pereira" userId="74b00e37-b10e-438f-b76f-cc778a15f235" providerId="ADAL" clId="{1A4FE416-BE1D-4301-A39C-669E7436231B}" dt="2023-07-27T17:24:29.034" v="1160" actId="1076"/>
          <ac:picMkLst>
            <pc:docMk/>
            <pc:sldMk cId="898990910" sldId="2147479652"/>
            <ac:picMk id="4" creationId="{38B59777-7711-48CE-82D7-AE9AD7324F10}"/>
          </ac:picMkLst>
        </pc:picChg>
        <pc:picChg chg="del">
          <ac:chgData name="Andre Pereira" userId="74b00e37-b10e-438f-b76f-cc778a15f235" providerId="ADAL" clId="{1A4FE416-BE1D-4301-A39C-669E7436231B}" dt="2023-07-27T17:24:19.413" v="1156" actId="478"/>
          <ac:picMkLst>
            <pc:docMk/>
            <pc:sldMk cId="898990910" sldId="2147479652"/>
            <ac:picMk id="6" creationId="{F8644399-7F34-45B1-970D-95E89F958322}"/>
          </ac:picMkLst>
        </pc:picChg>
      </pc:sldChg>
      <pc:sldChg chg="modSp mod">
        <pc:chgData name="Andre Pereira" userId="74b00e37-b10e-438f-b76f-cc778a15f235" providerId="ADAL" clId="{1A4FE416-BE1D-4301-A39C-669E7436231B}" dt="2023-08-01T07:56:33.012" v="1161" actId="108"/>
        <pc:sldMkLst>
          <pc:docMk/>
          <pc:sldMk cId="1118370846" sldId="2147479653"/>
        </pc:sldMkLst>
        <pc:spChg chg="mod">
          <ac:chgData name="Andre Pereira" userId="74b00e37-b10e-438f-b76f-cc778a15f235" providerId="ADAL" clId="{1A4FE416-BE1D-4301-A39C-669E7436231B}" dt="2023-08-01T07:56:33.012" v="1161" actId="108"/>
          <ac:spMkLst>
            <pc:docMk/>
            <pc:sldMk cId="1118370846" sldId="2147479653"/>
            <ac:spMk id="2" creationId="{E379AB8B-11E0-7D4C-2445-089F705A017B}"/>
          </ac:spMkLst>
        </pc:spChg>
      </pc:sldChg>
      <pc:sldChg chg="modSp mod">
        <pc:chgData name="Andre Pereira" userId="74b00e37-b10e-438f-b76f-cc778a15f235" providerId="ADAL" clId="{1A4FE416-BE1D-4301-A39C-669E7436231B}" dt="2023-08-01T10:36:08.025" v="1178" actId="20577"/>
        <pc:sldMkLst>
          <pc:docMk/>
          <pc:sldMk cId="3258489592" sldId="2147479655"/>
        </pc:sldMkLst>
        <pc:spChg chg="mod">
          <ac:chgData name="Andre Pereira" userId="74b00e37-b10e-438f-b76f-cc778a15f235" providerId="ADAL" clId="{1A4FE416-BE1D-4301-A39C-669E7436231B}" dt="2023-08-01T10:36:08.025" v="1178" actId="20577"/>
          <ac:spMkLst>
            <pc:docMk/>
            <pc:sldMk cId="3258489592" sldId="2147479655"/>
            <ac:spMk id="17" creationId="{8C9460DB-676C-4AF1-BB43-13950E17CBA7}"/>
          </ac:spMkLst>
        </pc:spChg>
      </pc:sldChg>
      <pc:sldChg chg="modSp mod">
        <pc:chgData name="Andre Pereira" userId="74b00e37-b10e-438f-b76f-cc778a15f235" providerId="ADAL" clId="{1A4FE416-BE1D-4301-A39C-669E7436231B}" dt="2023-08-01T10:36:11.699" v="1180" actId="20577"/>
        <pc:sldMkLst>
          <pc:docMk/>
          <pc:sldMk cId="531447485" sldId="2147479659"/>
        </pc:sldMkLst>
        <pc:spChg chg="mod">
          <ac:chgData name="Andre Pereira" userId="74b00e37-b10e-438f-b76f-cc778a15f235" providerId="ADAL" clId="{1A4FE416-BE1D-4301-A39C-669E7436231B}" dt="2023-08-01T10:36:11.699" v="1180" actId="20577"/>
          <ac:spMkLst>
            <pc:docMk/>
            <pc:sldMk cId="531447485" sldId="2147479659"/>
            <ac:spMk id="17" creationId="{8C9460DB-676C-4AF1-BB43-13950E17CBA7}"/>
          </ac:spMkLst>
        </pc:spChg>
      </pc:sldChg>
      <pc:sldChg chg="modSp mod">
        <pc:chgData name="Andre Pereira" userId="74b00e37-b10e-438f-b76f-cc778a15f235" providerId="ADAL" clId="{1A4FE416-BE1D-4301-A39C-669E7436231B}" dt="2023-08-01T10:39:15.491" v="1191" actId="20577"/>
        <pc:sldMkLst>
          <pc:docMk/>
          <pc:sldMk cId="309813952" sldId="2147479660"/>
        </pc:sldMkLst>
        <pc:spChg chg="mod">
          <ac:chgData name="Andre Pereira" userId="74b00e37-b10e-438f-b76f-cc778a15f235" providerId="ADAL" clId="{1A4FE416-BE1D-4301-A39C-669E7436231B}" dt="2023-08-01T10:39:15.491" v="1191" actId="20577"/>
          <ac:spMkLst>
            <pc:docMk/>
            <pc:sldMk cId="309813952" sldId="2147479660"/>
            <ac:spMk id="6" creationId="{52A4B426-6362-801D-C554-36B8220328AE}"/>
          </ac:spMkLst>
        </pc:spChg>
      </pc:sldChg>
      <pc:sldChg chg="modSp mod">
        <pc:chgData name="Andre Pereira" userId="74b00e37-b10e-438f-b76f-cc778a15f235" providerId="ADAL" clId="{1A4FE416-BE1D-4301-A39C-669E7436231B}" dt="2023-08-01T10:35:54.899" v="1176" actId="20577"/>
        <pc:sldMkLst>
          <pc:docMk/>
          <pc:sldMk cId="3049243147" sldId="2147479661"/>
        </pc:sldMkLst>
        <pc:spChg chg="mod">
          <ac:chgData name="Andre Pereira" userId="74b00e37-b10e-438f-b76f-cc778a15f235" providerId="ADAL" clId="{1A4FE416-BE1D-4301-A39C-669E7436231B}" dt="2023-08-01T10:35:54.899" v="1176" actId="20577"/>
          <ac:spMkLst>
            <pc:docMk/>
            <pc:sldMk cId="3049243147" sldId="2147479661"/>
            <ac:spMk id="17" creationId="{8C9460DB-676C-4AF1-BB43-13950E17CBA7}"/>
          </ac:spMkLst>
        </pc:spChg>
      </pc:sldChg>
      <pc:sldChg chg="modSp mod">
        <pc:chgData name="Andre Pereira" userId="74b00e37-b10e-438f-b76f-cc778a15f235" providerId="ADAL" clId="{1A4FE416-BE1D-4301-A39C-669E7436231B}" dt="2023-08-01T10:38:17.962" v="1188" actId="20577"/>
        <pc:sldMkLst>
          <pc:docMk/>
          <pc:sldMk cId="2143741187" sldId="2147479662"/>
        </pc:sldMkLst>
        <pc:spChg chg="mod">
          <ac:chgData name="Andre Pereira" userId="74b00e37-b10e-438f-b76f-cc778a15f235" providerId="ADAL" clId="{1A4FE416-BE1D-4301-A39C-669E7436231B}" dt="2023-08-01T10:38:17.962" v="1188" actId="20577"/>
          <ac:spMkLst>
            <pc:docMk/>
            <pc:sldMk cId="2143741187" sldId="2147479662"/>
            <ac:spMk id="17" creationId="{8C9460DB-676C-4AF1-BB43-13950E17CBA7}"/>
          </ac:spMkLst>
        </pc:spChg>
      </pc:sldChg>
    </pc:docChg>
  </pc:docChgLst>
  <pc:docChgLst>
    <pc:chgData name="Immanuel J Daniel" userId="S::immanuel.johnston.daniel@ie.ey.com::b9141605-49ff-443e-8af4-0c21e2766a66" providerId="AD" clId="Web-{DF0EA329-BA3A-13E9-0597-2DDB57A65958}"/>
    <pc:docChg chg="">
      <pc:chgData name="Immanuel J Daniel" userId="S::immanuel.johnston.daniel@ie.ey.com::b9141605-49ff-443e-8af4-0c21e2766a66" providerId="AD" clId="Web-{DF0EA329-BA3A-13E9-0597-2DDB57A65958}" dt="2023-08-02T13:09:11.661" v="0"/>
      <pc:docMkLst>
        <pc:docMk/>
      </pc:docMkLst>
      <pc:sldChg chg="addCm">
        <pc:chgData name="Immanuel J Daniel" userId="S::immanuel.johnston.daniel@ie.ey.com::b9141605-49ff-443e-8af4-0c21e2766a66" providerId="AD" clId="Web-{DF0EA329-BA3A-13E9-0597-2DDB57A65958}" dt="2023-08-02T13:09:11.661" v="0"/>
        <pc:sldMkLst>
          <pc:docMk/>
          <pc:sldMk cId="3270732291" sldId="2147473086"/>
        </pc:sldMkLst>
      </pc:sldChg>
    </pc:docChg>
  </pc:docChgLst>
  <pc:docChgLst>
    <pc:chgData name="David Lynch" userId="666a0384-f147-414d-9e35-a983301ea6cb" providerId="ADAL" clId="{08AFB8BB-F847-449A-9BB8-9A9ECA4164B7}"/>
    <pc:docChg chg="custSel modSld modMainMaster">
      <pc:chgData name="David Lynch" userId="666a0384-f147-414d-9e35-a983301ea6cb" providerId="ADAL" clId="{08AFB8BB-F847-449A-9BB8-9A9ECA4164B7}" dt="2023-04-25T10:13:47.727" v="30" actId="6549"/>
      <pc:docMkLst>
        <pc:docMk/>
      </pc:docMkLst>
      <pc:sldChg chg="modSp">
        <pc:chgData name="David Lynch" userId="666a0384-f147-414d-9e35-a983301ea6cb" providerId="ADAL" clId="{08AFB8BB-F847-449A-9BB8-9A9ECA4164B7}" dt="2023-04-25T10:05:43.691" v="21"/>
        <pc:sldMkLst>
          <pc:docMk/>
          <pc:sldMk cId="1674630032" sldId="329"/>
        </pc:sldMkLst>
        <pc:spChg chg="mod">
          <ac:chgData name="David Lynch" userId="666a0384-f147-414d-9e35-a983301ea6cb" providerId="ADAL" clId="{08AFB8BB-F847-449A-9BB8-9A9ECA4164B7}" dt="2023-04-25T10:05:43.691" v="21"/>
          <ac:spMkLst>
            <pc:docMk/>
            <pc:sldMk cId="1674630032" sldId="329"/>
            <ac:spMk id="4" creationId="{1A081074-81FC-4714-8D93-75333A22E593}"/>
          </ac:spMkLst>
        </pc:spChg>
        <pc:spChg chg="mod">
          <ac:chgData name="David Lynch" userId="666a0384-f147-414d-9e35-a983301ea6cb" providerId="ADAL" clId="{08AFB8BB-F847-449A-9BB8-9A9ECA4164B7}" dt="2023-04-25T10:05:43.691" v="21"/>
          <ac:spMkLst>
            <pc:docMk/>
            <pc:sldMk cId="1674630032" sldId="329"/>
            <ac:spMk id="7" creationId="{A1FFAB75-A413-4A35-89B6-60FCE70C20A1}"/>
          </ac:spMkLst>
        </pc:spChg>
      </pc:sldChg>
      <pc:sldChg chg="modSp mod">
        <pc:chgData name="David Lynch" userId="666a0384-f147-414d-9e35-a983301ea6cb" providerId="ADAL" clId="{08AFB8BB-F847-449A-9BB8-9A9ECA4164B7}" dt="2023-04-25T10:00:10.214" v="3" actId="2"/>
        <pc:sldMkLst>
          <pc:docMk/>
          <pc:sldMk cId="2692628411" sldId="728"/>
        </pc:sldMkLst>
        <pc:spChg chg="mod">
          <ac:chgData name="David Lynch" userId="666a0384-f147-414d-9e35-a983301ea6cb" providerId="ADAL" clId="{08AFB8BB-F847-449A-9BB8-9A9ECA4164B7}" dt="2023-04-25T10:00:08.750" v="1" actId="2"/>
          <ac:spMkLst>
            <pc:docMk/>
            <pc:sldMk cId="2692628411" sldId="728"/>
            <ac:spMk id="9" creationId="{00000000-0000-0000-0000-000000000000}"/>
          </ac:spMkLst>
        </pc:spChg>
        <pc:spChg chg="mod">
          <ac:chgData name="David Lynch" userId="666a0384-f147-414d-9e35-a983301ea6cb" providerId="ADAL" clId="{08AFB8BB-F847-449A-9BB8-9A9ECA4164B7}" dt="2023-04-25T10:00:10.214" v="3" actId="2"/>
          <ac:spMkLst>
            <pc:docMk/>
            <pc:sldMk cId="2692628411" sldId="728"/>
            <ac:spMk id="29" creationId="{B9353878-77D1-4614-8907-E055428D4526}"/>
          </ac:spMkLst>
        </pc:spChg>
      </pc:sldChg>
      <pc:sldChg chg="modSp">
        <pc:chgData name="David Lynch" userId="666a0384-f147-414d-9e35-a983301ea6cb" providerId="ADAL" clId="{08AFB8BB-F847-449A-9BB8-9A9ECA4164B7}" dt="2023-04-25T10:05:43.691" v="21"/>
        <pc:sldMkLst>
          <pc:docMk/>
          <pc:sldMk cId="633734048" sldId="2142535106"/>
        </pc:sldMkLst>
        <pc:spChg chg="mod">
          <ac:chgData name="David Lynch" userId="666a0384-f147-414d-9e35-a983301ea6cb" providerId="ADAL" clId="{08AFB8BB-F847-449A-9BB8-9A9ECA4164B7}" dt="2023-04-25T10:05:43.691" v="21"/>
          <ac:spMkLst>
            <pc:docMk/>
            <pc:sldMk cId="633734048" sldId="2142535106"/>
            <ac:spMk id="6" creationId="{2B8F61B3-A3AF-4DA6-B25A-C9BA1D8DFDA1}"/>
          </ac:spMkLst>
        </pc:spChg>
      </pc:sldChg>
      <pc:sldChg chg="modSp">
        <pc:chgData name="David Lynch" userId="666a0384-f147-414d-9e35-a983301ea6cb" providerId="ADAL" clId="{08AFB8BB-F847-449A-9BB8-9A9ECA4164B7}" dt="2023-04-25T10:05:43.691" v="21"/>
        <pc:sldMkLst>
          <pc:docMk/>
          <pc:sldMk cId="3505510019" sldId="2142535109"/>
        </pc:sldMkLst>
        <pc:spChg chg="mod">
          <ac:chgData name="David Lynch" userId="666a0384-f147-414d-9e35-a983301ea6cb" providerId="ADAL" clId="{08AFB8BB-F847-449A-9BB8-9A9ECA4164B7}" dt="2023-04-25T10:05:43.691" v="21"/>
          <ac:spMkLst>
            <pc:docMk/>
            <pc:sldMk cId="3505510019" sldId="2142535109"/>
            <ac:spMk id="4" creationId="{E432C490-8501-4DEB-9800-36DD8F00D9DA}"/>
          </ac:spMkLst>
        </pc:spChg>
        <pc:spChg chg="mod">
          <ac:chgData name="David Lynch" userId="666a0384-f147-414d-9e35-a983301ea6cb" providerId="ADAL" clId="{08AFB8BB-F847-449A-9BB8-9A9ECA4164B7}" dt="2023-04-25T10:05:43.691" v="21"/>
          <ac:spMkLst>
            <pc:docMk/>
            <pc:sldMk cId="3505510019" sldId="2142535109"/>
            <ac:spMk id="7" creationId="{33F269DE-0479-486E-87F7-03A541C10513}"/>
          </ac:spMkLst>
        </pc:spChg>
      </pc:sldChg>
      <pc:sldChg chg="modSp">
        <pc:chgData name="David Lynch" userId="666a0384-f147-414d-9e35-a983301ea6cb" providerId="ADAL" clId="{08AFB8BB-F847-449A-9BB8-9A9ECA4164B7}" dt="2023-04-25T10:05:43.691" v="21"/>
        <pc:sldMkLst>
          <pc:docMk/>
          <pc:sldMk cId="1569982749" sldId="2142535160"/>
        </pc:sldMkLst>
        <pc:spChg chg="mod">
          <ac:chgData name="David Lynch" userId="666a0384-f147-414d-9e35-a983301ea6cb" providerId="ADAL" clId="{08AFB8BB-F847-449A-9BB8-9A9ECA4164B7}" dt="2023-04-25T10:05:43.691" v="21"/>
          <ac:spMkLst>
            <pc:docMk/>
            <pc:sldMk cId="1569982749" sldId="2142535160"/>
            <ac:spMk id="3" creationId="{A8980307-3BD1-45D9-93CC-5318A49838A0}"/>
          </ac:spMkLst>
        </pc:spChg>
        <pc:spChg chg="mod">
          <ac:chgData name="David Lynch" userId="666a0384-f147-414d-9e35-a983301ea6cb" providerId="ADAL" clId="{08AFB8BB-F847-449A-9BB8-9A9ECA4164B7}" dt="2023-04-25T10:05:43.691" v="21"/>
          <ac:spMkLst>
            <pc:docMk/>
            <pc:sldMk cId="1569982749" sldId="2142535160"/>
            <ac:spMk id="8" creationId="{1D656BE9-354F-4B79-B846-FC91C02D1A06}"/>
          </ac:spMkLst>
        </pc:spChg>
      </pc:sldChg>
      <pc:sldChg chg="modSp">
        <pc:chgData name="David Lynch" userId="666a0384-f147-414d-9e35-a983301ea6cb" providerId="ADAL" clId="{08AFB8BB-F847-449A-9BB8-9A9ECA4164B7}" dt="2023-04-25T10:05:43.691" v="21"/>
        <pc:sldMkLst>
          <pc:docMk/>
          <pc:sldMk cId="2154391368" sldId="2142535213"/>
        </pc:sldMkLst>
        <pc:spChg chg="mod">
          <ac:chgData name="David Lynch" userId="666a0384-f147-414d-9e35-a983301ea6cb" providerId="ADAL" clId="{08AFB8BB-F847-449A-9BB8-9A9ECA4164B7}" dt="2023-04-25T10:05:43.691" v="21"/>
          <ac:spMkLst>
            <pc:docMk/>
            <pc:sldMk cId="2154391368" sldId="2142535213"/>
            <ac:spMk id="8" creationId="{7824D54C-15D2-467C-A016-166944D0781C}"/>
          </ac:spMkLst>
        </pc:spChg>
      </pc:sldChg>
      <pc:sldChg chg="modSp">
        <pc:chgData name="David Lynch" userId="666a0384-f147-414d-9e35-a983301ea6cb" providerId="ADAL" clId="{08AFB8BB-F847-449A-9BB8-9A9ECA4164B7}" dt="2023-04-25T10:05:43.691" v="21"/>
        <pc:sldMkLst>
          <pc:docMk/>
          <pc:sldMk cId="1090918542" sldId="2142535214"/>
        </pc:sldMkLst>
        <pc:spChg chg="mod">
          <ac:chgData name="David Lynch" userId="666a0384-f147-414d-9e35-a983301ea6cb" providerId="ADAL" clId="{08AFB8BB-F847-449A-9BB8-9A9ECA4164B7}" dt="2023-04-25T10:05:43.691" v="21"/>
          <ac:spMkLst>
            <pc:docMk/>
            <pc:sldMk cId="1090918542" sldId="2142535214"/>
            <ac:spMk id="2" creationId="{8A50E309-2AC4-4303-B6FC-73EA888397AE}"/>
          </ac:spMkLst>
        </pc:spChg>
        <pc:spChg chg="mod">
          <ac:chgData name="David Lynch" userId="666a0384-f147-414d-9e35-a983301ea6cb" providerId="ADAL" clId="{08AFB8BB-F847-449A-9BB8-9A9ECA4164B7}" dt="2023-04-25T10:05:43.691" v="21"/>
          <ac:spMkLst>
            <pc:docMk/>
            <pc:sldMk cId="1090918542" sldId="2142535214"/>
            <ac:spMk id="8" creationId="{7824D54C-15D2-467C-A016-166944D0781C}"/>
          </ac:spMkLst>
        </pc:spChg>
      </pc:sldChg>
      <pc:sldChg chg="modSp mod">
        <pc:chgData name="David Lynch" userId="666a0384-f147-414d-9e35-a983301ea6cb" providerId="ADAL" clId="{08AFB8BB-F847-449A-9BB8-9A9ECA4164B7}" dt="2023-04-25T10:05:43.691" v="21"/>
        <pc:sldMkLst>
          <pc:docMk/>
          <pc:sldMk cId="1500833212" sldId="2142535223"/>
        </pc:sldMkLst>
        <pc:spChg chg="mod">
          <ac:chgData name="David Lynch" userId="666a0384-f147-414d-9e35-a983301ea6cb" providerId="ADAL" clId="{08AFB8BB-F847-449A-9BB8-9A9ECA4164B7}" dt="2023-04-25T10:05:43.691" v="21"/>
          <ac:spMkLst>
            <pc:docMk/>
            <pc:sldMk cId="1500833212" sldId="2142535223"/>
            <ac:spMk id="2" creationId="{90A2479D-7BB0-416C-B8C6-6F8A651B4A6C}"/>
          </ac:spMkLst>
        </pc:spChg>
        <pc:spChg chg="mod">
          <ac:chgData name="David Lynch" userId="666a0384-f147-414d-9e35-a983301ea6cb" providerId="ADAL" clId="{08AFB8BB-F847-449A-9BB8-9A9ECA4164B7}" dt="2023-04-25T10:05:43.691" v="21"/>
          <ac:spMkLst>
            <pc:docMk/>
            <pc:sldMk cId="1500833212" sldId="2142535223"/>
            <ac:spMk id="8" creationId="{7824D54C-15D2-467C-A016-166944D0781C}"/>
          </ac:spMkLst>
        </pc:spChg>
        <pc:spChg chg="mod">
          <ac:chgData name="David Lynch" userId="666a0384-f147-414d-9e35-a983301ea6cb" providerId="ADAL" clId="{08AFB8BB-F847-449A-9BB8-9A9ECA4164B7}" dt="2023-04-25T10:00:13.669" v="4" actId="2"/>
          <ac:spMkLst>
            <pc:docMk/>
            <pc:sldMk cId="1500833212" sldId="2142535223"/>
            <ac:spMk id="19" creationId="{8C1FD6F4-9AA7-0DCE-BBF9-69D2EC3B9008}"/>
          </ac:spMkLst>
        </pc:spChg>
      </pc:sldChg>
      <pc:sldChg chg="modSp">
        <pc:chgData name="David Lynch" userId="666a0384-f147-414d-9e35-a983301ea6cb" providerId="ADAL" clId="{08AFB8BB-F847-449A-9BB8-9A9ECA4164B7}" dt="2023-04-25T10:05:43.691" v="21"/>
        <pc:sldMkLst>
          <pc:docMk/>
          <pc:sldMk cId="2060547625" sldId="2142535225"/>
        </pc:sldMkLst>
        <pc:spChg chg="mod">
          <ac:chgData name="David Lynch" userId="666a0384-f147-414d-9e35-a983301ea6cb" providerId="ADAL" clId="{08AFB8BB-F847-449A-9BB8-9A9ECA4164B7}" dt="2023-04-25T10:05:43.691" v="21"/>
          <ac:spMkLst>
            <pc:docMk/>
            <pc:sldMk cId="2060547625" sldId="2142535225"/>
            <ac:spMk id="8" creationId="{7824D54C-15D2-467C-A016-166944D0781C}"/>
          </ac:spMkLst>
        </pc:spChg>
        <pc:spChg chg="mod">
          <ac:chgData name="David Lynch" userId="666a0384-f147-414d-9e35-a983301ea6cb" providerId="ADAL" clId="{08AFB8BB-F847-449A-9BB8-9A9ECA4164B7}" dt="2023-04-25T10:05:43.691" v="21"/>
          <ac:spMkLst>
            <pc:docMk/>
            <pc:sldMk cId="2060547625" sldId="2142535225"/>
            <ac:spMk id="12" creationId="{8E5D316B-B985-4CCC-B331-D6CD97093757}"/>
          </ac:spMkLst>
        </pc:spChg>
      </pc:sldChg>
      <pc:sldChg chg="modSp">
        <pc:chgData name="David Lynch" userId="666a0384-f147-414d-9e35-a983301ea6cb" providerId="ADAL" clId="{08AFB8BB-F847-449A-9BB8-9A9ECA4164B7}" dt="2023-04-25T10:05:43.691" v="21"/>
        <pc:sldMkLst>
          <pc:docMk/>
          <pc:sldMk cId="744641018" sldId="2142535226"/>
        </pc:sldMkLst>
        <pc:spChg chg="mod">
          <ac:chgData name="David Lynch" userId="666a0384-f147-414d-9e35-a983301ea6cb" providerId="ADAL" clId="{08AFB8BB-F847-449A-9BB8-9A9ECA4164B7}" dt="2023-04-25T10:05:43.691" v="21"/>
          <ac:spMkLst>
            <pc:docMk/>
            <pc:sldMk cId="744641018" sldId="2142535226"/>
            <ac:spMk id="8" creationId="{7824D54C-15D2-467C-A016-166944D0781C}"/>
          </ac:spMkLst>
        </pc:spChg>
      </pc:sldChg>
      <pc:sldChg chg="modSp">
        <pc:chgData name="David Lynch" userId="666a0384-f147-414d-9e35-a983301ea6cb" providerId="ADAL" clId="{08AFB8BB-F847-449A-9BB8-9A9ECA4164B7}" dt="2023-04-25T10:05:43.691" v="21"/>
        <pc:sldMkLst>
          <pc:docMk/>
          <pc:sldMk cId="384520251" sldId="2142535228"/>
        </pc:sldMkLst>
        <pc:spChg chg="mod">
          <ac:chgData name="David Lynch" userId="666a0384-f147-414d-9e35-a983301ea6cb" providerId="ADAL" clId="{08AFB8BB-F847-449A-9BB8-9A9ECA4164B7}" dt="2023-04-25T10:05:43.691" v="21"/>
          <ac:spMkLst>
            <pc:docMk/>
            <pc:sldMk cId="384520251" sldId="2142535228"/>
            <ac:spMk id="8" creationId="{7824D54C-15D2-467C-A016-166944D0781C}"/>
          </ac:spMkLst>
        </pc:spChg>
        <pc:spChg chg="mod">
          <ac:chgData name="David Lynch" userId="666a0384-f147-414d-9e35-a983301ea6cb" providerId="ADAL" clId="{08AFB8BB-F847-449A-9BB8-9A9ECA4164B7}" dt="2023-04-25T10:05:43.691" v="21"/>
          <ac:spMkLst>
            <pc:docMk/>
            <pc:sldMk cId="384520251" sldId="2142535228"/>
            <ac:spMk id="12" creationId="{109D79C5-CCE8-4017-B4E0-23CBC30C01C7}"/>
          </ac:spMkLst>
        </pc:spChg>
      </pc:sldChg>
      <pc:sldChg chg="modSp">
        <pc:chgData name="David Lynch" userId="666a0384-f147-414d-9e35-a983301ea6cb" providerId="ADAL" clId="{08AFB8BB-F847-449A-9BB8-9A9ECA4164B7}" dt="2023-04-25T10:05:43.691" v="21"/>
        <pc:sldMkLst>
          <pc:docMk/>
          <pc:sldMk cId="2343093282" sldId="2142535231"/>
        </pc:sldMkLst>
        <pc:spChg chg="mod">
          <ac:chgData name="David Lynch" userId="666a0384-f147-414d-9e35-a983301ea6cb" providerId="ADAL" clId="{08AFB8BB-F847-449A-9BB8-9A9ECA4164B7}" dt="2023-04-25T10:05:43.691" v="21"/>
          <ac:spMkLst>
            <pc:docMk/>
            <pc:sldMk cId="2343093282" sldId="2142535231"/>
            <ac:spMk id="8" creationId="{7824D54C-15D2-467C-A016-166944D0781C}"/>
          </ac:spMkLst>
        </pc:spChg>
        <pc:spChg chg="mod">
          <ac:chgData name="David Lynch" userId="666a0384-f147-414d-9e35-a983301ea6cb" providerId="ADAL" clId="{08AFB8BB-F847-449A-9BB8-9A9ECA4164B7}" dt="2023-04-25T10:05:43.691" v="21"/>
          <ac:spMkLst>
            <pc:docMk/>
            <pc:sldMk cId="2343093282" sldId="2142535231"/>
            <ac:spMk id="18" creationId="{C00157E9-39A2-4FFC-8E46-24A93D4C7648}"/>
          </ac:spMkLst>
        </pc:spChg>
      </pc:sldChg>
      <pc:sldChg chg="modSp">
        <pc:chgData name="David Lynch" userId="666a0384-f147-414d-9e35-a983301ea6cb" providerId="ADAL" clId="{08AFB8BB-F847-449A-9BB8-9A9ECA4164B7}" dt="2023-04-25T10:05:43.691" v="21"/>
        <pc:sldMkLst>
          <pc:docMk/>
          <pc:sldMk cId="932388999" sldId="2142535252"/>
        </pc:sldMkLst>
        <pc:spChg chg="mod">
          <ac:chgData name="David Lynch" userId="666a0384-f147-414d-9e35-a983301ea6cb" providerId="ADAL" clId="{08AFB8BB-F847-449A-9BB8-9A9ECA4164B7}" dt="2023-04-25T10:05:43.691" v="21"/>
          <ac:spMkLst>
            <pc:docMk/>
            <pc:sldMk cId="932388999" sldId="2142535252"/>
            <ac:spMk id="3" creationId="{344904A7-DCF3-485F-99B8-3977E039158D}"/>
          </ac:spMkLst>
        </pc:spChg>
        <pc:spChg chg="mod">
          <ac:chgData name="David Lynch" userId="666a0384-f147-414d-9e35-a983301ea6cb" providerId="ADAL" clId="{08AFB8BB-F847-449A-9BB8-9A9ECA4164B7}" dt="2023-04-25T10:05:43.691" v="21"/>
          <ac:spMkLst>
            <pc:docMk/>
            <pc:sldMk cId="932388999" sldId="2142535252"/>
            <ac:spMk id="4" creationId="{E033BA0A-2ED6-4627-A066-21E646392CC9}"/>
          </ac:spMkLst>
        </pc:spChg>
        <pc:spChg chg="mod">
          <ac:chgData name="David Lynch" userId="666a0384-f147-414d-9e35-a983301ea6cb" providerId="ADAL" clId="{08AFB8BB-F847-449A-9BB8-9A9ECA4164B7}" dt="2023-04-25T10:05:43.691" v="21"/>
          <ac:spMkLst>
            <pc:docMk/>
            <pc:sldMk cId="932388999" sldId="2142535252"/>
            <ac:spMk id="8" creationId="{7824D54C-15D2-467C-A016-166944D0781C}"/>
          </ac:spMkLst>
        </pc:spChg>
      </pc:sldChg>
      <pc:sldChg chg="modSp">
        <pc:chgData name="David Lynch" userId="666a0384-f147-414d-9e35-a983301ea6cb" providerId="ADAL" clId="{08AFB8BB-F847-449A-9BB8-9A9ECA4164B7}" dt="2023-04-25T10:05:43.691" v="21"/>
        <pc:sldMkLst>
          <pc:docMk/>
          <pc:sldMk cId="2995573744" sldId="2147472971"/>
        </pc:sldMkLst>
        <pc:spChg chg="mod">
          <ac:chgData name="David Lynch" userId="666a0384-f147-414d-9e35-a983301ea6cb" providerId="ADAL" clId="{08AFB8BB-F847-449A-9BB8-9A9ECA4164B7}" dt="2023-04-25T10:05:43.691" v="21"/>
          <ac:spMkLst>
            <pc:docMk/>
            <pc:sldMk cId="2995573744" sldId="2147472971"/>
            <ac:spMk id="8" creationId="{60C1AB61-7B9D-4732-AF01-AD51822FF1E2}"/>
          </ac:spMkLst>
        </pc:spChg>
      </pc:sldChg>
      <pc:sldChg chg="modSp">
        <pc:chgData name="David Lynch" userId="666a0384-f147-414d-9e35-a983301ea6cb" providerId="ADAL" clId="{08AFB8BB-F847-449A-9BB8-9A9ECA4164B7}" dt="2023-04-25T10:05:43.691" v="21"/>
        <pc:sldMkLst>
          <pc:docMk/>
          <pc:sldMk cId="255980037" sldId="2147472972"/>
        </pc:sldMkLst>
        <pc:spChg chg="mod">
          <ac:chgData name="David Lynch" userId="666a0384-f147-414d-9e35-a983301ea6cb" providerId="ADAL" clId="{08AFB8BB-F847-449A-9BB8-9A9ECA4164B7}" dt="2023-04-25T10:05:43.691" v="21"/>
          <ac:spMkLst>
            <pc:docMk/>
            <pc:sldMk cId="255980037" sldId="2147472972"/>
            <ac:spMk id="7" creationId="{3CA9FFA4-95E2-4AE6-A746-790250C06C0C}"/>
          </ac:spMkLst>
        </pc:spChg>
      </pc:sldChg>
      <pc:sldChg chg="modSp">
        <pc:chgData name="David Lynch" userId="666a0384-f147-414d-9e35-a983301ea6cb" providerId="ADAL" clId="{08AFB8BB-F847-449A-9BB8-9A9ECA4164B7}" dt="2023-04-25T10:05:43.691" v="21"/>
        <pc:sldMkLst>
          <pc:docMk/>
          <pc:sldMk cId="1374538530" sldId="2147472973"/>
        </pc:sldMkLst>
        <pc:spChg chg="mod">
          <ac:chgData name="David Lynch" userId="666a0384-f147-414d-9e35-a983301ea6cb" providerId="ADAL" clId="{08AFB8BB-F847-449A-9BB8-9A9ECA4164B7}" dt="2023-04-25T10:05:43.691" v="21"/>
          <ac:spMkLst>
            <pc:docMk/>
            <pc:sldMk cId="1374538530" sldId="2147472973"/>
            <ac:spMk id="42" creationId="{7A2A1567-4D86-4A9F-BD55-A3B8F6944A83}"/>
          </ac:spMkLst>
        </pc:spChg>
      </pc:sldChg>
      <pc:sldChg chg="modSp">
        <pc:chgData name="David Lynch" userId="666a0384-f147-414d-9e35-a983301ea6cb" providerId="ADAL" clId="{08AFB8BB-F847-449A-9BB8-9A9ECA4164B7}" dt="2023-04-25T10:05:43.691" v="21"/>
        <pc:sldMkLst>
          <pc:docMk/>
          <pc:sldMk cId="1389044736" sldId="2147472974"/>
        </pc:sldMkLst>
        <pc:spChg chg="mod">
          <ac:chgData name="David Lynch" userId="666a0384-f147-414d-9e35-a983301ea6cb" providerId="ADAL" clId="{08AFB8BB-F847-449A-9BB8-9A9ECA4164B7}" dt="2023-04-25T10:05:43.691" v="21"/>
          <ac:spMkLst>
            <pc:docMk/>
            <pc:sldMk cId="1389044736" sldId="2147472974"/>
            <ac:spMk id="31" creationId="{266AADAC-213F-42B0-9017-330E1ACF7361}"/>
          </ac:spMkLst>
        </pc:spChg>
      </pc:sldChg>
      <pc:sldChg chg="modSp">
        <pc:chgData name="David Lynch" userId="666a0384-f147-414d-9e35-a983301ea6cb" providerId="ADAL" clId="{08AFB8BB-F847-449A-9BB8-9A9ECA4164B7}" dt="2023-04-25T10:05:43.691" v="21"/>
        <pc:sldMkLst>
          <pc:docMk/>
          <pc:sldMk cId="1018351694" sldId="2147472975"/>
        </pc:sldMkLst>
        <pc:spChg chg="mod">
          <ac:chgData name="David Lynch" userId="666a0384-f147-414d-9e35-a983301ea6cb" providerId="ADAL" clId="{08AFB8BB-F847-449A-9BB8-9A9ECA4164B7}" dt="2023-04-25T10:05:43.691" v="21"/>
          <ac:spMkLst>
            <pc:docMk/>
            <pc:sldMk cId="1018351694" sldId="2147472975"/>
            <ac:spMk id="38" creationId="{86C9DCA3-438A-49EB-92E1-A53AAEA18134}"/>
          </ac:spMkLst>
        </pc:spChg>
      </pc:sldChg>
      <pc:sldChg chg="modSp">
        <pc:chgData name="David Lynch" userId="666a0384-f147-414d-9e35-a983301ea6cb" providerId="ADAL" clId="{08AFB8BB-F847-449A-9BB8-9A9ECA4164B7}" dt="2023-04-25T10:05:43.691" v="21"/>
        <pc:sldMkLst>
          <pc:docMk/>
          <pc:sldMk cId="3456635625" sldId="2147472976"/>
        </pc:sldMkLst>
        <pc:spChg chg="mod">
          <ac:chgData name="David Lynch" userId="666a0384-f147-414d-9e35-a983301ea6cb" providerId="ADAL" clId="{08AFB8BB-F847-449A-9BB8-9A9ECA4164B7}" dt="2023-04-25T10:05:43.691" v="21"/>
          <ac:spMkLst>
            <pc:docMk/>
            <pc:sldMk cId="3456635625" sldId="2147472976"/>
            <ac:spMk id="25" creationId="{829B9C71-BC31-4FE9-8CEE-0E15053C167F}"/>
          </ac:spMkLst>
        </pc:spChg>
      </pc:sldChg>
      <pc:sldChg chg="modSp">
        <pc:chgData name="David Lynch" userId="666a0384-f147-414d-9e35-a983301ea6cb" providerId="ADAL" clId="{08AFB8BB-F847-449A-9BB8-9A9ECA4164B7}" dt="2023-04-25T10:05:43.691" v="21"/>
        <pc:sldMkLst>
          <pc:docMk/>
          <pc:sldMk cId="3147662304" sldId="2147473015"/>
        </pc:sldMkLst>
        <pc:spChg chg="mod">
          <ac:chgData name="David Lynch" userId="666a0384-f147-414d-9e35-a983301ea6cb" providerId="ADAL" clId="{08AFB8BB-F847-449A-9BB8-9A9ECA4164B7}" dt="2023-04-25T10:05:43.691" v="21"/>
          <ac:spMkLst>
            <pc:docMk/>
            <pc:sldMk cId="3147662304" sldId="2147473015"/>
            <ac:spMk id="2" creationId="{891449F1-373B-460D-9406-98872BA5A64C}"/>
          </ac:spMkLst>
        </pc:spChg>
        <pc:spChg chg="mod">
          <ac:chgData name="David Lynch" userId="666a0384-f147-414d-9e35-a983301ea6cb" providerId="ADAL" clId="{08AFB8BB-F847-449A-9BB8-9A9ECA4164B7}" dt="2023-04-25T10:05:43.691" v="21"/>
          <ac:spMkLst>
            <pc:docMk/>
            <pc:sldMk cId="3147662304" sldId="2147473015"/>
            <ac:spMk id="8" creationId="{7824D54C-15D2-467C-A016-166944D0781C}"/>
          </ac:spMkLst>
        </pc:spChg>
      </pc:sldChg>
      <pc:sldChg chg="modSp">
        <pc:chgData name="David Lynch" userId="666a0384-f147-414d-9e35-a983301ea6cb" providerId="ADAL" clId="{08AFB8BB-F847-449A-9BB8-9A9ECA4164B7}" dt="2023-04-25T10:05:43.691" v="21"/>
        <pc:sldMkLst>
          <pc:docMk/>
          <pc:sldMk cId="3348310596" sldId="2147473016"/>
        </pc:sldMkLst>
        <pc:spChg chg="mod">
          <ac:chgData name="David Lynch" userId="666a0384-f147-414d-9e35-a983301ea6cb" providerId="ADAL" clId="{08AFB8BB-F847-449A-9BB8-9A9ECA4164B7}" dt="2023-04-25T10:05:43.691" v="21"/>
          <ac:spMkLst>
            <pc:docMk/>
            <pc:sldMk cId="3348310596" sldId="2147473016"/>
            <ac:spMk id="8" creationId="{7824D54C-15D2-467C-A016-166944D0781C}"/>
          </ac:spMkLst>
        </pc:spChg>
      </pc:sldChg>
      <pc:sldChg chg="modSp">
        <pc:chgData name="David Lynch" userId="666a0384-f147-414d-9e35-a983301ea6cb" providerId="ADAL" clId="{08AFB8BB-F847-449A-9BB8-9A9ECA4164B7}" dt="2023-04-25T10:05:43.691" v="21"/>
        <pc:sldMkLst>
          <pc:docMk/>
          <pc:sldMk cId="3877744209" sldId="2147473033"/>
        </pc:sldMkLst>
        <pc:spChg chg="mod">
          <ac:chgData name="David Lynch" userId="666a0384-f147-414d-9e35-a983301ea6cb" providerId="ADAL" clId="{08AFB8BB-F847-449A-9BB8-9A9ECA4164B7}" dt="2023-04-25T10:05:43.691" v="21"/>
          <ac:spMkLst>
            <pc:docMk/>
            <pc:sldMk cId="3877744209" sldId="2147473033"/>
            <ac:spMk id="8" creationId="{7824D54C-15D2-467C-A016-166944D0781C}"/>
          </ac:spMkLst>
        </pc:spChg>
      </pc:sldChg>
      <pc:sldChg chg="modSp">
        <pc:chgData name="David Lynch" userId="666a0384-f147-414d-9e35-a983301ea6cb" providerId="ADAL" clId="{08AFB8BB-F847-449A-9BB8-9A9ECA4164B7}" dt="2023-04-25T10:05:43.691" v="21"/>
        <pc:sldMkLst>
          <pc:docMk/>
          <pc:sldMk cId="4150608312" sldId="2147473035"/>
        </pc:sldMkLst>
        <pc:spChg chg="mod">
          <ac:chgData name="David Lynch" userId="666a0384-f147-414d-9e35-a983301ea6cb" providerId="ADAL" clId="{08AFB8BB-F847-449A-9BB8-9A9ECA4164B7}" dt="2023-04-25T10:05:43.691" v="21"/>
          <ac:spMkLst>
            <pc:docMk/>
            <pc:sldMk cId="4150608312" sldId="2147473035"/>
            <ac:spMk id="2" creationId="{9383066B-12A0-4434-BE3B-106D76B9E30E}"/>
          </ac:spMkLst>
        </pc:spChg>
        <pc:spChg chg="mod">
          <ac:chgData name="David Lynch" userId="666a0384-f147-414d-9e35-a983301ea6cb" providerId="ADAL" clId="{08AFB8BB-F847-449A-9BB8-9A9ECA4164B7}" dt="2023-04-25T10:05:43.691" v="21"/>
          <ac:spMkLst>
            <pc:docMk/>
            <pc:sldMk cId="4150608312" sldId="2147473035"/>
            <ac:spMk id="8" creationId="{7824D54C-15D2-467C-A016-166944D0781C}"/>
          </ac:spMkLst>
        </pc:spChg>
      </pc:sldChg>
      <pc:sldChg chg="modSp">
        <pc:chgData name="David Lynch" userId="666a0384-f147-414d-9e35-a983301ea6cb" providerId="ADAL" clId="{08AFB8BB-F847-449A-9BB8-9A9ECA4164B7}" dt="2023-04-25T10:05:43.691" v="21"/>
        <pc:sldMkLst>
          <pc:docMk/>
          <pc:sldMk cId="4045854132" sldId="2147473036"/>
        </pc:sldMkLst>
        <pc:spChg chg="mod">
          <ac:chgData name="David Lynch" userId="666a0384-f147-414d-9e35-a983301ea6cb" providerId="ADAL" clId="{08AFB8BB-F847-449A-9BB8-9A9ECA4164B7}" dt="2023-04-25T10:05:43.691" v="21"/>
          <ac:spMkLst>
            <pc:docMk/>
            <pc:sldMk cId="4045854132" sldId="2147473036"/>
            <ac:spMk id="8" creationId="{7824D54C-15D2-467C-A016-166944D0781C}"/>
          </ac:spMkLst>
        </pc:spChg>
        <pc:spChg chg="mod">
          <ac:chgData name="David Lynch" userId="666a0384-f147-414d-9e35-a983301ea6cb" providerId="ADAL" clId="{08AFB8BB-F847-449A-9BB8-9A9ECA4164B7}" dt="2023-04-25T10:05:43.691" v="21"/>
          <ac:spMkLst>
            <pc:docMk/>
            <pc:sldMk cId="4045854132" sldId="2147473036"/>
            <ac:spMk id="10" creationId="{D496D64B-2144-4DD5-9FF9-F075876D602F}"/>
          </ac:spMkLst>
        </pc:spChg>
      </pc:sldChg>
      <pc:sldChg chg="modSp">
        <pc:chgData name="David Lynch" userId="666a0384-f147-414d-9e35-a983301ea6cb" providerId="ADAL" clId="{08AFB8BB-F847-449A-9BB8-9A9ECA4164B7}" dt="2023-04-25T10:05:43.691" v="21"/>
        <pc:sldMkLst>
          <pc:docMk/>
          <pc:sldMk cId="3746619387" sldId="2147473037"/>
        </pc:sldMkLst>
        <pc:spChg chg="mod">
          <ac:chgData name="David Lynch" userId="666a0384-f147-414d-9e35-a983301ea6cb" providerId="ADAL" clId="{08AFB8BB-F847-449A-9BB8-9A9ECA4164B7}" dt="2023-04-25T10:05:43.691" v="21"/>
          <ac:spMkLst>
            <pc:docMk/>
            <pc:sldMk cId="3746619387" sldId="2147473037"/>
            <ac:spMk id="8" creationId="{7824D54C-15D2-467C-A016-166944D0781C}"/>
          </ac:spMkLst>
        </pc:spChg>
      </pc:sldChg>
      <pc:sldChg chg="modSp mod">
        <pc:chgData name="David Lynch" userId="666a0384-f147-414d-9e35-a983301ea6cb" providerId="ADAL" clId="{08AFB8BB-F847-449A-9BB8-9A9ECA4164B7}" dt="2023-04-25T10:05:43.691" v="21"/>
        <pc:sldMkLst>
          <pc:docMk/>
          <pc:sldMk cId="2522428686" sldId="2147473084"/>
        </pc:sldMkLst>
        <pc:spChg chg="mod">
          <ac:chgData name="David Lynch" userId="666a0384-f147-414d-9e35-a983301ea6cb" providerId="ADAL" clId="{08AFB8BB-F847-449A-9BB8-9A9ECA4164B7}" dt="2023-04-25T10:05:43.691" v="21"/>
          <ac:spMkLst>
            <pc:docMk/>
            <pc:sldMk cId="2522428686" sldId="2147473084"/>
            <ac:spMk id="21" creationId="{014E59DE-9899-4AB4-9565-64D35AE09C49}"/>
          </ac:spMkLst>
        </pc:spChg>
        <pc:spChg chg="mod">
          <ac:chgData name="David Lynch" userId="666a0384-f147-414d-9e35-a983301ea6cb" providerId="ADAL" clId="{08AFB8BB-F847-449A-9BB8-9A9ECA4164B7}" dt="2023-04-25T10:01:37.317" v="19" actId="313"/>
          <ac:spMkLst>
            <pc:docMk/>
            <pc:sldMk cId="2522428686" sldId="2147473084"/>
            <ac:spMk id="31" creationId="{49B05FDE-10A0-4673-AF8E-BD272C2B834A}"/>
          </ac:spMkLst>
        </pc:spChg>
      </pc:sldChg>
      <pc:sldChg chg="modSp">
        <pc:chgData name="David Lynch" userId="666a0384-f147-414d-9e35-a983301ea6cb" providerId="ADAL" clId="{08AFB8BB-F847-449A-9BB8-9A9ECA4164B7}" dt="2023-04-25T10:05:43.691" v="21"/>
        <pc:sldMkLst>
          <pc:docMk/>
          <pc:sldMk cId="1508220717" sldId="2147473085"/>
        </pc:sldMkLst>
        <pc:spChg chg="mod">
          <ac:chgData name="David Lynch" userId="666a0384-f147-414d-9e35-a983301ea6cb" providerId="ADAL" clId="{08AFB8BB-F847-449A-9BB8-9A9ECA4164B7}" dt="2023-04-25T10:05:43.691" v="21"/>
          <ac:spMkLst>
            <pc:docMk/>
            <pc:sldMk cId="1508220717" sldId="2147473085"/>
            <ac:spMk id="8" creationId="{7824D54C-15D2-467C-A016-166944D0781C}"/>
          </ac:spMkLst>
        </pc:spChg>
        <pc:spChg chg="mod">
          <ac:chgData name="David Lynch" userId="666a0384-f147-414d-9e35-a983301ea6cb" providerId="ADAL" clId="{08AFB8BB-F847-449A-9BB8-9A9ECA4164B7}" dt="2023-04-25T10:05:43.691" v="21"/>
          <ac:spMkLst>
            <pc:docMk/>
            <pc:sldMk cId="1508220717" sldId="2147473085"/>
            <ac:spMk id="10" creationId="{E5DDCEBC-69B7-4DFD-A56A-01A11FF52BD8}"/>
          </ac:spMkLst>
        </pc:spChg>
      </pc:sldChg>
      <pc:sldChg chg="modSp mod">
        <pc:chgData name="David Lynch" userId="666a0384-f147-414d-9e35-a983301ea6cb" providerId="ADAL" clId="{08AFB8BB-F847-449A-9BB8-9A9ECA4164B7}" dt="2023-04-25T10:05:43.691" v="21"/>
        <pc:sldMkLst>
          <pc:docMk/>
          <pc:sldMk cId="1356336447" sldId="2147473087"/>
        </pc:sldMkLst>
        <pc:spChg chg="mod">
          <ac:chgData name="David Lynch" userId="666a0384-f147-414d-9e35-a983301ea6cb" providerId="ADAL" clId="{08AFB8BB-F847-449A-9BB8-9A9ECA4164B7}" dt="2023-04-25T10:05:43.691" v="21"/>
          <ac:spMkLst>
            <pc:docMk/>
            <pc:sldMk cId="1356336447" sldId="2147473087"/>
            <ac:spMk id="8" creationId="{7824D54C-15D2-467C-A016-166944D0781C}"/>
          </ac:spMkLst>
        </pc:spChg>
        <pc:spChg chg="mod">
          <ac:chgData name="David Lynch" userId="666a0384-f147-414d-9e35-a983301ea6cb" providerId="ADAL" clId="{08AFB8BB-F847-449A-9BB8-9A9ECA4164B7}" dt="2023-04-25T10:00:33.410" v="8" actId="2"/>
          <ac:spMkLst>
            <pc:docMk/>
            <pc:sldMk cId="1356336447" sldId="2147473087"/>
            <ac:spMk id="30" creationId="{EDEFF43A-B599-3C18-437C-4D4D2A641EBF}"/>
          </ac:spMkLst>
        </pc:spChg>
      </pc:sldChg>
      <pc:sldChg chg="modSp mod">
        <pc:chgData name="David Lynch" userId="666a0384-f147-414d-9e35-a983301ea6cb" providerId="ADAL" clId="{08AFB8BB-F847-449A-9BB8-9A9ECA4164B7}" dt="2023-04-25T10:05:43.691" v="21"/>
        <pc:sldMkLst>
          <pc:docMk/>
          <pc:sldMk cId="2991878390" sldId="2147473088"/>
        </pc:sldMkLst>
        <pc:spChg chg="mod">
          <ac:chgData name="David Lynch" userId="666a0384-f147-414d-9e35-a983301ea6cb" providerId="ADAL" clId="{08AFB8BB-F847-449A-9BB8-9A9ECA4164B7}" dt="2023-04-25T10:05:43.691" v="21"/>
          <ac:spMkLst>
            <pc:docMk/>
            <pc:sldMk cId="2991878390" sldId="2147473088"/>
            <ac:spMk id="8" creationId="{7824D54C-15D2-467C-A016-166944D0781C}"/>
          </ac:spMkLst>
        </pc:spChg>
        <pc:spChg chg="mod">
          <ac:chgData name="David Lynch" userId="666a0384-f147-414d-9e35-a983301ea6cb" providerId="ADAL" clId="{08AFB8BB-F847-449A-9BB8-9A9ECA4164B7}" dt="2023-04-25T10:00:16.549" v="6" actId="2"/>
          <ac:spMkLst>
            <pc:docMk/>
            <pc:sldMk cId="2991878390" sldId="2147473088"/>
            <ac:spMk id="10" creationId="{5A020B04-B1A7-3B52-77CA-A651BF74604D}"/>
          </ac:spMkLst>
        </pc:spChg>
        <pc:spChg chg="mod">
          <ac:chgData name="David Lynch" userId="666a0384-f147-414d-9e35-a983301ea6cb" providerId="ADAL" clId="{08AFB8BB-F847-449A-9BB8-9A9ECA4164B7}" dt="2023-04-25T10:00:30.935" v="7" actId="313"/>
          <ac:spMkLst>
            <pc:docMk/>
            <pc:sldMk cId="2991878390" sldId="2147473088"/>
            <ac:spMk id="26" creationId="{EA6EF1EA-6E0A-BC30-D333-8868B523A242}"/>
          </ac:spMkLst>
        </pc:spChg>
      </pc:sldChg>
      <pc:sldChg chg="modSp">
        <pc:chgData name="David Lynch" userId="666a0384-f147-414d-9e35-a983301ea6cb" providerId="ADAL" clId="{08AFB8BB-F847-449A-9BB8-9A9ECA4164B7}" dt="2023-04-25T10:05:43.691" v="21"/>
        <pc:sldMkLst>
          <pc:docMk/>
          <pc:sldMk cId="2943416714" sldId="2147473090"/>
        </pc:sldMkLst>
        <pc:spChg chg="mod">
          <ac:chgData name="David Lynch" userId="666a0384-f147-414d-9e35-a983301ea6cb" providerId="ADAL" clId="{08AFB8BB-F847-449A-9BB8-9A9ECA4164B7}" dt="2023-04-25T10:05:43.691" v="21"/>
          <ac:spMkLst>
            <pc:docMk/>
            <pc:sldMk cId="2943416714" sldId="2147473090"/>
            <ac:spMk id="8" creationId="{7824D54C-15D2-467C-A016-166944D0781C}"/>
          </ac:spMkLst>
        </pc:spChg>
      </pc:sldChg>
      <pc:sldChg chg="modSp mod">
        <pc:chgData name="David Lynch" userId="666a0384-f147-414d-9e35-a983301ea6cb" providerId="ADAL" clId="{08AFB8BB-F847-449A-9BB8-9A9ECA4164B7}" dt="2023-04-25T10:05:43.691" v="21"/>
        <pc:sldMkLst>
          <pc:docMk/>
          <pc:sldMk cId="3919341415" sldId="2147473092"/>
        </pc:sldMkLst>
        <pc:spChg chg="mod">
          <ac:chgData name="David Lynch" userId="666a0384-f147-414d-9e35-a983301ea6cb" providerId="ADAL" clId="{08AFB8BB-F847-449A-9BB8-9A9ECA4164B7}" dt="2023-04-25T10:00:59.887" v="12" actId="2"/>
          <ac:spMkLst>
            <pc:docMk/>
            <pc:sldMk cId="3919341415" sldId="2147473092"/>
            <ac:spMk id="2" creationId="{C9380DAB-555A-0917-3E5C-AC25FCA0C96F}"/>
          </ac:spMkLst>
        </pc:spChg>
        <pc:spChg chg="mod">
          <ac:chgData name="David Lynch" userId="666a0384-f147-414d-9e35-a983301ea6cb" providerId="ADAL" clId="{08AFB8BB-F847-449A-9BB8-9A9ECA4164B7}" dt="2023-04-25T10:05:43.691" v="21"/>
          <ac:spMkLst>
            <pc:docMk/>
            <pc:sldMk cId="3919341415" sldId="2147473092"/>
            <ac:spMk id="8" creationId="{7824D54C-15D2-467C-A016-166944D0781C}"/>
          </ac:spMkLst>
        </pc:spChg>
      </pc:sldChg>
      <pc:sldChg chg="modSp mod">
        <pc:chgData name="David Lynch" userId="666a0384-f147-414d-9e35-a983301ea6cb" providerId="ADAL" clId="{08AFB8BB-F847-449A-9BB8-9A9ECA4164B7}" dt="2023-04-25T10:05:43.691" v="21"/>
        <pc:sldMkLst>
          <pc:docMk/>
          <pc:sldMk cId="4151300856" sldId="2147473094"/>
        </pc:sldMkLst>
        <pc:spChg chg="mod">
          <ac:chgData name="David Lynch" userId="666a0384-f147-414d-9e35-a983301ea6cb" providerId="ADAL" clId="{08AFB8BB-F847-449A-9BB8-9A9ECA4164B7}" dt="2023-04-25T10:01:02.946" v="16" actId="2"/>
          <ac:spMkLst>
            <pc:docMk/>
            <pc:sldMk cId="4151300856" sldId="2147473094"/>
            <ac:spMk id="2" creationId="{C9380DAB-555A-0917-3E5C-AC25FCA0C96F}"/>
          </ac:spMkLst>
        </pc:spChg>
        <pc:spChg chg="mod">
          <ac:chgData name="David Lynch" userId="666a0384-f147-414d-9e35-a983301ea6cb" providerId="ADAL" clId="{08AFB8BB-F847-449A-9BB8-9A9ECA4164B7}" dt="2023-04-25T10:05:43.691" v="21"/>
          <ac:spMkLst>
            <pc:docMk/>
            <pc:sldMk cId="4151300856" sldId="2147473094"/>
            <ac:spMk id="8" creationId="{7824D54C-15D2-467C-A016-166944D0781C}"/>
          </ac:spMkLst>
        </pc:spChg>
      </pc:sldChg>
      <pc:sldChg chg="modSp">
        <pc:chgData name="David Lynch" userId="666a0384-f147-414d-9e35-a983301ea6cb" providerId="ADAL" clId="{08AFB8BB-F847-449A-9BB8-9A9ECA4164B7}" dt="2023-04-25T10:05:43.691" v="21"/>
        <pc:sldMkLst>
          <pc:docMk/>
          <pc:sldMk cId="1568640098" sldId="2147473095"/>
        </pc:sldMkLst>
        <pc:spChg chg="mod">
          <ac:chgData name="David Lynch" userId="666a0384-f147-414d-9e35-a983301ea6cb" providerId="ADAL" clId="{08AFB8BB-F847-449A-9BB8-9A9ECA4164B7}" dt="2023-04-25T10:05:43.691" v="21"/>
          <ac:spMkLst>
            <pc:docMk/>
            <pc:sldMk cId="1568640098" sldId="2147473095"/>
            <ac:spMk id="8" creationId="{7824D54C-15D2-467C-A016-166944D0781C}"/>
          </ac:spMkLst>
        </pc:spChg>
      </pc:sldChg>
      <pc:sldChg chg="modSp mod">
        <pc:chgData name="David Lynch" userId="666a0384-f147-414d-9e35-a983301ea6cb" providerId="ADAL" clId="{08AFB8BB-F847-449A-9BB8-9A9ECA4164B7}" dt="2023-04-25T10:05:43.691" v="21"/>
        <pc:sldMkLst>
          <pc:docMk/>
          <pc:sldMk cId="2662812352" sldId="2147473096"/>
        </pc:sldMkLst>
        <pc:spChg chg="mod">
          <ac:chgData name="David Lynch" userId="666a0384-f147-414d-9e35-a983301ea6cb" providerId="ADAL" clId="{08AFB8BB-F847-449A-9BB8-9A9ECA4164B7}" dt="2023-04-25T10:05:43.691" v="21"/>
          <ac:spMkLst>
            <pc:docMk/>
            <pc:sldMk cId="2662812352" sldId="2147473096"/>
            <ac:spMk id="8" creationId="{7824D54C-15D2-467C-A016-166944D0781C}"/>
          </ac:spMkLst>
        </pc:spChg>
        <pc:spChg chg="mod">
          <ac:chgData name="David Lynch" userId="666a0384-f147-414d-9e35-a983301ea6cb" providerId="ADAL" clId="{08AFB8BB-F847-449A-9BB8-9A9ECA4164B7}" dt="2023-04-25T10:01:14.306" v="17" actId="2"/>
          <ac:spMkLst>
            <pc:docMk/>
            <pc:sldMk cId="2662812352" sldId="2147473096"/>
            <ac:spMk id="24" creationId="{91998C63-7A2E-5ED0-F3E4-ADA760EB5E00}"/>
          </ac:spMkLst>
        </pc:spChg>
        <pc:spChg chg="mod">
          <ac:chgData name="David Lynch" userId="666a0384-f147-414d-9e35-a983301ea6cb" providerId="ADAL" clId="{08AFB8BB-F847-449A-9BB8-9A9ECA4164B7}" dt="2023-04-25T10:01:17.841" v="18" actId="2"/>
          <ac:spMkLst>
            <pc:docMk/>
            <pc:sldMk cId="2662812352" sldId="2147473096"/>
            <ac:spMk id="49" creationId="{B19CA9E4-DCC8-4DDB-9BCE-CF271710E5F0}"/>
          </ac:spMkLst>
        </pc:spChg>
      </pc:sldChg>
      <pc:sldChg chg="modSp">
        <pc:chgData name="David Lynch" userId="666a0384-f147-414d-9e35-a983301ea6cb" providerId="ADAL" clId="{08AFB8BB-F847-449A-9BB8-9A9ECA4164B7}" dt="2023-04-25T10:05:43.691" v="21"/>
        <pc:sldMkLst>
          <pc:docMk/>
          <pc:sldMk cId="3873074402" sldId="2147473097"/>
        </pc:sldMkLst>
        <pc:spChg chg="mod">
          <ac:chgData name="David Lynch" userId="666a0384-f147-414d-9e35-a983301ea6cb" providerId="ADAL" clId="{08AFB8BB-F847-449A-9BB8-9A9ECA4164B7}" dt="2023-04-25T10:05:43.691" v="21"/>
          <ac:spMkLst>
            <pc:docMk/>
            <pc:sldMk cId="3873074402" sldId="2147473097"/>
            <ac:spMk id="8" creationId="{7824D54C-15D2-467C-A016-166944D0781C}"/>
          </ac:spMkLst>
        </pc:spChg>
      </pc:sldChg>
      <pc:sldChg chg="modSp">
        <pc:chgData name="David Lynch" userId="666a0384-f147-414d-9e35-a983301ea6cb" providerId="ADAL" clId="{08AFB8BB-F847-449A-9BB8-9A9ECA4164B7}" dt="2023-04-25T10:05:43.691" v="21"/>
        <pc:sldMkLst>
          <pc:docMk/>
          <pc:sldMk cId="119354129" sldId="2147473098"/>
        </pc:sldMkLst>
        <pc:spChg chg="mod">
          <ac:chgData name="David Lynch" userId="666a0384-f147-414d-9e35-a983301ea6cb" providerId="ADAL" clId="{08AFB8BB-F847-449A-9BB8-9A9ECA4164B7}" dt="2023-04-25T10:05:43.691" v="21"/>
          <ac:spMkLst>
            <pc:docMk/>
            <pc:sldMk cId="119354129" sldId="2147473098"/>
            <ac:spMk id="8" creationId="{7824D54C-15D2-467C-A016-166944D0781C}"/>
          </ac:spMkLst>
        </pc:spChg>
      </pc:sldChg>
      <pc:sldChg chg="modSp">
        <pc:chgData name="David Lynch" userId="666a0384-f147-414d-9e35-a983301ea6cb" providerId="ADAL" clId="{08AFB8BB-F847-449A-9BB8-9A9ECA4164B7}" dt="2023-04-25T10:05:43.691" v="21"/>
        <pc:sldMkLst>
          <pc:docMk/>
          <pc:sldMk cId="2361847867" sldId="2147473099"/>
        </pc:sldMkLst>
        <pc:spChg chg="mod">
          <ac:chgData name="David Lynch" userId="666a0384-f147-414d-9e35-a983301ea6cb" providerId="ADAL" clId="{08AFB8BB-F847-449A-9BB8-9A9ECA4164B7}" dt="2023-04-25T10:05:43.691" v="21"/>
          <ac:spMkLst>
            <pc:docMk/>
            <pc:sldMk cId="2361847867" sldId="2147473099"/>
            <ac:spMk id="7" creationId="{33F269DE-0479-486E-87F7-03A541C10513}"/>
          </ac:spMkLst>
        </pc:spChg>
      </pc:sldChg>
      <pc:sldChg chg="modSp">
        <pc:chgData name="David Lynch" userId="666a0384-f147-414d-9e35-a983301ea6cb" providerId="ADAL" clId="{08AFB8BB-F847-449A-9BB8-9A9ECA4164B7}" dt="2023-04-25T10:05:43.691" v="21"/>
        <pc:sldMkLst>
          <pc:docMk/>
          <pc:sldMk cId="3830057423" sldId="2147473100"/>
        </pc:sldMkLst>
        <pc:spChg chg="mod">
          <ac:chgData name="David Lynch" userId="666a0384-f147-414d-9e35-a983301ea6cb" providerId="ADAL" clId="{08AFB8BB-F847-449A-9BB8-9A9ECA4164B7}" dt="2023-04-25T10:05:43.691" v="21"/>
          <ac:spMkLst>
            <pc:docMk/>
            <pc:sldMk cId="3830057423" sldId="2147473100"/>
            <ac:spMk id="8" creationId="{7824D54C-15D2-467C-A016-166944D0781C}"/>
          </ac:spMkLst>
        </pc:spChg>
      </pc:sldChg>
      <pc:sldChg chg="modSp">
        <pc:chgData name="David Lynch" userId="666a0384-f147-414d-9e35-a983301ea6cb" providerId="ADAL" clId="{08AFB8BB-F847-449A-9BB8-9A9ECA4164B7}" dt="2023-04-25T10:05:43.691" v="21"/>
        <pc:sldMkLst>
          <pc:docMk/>
          <pc:sldMk cId="3207142972" sldId="2147473102"/>
        </pc:sldMkLst>
        <pc:spChg chg="mod">
          <ac:chgData name="David Lynch" userId="666a0384-f147-414d-9e35-a983301ea6cb" providerId="ADAL" clId="{08AFB8BB-F847-449A-9BB8-9A9ECA4164B7}" dt="2023-04-25T10:05:43.691" v="21"/>
          <ac:spMkLst>
            <pc:docMk/>
            <pc:sldMk cId="3207142972" sldId="2147473102"/>
            <ac:spMk id="7" creationId="{33F269DE-0479-486E-87F7-03A541C10513}"/>
          </ac:spMkLst>
        </pc:spChg>
      </pc:sldChg>
      <pc:sldChg chg="modSp">
        <pc:chgData name="David Lynch" userId="666a0384-f147-414d-9e35-a983301ea6cb" providerId="ADAL" clId="{08AFB8BB-F847-449A-9BB8-9A9ECA4164B7}" dt="2023-04-25T10:05:43.691" v="21"/>
        <pc:sldMkLst>
          <pc:docMk/>
          <pc:sldMk cId="555873494" sldId="2147473103"/>
        </pc:sldMkLst>
        <pc:spChg chg="mod">
          <ac:chgData name="David Lynch" userId="666a0384-f147-414d-9e35-a983301ea6cb" providerId="ADAL" clId="{08AFB8BB-F847-449A-9BB8-9A9ECA4164B7}" dt="2023-04-25T10:05:43.691" v="21"/>
          <ac:spMkLst>
            <pc:docMk/>
            <pc:sldMk cId="555873494" sldId="2147473103"/>
            <ac:spMk id="7" creationId="{33F269DE-0479-486E-87F7-03A541C10513}"/>
          </ac:spMkLst>
        </pc:spChg>
      </pc:sldChg>
      <pc:sldChg chg="modSp">
        <pc:chgData name="David Lynch" userId="666a0384-f147-414d-9e35-a983301ea6cb" providerId="ADAL" clId="{08AFB8BB-F847-449A-9BB8-9A9ECA4164B7}" dt="2023-04-25T10:05:43.691" v="21"/>
        <pc:sldMkLst>
          <pc:docMk/>
          <pc:sldMk cId="349697514" sldId="2147473104"/>
        </pc:sldMkLst>
        <pc:spChg chg="mod">
          <ac:chgData name="David Lynch" userId="666a0384-f147-414d-9e35-a983301ea6cb" providerId="ADAL" clId="{08AFB8BB-F847-449A-9BB8-9A9ECA4164B7}" dt="2023-04-25T10:05:43.691" v="21"/>
          <ac:spMkLst>
            <pc:docMk/>
            <pc:sldMk cId="349697514" sldId="2147473104"/>
            <ac:spMk id="7" creationId="{33F269DE-0479-486E-87F7-03A541C10513}"/>
          </ac:spMkLst>
        </pc:spChg>
      </pc:sldChg>
      <pc:sldChg chg="modSp">
        <pc:chgData name="David Lynch" userId="666a0384-f147-414d-9e35-a983301ea6cb" providerId="ADAL" clId="{08AFB8BB-F847-449A-9BB8-9A9ECA4164B7}" dt="2023-04-25T10:05:43.691" v="21"/>
        <pc:sldMkLst>
          <pc:docMk/>
          <pc:sldMk cId="2659308583" sldId="2147473105"/>
        </pc:sldMkLst>
        <pc:spChg chg="mod">
          <ac:chgData name="David Lynch" userId="666a0384-f147-414d-9e35-a983301ea6cb" providerId="ADAL" clId="{08AFB8BB-F847-449A-9BB8-9A9ECA4164B7}" dt="2023-04-25T10:05:43.691" v="21"/>
          <ac:spMkLst>
            <pc:docMk/>
            <pc:sldMk cId="2659308583" sldId="2147473105"/>
            <ac:spMk id="7" creationId="{33F269DE-0479-486E-87F7-03A541C10513}"/>
          </ac:spMkLst>
        </pc:spChg>
      </pc:sldChg>
      <pc:sldChg chg="modSp">
        <pc:chgData name="David Lynch" userId="666a0384-f147-414d-9e35-a983301ea6cb" providerId="ADAL" clId="{08AFB8BB-F847-449A-9BB8-9A9ECA4164B7}" dt="2023-04-25T10:05:43.691" v="21"/>
        <pc:sldMkLst>
          <pc:docMk/>
          <pc:sldMk cId="3781609366" sldId="2147473106"/>
        </pc:sldMkLst>
        <pc:spChg chg="mod">
          <ac:chgData name="David Lynch" userId="666a0384-f147-414d-9e35-a983301ea6cb" providerId="ADAL" clId="{08AFB8BB-F847-449A-9BB8-9A9ECA4164B7}" dt="2023-04-25T10:05:43.691" v="21"/>
          <ac:spMkLst>
            <pc:docMk/>
            <pc:sldMk cId="3781609366" sldId="2147473106"/>
            <ac:spMk id="4" creationId="{E432C490-8501-4DEB-9800-36DD8F00D9DA}"/>
          </ac:spMkLst>
        </pc:spChg>
        <pc:spChg chg="mod">
          <ac:chgData name="David Lynch" userId="666a0384-f147-414d-9e35-a983301ea6cb" providerId="ADAL" clId="{08AFB8BB-F847-449A-9BB8-9A9ECA4164B7}" dt="2023-04-25T10:05:43.691" v="21"/>
          <ac:spMkLst>
            <pc:docMk/>
            <pc:sldMk cId="3781609366" sldId="2147473106"/>
            <ac:spMk id="7" creationId="{33F269DE-0479-486E-87F7-03A541C10513}"/>
          </ac:spMkLst>
        </pc:spChg>
      </pc:sldChg>
      <pc:sldChg chg="modSp">
        <pc:chgData name="David Lynch" userId="666a0384-f147-414d-9e35-a983301ea6cb" providerId="ADAL" clId="{08AFB8BB-F847-449A-9BB8-9A9ECA4164B7}" dt="2023-04-25T10:05:43.691" v="21"/>
        <pc:sldMkLst>
          <pc:docMk/>
          <pc:sldMk cId="2222982580" sldId="2147473109"/>
        </pc:sldMkLst>
        <pc:spChg chg="mod">
          <ac:chgData name="David Lynch" userId="666a0384-f147-414d-9e35-a983301ea6cb" providerId="ADAL" clId="{08AFB8BB-F847-449A-9BB8-9A9ECA4164B7}" dt="2023-04-25T10:05:43.691" v="21"/>
          <ac:spMkLst>
            <pc:docMk/>
            <pc:sldMk cId="2222982580" sldId="2147473109"/>
            <ac:spMk id="8" creationId="{7824D54C-15D2-467C-A016-166944D0781C}"/>
          </ac:spMkLst>
        </pc:spChg>
      </pc:sldChg>
      <pc:sldChg chg="modSp">
        <pc:chgData name="David Lynch" userId="666a0384-f147-414d-9e35-a983301ea6cb" providerId="ADAL" clId="{08AFB8BB-F847-449A-9BB8-9A9ECA4164B7}" dt="2023-04-25T10:05:43.691" v="21"/>
        <pc:sldMkLst>
          <pc:docMk/>
          <pc:sldMk cId="2913355285" sldId="2147473111"/>
        </pc:sldMkLst>
        <pc:spChg chg="mod">
          <ac:chgData name="David Lynch" userId="666a0384-f147-414d-9e35-a983301ea6cb" providerId="ADAL" clId="{08AFB8BB-F847-449A-9BB8-9A9ECA4164B7}" dt="2023-04-25T10:05:43.691" v="21"/>
          <ac:spMkLst>
            <pc:docMk/>
            <pc:sldMk cId="2913355285" sldId="2147473111"/>
            <ac:spMk id="8" creationId="{7824D54C-15D2-467C-A016-166944D0781C}"/>
          </ac:spMkLst>
        </pc:spChg>
      </pc:sldChg>
      <pc:sldChg chg="modSp">
        <pc:chgData name="David Lynch" userId="666a0384-f147-414d-9e35-a983301ea6cb" providerId="ADAL" clId="{08AFB8BB-F847-449A-9BB8-9A9ECA4164B7}" dt="2023-04-25T10:05:43.691" v="21"/>
        <pc:sldMkLst>
          <pc:docMk/>
          <pc:sldMk cId="2128665819" sldId="2147473112"/>
        </pc:sldMkLst>
        <pc:spChg chg="mod">
          <ac:chgData name="David Lynch" userId="666a0384-f147-414d-9e35-a983301ea6cb" providerId="ADAL" clId="{08AFB8BB-F847-449A-9BB8-9A9ECA4164B7}" dt="2023-04-25T10:05:43.691" v="21"/>
          <ac:spMkLst>
            <pc:docMk/>
            <pc:sldMk cId="2128665819" sldId="2147473112"/>
            <ac:spMk id="8" creationId="{7824D54C-15D2-467C-A016-166944D0781C}"/>
          </ac:spMkLst>
        </pc:spChg>
      </pc:sldChg>
      <pc:sldChg chg="modSp">
        <pc:chgData name="David Lynch" userId="666a0384-f147-414d-9e35-a983301ea6cb" providerId="ADAL" clId="{08AFB8BB-F847-449A-9BB8-9A9ECA4164B7}" dt="2023-04-25T10:05:43.691" v="21"/>
        <pc:sldMkLst>
          <pc:docMk/>
          <pc:sldMk cId="3310043290" sldId="2147473113"/>
        </pc:sldMkLst>
        <pc:spChg chg="mod">
          <ac:chgData name="David Lynch" userId="666a0384-f147-414d-9e35-a983301ea6cb" providerId="ADAL" clId="{08AFB8BB-F847-449A-9BB8-9A9ECA4164B7}" dt="2023-04-25T10:05:43.691" v="21"/>
          <ac:spMkLst>
            <pc:docMk/>
            <pc:sldMk cId="3310043290" sldId="2147473113"/>
            <ac:spMk id="7" creationId="{33F269DE-0479-486E-87F7-03A541C10513}"/>
          </ac:spMkLst>
        </pc:spChg>
      </pc:sldChg>
      <pc:sldChg chg="modSp">
        <pc:chgData name="David Lynch" userId="666a0384-f147-414d-9e35-a983301ea6cb" providerId="ADAL" clId="{08AFB8BB-F847-449A-9BB8-9A9ECA4164B7}" dt="2023-04-25T10:05:43.691" v="21"/>
        <pc:sldMkLst>
          <pc:docMk/>
          <pc:sldMk cId="2071327280" sldId="2147473115"/>
        </pc:sldMkLst>
        <pc:spChg chg="mod">
          <ac:chgData name="David Lynch" userId="666a0384-f147-414d-9e35-a983301ea6cb" providerId="ADAL" clId="{08AFB8BB-F847-449A-9BB8-9A9ECA4164B7}" dt="2023-04-25T10:05:43.691" v="21"/>
          <ac:spMkLst>
            <pc:docMk/>
            <pc:sldMk cId="2071327280" sldId="2147473115"/>
            <ac:spMk id="8" creationId="{7824D54C-15D2-467C-A016-166944D0781C}"/>
          </ac:spMkLst>
        </pc:spChg>
      </pc:sldChg>
      <pc:sldChg chg="modSp">
        <pc:chgData name="David Lynch" userId="666a0384-f147-414d-9e35-a983301ea6cb" providerId="ADAL" clId="{08AFB8BB-F847-449A-9BB8-9A9ECA4164B7}" dt="2023-04-25T10:05:43.691" v="21"/>
        <pc:sldMkLst>
          <pc:docMk/>
          <pc:sldMk cId="2364299347" sldId="2147473116"/>
        </pc:sldMkLst>
        <pc:spChg chg="mod">
          <ac:chgData name="David Lynch" userId="666a0384-f147-414d-9e35-a983301ea6cb" providerId="ADAL" clId="{08AFB8BB-F847-449A-9BB8-9A9ECA4164B7}" dt="2023-04-25T10:05:43.691" v="21"/>
          <ac:spMkLst>
            <pc:docMk/>
            <pc:sldMk cId="2364299347" sldId="2147473116"/>
            <ac:spMk id="8" creationId="{7824D54C-15D2-467C-A016-166944D0781C}"/>
          </ac:spMkLst>
        </pc:spChg>
      </pc:sldChg>
      <pc:sldChg chg="modSp">
        <pc:chgData name="David Lynch" userId="666a0384-f147-414d-9e35-a983301ea6cb" providerId="ADAL" clId="{08AFB8BB-F847-449A-9BB8-9A9ECA4164B7}" dt="2023-04-25T10:05:43.691" v="21"/>
        <pc:sldMkLst>
          <pc:docMk/>
          <pc:sldMk cId="971029083" sldId="2147473117"/>
        </pc:sldMkLst>
        <pc:spChg chg="mod">
          <ac:chgData name="David Lynch" userId="666a0384-f147-414d-9e35-a983301ea6cb" providerId="ADAL" clId="{08AFB8BB-F847-449A-9BB8-9A9ECA4164B7}" dt="2023-04-25T10:05:43.691" v="21"/>
          <ac:spMkLst>
            <pc:docMk/>
            <pc:sldMk cId="971029083" sldId="2147473117"/>
            <ac:spMk id="8" creationId="{7824D54C-15D2-467C-A016-166944D0781C}"/>
          </ac:spMkLst>
        </pc:spChg>
      </pc:sldChg>
      <pc:sldChg chg="modSp">
        <pc:chgData name="David Lynch" userId="666a0384-f147-414d-9e35-a983301ea6cb" providerId="ADAL" clId="{08AFB8BB-F847-449A-9BB8-9A9ECA4164B7}" dt="2023-04-25T10:05:43.691" v="21"/>
        <pc:sldMkLst>
          <pc:docMk/>
          <pc:sldMk cId="1362520012" sldId="2147473119"/>
        </pc:sldMkLst>
        <pc:spChg chg="mod">
          <ac:chgData name="David Lynch" userId="666a0384-f147-414d-9e35-a983301ea6cb" providerId="ADAL" clId="{08AFB8BB-F847-449A-9BB8-9A9ECA4164B7}" dt="2023-04-25T10:05:43.691" v="21"/>
          <ac:spMkLst>
            <pc:docMk/>
            <pc:sldMk cId="1362520012" sldId="2147473119"/>
            <ac:spMk id="8" creationId="{7824D54C-15D2-467C-A016-166944D0781C}"/>
          </ac:spMkLst>
        </pc:spChg>
      </pc:sldChg>
      <pc:sldChg chg="modSp">
        <pc:chgData name="David Lynch" userId="666a0384-f147-414d-9e35-a983301ea6cb" providerId="ADAL" clId="{08AFB8BB-F847-449A-9BB8-9A9ECA4164B7}" dt="2023-04-25T10:05:43.691" v="21"/>
        <pc:sldMkLst>
          <pc:docMk/>
          <pc:sldMk cId="899793934" sldId="2147473120"/>
        </pc:sldMkLst>
        <pc:spChg chg="mod">
          <ac:chgData name="David Lynch" userId="666a0384-f147-414d-9e35-a983301ea6cb" providerId="ADAL" clId="{08AFB8BB-F847-449A-9BB8-9A9ECA4164B7}" dt="2023-04-25T10:05:43.691" v="21"/>
          <ac:spMkLst>
            <pc:docMk/>
            <pc:sldMk cId="899793934" sldId="2147473120"/>
            <ac:spMk id="7" creationId="{33F269DE-0479-486E-87F7-03A541C10513}"/>
          </ac:spMkLst>
        </pc:spChg>
      </pc:sldChg>
      <pc:sldChg chg="modSp">
        <pc:chgData name="David Lynch" userId="666a0384-f147-414d-9e35-a983301ea6cb" providerId="ADAL" clId="{08AFB8BB-F847-449A-9BB8-9A9ECA4164B7}" dt="2023-04-25T10:05:43.691" v="21"/>
        <pc:sldMkLst>
          <pc:docMk/>
          <pc:sldMk cId="3677451330" sldId="2147473122"/>
        </pc:sldMkLst>
        <pc:spChg chg="mod">
          <ac:chgData name="David Lynch" userId="666a0384-f147-414d-9e35-a983301ea6cb" providerId="ADAL" clId="{08AFB8BB-F847-449A-9BB8-9A9ECA4164B7}" dt="2023-04-25T10:05:43.691" v="21"/>
          <ac:spMkLst>
            <pc:docMk/>
            <pc:sldMk cId="3677451330" sldId="2147473122"/>
            <ac:spMk id="8" creationId="{7824D54C-15D2-467C-A016-166944D0781C}"/>
          </ac:spMkLst>
        </pc:spChg>
      </pc:sldChg>
      <pc:sldChg chg="modSp">
        <pc:chgData name="David Lynch" userId="666a0384-f147-414d-9e35-a983301ea6cb" providerId="ADAL" clId="{08AFB8BB-F847-449A-9BB8-9A9ECA4164B7}" dt="2023-04-25T10:05:43.691" v="21"/>
        <pc:sldMkLst>
          <pc:docMk/>
          <pc:sldMk cId="1258883452" sldId="2147473123"/>
        </pc:sldMkLst>
        <pc:spChg chg="mod">
          <ac:chgData name="David Lynch" userId="666a0384-f147-414d-9e35-a983301ea6cb" providerId="ADAL" clId="{08AFB8BB-F847-449A-9BB8-9A9ECA4164B7}" dt="2023-04-25T10:05:43.691" v="21"/>
          <ac:spMkLst>
            <pc:docMk/>
            <pc:sldMk cId="1258883452" sldId="2147473123"/>
            <ac:spMk id="8" creationId="{7824D54C-15D2-467C-A016-166944D0781C}"/>
          </ac:spMkLst>
        </pc:spChg>
      </pc:sldChg>
      <pc:sldChg chg="modSp">
        <pc:chgData name="David Lynch" userId="666a0384-f147-414d-9e35-a983301ea6cb" providerId="ADAL" clId="{08AFB8BB-F847-449A-9BB8-9A9ECA4164B7}" dt="2023-04-25T10:05:43.691" v="21"/>
        <pc:sldMkLst>
          <pc:docMk/>
          <pc:sldMk cId="3902066404" sldId="2147473124"/>
        </pc:sldMkLst>
        <pc:spChg chg="mod">
          <ac:chgData name="David Lynch" userId="666a0384-f147-414d-9e35-a983301ea6cb" providerId="ADAL" clId="{08AFB8BB-F847-449A-9BB8-9A9ECA4164B7}" dt="2023-04-25T10:05:43.691" v="21"/>
          <ac:spMkLst>
            <pc:docMk/>
            <pc:sldMk cId="3902066404" sldId="2147473124"/>
            <ac:spMk id="8" creationId="{7824D54C-15D2-467C-A016-166944D0781C}"/>
          </ac:spMkLst>
        </pc:spChg>
      </pc:sldChg>
      <pc:sldChg chg="modSp">
        <pc:chgData name="David Lynch" userId="666a0384-f147-414d-9e35-a983301ea6cb" providerId="ADAL" clId="{08AFB8BB-F847-449A-9BB8-9A9ECA4164B7}" dt="2023-04-25T10:05:43.691" v="21"/>
        <pc:sldMkLst>
          <pc:docMk/>
          <pc:sldMk cId="2949565930" sldId="2147473125"/>
        </pc:sldMkLst>
        <pc:spChg chg="mod">
          <ac:chgData name="David Lynch" userId="666a0384-f147-414d-9e35-a983301ea6cb" providerId="ADAL" clId="{08AFB8BB-F847-449A-9BB8-9A9ECA4164B7}" dt="2023-04-25T10:05:43.691" v="21"/>
          <ac:spMkLst>
            <pc:docMk/>
            <pc:sldMk cId="2949565930" sldId="2147473125"/>
            <ac:spMk id="8" creationId="{7824D54C-15D2-467C-A016-166944D0781C}"/>
          </ac:spMkLst>
        </pc:spChg>
      </pc:sldChg>
      <pc:sldChg chg="modSp">
        <pc:chgData name="David Lynch" userId="666a0384-f147-414d-9e35-a983301ea6cb" providerId="ADAL" clId="{08AFB8BB-F847-449A-9BB8-9A9ECA4164B7}" dt="2023-04-25T10:05:43.691" v="21"/>
        <pc:sldMkLst>
          <pc:docMk/>
          <pc:sldMk cId="2663501755" sldId="2147473126"/>
        </pc:sldMkLst>
        <pc:spChg chg="mod">
          <ac:chgData name="David Lynch" userId="666a0384-f147-414d-9e35-a983301ea6cb" providerId="ADAL" clId="{08AFB8BB-F847-449A-9BB8-9A9ECA4164B7}" dt="2023-04-25T10:05:43.691" v="21"/>
          <ac:spMkLst>
            <pc:docMk/>
            <pc:sldMk cId="2663501755" sldId="2147473126"/>
            <ac:spMk id="8" creationId="{7824D54C-15D2-467C-A016-166944D0781C}"/>
          </ac:spMkLst>
        </pc:spChg>
      </pc:sldChg>
      <pc:sldChg chg="modSp">
        <pc:chgData name="David Lynch" userId="666a0384-f147-414d-9e35-a983301ea6cb" providerId="ADAL" clId="{08AFB8BB-F847-449A-9BB8-9A9ECA4164B7}" dt="2023-04-25T10:05:43.691" v="21"/>
        <pc:sldMkLst>
          <pc:docMk/>
          <pc:sldMk cId="3946557675" sldId="2147473127"/>
        </pc:sldMkLst>
        <pc:spChg chg="mod">
          <ac:chgData name="David Lynch" userId="666a0384-f147-414d-9e35-a983301ea6cb" providerId="ADAL" clId="{08AFB8BB-F847-449A-9BB8-9A9ECA4164B7}" dt="2023-04-25T10:05:43.691" v="21"/>
          <ac:spMkLst>
            <pc:docMk/>
            <pc:sldMk cId="3946557675" sldId="2147473127"/>
            <ac:spMk id="8" creationId="{7824D54C-15D2-467C-A016-166944D0781C}"/>
          </ac:spMkLst>
        </pc:spChg>
      </pc:sldChg>
      <pc:sldChg chg="modSp">
        <pc:chgData name="David Lynch" userId="666a0384-f147-414d-9e35-a983301ea6cb" providerId="ADAL" clId="{08AFB8BB-F847-449A-9BB8-9A9ECA4164B7}" dt="2023-04-25T10:05:43.691" v="21"/>
        <pc:sldMkLst>
          <pc:docMk/>
          <pc:sldMk cId="4085217813" sldId="2147473128"/>
        </pc:sldMkLst>
        <pc:spChg chg="mod">
          <ac:chgData name="David Lynch" userId="666a0384-f147-414d-9e35-a983301ea6cb" providerId="ADAL" clId="{08AFB8BB-F847-449A-9BB8-9A9ECA4164B7}" dt="2023-04-25T10:05:43.691" v="21"/>
          <ac:spMkLst>
            <pc:docMk/>
            <pc:sldMk cId="4085217813" sldId="2147473128"/>
            <ac:spMk id="8" creationId="{7824D54C-15D2-467C-A016-166944D0781C}"/>
          </ac:spMkLst>
        </pc:spChg>
      </pc:sldChg>
      <pc:sldChg chg="modSp">
        <pc:chgData name="David Lynch" userId="666a0384-f147-414d-9e35-a983301ea6cb" providerId="ADAL" clId="{08AFB8BB-F847-449A-9BB8-9A9ECA4164B7}" dt="2023-04-25T10:05:43.691" v="21"/>
        <pc:sldMkLst>
          <pc:docMk/>
          <pc:sldMk cId="4104838223" sldId="2147473129"/>
        </pc:sldMkLst>
        <pc:spChg chg="mod">
          <ac:chgData name="David Lynch" userId="666a0384-f147-414d-9e35-a983301ea6cb" providerId="ADAL" clId="{08AFB8BB-F847-449A-9BB8-9A9ECA4164B7}" dt="2023-04-25T10:05:43.691" v="21"/>
          <ac:spMkLst>
            <pc:docMk/>
            <pc:sldMk cId="4104838223" sldId="2147473129"/>
            <ac:spMk id="8" creationId="{7824D54C-15D2-467C-A016-166944D0781C}"/>
          </ac:spMkLst>
        </pc:spChg>
      </pc:sldChg>
      <pc:sldChg chg="modSp">
        <pc:chgData name="David Lynch" userId="666a0384-f147-414d-9e35-a983301ea6cb" providerId="ADAL" clId="{08AFB8BB-F847-449A-9BB8-9A9ECA4164B7}" dt="2023-04-25T10:05:43.691" v="21"/>
        <pc:sldMkLst>
          <pc:docMk/>
          <pc:sldMk cId="4187379778" sldId="2147473130"/>
        </pc:sldMkLst>
        <pc:spChg chg="mod">
          <ac:chgData name="David Lynch" userId="666a0384-f147-414d-9e35-a983301ea6cb" providerId="ADAL" clId="{08AFB8BB-F847-449A-9BB8-9A9ECA4164B7}" dt="2023-04-25T10:05:43.691" v="21"/>
          <ac:spMkLst>
            <pc:docMk/>
            <pc:sldMk cId="4187379778" sldId="2147473130"/>
            <ac:spMk id="8" creationId="{7824D54C-15D2-467C-A016-166944D0781C}"/>
          </ac:spMkLst>
        </pc:spChg>
      </pc:sldChg>
      <pc:sldChg chg="modSp">
        <pc:chgData name="David Lynch" userId="666a0384-f147-414d-9e35-a983301ea6cb" providerId="ADAL" clId="{08AFB8BB-F847-449A-9BB8-9A9ECA4164B7}" dt="2023-04-25T10:05:43.691" v="21"/>
        <pc:sldMkLst>
          <pc:docMk/>
          <pc:sldMk cId="1432532377" sldId="2147473131"/>
        </pc:sldMkLst>
        <pc:spChg chg="mod">
          <ac:chgData name="David Lynch" userId="666a0384-f147-414d-9e35-a983301ea6cb" providerId="ADAL" clId="{08AFB8BB-F847-449A-9BB8-9A9ECA4164B7}" dt="2023-04-25T10:05:43.691" v="21"/>
          <ac:spMkLst>
            <pc:docMk/>
            <pc:sldMk cId="1432532377" sldId="2147473131"/>
            <ac:spMk id="8" creationId="{7824D54C-15D2-467C-A016-166944D0781C}"/>
          </ac:spMkLst>
        </pc:spChg>
      </pc:sldChg>
      <pc:sldChg chg="modSp">
        <pc:chgData name="David Lynch" userId="666a0384-f147-414d-9e35-a983301ea6cb" providerId="ADAL" clId="{08AFB8BB-F847-449A-9BB8-9A9ECA4164B7}" dt="2023-04-25T10:05:43.691" v="21"/>
        <pc:sldMkLst>
          <pc:docMk/>
          <pc:sldMk cId="3887325126" sldId="2147473132"/>
        </pc:sldMkLst>
        <pc:spChg chg="mod">
          <ac:chgData name="David Lynch" userId="666a0384-f147-414d-9e35-a983301ea6cb" providerId="ADAL" clId="{08AFB8BB-F847-449A-9BB8-9A9ECA4164B7}" dt="2023-04-25T10:05:43.691" v="21"/>
          <ac:spMkLst>
            <pc:docMk/>
            <pc:sldMk cId="3887325126" sldId="2147473132"/>
            <ac:spMk id="8" creationId="{7824D54C-15D2-467C-A016-166944D0781C}"/>
          </ac:spMkLst>
        </pc:spChg>
      </pc:sldChg>
      <pc:sldChg chg="modSp">
        <pc:chgData name="David Lynch" userId="666a0384-f147-414d-9e35-a983301ea6cb" providerId="ADAL" clId="{08AFB8BB-F847-449A-9BB8-9A9ECA4164B7}" dt="2023-04-25T10:05:43.691" v="21"/>
        <pc:sldMkLst>
          <pc:docMk/>
          <pc:sldMk cId="260038410" sldId="2147473133"/>
        </pc:sldMkLst>
        <pc:spChg chg="mod">
          <ac:chgData name="David Lynch" userId="666a0384-f147-414d-9e35-a983301ea6cb" providerId="ADAL" clId="{08AFB8BB-F847-449A-9BB8-9A9ECA4164B7}" dt="2023-04-25T10:05:43.691" v="21"/>
          <ac:spMkLst>
            <pc:docMk/>
            <pc:sldMk cId="260038410" sldId="2147473133"/>
            <ac:spMk id="8" creationId="{7824D54C-15D2-467C-A016-166944D0781C}"/>
          </ac:spMkLst>
        </pc:spChg>
      </pc:sldChg>
      <pc:sldChg chg="modSp">
        <pc:chgData name="David Lynch" userId="666a0384-f147-414d-9e35-a983301ea6cb" providerId="ADAL" clId="{08AFB8BB-F847-449A-9BB8-9A9ECA4164B7}" dt="2023-04-25T10:05:43.691" v="21"/>
        <pc:sldMkLst>
          <pc:docMk/>
          <pc:sldMk cId="2368756887" sldId="2147473134"/>
        </pc:sldMkLst>
        <pc:spChg chg="mod">
          <ac:chgData name="David Lynch" userId="666a0384-f147-414d-9e35-a983301ea6cb" providerId="ADAL" clId="{08AFB8BB-F847-449A-9BB8-9A9ECA4164B7}" dt="2023-04-25T10:05:43.691" v="21"/>
          <ac:spMkLst>
            <pc:docMk/>
            <pc:sldMk cId="2368756887" sldId="2147473134"/>
            <ac:spMk id="8" creationId="{7824D54C-15D2-467C-A016-166944D0781C}"/>
          </ac:spMkLst>
        </pc:spChg>
      </pc:sldChg>
      <pc:sldChg chg="modSp">
        <pc:chgData name="David Lynch" userId="666a0384-f147-414d-9e35-a983301ea6cb" providerId="ADAL" clId="{08AFB8BB-F847-449A-9BB8-9A9ECA4164B7}" dt="2023-04-25T10:05:43.691" v="21"/>
        <pc:sldMkLst>
          <pc:docMk/>
          <pc:sldMk cId="3243111561" sldId="2147473135"/>
        </pc:sldMkLst>
        <pc:spChg chg="mod">
          <ac:chgData name="David Lynch" userId="666a0384-f147-414d-9e35-a983301ea6cb" providerId="ADAL" clId="{08AFB8BB-F847-449A-9BB8-9A9ECA4164B7}" dt="2023-04-25T10:05:43.691" v="21"/>
          <ac:spMkLst>
            <pc:docMk/>
            <pc:sldMk cId="3243111561" sldId="2147473135"/>
            <ac:spMk id="8" creationId="{7824D54C-15D2-467C-A016-166944D0781C}"/>
          </ac:spMkLst>
        </pc:spChg>
      </pc:sldChg>
      <pc:sldChg chg="modSp">
        <pc:chgData name="David Lynch" userId="666a0384-f147-414d-9e35-a983301ea6cb" providerId="ADAL" clId="{08AFB8BB-F847-449A-9BB8-9A9ECA4164B7}" dt="2023-04-25T10:05:43.691" v="21"/>
        <pc:sldMkLst>
          <pc:docMk/>
          <pc:sldMk cId="1537638012" sldId="2147473137"/>
        </pc:sldMkLst>
        <pc:spChg chg="mod">
          <ac:chgData name="David Lynch" userId="666a0384-f147-414d-9e35-a983301ea6cb" providerId="ADAL" clId="{08AFB8BB-F847-449A-9BB8-9A9ECA4164B7}" dt="2023-04-25T10:05:43.691" v="21"/>
          <ac:spMkLst>
            <pc:docMk/>
            <pc:sldMk cId="1537638012" sldId="2147473137"/>
            <ac:spMk id="7" creationId="{33F269DE-0479-486E-87F7-03A541C10513}"/>
          </ac:spMkLst>
        </pc:spChg>
      </pc:sldChg>
      <pc:sldChg chg="modSp">
        <pc:chgData name="David Lynch" userId="666a0384-f147-414d-9e35-a983301ea6cb" providerId="ADAL" clId="{08AFB8BB-F847-449A-9BB8-9A9ECA4164B7}" dt="2023-04-25T10:05:43.691" v="21"/>
        <pc:sldMkLst>
          <pc:docMk/>
          <pc:sldMk cId="2703490332" sldId="2147473150"/>
        </pc:sldMkLst>
        <pc:spChg chg="mod">
          <ac:chgData name="David Lynch" userId="666a0384-f147-414d-9e35-a983301ea6cb" providerId="ADAL" clId="{08AFB8BB-F847-449A-9BB8-9A9ECA4164B7}" dt="2023-04-25T10:05:43.691" v="21"/>
          <ac:spMkLst>
            <pc:docMk/>
            <pc:sldMk cId="2703490332" sldId="2147473150"/>
            <ac:spMk id="4" creationId="{E432C490-8501-4DEB-9800-36DD8F00D9DA}"/>
          </ac:spMkLst>
        </pc:spChg>
        <pc:spChg chg="mod">
          <ac:chgData name="David Lynch" userId="666a0384-f147-414d-9e35-a983301ea6cb" providerId="ADAL" clId="{08AFB8BB-F847-449A-9BB8-9A9ECA4164B7}" dt="2023-04-25T10:05:43.691" v="21"/>
          <ac:spMkLst>
            <pc:docMk/>
            <pc:sldMk cId="2703490332" sldId="2147473150"/>
            <ac:spMk id="7" creationId="{33F269DE-0479-486E-87F7-03A541C10513}"/>
          </ac:spMkLst>
        </pc:spChg>
      </pc:sldChg>
      <pc:sldChg chg="modSp">
        <pc:chgData name="David Lynch" userId="666a0384-f147-414d-9e35-a983301ea6cb" providerId="ADAL" clId="{08AFB8BB-F847-449A-9BB8-9A9ECA4164B7}" dt="2023-04-25T10:05:43.691" v="21"/>
        <pc:sldMkLst>
          <pc:docMk/>
          <pc:sldMk cId="2959291759" sldId="2147473151"/>
        </pc:sldMkLst>
        <pc:spChg chg="mod">
          <ac:chgData name="David Lynch" userId="666a0384-f147-414d-9e35-a983301ea6cb" providerId="ADAL" clId="{08AFB8BB-F847-449A-9BB8-9A9ECA4164B7}" dt="2023-04-25T10:05:43.691" v="21"/>
          <ac:spMkLst>
            <pc:docMk/>
            <pc:sldMk cId="2959291759" sldId="2147473151"/>
            <ac:spMk id="7" creationId="{33F269DE-0479-486E-87F7-03A541C10513}"/>
          </ac:spMkLst>
        </pc:spChg>
      </pc:sldChg>
      <pc:sldChg chg="modSp">
        <pc:chgData name="David Lynch" userId="666a0384-f147-414d-9e35-a983301ea6cb" providerId="ADAL" clId="{08AFB8BB-F847-449A-9BB8-9A9ECA4164B7}" dt="2023-04-25T10:05:43.691" v="21"/>
        <pc:sldMkLst>
          <pc:docMk/>
          <pc:sldMk cId="1027950115" sldId="2147473152"/>
        </pc:sldMkLst>
        <pc:spChg chg="mod">
          <ac:chgData name="David Lynch" userId="666a0384-f147-414d-9e35-a983301ea6cb" providerId="ADAL" clId="{08AFB8BB-F847-449A-9BB8-9A9ECA4164B7}" dt="2023-04-25T10:05:43.691" v="21"/>
          <ac:spMkLst>
            <pc:docMk/>
            <pc:sldMk cId="1027950115" sldId="2147473152"/>
            <ac:spMk id="7" creationId="{33F269DE-0479-486E-87F7-03A541C10513}"/>
          </ac:spMkLst>
        </pc:spChg>
      </pc:sldChg>
      <pc:sldChg chg="modSp">
        <pc:chgData name="David Lynch" userId="666a0384-f147-414d-9e35-a983301ea6cb" providerId="ADAL" clId="{08AFB8BB-F847-449A-9BB8-9A9ECA4164B7}" dt="2023-04-25T10:05:43.691" v="21"/>
        <pc:sldMkLst>
          <pc:docMk/>
          <pc:sldMk cId="4234908324" sldId="2147473153"/>
        </pc:sldMkLst>
        <pc:spChg chg="mod">
          <ac:chgData name="David Lynch" userId="666a0384-f147-414d-9e35-a983301ea6cb" providerId="ADAL" clId="{08AFB8BB-F847-449A-9BB8-9A9ECA4164B7}" dt="2023-04-25T10:05:43.691" v="21"/>
          <ac:spMkLst>
            <pc:docMk/>
            <pc:sldMk cId="4234908324" sldId="2147473153"/>
            <ac:spMk id="7" creationId="{33F269DE-0479-486E-87F7-03A541C10513}"/>
          </ac:spMkLst>
        </pc:spChg>
      </pc:sldChg>
      <pc:sldChg chg="modSp">
        <pc:chgData name="David Lynch" userId="666a0384-f147-414d-9e35-a983301ea6cb" providerId="ADAL" clId="{08AFB8BB-F847-449A-9BB8-9A9ECA4164B7}" dt="2023-04-25T10:05:43.691" v="21"/>
        <pc:sldMkLst>
          <pc:docMk/>
          <pc:sldMk cId="2621398256" sldId="2147473156"/>
        </pc:sldMkLst>
        <pc:spChg chg="mod">
          <ac:chgData name="David Lynch" userId="666a0384-f147-414d-9e35-a983301ea6cb" providerId="ADAL" clId="{08AFB8BB-F847-449A-9BB8-9A9ECA4164B7}" dt="2023-04-25T10:05:43.691" v="21"/>
          <ac:spMkLst>
            <pc:docMk/>
            <pc:sldMk cId="2621398256" sldId="2147473156"/>
            <ac:spMk id="21" creationId="{014E59DE-9899-4AB4-9565-64D35AE09C49}"/>
          </ac:spMkLst>
        </pc:spChg>
      </pc:sldChg>
      <pc:sldChg chg="modSp">
        <pc:chgData name="David Lynch" userId="666a0384-f147-414d-9e35-a983301ea6cb" providerId="ADAL" clId="{08AFB8BB-F847-449A-9BB8-9A9ECA4164B7}" dt="2023-04-25T10:05:43.691" v="21"/>
        <pc:sldMkLst>
          <pc:docMk/>
          <pc:sldMk cId="570567490" sldId="2147473157"/>
        </pc:sldMkLst>
        <pc:spChg chg="mod">
          <ac:chgData name="David Lynch" userId="666a0384-f147-414d-9e35-a983301ea6cb" providerId="ADAL" clId="{08AFB8BB-F847-449A-9BB8-9A9ECA4164B7}" dt="2023-04-25T10:05:43.691" v="21"/>
          <ac:spMkLst>
            <pc:docMk/>
            <pc:sldMk cId="570567490" sldId="2147473157"/>
            <ac:spMk id="21" creationId="{014E59DE-9899-4AB4-9565-64D35AE09C49}"/>
          </ac:spMkLst>
        </pc:spChg>
      </pc:sldChg>
      <pc:sldChg chg="modSp">
        <pc:chgData name="David Lynch" userId="666a0384-f147-414d-9e35-a983301ea6cb" providerId="ADAL" clId="{08AFB8BB-F847-449A-9BB8-9A9ECA4164B7}" dt="2023-04-25T10:05:43.691" v="21"/>
        <pc:sldMkLst>
          <pc:docMk/>
          <pc:sldMk cId="1909970683" sldId="2147473158"/>
        </pc:sldMkLst>
        <pc:spChg chg="mod">
          <ac:chgData name="David Lynch" userId="666a0384-f147-414d-9e35-a983301ea6cb" providerId="ADAL" clId="{08AFB8BB-F847-449A-9BB8-9A9ECA4164B7}" dt="2023-04-25T10:05:43.691" v="21"/>
          <ac:spMkLst>
            <pc:docMk/>
            <pc:sldMk cId="1909970683" sldId="2147473158"/>
            <ac:spMk id="21" creationId="{014E59DE-9899-4AB4-9565-64D35AE09C49}"/>
          </ac:spMkLst>
        </pc:spChg>
      </pc:sldChg>
      <pc:sldChg chg="modSp">
        <pc:chgData name="David Lynch" userId="666a0384-f147-414d-9e35-a983301ea6cb" providerId="ADAL" clId="{08AFB8BB-F847-449A-9BB8-9A9ECA4164B7}" dt="2023-04-25T10:05:43.691" v="21"/>
        <pc:sldMkLst>
          <pc:docMk/>
          <pc:sldMk cId="2509730765" sldId="2147473159"/>
        </pc:sldMkLst>
        <pc:spChg chg="mod">
          <ac:chgData name="David Lynch" userId="666a0384-f147-414d-9e35-a983301ea6cb" providerId="ADAL" clId="{08AFB8BB-F847-449A-9BB8-9A9ECA4164B7}" dt="2023-04-25T10:05:43.691" v="21"/>
          <ac:spMkLst>
            <pc:docMk/>
            <pc:sldMk cId="2509730765" sldId="2147473159"/>
            <ac:spMk id="21" creationId="{014E59DE-9899-4AB4-9565-64D35AE09C49}"/>
          </ac:spMkLst>
        </pc:spChg>
      </pc:sldChg>
      <pc:sldChg chg="modSp">
        <pc:chgData name="David Lynch" userId="666a0384-f147-414d-9e35-a983301ea6cb" providerId="ADAL" clId="{08AFB8BB-F847-449A-9BB8-9A9ECA4164B7}" dt="2023-04-25T10:05:43.691" v="21"/>
        <pc:sldMkLst>
          <pc:docMk/>
          <pc:sldMk cId="236134785" sldId="2147473160"/>
        </pc:sldMkLst>
        <pc:spChg chg="mod">
          <ac:chgData name="David Lynch" userId="666a0384-f147-414d-9e35-a983301ea6cb" providerId="ADAL" clId="{08AFB8BB-F847-449A-9BB8-9A9ECA4164B7}" dt="2023-04-25T10:05:43.691" v="21"/>
          <ac:spMkLst>
            <pc:docMk/>
            <pc:sldMk cId="236134785" sldId="2147473160"/>
            <ac:spMk id="21" creationId="{014E59DE-9899-4AB4-9565-64D35AE09C49}"/>
          </ac:spMkLst>
        </pc:spChg>
      </pc:sldChg>
      <pc:sldChg chg="modSp">
        <pc:chgData name="David Lynch" userId="666a0384-f147-414d-9e35-a983301ea6cb" providerId="ADAL" clId="{08AFB8BB-F847-449A-9BB8-9A9ECA4164B7}" dt="2023-04-25T10:05:43.691" v="21"/>
        <pc:sldMkLst>
          <pc:docMk/>
          <pc:sldMk cId="1597229887" sldId="2147473161"/>
        </pc:sldMkLst>
        <pc:spChg chg="mod">
          <ac:chgData name="David Lynch" userId="666a0384-f147-414d-9e35-a983301ea6cb" providerId="ADAL" clId="{08AFB8BB-F847-449A-9BB8-9A9ECA4164B7}" dt="2023-04-25T10:05:43.691" v="21"/>
          <ac:spMkLst>
            <pc:docMk/>
            <pc:sldMk cId="1597229887" sldId="2147473161"/>
            <ac:spMk id="8" creationId="{7824D54C-15D2-467C-A016-166944D0781C}"/>
          </ac:spMkLst>
        </pc:spChg>
      </pc:sldChg>
      <pc:sldChg chg="modSp">
        <pc:chgData name="David Lynch" userId="666a0384-f147-414d-9e35-a983301ea6cb" providerId="ADAL" clId="{08AFB8BB-F847-449A-9BB8-9A9ECA4164B7}" dt="2023-04-25T10:05:43.691" v="21"/>
        <pc:sldMkLst>
          <pc:docMk/>
          <pc:sldMk cId="3430764732" sldId="2147473162"/>
        </pc:sldMkLst>
        <pc:spChg chg="mod">
          <ac:chgData name="David Lynch" userId="666a0384-f147-414d-9e35-a983301ea6cb" providerId="ADAL" clId="{08AFB8BB-F847-449A-9BB8-9A9ECA4164B7}" dt="2023-04-25T10:05:43.691" v="21"/>
          <ac:spMkLst>
            <pc:docMk/>
            <pc:sldMk cId="3430764732" sldId="2147473162"/>
            <ac:spMk id="21" creationId="{014E59DE-9899-4AB4-9565-64D35AE09C49}"/>
          </ac:spMkLst>
        </pc:spChg>
      </pc:sldChg>
      <pc:sldChg chg="modSp">
        <pc:chgData name="David Lynch" userId="666a0384-f147-414d-9e35-a983301ea6cb" providerId="ADAL" clId="{08AFB8BB-F847-449A-9BB8-9A9ECA4164B7}" dt="2023-04-25T10:05:43.691" v="21"/>
        <pc:sldMkLst>
          <pc:docMk/>
          <pc:sldMk cId="4194910763" sldId="2147473163"/>
        </pc:sldMkLst>
        <pc:spChg chg="mod">
          <ac:chgData name="David Lynch" userId="666a0384-f147-414d-9e35-a983301ea6cb" providerId="ADAL" clId="{08AFB8BB-F847-449A-9BB8-9A9ECA4164B7}" dt="2023-04-25T10:05:43.691" v="21"/>
          <ac:spMkLst>
            <pc:docMk/>
            <pc:sldMk cId="4194910763" sldId="2147473163"/>
            <ac:spMk id="21" creationId="{014E59DE-9899-4AB4-9565-64D35AE09C49}"/>
          </ac:spMkLst>
        </pc:spChg>
      </pc:sldChg>
      <pc:sldChg chg="modSp">
        <pc:chgData name="David Lynch" userId="666a0384-f147-414d-9e35-a983301ea6cb" providerId="ADAL" clId="{08AFB8BB-F847-449A-9BB8-9A9ECA4164B7}" dt="2023-04-25T10:05:43.691" v="21"/>
        <pc:sldMkLst>
          <pc:docMk/>
          <pc:sldMk cId="653093163" sldId="2147473164"/>
        </pc:sldMkLst>
        <pc:spChg chg="mod">
          <ac:chgData name="David Lynch" userId="666a0384-f147-414d-9e35-a983301ea6cb" providerId="ADAL" clId="{08AFB8BB-F847-449A-9BB8-9A9ECA4164B7}" dt="2023-04-25T10:05:43.691" v="21"/>
          <ac:spMkLst>
            <pc:docMk/>
            <pc:sldMk cId="653093163" sldId="2147473164"/>
            <ac:spMk id="8" creationId="{7824D54C-15D2-467C-A016-166944D0781C}"/>
          </ac:spMkLst>
        </pc:spChg>
      </pc:sldChg>
      <pc:sldChg chg="modSp">
        <pc:chgData name="David Lynch" userId="666a0384-f147-414d-9e35-a983301ea6cb" providerId="ADAL" clId="{08AFB8BB-F847-449A-9BB8-9A9ECA4164B7}" dt="2023-04-25T10:05:43.691" v="21"/>
        <pc:sldMkLst>
          <pc:docMk/>
          <pc:sldMk cId="1956730751" sldId="2147473165"/>
        </pc:sldMkLst>
        <pc:spChg chg="mod">
          <ac:chgData name="David Lynch" userId="666a0384-f147-414d-9e35-a983301ea6cb" providerId="ADAL" clId="{08AFB8BB-F847-449A-9BB8-9A9ECA4164B7}" dt="2023-04-25T10:05:43.691" v="21"/>
          <ac:spMkLst>
            <pc:docMk/>
            <pc:sldMk cId="1956730751" sldId="2147473165"/>
            <ac:spMk id="21" creationId="{014E59DE-9899-4AB4-9565-64D35AE09C49}"/>
          </ac:spMkLst>
        </pc:spChg>
      </pc:sldChg>
      <pc:sldChg chg="modSp">
        <pc:chgData name="David Lynch" userId="666a0384-f147-414d-9e35-a983301ea6cb" providerId="ADAL" clId="{08AFB8BB-F847-449A-9BB8-9A9ECA4164B7}" dt="2023-04-25T10:05:43.691" v="21"/>
        <pc:sldMkLst>
          <pc:docMk/>
          <pc:sldMk cId="1120038110" sldId="2147473166"/>
        </pc:sldMkLst>
        <pc:spChg chg="mod">
          <ac:chgData name="David Lynch" userId="666a0384-f147-414d-9e35-a983301ea6cb" providerId="ADAL" clId="{08AFB8BB-F847-449A-9BB8-9A9ECA4164B7}" dt="2023-04-25T10:05:43.691" v="21"/>
          <ac:spMkLst>
            <pc:docMk/>
            <pc:sldMk cId="1120038110" sldId="2147473166"/>
            <ac:spMk id="21" creationId="{014E59DE-9899-4AB4-9565-64D35AE09C49}"/>
          </ac:spMkLst>
        </pc:spChg>
      </pc:sldChg>
      <pc:sldChg chg="modSp">
        <pc:chgData name="David Lynch" userId="666a0384-f147-414d-9e35-a983301ea6cb" providerId="ADAL" clId="{08AFB8BB-F847-449A-9BB8-9A9ECA4164B7}" dt="2023-04-25T10:05:43.691" v="21"/>
        <pc:sldMkLst>
          <pc:docMk/>
          <pc:sldMk cId="260131920" sldId="2147473167"/>
        </pc:sldMkLst>
        <pc:spChg chg="mod">
          <ac:chgData name="David Lynch" userId="666a0384-f147-414d-9e35-a983301ea6cb" providerId="ADAL" clId="{08AFB8BB-F847-449A-9BB8-9A9ECA4164B7}" dt="2023-04-25T10:05:43.691" v="21"/>
          <ac:spMkLst>
            <pc:docMk/>
            <pc:sldMk cId="260131920" sldId="2147473167"/>
            <ac:spMk id="21" creationId="{014E59DE-9899-4AB4-9565-64D35AE09C49}"/>
          </ac:spMkLst>
        </pc:spChg>
      </pc:sldChg>
      <pc:sldChg chg="modSp mod">
        <pc:chgData name="David Lynch" userId="666a0384-f147-414d-9e35-a983301ea6cb" providerId="ADAL" clId="{08AFB8BB-F847-449A-9BB8-9A9ECA4164B7}" dt="2023-04-25T10:05:43.691" v="21"/>
        <pc:sldMkLst>
          <pc:docMk/>
          <pc:sldMk cId="4048977282" sldId="2147473169"/>
        </pc:sldMkLst>
        <pc:spChg chg="mod">
          <ac:chgData name="David Lynch" userId="666a0384-f147-414d-9e35-a983301ea6cb" providerId="ADAL" clId="{08AFB8BB-F847-449A-9BB8-9A9ECA4164B7}" dt="2023-04-25T10:05:43.691" v="21"/>
          <ac:spMkLst>
            <pc:docMk/>
            <pc:sldMk cId="4048977282" sldId="2147473169"/>
            <ac:spMk id="5" creationId="{77EC0BF5-E538-465D-91E8-87355F0F39AA}"/>
          </ac:spMkLst>
        </pc:spChg>
        <pc:spChg chg="mod">
          <ac:chgData name="David Lynch" userId="666a0384-f147-414d-9e35-a983301ea6cb" providerId="ADAL" clId="{08AFB8BB-F847-449A-9BB8-9A9ECA4164B7}" dt="2023-04-25T10:05:43.691" v="21"/>
          <ac:spMkLst>
            <pc:docMk/>
            <pc:sldMk cId="4048977282" sldId="2147473169"/>
            <ac:spMk id="8" creationId="{7824D54C-15D2-467C-A016-166944D0781C}"/>
          </ac:spMkLst>
        </pc:spChg>
        <pc:spChg chg="mod">
          <ac:chgData name="David Lynch" userId="666a0384-f147-414d-9e35-a983301ea6cb" providerId="ADAL" clId="{08AFB8BB-F847-449A-9BB8-9A9ECA4164B7}" dt="2023-04-25T10:00:53.494" v="10" actId="313"/>
          <ac:spMkLst>
            <pc:docMk/>
            <pc:sldMk cId="4048977282" sldId="2147473169"/>
            <ac:spMk id="11" creationId="{9EE04F04-F794-4453-963E-5CFBB6620A43}"/>
          </ac:spMkLst>
        </pc:spChg>
        <pc:spChg chg="mod">
          <ac:chgData name="David Lynch" userId="666a0384-f147-414d-9e35-a983301ea6cb" providerId="ADAL" clId="{08AFB8BB-F847-449A-9BB8-9A9ECA4164B7}" dt="2023-04-25T10:00:57.880" v="11" actId="2"/>
          <ac:spMkLst>
            <pc:docMk/>
            <pc:sldMk cId="4048977282" sldId="2147473169"/>
            <ac:spMk id="12" creationId="{FB93CF21-DAD5-4B79-9666-F5B05BE3DD14}"/>
          </ac:spMkLst>
        </pc:spChg>
      </pc:sldChg>
      <pc:sldChg chg="modSp">
        <pc:chgData name="David Lynch" userId="666a0384-f147-414d-9e35-a983301ea6cb" providerId="ADAL" clId="{08AFB8BB-F847-449A-9BB8-9A9ECA4164B7}" dt="2023-04-25T10:05:43.691" v="21"/>
        <pc:sldMkLst>
          <pc:docMk/>
          <pc:sldMk cId="1691223875" sldId="2147473170"/>
        </pc:sldMkLst>
        <pc:spChg chg="mod">
          <ac:chgData name="David Lynch" userId="666a0384-f147-414d-9e35-a983301ea6cb" providerId="ADAL" clId="{08AFB8BB-F847-449A-9BB8-9A9ECA4164B7}" dt="2023-04-25T10:05:43.691" v="21"/>
          <ac:spMkLst>
            <pc:docMk/>
            <pc:sldMk cId="1691223875" sldId="2147473170"/>
            <ac:spMk id="8" creationId="{7824D54C-15D2-467C-A016-166944D0781C}"/>
          </ac:spMkLst>
        </pc:spChg>
      </pc:sldChg>
      <pc:sldChg chg="modSp">
        <pc:chgData name="David Lynch" userId="666a0384-f147-414d-9e35-a983301ea6cb" providerId="ADAL" clId="{08AFB8BB-F847-449A-9BB8-9A9ECA4164B7}" dt="2023-04-25T10:05:43.691" v="21"/>
        <pc:sldMkLst>
          <pc:docMk/>
          <pc:sldMk cId="2138245027" sldId="2147473171"/>
        </pc:sldMkLst>
        <pc:spChg chg="mod">
          <ac:chgData name="David Lynch" userId="666a0384-f147-414d-9e35-a983301ea6cb" providerId="ADAL" clId="{08AFB8BB-F847-449A-9BB8-9A9ECA4164B7}" dt="2023-04-25T10:05:43.691" v="21"/>
          <ac:spMkLst>
            <pc:docMk/>
            <pc:sldMk cId="2138245027" sldId="2147473171"/>
            <ac:spMk id="5" creationId="{77EC0BF5-E538-465D-91E8-87355F0F39AA}"/>
          </ac:spMkLst>
        </pc:spChg>
        <pc:spChg chg="mod">
          <ac:chgData name="David Lynch" userId="666a0384-f147-414d-9e35-a983301ea6cb" providerId="ADAL" clId="{08AFB8BB-F847-449A-9BB8-9A9ECA4164B7}" dt="2023-04-25T10:05:43.691" v="21"/>
          <ac:spMkLst>
            <pc:docMk/>
            <pc:sldMk cId="2138245027" sldId="2147473171"/>
            <ac:spMk id="8" creationId="{7824D54C-15D2-467C-A016-166944D0781C}"/>
          </ac:spMkLst>
        </pc:spChg>
      </pc:sldChg>
      <pc:sldChg chg="modSp">
        <pc:chgData name="David Lynch" userId="666a0384-f147-414d-9e35-a983301ea6cb" providerId="ADAL" clId="{08AFB8BB-F847-449A-9BB8-9A9ECA4164B7}" dt="2023-04-25T10:05:43.691" v="21"/>
        <pc:sldMkLst>
          <pc:docMk/>
          <pc:sldMk cId="3107324555" sldId="2147473173"/>
        </pc:sldMkLst>
        <pc:spChg chg="mod">
          <ac:chgData name="David Lynch" userId="666a0384-f147-414d-9e35-a983301ea6cb" providerId="ADAL" clId="{08AFB8BB-F847-449A-9BB8-9A9ECA4164B7}" dt="2023-04-25T10:05:43.691" v="21"/>
          <ac:spMkLst>
            <pc:docMk/>
            <pc:sldMk cId="3107324555" sldId="2147473173"/>
            <ac:spMk id="8" creationId="{7824D54C-15D2-467C-A016-166944D0781C}"/>
          </ac:spMkLst>
        </pc:spChg>
      </pc:sldChg>
      <pc:sldChg chg="modSp">
        <pc:chgData name="David Lynch" userId="666a0384-f147-414d-9e35-a983301ea6cb" providerId="ADAL" clId="{08AFB8BB-F847-449A-9BB8-9A9ECA4164B7}" dt="2023-04-25T10:05:43.691" v="21"/>
        <pc:sldMkLst>
          <pc:docMk/>
          <pc:sldMk cId="1294648436" sldId="2147479552"/>
        </pc:sldMkLst>
        <pc:spChg chg="mod">
          <ac:chgData name="David Lynch" userId="666a0384-f147-414d-9e35-a983301ea6cb" providerId="ADAL" clId="{08AFB8BB-F847-449A-9BB8-9A9ECA4164B7}" dt="2023-04-25T10:05:43.691" v="21"/>
          <ac:spMkLst>
            <pc:docMk/>
            <pc:sldMk cId="1294648436" sldId="2147479552"/>
            <ac:spMk id="8" creationId="{7824D54C-15D2-467C-A016-166944D0781C}"/>
          </ac:spMkLst>
        </pc:spChg>
      </pc:sldChg>
      <pc:sldChg chg="modSp mod">
        <pc:chgData name="David Lynch" userId="666a0384-f147-414d-9e35-a983301ea6cb" providerId="ADAL" clId="{08AFB8BB-F847-449A-9BB8-9A9ECA4164B7}" dt="2023-04-25T10:10:36.789" v="29" actId="14100"/>
        <pc:sldMkLst>
          <pc:docMk/>
          <pc:sldMk cId="1445273778" sldId="2147479553"/>
        </pc:sldMkLst>
        <pc:spChg chg="mod">
          <ac:chgData name="David Lynch" userId="666a0384-f147-414d-9e35-a983301ea6cb" providerId="ADAL" clId="{08AFB8BB-F847-449A-9BB8-9A9ECA4164B7}" dt="2023-04-25T10:05:43.691" v="21"/>
          <ac:spMkLst>
            <pc:docMk/>
            <pc:sldMk cId="1445273778" sldId="2147479553"/>
            <ac:spMk id="8" creationId="{7824D54C-15D2-467C-A016-166944D0781C}"/>
          </ac:spMkLst>
        </pc:spChg>
        <pc:spChg chg="mod">
          <ac:chgData name="David Lynch" userId="666a0384-f147-414d-9e35-a983301ea6cb" providerId="ADAL" clId="{08AFB8BB-F847-449A-9BB8-9A9ECA4164B7}" dt="2023-04-25T10:10:36.789" v="29" actId="14100"/>
          <ac:spMkLst>
            <pc:docMk/>
            <pc:sldMk cId="1445273778" sldId="2147479553"/>
            <ac:spMk id="46" creationId="{3934BF05-652B-4D27-8273-AEBA25F56641}"/>
          </ac:spMkLst>
        </pc:spChg>
      </pc:sldChg>
      <pc:sldChg chg="modSp">
        <pc:chgData name="David Lynch" userId="666a0384-f147-414d-9e35-a983301ea6cb" providerId="ADAL" clId="{08AFB8BB-F847-449A-9BB8-9A9ECA4164B7}" dt="2023-04-25T10:05:43.691" v="21"/>
        <pc:sldMkLst>
          <pc:docMk/>
          <pc:sldMk cId="3373854854" sldId="2147479554"/>
        </pc:sldMkLst>
        <pc:spChg chg="mod">
          <ac:chgData name="David Lynch" userId="666a0384-f147-414d-9e35-a983301ea6cb" providerId="ADAL" clId="{08AFB8BB-F847-449A-9BB8-9A9ECA4164B7}" dt="2023-04-25T10:05:43.691" v="21"/>
          <ac:spMkLst>
            <pc:docMk/>
            <pc:sldMk cId="3373854854" sldId="2147479554"/>
            <ac:spMk id="8" creationId="{7824D54C-15D2-467C-A016-166944D0781C}"/>
          </ac:spMkLst>
        </pc:spChg>
      </pc:sldChg>
      <pc:sldChg chg="modSp">
        <pc:chgData name="David Lynch" userId="666a0384-f147-414d-9e35-a983301ea6cb" providerId="ADAL" clId="{08AFB8BB-F847-449A-9BB8-9A9ECA4164B7}" dt="2023-04-25T10:05:43.691" v="21"/>
        <pc:sldMkLst>
          <pc:docMk/>
          <pc:sldMk cId="3168648727" sldId="2147479555"/>
        </pc:sldMkLst>
        <pc:spChg chg="mod">
          <ac:chgData name="David Lynch" userId="666a0384-f147-414d-9e35-a983301ea6cb" providerId="ADAL" clId="{08AFB8BB-F847-449A-9BB8-9A9ECA4164B7}" dt="2023-04-25T10:05:43.691" v="21"/>
          <ac:spMkLst>
            <pc:docMk/>
            <pc:sldMk cId="3168648727" sldId="2147479555"/>
            <ac:spMk id="8" creationId="{7824D54C-15D2-467C-A016-166944D0781C}"/>
          </ac:spMkLst>
        </pc:spChg>
      </pc:sldChg>
      <pc:sldChg chg="modSp">
        <pc:chgData name="David Lynch" userId="666a0384-f147-414d-9e35-a983301ea6cb" providerId="ADAL" clId="{08AFB8BB-F847-449A-9BB8-9A9ECA4164B7}" dt="2023-04-25T10:05:43.691" v="21"/>
        <pc:sldMkLst>
          <pc:docMk/>
          <pc:sldMk cId="2850363933" sldId="2147479556"/>
        </pc:sldMkLst>
        <pc:spChg chg="mod">
          <ac:chgData name="David Lynch" userId="666a0384-f147-414d-9e35-a983301ea6cb" providerId="ADAL" clId="{08AFB8BB-F847-449A-9BB8-9A9ECA4164B7}" dt="2023-04-25T10:05:43.691" v="21"/>
          <ac:spMkLst>
            <pc:docMk/>
            <pc:sldMk cId="2850363933" sldId="2147479556"/>
            <ac:spMk id="8" creationId="{7824D54C-15D2-467C-A016-166944D0781C}"/>
          </ac:spMkLst>
        </pc:spChg>
      </pc:sldChg>
      <pc:sldChg chg="modSp">
        <pc:chgData name="David Lynch" userId="666a0384-f147-414d-9e35-a983301ea6cb" providerId="ADAL" clId="{08AFB8BB-F847-449A-9BB8-9A9ECA4164B7}" dt="2023-04-25T10:05:43.691" v="21"/>
        <pc:sldMkLst>
          <pc:docMk/>
          <pc:sldMk cId="776080740" sldId="2147479558"/>
        </pc:sldMkLst>
        <pc:spChg chg="mod">
          <ac:chgData name="David Lynch" userId="666a0384-f147-414d-9e35-a983301ea6cb" providerId="ADAL" clId="{08AFB8BB-F847-449A-9BB8-9A9ECA4164B7}" dt="2023-04-25T10:05:43.691" v="21"/>
          <ac:spMkLst>
            <pc:docMk/>
            <pc:sldMk cId="776080740" sldId="2147479558"/>
            <ac:spMk id="8" creationId="{7824D54C-15D2-467C-A016-166944D0781C}"/>
          </ac:spMkLst>
        </pc:spChg>
      </pc:sldChg>
      <pc:sldChg chg="modSp">
        <pc:chgData name="David Lynch" userId="666a0384-f147-414d-9e35-a983301ea6cb" providerId="ADAL" clId="{08AFB8BB-F847-449A-9BB8-9A9ECA4164B7}" dt="2023-04-25T10:05:43.691" v="21"/>
        <pc:sldMkLst>
          <pc:docMk/>
          <pc:sldMk cId="869705999" sldId="2147479559"/>
        </pc:sldMkLst>
        <pc:spChg chg="mod">
          <ac:chgData name="David Lynch" userId="666a0384-f147-414d-9e35-a983301ea6cb" providerId="ADAL" clId="{08AFB8BB-F847-449A-9BB8-9A9ECA4164B7}" dt="2023-04-25T10:05:43.691" v="21"/>
          <ac:spMkLst>
            <pc:docMk/>
            <pc:sldMk cId="869705999" sldId="2147479559"/>
            <ac:spMk id="8" creationId="{7824D54C-15D2-467C-A016-166944D0781C}"/>
          </ac:spMkLst>
        </pc:spChg>
      </pc:sldChg>
      <pc:sldChg chg="modSp">
        <pc:chgData name="David Lynch" userId="666a0384-f147-414d-9e35-a983301ea6cb" providerId="ADAL" clId="{08AFB8BB-F847-449A-9BB8-9A9ECA4164B7}" dt="2023-04-25T10:05:43.691" v="21"/>
        <pc:sldMkLst>
          <pc:docMk/>
          <pc:sldMk cId="93018605" sldId="2147479563"/>
        </pc:sldMkLst>
        <pc:spChg chg="mod">
          <ac:chgData name="David Lynch" userId="666a0384-f147-414d-9e35-a983301ea6cb" providerId="ADAL" clId="{08AFB8BB-F847-449A-9BB8-9A9ECA4164B7}" dt="2023-04-25T10:05:43.691" v="21"/>
          <ac:spMkLst>
            <pc:docMk/>
            <pc:sldMk cId="93018605" sldId="2147479563"/>
            <ac:spMk id="8" creationId="{7824D54C-15D2-467C-A016-166944D0781C}"/>
          </ac:spMkLst>
        </pc:spChg>
      </pc:sldChg>
      <pc:sldChg chg="modSp">
        <pc:chgData name="David Lynch" userId="666a0384-f147-414d-9e35-a983301ea6cb" providerId="ADAL" clId="{08AFB8BB-F847-449A-9BB8-9A9ECA4164B7}" dt="2023-04-25T10:05:43.691" v="21"/>
        <pc:sldMkLst>
          <pc:docMk/>
          <pc:sldMk cId="1278009335" sldId="2147479564"/>
        </pc:sldMkLst>
        <pc:spChg chg="mod">
          <ac:chgData name="David Lynch" userId="666a0384-f147-414d-9e35-a983301ea6cb" providerId="ADAL" clId="{08AFB8BB-F847-449A-9BB8-9A9ECA4164B7}" dt="2023-04-25T10:05:43.691" v="21"/>
          <ac:spMkLst>
            <pc:docMk/>
            <pc:sldMk cId="1278009335" sldId="2147479564"/>
            <ac:spMk id="8" creationId="{7824D54C-15D2-467C-A016-166944D0781C}"/>
          </ac:spMkLst>
        </pc:spChg>
      </pc:sldChg>
      <pc:sldChg chg="modSp">
        <pc:chgData name="David Lynch" userId="666a0384-f147-414d-9e35-a983301ea6cb" providerId="ADAL" clId="{08AFB8BB-F847-449A-9BB8-9A9ECA4164B7}" dt="2023-04-25T10:05:43.691" v="21"/>
        <pc:sldMkLst>
          <pc:docMk/>
          <pc:sldMk cId="2959984300" sldId="2147479565"/>
        </pc:sldMkLst>
        <pc:spChg chg="mod">
          <ac:chgData name="David Lynch" userId="666a0384-f147-414d-9e35-a983301ea6cb" providerId="ADAL" clId="{08AFB8BB-F847-449A-9BB8-9A9ECA4164B7}" dt="2023-04-25T10:05:43.691" v="21"/>
          <ac:spMkLst>
            <pc:docMk/>
            <pc:sldMk cId="2959984300" sldId="2147479565"/>
            <ac:spMk id="8" creationId="{7824D54C-15D2-467C-A016-166944D0781C}"/>
          </ac:spMkLst>
        </pc:spChg>
      </pc:sldChg>
      <pc:sldChg chg="modSp">
        <pc:chgData name="David Lynch" userId="666a0384-f147-414d-9e35-a983301ea6cb" providerId="ADAL" clId="{08AFB8BB-F847-449A-9BB8-9A9ECA4164B7}" dt="2023-04-25T10:05:43.691" v="21"/>
        <pc:sldMkLst>
          <pc:docMk/>
          <pc:sldMk cId="861431902" sldId="2147479566"/>
        </pc:sldMkLst>
        <pc:spChg chg="mod">
          <ac:chgData name="David Lynch" userId="666a0384-f147-414d-9e35-a983301ea6cb" providerId="ADAL" clId="{08AFB8BB-F847-449A-9BB8-9A9ECA4164B7}" dt="2023-04-25T10:05:43.691" v="21"/>
          <ac:spMkLst>
            <pc:docMk/>
            <pc:sldMk cId="861431902" sldId="2147479566"/>
            <ac:spMk id="8" creationId="{7824D54C-15D2-467C-A016-166944D0781C}"/>
          </ac:spMkLst>
        </pc:spChg>
      </pc:sldChg>
      <pc:sldChg chg="modSp">
        <pc:chgData name="David Lynch" userId="666a0384-f147-414d-9e35-a983301ea6cb" providerId="ADAL" clId="{08AFB8BB-F847-449A-9BB8-9A9ECA4164B7}" dt="2023-04-25T10:05:43.691" v="21"/>
        <pc:sldMkLst>
          <pc:docMk/>
          <pc:sldMk cId="4005692742" sldId="2147479568"/>
        </pc:sldMkLst>
        <pc:spChg chg="mod">
          <ac:chgData name="David Lynch" userId="666a0384-f147-414d-9e35-a983301ea6cb" providerId="ADAL" clId="{08AFB8BB-F847-449A-9BB8-9A9ECA4164B7}" dt="2023-04-25T10:05:43.691" v="21"/>
          <ac:spMkLst>
            <pc:docMk/>
            <pc:sldMk cId="4005692742" sldId="2147479568"/>
            <ac:spMk id="8" creationId="{7824D54C-15D2-467C-A016-166944D0781C}"/>
          </ac:spMkLst>
        </pc:spChg>
      </pc:sldChg>
      <pc:sldChg chg="modSp">
        <pc:chgData name="David Lynch" userId="666a0384-f147-414d-9e35-a983301ea6cb" providerId="ADAL" clId="{08AFB8BB-F847-449A-9BB8-9A9ECA4164B7}" dt="2023-04-25T10:05:43.691" v="21"/>
        <pc:sldMkLst>
          <pc:docMk/>
          <pc:sldMk cId="2293022892" sldId="2147479569"/>
        </pc:sldMkLst>
        <pc:spChg chg="mod">
          <ac:chgData name="David Lynch" userId="666a0384-f147-414d-9e35-a983301ea6cb" providerId="ADAL" clId="{08AFB8BB-F847-449A-9BB8-9A9ECA4164B7}" dt="2023-04-25T10:05:43.691" v="21"/>
          <ac:spMkLst>
            <pc:docMk/>
            <pc:sldMk cId="2293022892" sldId="2147479569"/>
            <ac:spMk id="8" creationId="{7824D54C-15D2-467C-A016-166944D0781C}"/>
          </ac:spMkLst>
        </pc:spChg>
      </pc:sldChg>
      <pc:sldChg chg="modSp">
        <pc:chgData name="David Lynch" userId="666a0384-f147-414d-9e35-a983301ea6cb" providerId="ADAL" clId="{08AFB8BB-F847-449A-9BB8-9A9ECA4164B7}" dt="2023-04-25T10:05:43.691" v="21"/>
        <pc:sldMkLst>
          <pc:docMk/>
          <pc:sldMk cId="2769565885" sldId="2147479570"/>
        </pc:sldMkLst>
        <pc:spChg chg="mod">
          <ac:chgData name="David Lynch" userId="666a0384-f147-414d-9e35-a983301ea6cb" providerId="ADAL" clId="{08AFB8BB-F847-449A-9BB8-9A9ECA4164B7}" dt="2023-04-25T10:05:43.691" v="21"/>
          <ac:spMkLst>
            <pc:docMk/>
            <pc:sldMk cId="2769565885" sldId="2147479570"/>
            <ac:spMk id="8" creationId="{7824D54C-15D2-467C-A016-166944D0781C}"/>
          </ac:spMkLst>
        </pc:spChg>
      </pc:sldChg>
      <pc:sldChg chg="modSp">
        <pc:chgData name="David Lynch" userId="666a0384-f147-414d-9e35-a983301ea6cb" providerId="ADAL" clId="{08AFB8BB-F847-449A-9BB8-9A9ECA4164B7}" dt="2023-04-25T10:05:43.691" v="21"/>
        <pc:sldMkLst>
          <pc:docMk/>
          <pc:sldMk cId="3095966068" sldId="2147479572"/>
        </pc:sldMkLst>
        <pc:spChg chg="mod">
          <ac:chgData name="David Lynch" userId="666a0384-f147-414d-9e35-a983301ea6cb" providerId="ADAL" clId="{08AFB8BB-F847-449A-9BB8-9A9ECA4164B7}" dt="2023-04-25T10:05:43.691" v="21"/>
          <ac:spMkLst>
            <pc:docMk/>
            <pc:sldMk cId="3095966068" sldId="2147479572"/>
            <ac:spMk id="21" creationId="{014E59DE-9899-4AB4-9565-64D35AE09C49}"/>
          </ac:spMkLst>
        </pc:spChg>
      </pc:sldChg>
      <pc:sldChg chg="modSp">
        <pc:chgData name="David Lynch" userId="666a0384-f147-414d-9e35-a983301ea6cb" providerId="ADAL" clId="{08AFB8BB-F847-449A-9BB8-9A9ECA4164B7}" dt="2023-04-25T10:05:43.691" v="21"/>
        <pc:sldMkLst>
          <pc:docMk/>
          <pc:sldMk cId="2756146067" sldId="2147479573"/>
        </pc:sldMkLst>
        <pc:spChg chg="mod">
          <ac:chgData name="David Lynch" userId="666a0384-f147-414d-9e35-a983301ea6cb" providerId="ADAL" clId="{08AFB8BB-F847-449A-9BB8-9A9ECA4164B7}" dt="2023-04-25T10:05:43.691" v="21"/>
          <ac:spMkLst>
            <pc:docMk/>
            <pc:sldMk cId="2756146067" sldId="2147479573"/>
            <ac:spMk id="8" creationId="{7824D54C-15D2-467C-A016-166944D0781C}"/>
          </ac:spMkLst>
        </pc:spChg>
      </pc:sldChg>
      <pc:sldChg chg="modSp">
        <pc:chgData name="David Lynch" userId="666a0384-f147-414d-9e35-a983301ea6cb" providerId="ADAL" clId="{08AFB8BB-F847-449A-9BB8-9A9ECA4164B7}" dt="2023-04-25T10:05:43.691" v="21"/>
        <pc:sldMkLst>
          <pc:docMk/>
          <pc:sldMk cId="3715160721" sldId="2147479574"/>
        </pc:sldMkLst>
        <pc:spChg chg="mod">
          <ac:chgData name="David Lynch" userId="666a0384-f147-414d-9e35-a983301ea6cb" providerId="ADAL" clId="{08AFB8BB-F847-449A-9BB8-9A9ECA4164B7}" dt="2023-04-25T10:05:43.691" v="21"/>
          <ac:spMkLst>
            <pc:docMk/>
            <pc:sldMk cId="3715160721" sldId="2147479574"/>
            <ac:spMk id="8" creationId="{7824D54C-15D2-467C-A016-166944D0781C}"/>
          </ac:spMkLst>
        </pc:spChg>
      </pc:sldChg>
      <pc:sldChg chg="modSp">
        <pc:chgData name="David Lynch" userId="666a0384-f147-414d-9e35-a983301ea6cb" providerId="ADAL" clId="{08AFB8BB-F847-449A-9BB8-9A9ECA4164B7}" dt="2023-04-25T10:05:43.691" v="21"/>
        <pc:sldMkLst>
          <pc:docMk/>
          <pc:sldMk cId="1754719268" sldId="2147479575"/>
        </pc:sldMkLst>
        <pc:spChg chg="mod">
          <ac:chgData name="David Lynch" userId="666a0384-f147-414d-9e35-a983301ea6cb" providerId="ADAL" clId="{08AFB8BB-F847-449A-9BB8-9A9ECA4164B7}" dt="2023-04-25T10:05:43.691" v="21"/>
          <ac:spMkLst>
            <pc:docMk/>
            <pc:sldMk cId="1754719268" sldId="2147479575"/>
            <ac:spMk id="8" creationId="{7824D54C-15D2-467C-A016-166944D0781C}"/>
          </ac:spMkLst>
        </pc:spChg>
      </pc:sldChg>
      <pc:sldChg chg="modSp">
        <pc:chgData name="David Lynch" userId="666a0384-f147-414d-9e35-a983301ea6cb" providerId="ADAL" clId="{08AFB8BB-F847-449A-9BB8-9A9ECA4164B7}" dt="2023-04-25T10:05:43.691" v="21"/>
        <pc:sldMkLst>
          <pc:docMk/>
          <pc:sldMk cId="952309398" sldId="2147479576"/>
        </pc:sldMkLst>
        <pc:spChg chg="mod">
          <ac:chgData name="David Lynch" userId="666a0384-f147-414d-9e35-a983301ea6cb" providerId="ADAL" clId="{08AFB8BB-F847-449A-9BB8-9A9ECA4164B7}" dt="2023-04-25T10:05:43.691" v="21"/>
          <ac:spMkLst>
            <pc:docMk/>
            <pc:sldMk cId="952309398" sldId="2147479576"/>
            <ac:spMk id="21" creationId="{014E59DE-9899-4AB4-9565-64D35AE09C49}"/>
          </ac:spMkLst>
        </pc:spChg>
      </pc:sldChg>
      <pc:sldChg chg="modSp">
        <pc:chgData name="David Lynch" userId="666a0384-f147-414d-9e35-a983301ea6cb" providerId="ADAL" clId="{08AFB8BB-F847-449A-9BB8-9A9ECA4164B7}" dt="2023-04-25T10:05:43.691" v="21"/>
        <pc:sldMkLst>
          <pc:docMk/>
          <pc:sldMk cId="4089145516" sldId="2147479577"/>
        </pc:sldMkLst>
        <pc:spChg chg="mod">
          <ac:chgData name="David Lynch" userId="666a0384-f147-414d-9e35-a983301ea6cb" providerId="ADAL" clId="{08AFB8BB-F847-449A-9BB8-9A9ECA4164B7}" dt="2023-04-25T10:05:43.691" v="21"/>
          <ac:spMkLst>
            <pc:docMk/>
            <pc:sldMk cId="4089145516" sldId="2147479577"/>
            <ac:spMk id="21" creationId="{014E59DE-9899-4AB4-9565-64D35AE09C49}"/>
          </ac:spMkLst>
        </pc:spChg>
      </pc:sldChg>
      <pc:sldChg chg="modSp">
        <pc:chgData name="David Lynch" userId="666a0384-f147-414d-9e35-a983301ea6cb" providerId="ADAL" clId="{08AFB8BB-F847-449A-9BB8-9A9ECA4164B7}" dt="2023-04-25T10:05:43.691" v="21"/>
        <pc:sldMkLst>
          <pc:docMk/>
          <pc:sldMk cId="1796822435" sldId="2147479578"/>
        </pc:sldMkLst>
        <pc:spChg chg="mod">
          <ac:chgData name="David Lynch" userId="666a0384-f147-414d-9e35-a983301ea6cb" providerId="ADAL" clId="{08AFB8BB-F847-449A-9BB8-9A9ECA4164B7}" dt="2023-04-25T10:05:43.691" v="21"/>
          <ac:spMkLst>
            <pc:docMk/>
            <pc:sldMk cId="1796822435" sldId="2147479578"/>
            <ac:spMk id="8" creationId="{7824D54C-15D2-467C-A016-166944D0781C}"/>
          </ac:spMkLst>
        </pc:spChg>
      </pc:sldChg>
      <pc:sldChg chg="modSp">
        <pc:chgData name="David Lynch" userId="666a0384-f147-414d-9e35-a983301ea6cb" providerId="ADAL" clId="{08AFB8BB-F847-449A-9BB8-9A9ECA4164B7}" dt="2023-04-25T10:05:43.691" v="21"/>
        <pc:sldMkLst>
          <pc:docMk/>
          <pc:sldMk cId="1088096342" sldId="2147479579"/>
        </pc:sldMkLst>
        <pc:spChg chg="mod">
          <ac:chgData name="David Lynch" userId="666a0384-f147-414d-9e35-a983301ea6cb" providerId="ADAL" clId="{08AFB8BB-F847-449A-9BB8-9A9ECA4164B7}" dt="2023-04-25T10:05:43.691" v="21"/>
          <ac:spMkLst>
            <pc:docMk/>
            <pc:sldMk cId="1088096342" sldId="2147479579"/>
            <ac:spMk id="8" creationId="{7824D54C-15D2-467C-A016-166944D0781C}"/>
          </ac:spMkLst>
        </pc:spChg>
      </pc:sldChg>
      <pc:sldChg chg="modSp">
        <pc:chgData name="David Lynch" userId="666a0384-f147-414d-9e35-a983301ea6cb" providerId="ADAL" clId="{08AFB8BB-F847-449A-9BB8-9A9ECA4164B7}" dt="2023-04-25T10:05:43.691" v="21"/>
        <pc:sldMkLst>
          <pc:docMk/>
          <pc:sldMk cId="3794218092" sldId="2147479580"/>
        </pc:sldMkLst>
        <pc:spChg chg="mod">
          <ac:chgData name="David Lynch" userId="666a0384-f147-414d-9e35-a983301ea6cb" providerId="ADAL" clId="{08AFB8BB-F847-449A-9BB8-9A9ECA4164B7}" dt="2023-04-25T10:05:43.691" v="21"/>
          <ac:spMkLst>
            <pc:docMk/>
            <pc:sldMk cId="3794218092" sldId="2147479580"/>
            <ac:spMk id="8" creationId="{7824D54C-15D2-467C-A016-166944D0781C}"/>
          </ac:spMkLst>
        </pc:spChg>
      </pc:sldChg>
      <pc:sldChg chg="modSp">
        <pc:chgData name="David Lynch" userId="666a0384-f147-414d-9e35-a983301ea6cb" providerId="ADAL" clId="{08AFB8BB-F847-449A-9BB8-9A9ECA4164B7}" dt="2023-04-25T10:05:43.691" v="21"/>
        <pc:sldMkLst>
          <pc:docMk/>
          <pc:sldMk cId="2004736651" sldId="2147479581"/>
        </pc:sldMkLst>
        <pc:spChg chg="mod">
          <ac:chgData name="David Lynch" userId="666a0384-f147-414d-9e35-a983301ea6cb" providerId="ADAL" clId="{08AFB8BB-F847-449A-9BB8-9A9ECA4164B7}" dt="2023-04-25T10:05:43.691" v="21"/>
          <ac:spMkLst>
            <pc:docMk/>
            <pc:sldMk cId="2004736651" sldId="2147479581"/>
            <ac:spMk id="8" creationId="{7824D54C-15D2-467C-A016-166944D0781C}"/>
          </ac:spMkLst>
        </pc:spChg>
      </pc:sldChg>
      <pc:sldChg chg="modSp">
        <pc:chgData name="David Lynch" userId="666a0384-f147-414d-9e35-a983301ea6cb" providerId="ADAL" clId="{08AFB8BB-F847-449A-9BB8-9A9ECA4164B7}" dt="2023-04-25T10:05:43.691" v="21"/>
        <pc:sldMkLst>
          <pc:docMk/>
          <pc:sldMk cId="4019338259" sldId="2147479582"/>
        </pc:sldMkLst>
        <pc:spChg chg="mod">
          <ac:chgData name="David Lynch" userId="666a0384-f147-414d-9e35-a983301ea6cb" providerId="ADAL" clId="{08AFB8BB-F847-449A-9BB8-9A9ECA4164B7}" dt="2023-04-25T10:05:43.691" v="21"/>
          <ac:spMkLst>
            <pc:docMk/>
            <pc:sldMk cId="4019338259" sldId="2147479582"/>
            <ac:spMk id="8" creationId="{7824D54C-15D2-467C-A016-166944D0781C}"/>
          </ac:spMkLst>
        </pc:spChg>
      </pc:sldChg>
      <pc:sldChg chg="modSp mod">
        <pc:chgData name="David Lynch" userId="666a0384-f147-414d-9e35-a983301ea6cb" providerId="ADAL" clId="{08AFB8BB-F847-449A-9BB8-9A9ECA4164B7}" dt="2023-04-25T10:10:21.504" v="28" actId="1035"/>
        <pc:sldMkLst>
          <pc:docMk/>
          <pc:sldMk cId="2093568246" sldId="2147479583"/>
        </pc:sldMkLst>
        <pc:spChg chg="mod">
          <ac:chgData name="David Lynch" userId="666a0384-f147-414d-9e35-a983301ea6cb" providerId="ADAL" clId="{08AFB8BB-F847-449A-9BB8-9A9ECA4164B7}" dt="2023-04-25T10:10:21.504" v="28" actId="1035"/>
          <ac:spMkLst>
            <pc:docMk/>
            <pc:sldMk cId="2093568246" sldId="2147479583"/>
            <ac:spMk id="607" creationId="{5E9DB7C5-E35B-4819-BA5E-AA78F9826259}"/>
          </ac:spMkLst>
        </pc:spChg>
        <pc:spChg chg="mod">
          <ac:chgData name="David Lynch" userId="666a0384-f147-414d-9e35-a983301ea6cb" providerId="ADAL" clId="{08AFB8BB-F847-449A-9BB8-9A9ECA4164B7}" dt="2023-04-25T10:05:43.691" v="21"/>
          <ac:spMkLst>
            <pc:docMk/>
            <pc:sldMk cId="2093568246" sldId="2147479583"/>
            <ac:spMk id="628" creationId="{E56C3305-7660-4686-AD5C-44094ECC0CD0}"/>
          </ac:spMkLst>
        </pc:spChg>
      </pc:sldChg>
      <pc:sldChg chg="modSp mod">
        <pc:chgData name="David Lynch" userId="666a0384-f147-414d-9e35-a983301ea6cb" providerId="ADAL" clId="{08AFB8BB-F847-449A-9BB8-9A9ECA4164B7}" dt="2023-04-25T10:13:47.727" v="30" actId="6549"/>
        <pc:sldMkLst>
          <pc:docMk/>
          <pc:sldMk cId="2079975596" sldId="2147479584"/>
        </pc:sldMkLst>
        <pc:spChg chg="mod">
          <ac:chgData name="David Lynch" userId="666a0384-f147-414d-9e35-a983301ea6cb" providerId="ADAL" clId="{08AFB8BB-F847-449A-9BB8-9A9ECA4164B7}" dt="2023-04-25T10:05:43.691" v="21"/>
          <ac:spMkLst>
            <pc:docMk/>
            <pc:sldMk cId="2079975596" sldId="2147479584"/>
            <ac:spMk id="8" creationId="{7824D54C-15D2-467C-A016-166944D0781C}"/>
          </ac:spMkLst>
        </pc:spChg>
        <pc:spChg chg="mod">
          <ac:chgData name="David Lynch" userId="666a0384-f147-414d-9e35-a983301ea6cb" providerId="ADAL" clId="{08AFB8BB-F847-449A-9BB8-9A9ECA4164B7}" dt="2023-04-25T10:13:47.727" v="30" actId="6549"/>
          <ac:spMkLst>
            <pc:docMk/>
            <pc:sldMk cId="2079975596" sldId="2147479584"/>
            <ac:spMk id="60" creationId="{85C595CB-B3CF-4012-97C8-BDD8873FA274}"/>
          </ac:spMkLst>
        </pc:spChg>
      </pc:sldChg>
      <pc:sldMasterChg chg="delSp mod">
        <pc:chgData name="David Lynch" userId="666a0384-f147-414d-9e35-a983301ea6cb" providerId="ADAL" clId="{08AFB8BB-F847-449A-9BB8-9A9ECA4164B7}" dt="2023-04-25T10:06:48.288" v="22" actId="478"/>
        <pc:sldMasterMkLst>
          <pc:docMk/>
          <pc:sldMasterMk cId="3845511995" sldId="2147484242"/>
        </pc:sldMasterMkLst>
        <pc:spChg chg="del">
          <ac:chgData name="David Lynch" userId="666a0384-f147-414d-9e35-a983301ea6cb" providerId="ADAL" clId="{08AFB8BB-F847-449A-9BB8-9A9ECA4164B7}" dt="2023-04-25T10:06:48.288" v="22" actId="478"/>
          <ac:spMkLst>
            <pc:docMk/>
            <pc:sldMasterMk cId="3845511995" sldId="2147484242"/>
            <ac:spMk id="21" creationId="{26944631-E8AF-4601-B721-3347E3AFB2F4}"/>
          </ac:spMkLst>
        </pc:spChg>
      </pc:sldMasterChg>
    </pc:docChg>
  </pc:docChgLst>
  <pc:docChgLst>
    <pc:chgData name="Enesh Fernando" userId="3ce81ec7-747e-44d9-9e6f-6936f4368b84" providerId="ADAL" clId="{4CC717B8-C0B5-43C8-974A-C602234AECDC}"/>
    <pc:docChg chg="undo redo custSel modSld">
      <pc:chgData name="Enesh Fernando" userId="3ce81ec7-747e-44d9-9e6f-6936f4368b84" providerId="ADAL" clId="{4CC717B8-C0B5-43C8-974A-C602234AECDC}" dt="2023-07-31T14:56:49.003" v="1978" actId="1035"/>
      <pc:docMkLst>
        <pc:docMk/>
      </pc:docMkLst>
      <pc:sldChg chg="modSp mod">
        <pc:chgData name="Enesh Fernando" userId="3ce81ec7-747e-44d9-9e6f-6936f4368b84" providerId="ADAL" clId="{4CC717B8-C0B5-43C8-974A-C602234AECDC}" dt="2023-07-28T11:16:08.892" v="103" actId="20577"/>
        <pc:sldMkLst>
          <pc:docMk/>
          <pc:sldMk cId="835046836" sldId="2147479615"/>
        </pc:sldMkLst>
        <pc:spChg chg="mod">
          <ac:chgData name="Enesh Fernando" userId="3ce81ec7-747e-44d9-9e6f-6936f4368b84" providerId="ADAL" clId="{4CC717B8-C0B5-43C8-974A-C602234AECDC}" dt="2023-07-28T11:16:08.892" v="103" actId="20577"/>
          <ac:spMkLst>
            <pc:docMk/>
            <pc:sldMk cId="835046836" sldId="2147479615"/>
            <ac:spMk id="10" creationId="{A9930A43-D411-994C-F0E8-7D9582857EF9}"/>
          </ac:spMkLst>
        </pc:spChg>
        <pc:spChg chg="mod">
          <ac:chgData name="Enesh Fernando" userId="3ce81ec7-747e-44d9-9e6f-6936f4368b84" providerId="ADAL" clId="{4CC717B8-C0B5-43C8-974A-C602234AECDC}" dt="2023-07-28T11:15:29.435" v="46" actId="20577"/>
          <ac:spMkLst>
            <pc:docMk/>
            <pc:sldMk cId="835046836" sldId="2147479615"/>
            <ac:spMk id="20" creationId="{71597D73-FC0D-0F7C-BC32-B2FA32899DF9}"/>
          </ac:spMkLst>
        </pc:spChg>
      </pc:sldChg>
      <pc:sldChg chg="addSp delSp modSp mod">
        <pc:chgData name="Enesh Fernando" userId="3ce81ec7-747e-44d9-9e6f-6936f4368b84" providerId="ADAL" clId="{4CC717B8-C0B5-43C8-974A-C602234AECDC}" dt="2023-07-31T14:56:49.003" v="1978" actId="1035"/>
        <pc:sldMkLst>
          <pc:docMk/>
          <pc:sldMk cId="1254331358" sldId="2147479623"/>
        </pc:sldMkLst>
        <pc:spChg chg="mod">
          <ac:chgData name="Enesh Fernando" userId="3ce81ec7-747e-44d9-9e6f-6936f4368b84" providerId="ADAL" clId="{4CC717B8-C0B5-43C8-974A-C602234AECDC}" dt="2023-07-28T15:37:29.189" v="1219" actId="14100"/>
          <ac:spMkLst>
            <pc:docMk/>
            <pc:sldMk cId="1254331358" sldId="2147479623"/>
            <ac:spMk id="3" creationId="{A3E0401D-34B9-84E0-1877-7D73E3473042}"/>
          </ac:spMkLst>
        </pc:spChg>
        <pc:spChg chg="mod">
          <ac:chgData name="Enesh Fernando" userId="3ce81ec7-747e-44d9-9e6f-6936f4368b84" providerId="ADAL" clId="{4CC717B8-C0B5-43C8-974A-C602234AECDC}" dt="2023-07-28T16:08:19.133" v="1961" actId="20577"/>
          <ac:spMkLst>
            <pc:docMk/>
            <pc:sldMk cId="1254331358" sldId="2147479623"/>
            <ac:spMk id="6" creationId="{DB57BDEC-391C-BDCB-C111-D57C96DB51A4}"/>
          </ac:spMkLst>
        </pc:spChg>
        <pc:spChg chg="mod">
          <ac:chgData name="Enesh Fernando" userId="3ce81ec7-747e-44d9-9e6f-6936f4368b84" providerId="ADAL" clId="{4CC717B8-C0B5-43C8-974A-C602234AECDC}" dt="2023-07-31T14:56:49.003" v="1978" actId="1035"/>
          <ac:spMkLst>
            <pc:docMk/>
            <pc:sldMk cId="1254331358" sldId="2147479623"/>
            <ac:spMk id="9" creationId="{1FC709B3-38DF-1A84-C161-86A28D557B38}"/>
          </ac:spMkLst>
        </pc:spChg>
        <pc:picChg chg="add del mod">
          <ac:chgData name="Enesh Fernando" userId="3ce81ec7-747e-44d9-9e6f-6936f4368b84" providerId="ADAL" clId="{4CC717B8-C0B5-43C8-974A-C602234AECDC}" dt="2023-07-28T15:56:38.655" v="1874" actId="478"/>
          <ac:picMkLst>
            <pc:docMk/>
            <pc:sldMk cId="1254331358" sldId="2147479623"/>
            <ac:picMk id="7" creationId="{9CBB12F1-B444-9C1A-EBC1-564C8D5F3597}"/>
          </ac:picMkLst>
        </pc:picChg>
        <pc:picChg chg="add mod">
          <ac:chgData name="Enesh Fernando" userId="3ce81ec7-747e-44d9-9e6f-6936f4368b84" providerId="ADAL" clId="{4CC717B8-C0B5-43C8-974A-C602234AECDC}" dt="2023-07-28T15:57:06.013" v="1881" actId="1076"/>
          <ac:picMkLst>
            <pc:docMk/>
            <pc:sldMk cId="1254331358" sldId="2147479623"/>
            <ac:picMk id="11" creationId="{061D49B1-D579-FC7A-79A1-38143B97C9CD}"/>
          </ac:picMkLst>
        </pc:picChg>
      </pc:sldChg>
      <pc:sldChg chg="modSp mod">
        <pc:chgData name="Enesh Fernando" userId="3ce81ec7-747e-44d9-9e6f-6936f4368b84" providerId="ADAL" clId="{4CC717B8-C0B5-43C8-974A-C602234AECDC}" dt="2023-07-28T11:53:28.312" v="104" actId="313"/>
        <pc:sldMkLst>
          <pc:docMk/>
          <pc:sldMk cId="523484127" sldId="2147479637"/>
        </pc:sldMkLst>
        <pc:spChg chg="mod">
          <ac:chgData name="Enesh Fernando" userId="3ce81ec7-747e-44d9-9e6f-6936f4368b84" providerId="ADAL" clId="{4CC717B8-C0B5-43C8-974A-C602234AECDC}" dt="2023-07-28T11:53:28.312" v="104" actId="313"/>
          <ac:spMkLst>
            <pc:docMk/>
            <pc:sldMk cId="523484127" sldId="2147479637"/>
            <ac:spMk id="8" creationId="{7824D54C-15D2-467C-A016-166944D0781C}"/>
          </ac:spMkLst>
        </pc:spChg>
      </pc:sldChg>
    </pc:docChg>
  </pc:docChgLst>
  <pc:docChgLst>
    <pc:chgData name="Jeffrey Obi" userId="S::jeffrey.obi@ie.ey.com::488f269d-1fa2-455e-bf95-7695136a100d" providerId="AD" clId="Web-{E7AD1C1A-FB0F-EC58-8ADA-0E5D4551446F}"/>
    <pc:docChg chg="addSld delSld modSld addMainMaster modMainMaster modSection">
      <pc:chgData name="Jeffrey Obi" userId="S::jeffrey.obi@ie.ey.com::488f269d-1fa2-455e-bf95-7695136a100d" providerId="AD" clId="Web-{E7AD1C1A-FB0F-EC58-8ADA-0E5D4551446F}" dt="2023-07-26T23:54:51.684" v="1069" actId="20577"/>
      <pc:docMkLst>
        <pc:docMk/>
      </pc:docMkLst>
      <pc:sldChg chg="modSp">
        <pc:chgData name="Jeffrey Obi" userId="S::jeffrey.obi@ie.ey.com::488f269d-1fa2-455e-bf95-7695136a100d" providerId="AD" clId="Web-{E7AD1C1A-FB0F-EC58-8ADA-0E5D4551446F}" dt="2023-07-26T23:52:55.774" v="1057" actId="20577"/>
        <pc:sldMkLst>
          <pc:docMk/>
          <pc:sldMk cId="4048977282" sldId="2147473169"/>
        </pc:sldMkLst>
        <pc:spChg chg="mod">
          <ac:chgData name="Jeffrey Obi" userId="S::jeffrey.obi@ie.ey.com::488f269d-1fa2-455e-bf95-7695136a100d" providerId="AD" clId="Web-{E7AD1C1A-FB0F-EC58-8ADA-0E5D4551446F}" dt="2023-07-26T23:52:21.351" v="1055" actId="20577"/>
          <ac:spMkLst>
            <pc:docMk/>
            <pc:sldMk cId="4048977282" sldId="2147473169"/>
            <ac:spMk id="11" creationId="{9EE04F04-F794-4453-963E-5CFBB6620A43}"/>
          </ac:spMkLst>
        </pc:spChg>
        <pc:spChg chg="mod">
          <ac:chgData name="Jeffrey Obi" userId="S::jeffrey.obi@ie.ey.com::488f269d-1fa2-455e-bf95-7695136a100d" providerId="AD" clId="Web-{E7AD1C1A-FB0F-EC58-8ADA-0E5D4551446F}" dt="2023-07-26T23:52:55.774" v="1057" actId="20577"/>
          <ac:spMkLst>
            <pc:docMk/>
            <pc:sldMk cId="4048977282" sldId="2147473169"/>
            <ac:spMk id="12" creationId="{FB93CF21-DAD5-4B79-9666-F5B05BE3DD14}"/>
          </ac:spMkLst>
        </pc:spChg>
        <pc:spChg chg="mod">
          <ac:chgData name="Jeffrey Obi" userId="S::jeffrey.obi@ie.ey.com::488f269d-1fa2-455e-bf95-7695136a100d" providerId="AD" clId="Web-{E7AD1C1A-FB0F-EC58-8ADA-0E5D4551446F}" dt="2023-07-26T23:52:12.789" v="1054" actId="20577"/>
          <ac:spMkLst>
            <pc:docMk/>
            <pc:sldMk cId="4048977282" sldId="2147473169"/>
            <ac:spMk id="13" creationId="{D642F10C-58A5-4B16-A89B-076AEE9416C7}"/>
          </ac:spMkLst>
        </pc:spChg>
      </pc:sldChg>
      <pc:sldChg chg="modSp">
        <pc:chgData name="Jeffrey Obi" userId="S::jeffrey.obi@ie.ey.com::488f269d-1fa2-455e-bf95-7695136a100d" providerId="AD" clId="Web-{E7AD1C1A-FB0F-EC58-8ADA-0E5D4551446F}" dt="2023-07-26T23:54:51.684" v="1069" actId="20577"/>
        <pc:sldMkLst>
          <pc:docMk/>
          <pc:sldMk cId="2192119907" sldId="2147479608"/>
        </pc:sldMkLst>
        <pc:spChg chg="mod">
          <ac:chgData name="Jeffrey Obi" userId="S::jeffrey.obi@ie.ey.com::488f269d-1fa2-455e-bf95-7695136a100d" providerId="AD" clId="Web-{E7AD1C1A-FB0F-EC58-8ADA-0E5D4551446F}" dt="2023-07-26T23:54:51.684" v="1069" actId="20577"/>
          <ac:spMkLst>
            <pc:docMk/>
            <pc:sldMk cId="2192119907" sldId="2147479608"/>
            <ac:spMk id="13" creationId="{D642F10C-58A5-4B16-A89B-076AEE9416C7}"/>
          </ac:spMkLst>
        </pc:spChg>
      </pc:sldChg>
      <pc:sldChg chg="modSp">
        <pc:chgData name="Jeffrey Obi" userId="S::jeffrey.obi@ie.ey.com::488f269d-1fa2-455e-bf95-7695136a100d" providerId="AD" clId="Web-{E7AD1C1A-FB0F-EC58-8ADA-0E5D4551446F}" dt="2023-07-26T21:36:58.762" v="310" actId="20577"/>
        <pc:sldMkLst>
          <pc:docMk/>
          <pc:sldMk cId="2582236747" sldId="2147479613"/>
        </pc:sldMkLst>
        <pc:spChg chg="mod">
          <ac:chgData name="Jeffrey Obi" userId="S::jeffrey.obi@ie.ey.com::488f269d-1fa2-455e-bf95-7695136a100d" providerId="AD" clId="Web-{E7AD1C1A-FB0F-EC58-8ADA-0E5D4551446F}" dt="2023-07-26T21:36:58.762" v="310" actId="20577"/>
          <ac:spMkLst>
            <pc:docMk/>
            <pc:sldMk cId="2582236747" sldId="2147479613"/>
            <ac:spMk id="10" creationId="{18869A38-C6CC-83C0-2F72-40E67190C048}"/>
          </ac:spMkLst>
        </pc:spChg>
      </pc:sldChg>
      <pc:sldChg chg="modSp">
        <pc:chgData name="Jeffrey Obi" userId="S::jeffrey.obi@ie.ey.com::488f269d-1fa2-455e-bf95-7695136a100d" providerId="AD" clId="Web-{E7AD1C1A-FB0F-EC58-8ADA-0E5D4551446F}" dt="2023-07-26T16:36:52.236" v="79" actId="1076"/>
        <pc:sldMkLst>
          <pc:docMk/>
          <pc:sldMk cId="209286626" sldId="2147479641"/>
        </pc:sldMkLst>
        <pc:spChg chg="mod">
          <ac:chgData name="Jeffrey Obi" userId="S::jeffrey.obi@ie.ey.com::488f269d-1fa2-455e-bf95-7695136a100d" providerId="AD" clId="Web-{E7AD1C1A-FB0F-EC58-8ADA-0E5D4551446F}" dt="2023-07-26T16:36:52.236" v="79" actId="1076"/>
          <ac:spMkLst>
            <pc:docMk/>
            <pc:sldMk cId="209286626" sldId="2147479641"/>
            <ac:spMk id="12" creationId="{213C6BCD-69D2-90ED-2BC4-196EF5E3F298}"/>
          </ac:spMkLst>
        </pc:spChg>
      </pc:sldChg>
      <pc:sldChg chg="new del">
        <pc:chgData name="Jeffrey Obi" userId="S::jeffrey.obi@ie.ey.com::488f269d-1fa2-455e-bf95-7695136a100d" providerId="AD" clId="Web-{E7AD1C1A-FB0F-EC58-8ADA-0E5D4551446F}" dt="2023-07-26T16:58:05.729" v="81"/>
        <pc:sldMkLst>
          <pc:docMk/>
          <pc:sldMk cId="2420672586" sldId="2147479642"/>
        </pc:sldMkLst>
      </pc:sldChg>
      <pc:sldChg chg="addSp delSp modSp add replId">
        <pc:chgData name="Jeffrey Obi" userId="S::jeffrey.obi@ie.ey.com::488f269d-1fa2-455e-bf95-7695136a100d" providerId="AD" clId="Web-{E7AD1C1A-FB0F-EC58-8ADA-0E5D4551446F}" dt="2023-07-26T23:24:09.664" v="991" actId="1076"/>
        <pc:sldMkLst>
          <pc:docMk/>
          <pc:sldMk cId="3831876268" sldId="2147479642"/>
        </pc:sldMkLst>
        <pc:spChg chg="del">
          <ac:chgData name="Jeffrey Obi" userId="S::jeffrey.obi@ie.ey.com::488f269d-1fa2-455e-bf95-7695136a100d" providerId="AD" clId="Web-{E7AD1C1A-FB0F-EC58-8ADA-0E5D4551446F}" dt="2023-07-26T21:31:40.390" v="266"/>
          <ac:spMkLst>
            <pc:docMk/>
            <pc:sldMk cId="3831876268" sldId="2147479642"/>
            <ac:spMk id="2" creationId="{EF4C74AF-47A0-5692-D96F-577ED61E0DB8}"/>
          </ac:spMkLst>
        </pc:spChg>
        <pc:spChg chg="del">
          <ac:chgData name="Jeffrey Obi" userId="S::jeffrey.obi@ie.ey.com::488f269d-1fa2-455e-bf95-7695136a100d" providerId="AD" clId="Web-{E7AD1C1A-FB0F-EC58-8ADA-0E5D4551446F}" dt="2023-07-26T21:31:44.625" v="267"/>
          <ac:spMkLst>
            <pc:docMk/>
            <pc:sldMk cId="3831876268" sldId="2147479642"/>
            <ac:spMk id="3" creationId="{DC2F74A8-1A6C-5854-F4F1-1FAFAC98C003}"/>
          </ac:spMkLst>
        </pc:spChg>
        <pc:spChg chg="del">
          <ac:chgData name="Jeffrey Obi" userId="S::jeffrey.obi@ie.ey.com::488f269d-1fa2-455e-bf95-7695136a100d" providerId="AD" clId="Web-{E7AD1C1A-FB0F-EC58-8ADA-0E5D4551446F}" dt="2023-07-26T21:31:36.672" v="265"/>
          <ac:spMkLst>
            <pc:docMk/>
            <pc:sldMk cId="3831876268" sldId="2147479642"/>
            <ac:spMk id="4" creationId="{DC56FC81-B49D-1995-6A56-B970E9FB6BA8}"/>
          </ac:spMkLst>
        </pc:spChg>
        <pc:spChg chg="mod">
          <ac:chgData name="Jeffrey Obi" userId="S::jeffrey.obi@ie.ey.com::488f269d-1fa2-455e-bf95-7695136a100d" providerId="AD" clId="Web-{E7AD1C1A-FB0F-EC58-8ADA-0E5D4551446F}" dt="2023-07-26T21:55:09.685" v="495" actId="1076"/>
          <ac:spMkLst>
            <pc:docMk/>
            <pc:sldMk cId="3831876268" sldId="2147479642"/>
            <ac:spMk id="6" creationId="{D6B3904C-298A-03C4-17A9-9F7CC2E8F5BA}"/>
          </ac:spMkLst>
        </pc:spChg>
        <pc:spChg chg="del">
          <ac:chgData name="Jeffrey Obi" userId="S::jeffrey.obi@ie.ey.com::488f269d-1fa2-455e-bf95-7695136a100d" providerId="AD" clId="Web-{E7AD1C1A-FB0F-EC58-8ADA-0E5D4551446F}" dt="2023-07-26T20:38:32.483" v="88"/>
          <ac:spMkLst>
            <pc:docMk/>
            <pc:sldMk cId="3831876268" sldId="2147479642"/>
            <ac:spMk id="22" creationId="{4C2AC5F6-CF95-1618-7D88-46523137B4BA}"/>
          </ac:spMkLst>
        </pc:spChg>
        <pc:spChg chg="del">
          <ac:chgData name="Jeffrey Obi" userId="S::jeffrey.obi@ie.ey.com::488f269d-1fa2-455e-bf95-7695136a100d" providerId="AD" clId="Web-{E7AD1C1A-FB0F-EC58-8ADA-0E5D4551446F}" dt="2023-07-26T20:38:47.609" v="93"/>
          <ac:spMkLst>
            <pc:docMk/>
            <pc:sldMk cId="3831876268" sldId="2147479642"/>
            <ac:spMk id="25" creationId="{0B1B1B95-F9CB-7D63-1A68-246D665B11C4}"/>
          </ac:spMkLst>
        </pc:spChg>
        <pc:spChg chg="mod">
          <ac:chgData name="Jeffrey Obi" userId="S::jeffrey.obi@ie.ey.com::488f269d-1fa2-455e-bf95-7695136a100d" providerId="AD" clId="Web-{E7AD1C1A-FB0F-EC58-8ADA-0E5D4551446F}" dt="2023-07-26T22:19:01.618" v="518" actId="1076"/>
          <ac:spMkLst>
            <pc:docMk/>
            <pc:sldMk cId="3831876268" sldId="2147479642"/>
            <ac:spMk id="34" creationId="{810BA9CC-2C5C-4AE6-AD9A-085AE329CD3B}"/>
          </ac:spMkLst>
        </pc:spChg>
        <pc:spChg chg="del">
          <ac:chgData name="Jeffrey Obi" userId="S::jeffrey.obi@ie.ey.com::488f269d-1fa2-455e-bf95-7695136a100d" providerId="AD" clId="Web-{E7AD1C1A-FB0F-EC58-8ADA-0E5D4551446F}" dt="2023-07-26T20:39:03.845" v="97"/>
          <ac:spMkLst>
            <pc:docMk/>
            <pc:sldMk cId="3831876268" sldId="2147479642"/>
            <ac:spMk id="84" creationId="{3AA80988-7035-7D9B-E455-D932FFBD19E2}"/>
          </ac:spMkLst>
        </pc:spChg>
        <pc:spChg chg="del">
          <ac:chgData name="Jeffrey Obi" userId="S::jeffrey.obi@ie.ey.com::488f269d-1fa2-455e-bf95-7695136a100d" providerId="AD" clId="Web-{E7AD1C1A-FB0F-EC58-8ADA-0E5D4551446F}" dt="2023-07-26T20:39:00.157" v="96"/>
          <ac:spMkLst>
            <pc:docMk/>
            <pc:sldMk cId="3831876268" sldId="2147479642"/>
            <ac:spMk id="85" creationId="{2782282D-A7E6-F0C8-3181-F5865C64F47E}"/>
          </ac:spMkLst>
        </pc:spChg>
        <pc:spChg chg="del">
          <ac:chgData name="Jeffrey Obi" userId="S::jeffrey.obi@ie.ey.com::488f269d-1fa2-455e-bf95-7695136a100d" providerId="AD" clId="Web-{E7AD1C1A-FB0F-EC58-8ADA-0E5D4551446F}" dt="2023-07-26T20:39:26.549" v="102"/>
          <ac:spMkLst>
            <pc:docMk/>
            <pc:sldMk cId="3831876268" sldId="2147479642"/>
            <ac:spMk id="86" creationId="{A846DC34-89F2-7D0D-B0CC-52BEE862B45B}"/>
          </ac:spMkLst>
        </pc:spChg>
        <pc:spChg chg="del mod">
          <ac:chgData name="Jeffrey Obi" userId="S::jeffrey.obi@ie.ey.com::488f269d-1fa2-455e-bf95-7695136a100d" providerId="AD" clId="Web-{E7AD1C1A-FB0F-EC58-8ADA-0E5D4551446F}" dt="2023-07-26T20:38:39.952" v="91"/>
          <ac:spMkLst>
            <pc:docMk/>
            <pc:sldMk cId="3831876268" sldId="2147479642"/>
            <ac:spMk id="87" creationId="{18D81DCF-CEC6-90F5-3FF9-29D3A0AD63D6}"/>
          </ac:spMkLst>
        </pc:spChg>
        <pc:spChg chg="del">
          <ac:chgData name="Jeffrey Obi" userId="S::jeffrey.obi@ie.ey.com::488f269d-1fa2-455e-bf95-7695136a100d" providerId="AD" clId="Web-{E7AD1C1A-FB0F-EC58-8ADA-0E5D4551446F}" dt="2023-07-26T20:38:43.953" v="92"/>
          <ac:spMkLst>
            <pc:docMk/>
            <pc:sldMk cId="3831876268" sldId="2147479642"/>
            <ac:spMk id="88" creationId="{5A069DB5-F07D-54B5-FD0C-097FA0C8EFBE}"/>
          </ac:spMkLst>
        </pc:spChg>
        <pc:spChg chg="del">
          <ac:chgData name="Jeffrey Obi" userId="S::jeffrey.obi@ie.ey.com::488f269d-1fa2-455e-bf95-7695136a100d" providerId="AD" clId="Web-{E7AD1C1A-FB0F-EC58-8ADA-0E5D4551446F}" dt="2023-07-26T20:39:16.705" v="100"/>
          <ac:spMkLst>
            <pc:docMk/>
            <pc:sldMk cId="3831876268" sldId="2147479642"/>
            <ac:spMk id="89" creationId="{147651C7-2097-C707-A820-0D54E5DAEDE0}"/>
          </ac:spMkLst>
        </pc:spChg>
        <pc:spChg chg="del">
          <ac:chgData name="Jeffrey Obi" userId="S::jeffrey.obi@ie.ey.com::488f269d-1fa2-455e-bf95-7695136a100d" providerId="AD" clId="Web-{E7AD1C1A-FB0F-EC58-8ADA-0E5D4551446F}" dt="2023-07-26T20:39:19.877" v="101"/>
          <ac:spMkLst>
            <pc:docMk/>
            <pc:sldMk cId="3831876268" sldId="2147479642"/>
            <ac:spMk id="90" creationId="{2E18EDA6-2361-B88F-62AE-F5A630B9F6C0}"/>
          </ac:spMkLst>
        </pc:spChg>
        <pc:spChg chg="del">
          <ac:chgData name="Jeffrey Obi" userId="S::jeffrey.obi@ie.ey.com::488f269d-1fa2-455e-bf95-7695136a100d" providerId="AD" clId="Web-{E7AD1C1A-FB0F-EC58-8ADA-0E5D4551446F}" dt="2023-07-26T20:39:38.003" v="104"/>
          <ac:spMkLst>
            <pc:docMk/>
            <pc:sldMk cId="3831876268" sldId="2147479642"/>
            <ac:spMk id="93" creationId="{15020061-B5B6-8EE7-D7EF-DD6DB07B8D17}"/>
          </ac:spMkLst>
        </pc:spChg>
        <pc:spChg chg="del">
          <ac:chgData name="Jeffrey Obi" userId="S::jeffrey.obi@ie.ey.com::488f269d-1fa2-455e-bf95-7695136a100d" providerId="AD" clId="Web-{E7AD1C1A-FB0F-EC58-8ADA-0E5D4551446F}" dt="2023-07-26T20:39:34.190" v="103"/>
          <ac:spMkLst>
            <pc:docMk/>
            <pc:sldMk cId="3831876268" sldId="2147479642"/>
            <ac:spMk id="94" creationId="{51504E8A-EE17-7913-62B9-8C1B70C3F189}"/>
          </ac:spMkLst>
        </pc:spChg>
        <pc:spChg chg="del">
          <ac:chgData name="Jeffrey Obi" userId="S::jeffrey.obi@ie.ey.com::488f269d-1fa2-455e-bf95-7695136a100d" providerId="AD" clId="Web-{E7AD1C1A-FB0F-EC58-8ADA-0E5D4551446F}" dt="2023-07-26T20:38:51.906" v="94"/>
          <ac:spMkLst>
            <pc:docMk/>
            <pc:sldMk cId="3831876268" sldId="2147479642"/>
            <ac:spMk id="95" creationId="{19037155-574F-6C9E-E167-D3152639D5B1}"/>
          </ac:spMkLst>
        </pc:spChg>
        <pc:spChg chg="del">
          <ac:chgData name="Jeffrey Obi" userId="S::jeffrey.obi@ie.ey.com::488f269d-1fa2-455e-bf95-7695136a100d" providerId="AD" clId="Web-{E7AD1C1A-FB0F-EC58-8ADA-0E5D4551446F}" dt="2023-07-26T20:38:55.891" v="95"/>
          <ac:spMkLst>
            <pc:docMk/>
            <pc:sldMk cId="3831876268" sldId="2147479642"/>
            <ac:spMk id="96" creationId="{AC490D6B-5A61-09BE-BDE1-ACC718BEE4B0}"/>
          </ac:spMkLst>
        </pc:spChg>
        <pc:spChg chg="del">
          <ac:chgData name="Jeffrey Obi" userId="S::jeffrey.obi@ie.ey.com::488f269d-1fa2-455e-bf95-7695136a100d" providerId="AD" clId="Web-{E7AD1C1A-FB0F-EC58-8ADA-0E5D4551446F}" dt="2023-07-26T20:39:07.939" v="98"/>
          <ac:spMkLst>
            <pc:docMk/>
            <pc:sldMk cId="3831876268" sldId="2147479642"/>
            <ac:spMk id="97" creationId="{841C8C37-BA9E-F58D-3325-F36475E6CFF2}"/>
          </ac:spMkLst>
        </pc:spChg>
        <pc:spChg chg="del">
          <ac:chgData name="Jeffrey Obi" userId="S::jeffrey.obi@ie.ey.com::488f269d-1fa2-455e-bf95-7695136a100d" providerId="AD" clId="Web-{E7AD1C1A-FB0F-EC58-8ADA-0E5D4551446F}" dt="2023-07-26T20:39:11.423" v="99"/>
          <ac:spMkLst>
            <pc:docMk/>
            <pc:sldMk cId="3831876268" sldId="2147479642"/>
            <ac:spMk id="98" creationId="{372B0A1A-952B-7666-89D3-5995DDF04D9F}"/>
          </ac:spMkLst>
        </pc:spChg>
        <pc:picChg chg="add mod">
          <ac:chgData name="Jeffrey Obi" userId="S::jeffrey.obi@ie.ey.com::488f269d-1fa2-455e-bf95-7695136a100d" providerId="AD" clId="Web-{E7AD1C1A-FB0F-EC58-8ADA-0E5D4551446F}" dt="2023-07-26T23:24:09.664" v="991" actId="1076"/>
          <ac:picMkLst>
            <pc:docMk/>
            <pc:sldMk cId="3831876268" sldId="2147479642"/>
            <ac:picMk id="2" creationId="{256E2374-EF67-F09A-46A7-2CDF0094E05B}"/>
          </ac:picMkLst>
        </pc:picChg>
        <pc:picChg chg="add del mod">
          <ac:chgData name="Jeffrey Obi" userId="S::jeffrey.obi@ie.ey.com::488f269d-1fa2-455e-bf95-7695136a100d" providerId="AD" clId="Web-{E7AD1C1A-FB0F-EC58-8ADA-0E5D4551446F}" dt="2023-07-26T21:54:40.262" v="494"/>
          <ac:picMkLst>
            <pc:docMk/>
            <pc:sldMk cId="3831876268" sldId="2147479642"/>
            <ac:picMk id="7" creationId="{03AB1AC1-2933-252B-BEA3-F4B096FEB11B}"/>
          </ac:picMkLst>
        </pc:picChg>
        <pc:picChg chg="add del mod">
          <ac:chgData name="Jeffrey Obi" userId="S::jeffrey.obi@ie.ey.com::488f269d-1fa2-455e-bf95-7695136a100d" providerId="AD" clId="Web-{E7AD1C1A-FB0F-EC58-8ADA-0E5D4551446F}" dt="2023-07-26T20:42:41.265" v="108"/>
          <ac:picMkLst>
            <pc:docMk/>
            <pc:sldMk cId="3831876268" sldId="2147479642"/>
            <ac:picMk id="7" creationId="{566B5478-1BE8-9A47-95FC-347CBC082A85}"/>
          </ac:picMkLst>
        </pc:picChg>
        <pc:picChg chg="add del mod">
          <ac:chgData name="Jeffrey Obi" userId="S::jeffrey.obi@ie.ey.com::488f269d-1fa2-455e-bf95-7695136a100d" providerId="AD" clId="Web-{E7AD1C1A-FB0F-EC58-8ADA-0E5D4551446F}" dt="2023-07-26T21:54:28.684" v="466"/>
          <ac:picMkLst>
            <pc:docMk/>
            <pc:sldMk cId="3831876268" sldId="2147479642"/>
            <ac:picMk id="8" creationId="{CC53A779-60CC-BFAE-EF41-15AD6CDC31B6}"/>
          </ac:picMkLst>
        </pc:picChg>
        <pc:picChg chg="add del mod">
          <ac:chgData name="Jeffrey Obi" userId="S::jeffrey.obi@ie.ey.com::488f269d-1fa2-455e-bf95-7695136a100d" providerId="AD" clId="Web-{E7AD1C1A-FB0F-EC58-8ADA-0E5D4551446F}" dt="2023-07-26T21:54:21.106" v="460"/>
          <ac:picMkLst>
            <pc:docMk/>
            <pc:sldMk cId="3831876268" sldId="2147479642"/>
            <ac:picMk id="9" creationId="{404C0D70-19AE-ED6F-856F-23EDEE4313D0}"/>
          </ac:picMkLst>
        </pc:picChg>
        <pc:picChg chg="del">
          <ac:chgData name="Jeffrey Obi" userId="S::jeffrey.obi@ie.ey.com::488f269d-1fa2-455e-bf95-7695136a100d" providerId="AD" clId="Web-{E7AD1C1A-FB0F-EC58-8ADA-0E5D4551446F}" dt="2023-07-26T20:38:23.873" v="87"/>
          <ac:picMkLst>
            <pc:docMk/>
            <pc:sldMk cId="3831876268" sldId="2147479642"/>
            <ac:picMk id="104" creationId="{027C4C63-F342-7D6E-BC02-1ABF36A7B180}"/>
          </ac:picMkLst>
        </pc:picChg>
        <pc:cxnChg chg="del mod">
          <ac:chgData name="Jeffrey Obi" userId="S::jeffrey.obi@ie.ey.com::488f269d-1fa2-455e-bf95-7695136a100d" providerId="AD" clId="Web-{E7AD1C1A-FB0F-EC58-8ADA-0E5D4551446F}" dt="2023-07-26T21:45:45.278" v="420"/>
          <ac:cxnSpMkLst>
            <pc:docMk/>
            <pc:sldMk cId="3831876268" sldId="2147479642"/>
            <ac:cxnSpMk id="91" creationId="{53DE1774-AAED-EC0F-A377-92EA31460A15}"/>
          </ac:cxnSpMkLst>
        </pc:cxnChg>
        <pc:cxnChg chg="del">
          <ac:chgData name="Jeffrey Obi" userId="S::jeffrey.obi@ie.ey.com::488f269d-1fa2-455e-bf95-7695136a100d" providerId="AD" clId="Web-{E7AD1C1A-FB0F-EC58-8ADA-0E5D4551446F}" dt="2023-07-26T21:45:49.418" v="421"/>
          <ac:cxnSpMkLst>
            <pc:docMk/>
            <pc:sldMk cId="3831876268" sldId="2147479642"/>
            <ac:cxnSpMk id="92" creationId="{B692EC76-3F90-E166-AAD1-3CE5D24C03DA}"/>
          </ac:cxnSpMkLst>
        </pc:cxnChg>
      </pc:sldChg>
      <pc:sldChg chg="modSp new del">
        <pc:chgData name="Jeffrey Obi" userId="S::jeffrey.obi@ie.ey.com::488f269d-1fa2-455e-bf95-7695136a100d" providerId="AD" clId="Web-{E7AD1C1A-FB0F-EC58-8ADA-0E5D4551446F}" dt="2023-07-26T22:33:54.111" v="522"/>
        <pc:sldMkLst>
          <pc:docMk/>
          <pc:sldMk cId="95110342" sldId="2147479643"/>
        </pc:sldMkLst>
        <pc:spChg chg="mod">
          <ac:chgData name="Jeffrey Obi" userId="S::jeffrey.obi@ie.ey.com::488f269d-1fa2-455e-bf95-7695136a100d" providerId="AD" clId="Web-{E7AD1C1A-FB0F-EC58-8ADA-0E5D4551446F}" dt="2023-07-26T22:18:55.211" v="516" actId="1076"/>
          <ac:spMkLst>
            <pc:docMk/>
            <pc:sldMk cId="95110342" sldId="2147479643"/>
            <ac:spMk id="3" creationId="{2EF53BDE-A37B-3EF7-A12F-ABFEE1B8791C}"/>
          </ac:spMkLst>
        </pc:spChg>
      </pc:sldChg>
      <pc:sldChg chg="addSp delSp modSp add replId">
        <pc:chgData name="Jeffrey Obi" userId="S::jeffrey.obi@ie.ey.com::488f269d-1fa2-455e-bf95-7695136a100d" providerId="AD" clId="Web-{E7AD1C1A-FB0F-EC58-8ADA-0E5D4551446F}" dt="2023-07-26T23:41:33.521" v="1023"/>
        <pc:sldMkLst>
          <pc:docMk/>
          <pc:sldMk cId="2915504962" sldId="2147479644"/>
        </pc:sldMkLst>
        <pc:spChg chg="del">
          <ac:chgData name="Jeffrey Obi" userId="S::jeffrey.obi@ie.ey.com::488f269d-1fa2-455e-bf95-7695136a100d" providerId="AD" clId="Web-{E7AD1C1A-FB0F-EC58-8ADA-0E5D4551446F}" dt="2023-07-26T22:20:15.635" v="521"/>
          <ac:spMkLst>
            <pc:docMk/>
            <pc:sldMk cId="2915504962" sldId="2147479644"/>
            <ac:spMk id="6" creationId="{D6B3904C-298A-03C4-17A9-9F7CC2E8F5BA}"/>
          </ac:spMkLst>
        </pc:spChg>
        <pc:graphicFrameChg chg="add del mod modGraphic">
          <ac:chgData name="Jeffrey Obi" userId="S::jeffrey.obi@ie.ey.com::488f269d-1fa2-455e-bf95-7695136a100d" providerId="AD" clId="Web-{E7AD1C1A-FB0F-EC58-8ADA-0E5D4551446F}" dt="2023-07-26T22:44:14.535" v="539"/>
          <ac:graphicFrameMkLst>
            <pc:docMk/>
            <pc:sldMk cId="2915504962" sldId="2147479644"/>
            <ac:graphicFrameMk id="8" creationId="{0554CBD4-FA2B-8CCC-7074-8D5D149D85CF}"/>
          </ac:graphicFrameMkLst>
        </pc:graphicFrameChg>
        <pc:graphicFrameChg chg="add del mod modGraphic">
          <ac:chgData name="Jeffrey Obi" userId="S::jeffrey.obi@ie.ey.com::488f269d-1fa2-455e-bf95-7695136a100d" providerId="AD" clId="Web-{E7AD1C1A-FB0F-EC58-8ADA-0E5D4551446F}" dt="2023-07-26T22:50:36.734" v="555"/>
          <ac:graphicFrameMkLst>
            <pc:docMk/>
            <pc:sldMk cId="2915504962" sldId="2147479644"/>
            <ac:graphicFrameMk id="9" creationId="{5B945E4C-1ED3-4043-E894-B83153A4038B}"/>
          </ac:graphicFrameMkLst>
        </pc:graphicFrameChg>
        <pc:graphicFrameChg chg="add mod modGraphic">
          <ac:chgData name="Jeffrey Obi" userId="S::jeffrey.obi@ie.ey.com::488f269d-1fa2-455e-bf95-7695136a100d" providerId="AD" clId="Web-{E7AD1C1A-FB0F-EC58-8ADA-0E5D4551446F}" dt="2023-07-26T23:41:33.521" v="1023"/>
          <ac:graphicFrameMkLst>
            <pc:docMk/>
            <pc:sldMk cId="2915504962" sldId="2147479644"/>
            <ac:graphicFrameMk id="10" creationId="{C373DE96-CF83-C1C7-EAE3-76F41D608563}"/>
          </ac:graphicFrameMkLst>
        </pc:graphicFrameChg>
        <pc:picChg chg="del">
          <ac:chgData name="Jeffrey Obi" userId="S::jeffrey.obi@ie.ey.com::488f269d-1fa2-455e-bf95-7695136a100d" providerId="AD" clId="Web-{E7AD1C1A-FB0F-EC58-8ADA-0E5D4551446F}" dt="2023-07-26T22:20:05.495" v="520"/>
          <ac:picMkLst>
            <pc:docMk/>
            <pc:sldMk cId="2915504962" sldId="2147479644"/>
            <ac:picMk id="2" creationId="{256E2374-EF67-F09A-46A7-2CDF0094E05B}"/>
          </ac:picMkLst>
        </pc:picChg>
        <pc:picChg chg="add del mod">
          <ac:chgData name="Jeffrey Obi" userId="S::jeffrey.obi@ie.ey.com::488f269d-1fa2-455e-bf95-7695136a100d" providerId="AD" clId="Web-{E7AD1C1A-FB0F-EC58-8ADA-0E5D4551446F}" dt="2023-07-26T22:34:45.519" v="530"/>
          <ac:picMkLst>
            <pc:docMk/>
            <pc:sldMk cId="2915504962" sldId="2147479644"/>
            <ac:picMk id="3" creationId="{98112845-8C68-1192-1458-C0E48B9160B8}"/>
          </ac:picMkLst>
        </pc:picChg>
        <pc:picChg chg="add del mod">
          <ac:chgData name="Jeffrey Obi" userId="S::jeffrey.obi@ie.ey.com::488f269d-1fa2-455e-bf95-7695136a100d" providerId="AD" clId="Web-{E7AD1C1A-FB0F-EC58-8ADA-0E5D4551446F}" dt="2023-07-26T22:34:42.831" v="529"/>
          <ac:picMkLst>
            <pc:docMk/>
            <pc:sldMk cId="2915504962" sldId="2147479644"/>
            <ac:picMk id="4" creationId="{820F116E-AC8C-31C4-99D1-95D88632138E}"/>
          </ac:picMkLst>
        </pc:picChg>
      </pc:sldChg>
      <pc:sldChg chg="addSp delSp modSp add del replId">
        <pc:chgData name="Jeffrey Obi" userId="S::jeffrey.obi@ie.ey.com::488f269d-1fa2-455e-bf95-7695136a100d" providerId="AD" clId="Web-{E7AD1C1A-FB0F-EC58-8ADA-0E5D4551446F}" dt="2023-07-26T23:48:49.471" v="1037"/>
        <pc:sldMkLst>
          <pc:docMk/>
          <pc:sldMk cId="1347695004" sldId="2147479645"/>
        </pc:sldMkLst>
        <pc:graphicFrameChg chg="add del mod">
          <ac:chgData name="Jeffrey Obi" userId="S::jeffrey.obi@ie.ey.com::488f269d-1fa2-455e-bf95-7695136a100d" providerId="AD" clId="Web-{E7AD1C1A-FB0F-EC58-8ADA-0E5D4551446F}" dt="2023-07-26T23:30:17.034" v="1005"/>
          <ac:graphicFrameMkLst>
            <pc:docMk/>
            <pc:sldMk cId="1347695004" sldId="2147479645"/>
            <ac:graphicFrameMk id="3" creationId="{94ACC4E2-2F83-707D-1965-5A6E2C019957}"/>
          </ac:graphicFrameMkLst>
        </pc:graphicFrameChg>
        <pc:graphicFrameChg chg="add del mod">
          <ac:chgData name="Jeffrey Obi" userId="S::jeffrey.obi@ie.ey.com::488f269d-1fa2-455e-bf95-7695136a100d" providerId="AD" clId="Web-{E7AD1C1A-FB0F-EC58-8ADA-0E5D4551446F}" dt="2023-07-26T23:30:38.222" v="1007"/>
          <ac:graphicFrameMkLst>
            <pc:docMk/>
            <pc:sldMk cId="1347695004" sldId="2147479645"/>
            <ac:graphicFrameMk id="6" creationId="{07DA989B-27BE-83E4-4456-6A07A7F80566}"/>
          </ac:graphicFrameMkLst>
        </pc:graphicFrameChg>
        <pc:graphicFrameChg chg="add del mod">
          <ac:chgData name="Jeffrey Obi" userId="S::jeffrey.obi@ie.ey.com::488f269d-1fa2-455e-bf95-7695136a100d" providerId="AD" clId="Web-{E7AD1C1A-FB0F-EC58-8ADA-0E5D4551446F}" dt="2023-07-26T23:44:08.822" v="1029"/>
          <ac:graphicFrameMkLst>
            <pc:docMk/>
            <pc:sldMk cId="1347695004" sldId="2147479645"/>
            <ac:graphicFrameMk id="9" creationId="{E256571A-4B56-D4B7-E745-0312259CDB1C}"/>
          </ac:graphicFrameMkLst>
        </pc:graphicFrameChg>
        <pc:graphicFrameChg chg="del">
          <ac:chgData name="Jeffrey Obi" userId="S::jeffrey.obi@ie.ey.com::488f269d-1fa2-455e-bf95-7695136a100d" providerId="AD" clId="Web-{E7AD1C1A-FB0F-EC58-8ADA-0E5D4551446F}" dt="2023-07-26T23:30:01.455" v="1003"/>
          <ac:graphicFrameMkLst>
            <pc:docMk/>
            <pc:sldMk cId="1347695004" sldId="2147479645"/>
            <ac:graphicFrameMk id="10" creationId="{C373DE96-CF83-C1C7-EAE3-76F41D608563}"/>
          </ac:graphicFrameMkLst>
        </pc:graphicFrameChg>
        <pc:graphicFrameChg chg="add del mod">
          <ac:chgData name="Jeffrey Obi" userId="S::jeffrey.obi@ie.ey.com::488f269d-1fa2-455e-bf95-7695136a100d" providerId="AD" clId="Web-{E7AD1C1A-FB0F-EC58-8ADA-0E5D4551446F}" dt="2023-07-26T23:44:18.807" v="1031"/>
          <ac:graphicFrameMkLst>
            <pc:docMk/>
            <pc:sldMk cId="1347695004" sldId="2147479645"/>
            <ac:graphicFrameMk id="12" creationId="{728D3FD2-5904-ECDA-52BB-29635CCF2EBB}"/>
          </ac:graphicFrameMkLst>
        </pc:graphicFrameChg>
        <pc:graphicFrameChg chg="add mod">
          <ac:chgData name="Jeffrey Obi" userId="S::jeffrey.obi@ie.ey.com::488f269d-1fa2-455e-bf95-7695136a100d" providerId="AD" clId="Web-{E7AD1C1A-FB0F-EC58-8ADA-0E5D4551446F}" dt="2023-07-26T23:48:39.501" v="1036"/>
          <ac:graphicFrameMkLst>
            <pc:docMk/>
            <pc:sldMk cId="1347695004" sldId="2147479645"/>
            <ac:graphicFrameMk id="14" creationId="{938C4ECF-E1A3-D10A-FEC0-A77171052338}"/>
          </ac:graphicFrameMkLst>
        </pc:graphicFrameChg>
        <pc:picChg chg="add del mod">
          <ac:chgData name="Jeffrey Obi" userId="S::jeffrey.obi@ie.ey.com::488f269d-1fa2-455e-bf95-7695136a100d" providerId="AD" clId="Web-{E7AD1C1A-FB0F-EC58-8ADA-0E5D4551446F}" dt="2023-07-26T23:43:44.603" v="1027"/>
          <ac:picMkLst>
            <pc:docMk/>
            <pc:sldMk cId="1347695004" sldId="2147479645"/>
            <ac:picMk id="7" creationId="{04143747-7F7F-8736-F7DA-DFF558FE47B9}"/>
          </ac:picMkLst>
        </pc:picChg>
      </pc:sldChg>
      <pc:sldChg chg="addSp delSp modSp add del mod modClrScheme chgLayout">
        <pc:chgData name="Jeffrey Obi" userId="S::jeffrey.obi@ie.ey.com::488f269d-1fa2-455e-bf95-7695136a100d" providerId="AD" clId="Web-{E7AD1C1A-FB0F-EC58-8ADA-0E5D4551446F}" dt="2023-07-26T23:47:55.016" v="1035"/>
        <pc:sldMkLst>
          <pc:docMk/>
          <pc:sldMk cId="3004816806" sldId="2147479646"/>
        </pc:sldMkLst>
        <pc:spChg chg="add del mod ord">
          <ac:chgData name="Jeffrey Obi" userId="S::jeffrey.obi@ie.ey.com::488f269d-1fa2-455e-bf95-7695136a100d" providerId="AD" clId="Web-{E7AD1C1A-FB0F-EC58-8ADA-0E5D4551446F}" dt="2023-07-26T23:46:09.372" v="1034"/>
          <ac:spMkLst>
            <pc:docMk/>
            <pc:sldMk cId="3004816806" sldId="2147479646"/>
            <ac:spMk id="2" creationId="{586DF426-F246-7AA0-D598-BE169735387B}"/>
          </ac:spMkLst>
        </pc:spChg>
        <pc:spChg chg="add del mod ord">
          <ac:chgData name="Jeffrey Obi" userId="S::jeffrey.obi@ie.ey.com::488f269d-1fa2-455e-bf95-7695136a100d" providerId="AD" clId="Web-{E7AD1C1A-FB0F-EC58-8ADA-0E5D4551446F}" dt="2023-07-26T23:46:09.372" v="1034"/>
          <ac:spMkLst>
            <pc:docMk/>
            <pc:sldMk cId="3004816806" sldId="2147479646"/>
            <ac:spMk id="4" creationId="{90C28D50-6951-F6CA-118D-276E896A9189}"/>
          </ac:spMkLst>
        </pc:spChg>
      </pc:sldChg>
      <pc:sldMasterChg chg="add addSldLayout">
        <pc:chgData name="Jeffrey Obi" userId="S::jeffrey.obi@ie.ey.com::488f269d-1fa2-455e-bf95-7695136a100d" providerId="AD" clId="Web-{E7AD1C1A-FB0F-EC58-8ADA-0E5D4551446F}" dt="2023-07-26T23:45:07.527" v="1032"/>
        <pc:sldMasterMkLst>
          <pc:docMk/>
          <pc:sldMasterMk cId="0" sldId="2147483845"/>
        </pc:sldMasterMkLst>
        <pc:sldLayoutChg chg="add">
          <pc:chgData name="Jeffrey Obi" userId="S::jeffrey.obi@ie.ey.com::488f269d-1fa2-455e-bf95-7695136a100d" providerId="AD" clId="Web-{E7AD1C1A-FB0F-EC58-8ADA-0E5D4551446F}" dt="2023-07-26T23:45:07.527" v="1032"/>
          <pc:sldLayoutMkLst>
            <pc:docMk/>
            <pc:sldMasterMk cId="0" sldId="2147483845"/>
            <pc:sldLayoutMk cId="0" sldId="2147483866"/>
          </pc:sldLayoutMkLst>
        </pc:sldLayoutChg>
        <pc:sldLayoutChg chg="add">
          <pc:chgData name="Jeffrey Obi" userId="S::jeffrey.obi@ie.ey.com::488f269d-1fa2-455e-bf95-7695136a100d" providerId="AD" clId="Web-{E7AD1C1A-FB0F-EC58-8ADA-0E5D4551446F}" dt="2023-07-26T23:45:07.527" v="1032"/>
          <pc:sldLayoutMkLst>
            <pc:docMk/>
            <pc:sldMasterMk cId="0" sldId="2147483845"/>
            <pc:sldLayoutMk cId="1454169792" sldId="2147483867"/>
          </pc:sldLayoutMkLst>
        </pc:sldLayoutChg>
        <pc:sldLayoutChg chg="add">
          <pc:chgData name="Jeffrey Obi" userId="S::jeffrey.obi@ie.ey.com::488f269d-1fa2-455e-bf95-7695136a100d" providerId="AD" clId="Web-{E7AD1C1A-FB0F-EC58-8ADA-0E5D4551446F}" dt="2023-07-26T23:45:07.527" v="1032"/>
          <pc:sldLayoutMkLst>
            <pc:docMk/>
            <pc:sldMasterMk cId="0" sldId="2147483845"/>
            <pc:sldLayoutMk cId="1505164818" sldId="2147483868"/>
          </pc:sldLayoutMkLst>
        </pc:sldLayoutChg>
        <pc:sldLayoutChg chg="add">
          <pc:chgData name="Jeffrey Obi" userId="S::jeffrey.obi@ie.ey.com::488f269d-1fa2-455e-bf95-7695136a100d" providerId="AD" clId="Web-{E7AD1C1A-FB0F-EC58-8ADA-0E5D4551446F}" dt="2023-07-26T23:45:07.527" v="1032"/>
          <pc:sldLayoutMkLst>
            <pc:docMk/>
            <pc:sldMasterMk cId="0" sldId="2147483845"/>
            <pc:sldLayoutMk cId="2728736045" sldId="2147483869"/>
          </pc:sldLayoutMkLst>
        </pc:sldLayoutChg>
      </pc:sldMasterChg>
      <pc:sldMasterChg chg="modSldLayout">
        <pc:chgData name="Jeffrey Obi" userId="S::jeffrey.obi@ie.ey.com::488f269d-1fa2-455e-bf95-7695136a100d" providerId="AD" clId="Web-{E7AD1C1A-FB0F-EC58-8ADA-0E5D4551446F}" dt="2023-07-26T23:45:07.527" v="1032"/>
        <pc:sldMasterMkLst>
          <pc:docMk/>
          <pc:sldMasterMk cId="1586323379" sldId="2147484243"/>
        </pc:sldMasterMkLst>
        <pc:sldLayoutChg chg="replId">
          <pc:chgData name="Jeffrey Obi" userId="S::jeffrey.obi@ie.ey.com::488f269d-1fa2-455e-bf95-7695136a100d" providerId="AD" clId="Web-{E7AD1C1A-FB0F-EC58-8ADA-0E5D4551446F}" dt="2023-07-26T23:45:07.527" v="1032"/>
          <pc:sldLayoutMkLst>
            <pc:docMk/>
            <pc:sldMasterMk cId="1586323379" sldId="2147483862"/>
            <pc:sldLayoutMk cId="2097239032" sldId="2147483945"/>
          </pc:sldLayoutMkLst>
        </pc:sldLayoutChg>
        <pc:sldLayoutChg chg="replId">
          <pc:chgData name="Jeffrey Obi" userId="S::jeffrey.obi@ie.ey.com::488f269d-1fa2-455e-bf95-7695136a100d" providerId="AD" clId="Web-{E7AD1C1A-FB0F-EC58-8ADA-0E5D4551446F}" dt="2023-07-26T23:45:07.527" v="1032"/>
          <pc:sldLayoutMkLst>
            <pc:docMk/>
            <pc:sldMasterMk cId="1586323379" sldId="2147483862"/>
            <pc:sldLayoutMk cId="1892373190" sldId="2147484250"/>
          </pc:sldLayoutMkLst>
        </pc:sldLayoutChg>
      </pc:sldMasterChg>
    </pc:docChg>
  </pc:docChgLst>
  <pc:docChgLst>
    <pc:chgData name="Andrew Cochrane" userId="7c8c56e5-33b6-4702-bf4e-be44fe3a7df1" providerId="ADAL" clId="{CF6AB4FE-821D-4317-A79F-1DD306352215}"/>
    <pc:docChg chg="undo custSel modSld sldOrd">
      <pc:chgData name="Andrew Cochrane" userId="7c8c56e5-33b6-4702-bf4e-be44fe3a7df1" providerId="ADAL" clId="{CF6AB4FE-821D-4317-A79F-1DD306352215}" dt="2023-04-25T10:27:19.322" v="228" actId="108"/>
      <pc:docMkLst>
        <pc:docMk/>
      </pc:docMkLst>
      <pc:sldChg chg="ord">
        <pc:chgData name="Andrew Cochrane" userId="7c8c56e5-33b6-4702-bf4e-be44fe3a7df1" providerId="ADAL" clId="{CF6AB4FE-821D-4317-A79F-1DD306352215}" dt="2023-04-25T10:07:46.488" v="1"/>
        <pc:sldMkLst>
          <pc:docMk/>
          <pc:sldMk cId="633734048" sldId="2142535106"/>
        </pc:sldMkLst>
      </pc:sldChg>
      <pc:sldChg chg="addSp delSp modSp mod">
        <pc:chgData name="Andrew Cochrane" userId="7c8c56e5-33b6-4702-bf4e-be44fe3a7df1" providerId="ADAL" clId="{CF6AB4FE-821D-4317-A79F-1DD306352215}" dt="2023-04-25T10:27:19.322" v="228" actId="108"/>
        <pc:sldMkLst>
          <pc:docMk/>
          <pc:sldMk cId="1445273778" sldId="2147479553"/>
        </pc:sldMkLst>
        <pc:spChg chg="mod">
          <ac:chgData name="Andrew Cochrane" userId="7c8c56e5-33b6-4702-bf4e-be44fe3a7df1" providerId="ADAL" clId="{CF6AB4FE-821D-4317-A79F-1DD306352215}" dt="2023-04-25T10:26:42.496" v="223" actId="1035"/>
          <ac:spMkLst>
            <pc:docMk/>
            <pc:sldMk cId="1445273778" sldId="2147479553"/>
            <ac:spMk id="26" creationId="{BBB404C7-DB5F-4277-A311-AF9D887457B7}"/>
          </ac:spMkLst>
        </pc:spChg>
        <pc:spChg chg="mod">
          <ac:chgData name="Andrew Cochrane" userId="7c8c56e5-33b6-4702-bf4e-be44fe3a7df1" providerId="ADAL" clId="{CF6AB4FE-821D-4317-A79F-1DD306352215}" dt="2023-04-25T10:26:32.731" v="218" actId="108"/>
          <ac:spMkLst>
            <pc:docMk/>
            <pc:sldMk cId="1445273778" sldId="2147479553"/>
            <ac:spMk id="27" creationId="{22C9564B-CDD0-4E21-8819-226812DC7B06}"/>
          </ac:spMkLst>
        </pc:spChg>
        <pc:spChg chg="mod">
          <ac:chgData name="Andrew Cochrane" userId="7c8c56e5-33b6-4702-bf4e-be44fe3a7df1" providerId="ADAL" clId="{CF6AB4FE-821D-4317-A79F-1DD306352215}" dt="2023-04-25T10:27:15.825" v="227" actId="108"/>
          <ac:spMkLst>
            <pc:docMk/>
            <pc:sldMk cId="1445273778" sldId="2147479553"/>
            <ac:spMk id="28" creationId="{04B15EE4-5491-4FC7-B703-667811B37AFA}"/>
          </ac:spMkLst>
        </pc:spChg>
        <pc:spChg chg="del mod">
          <ac:chgData name="Andrew Cochrane" userId="7c8c56e5-33b6-4702-bf4e-be44fe3a7df1" providerId="ADAL" clId="{CF6AB4FE-821D-4317-A79F-1DD306352215}" dt="2023-04-25T10:22:52.354" v="58" actId="478"/>
          <ac:spMkLst>
            <pc:docMk/>
            <pc:sldMk cId="1445273778" sldId="2147479553"/>
            <ac:spMk id="29" creationId="{8909D638-4343-4462-82E1-A74F8F36D35C}"/>
          </ac:spMkLst>
        </pc:spChg>
        <pc:spChg chg="del mod">
          <ac:chgData name="Andrew Cochrane" userId="7c8c56e5-33b6-4702-bf4e-be44fe3a7df1" providerId="ADAL" clId="{CF6AB4FE-821D-4317-A79F-1DD306352215}" dt="2023-04-25T10:22:52.354" v="58" actId="478"/>
          <ac:spMkLst>
            <pc:docMk/>
            <pc:sldMk cId="1445273778" sldId="2147479553"/>
            <ac:spMk id="30" creationId="{7701F817-CE52-43D8-96B9-CD21D3A1C6F8}"/>
          </ac:spMkLst>
        </pc:spChg>
        <pc:spChg chg="mod">
          <ac:chgData name="Andrew Cochrane" userId="7c8c56e5-33b6-4702-bf4e-be44fe3a7df1" providerId="ADAL" clId="{CF6AB4FE-821D-4317-A79F-1DD306352215}" dt="2023-04-25T10:26:07.109" v="213" actId="255"/>
          <ac:spMkLst>
            <pc:docMk/>
            <pc:sldMk cId="1445273778" sldId="2147479553"/>
            <ac:spMk id="31" creationId="{DA8F839A-5097-4E8E-8016-1FAB3A36BEDA}"/>
          </ac:spMkLst>
        </pc:spChg>
        <pc:spChg chg="mod">
          <ac:chgData name="Andrew Cochrane" userId="7c8c56e5-33b6-4702-bf4e-be44fe3a7df1" providerId="ADAL" clId="{CF6AB4FE-821D-4317-A79F-1DD306352215}" dt="2023-04-25T10:26:07.109" v="213" actId="255"/>
          <ac:spMkLst>
            <pc:docMk/>
            <pc:sldMk cId="1445273778" sldId="2147479553"/>
            <ac:spMk id="32" creationId="{A7E45D3A-3FD2-4D37-BED5-750E0B8E333C}"/>
          </ac:spMkLst>
        </pc:spChg>
        <pc:spChg chg="mod">
          <ac:chgData name="Andrew Cochrane" userId="7c8c56e5-33b6-4702-bf4e-be44fe3a7df1" providerId="ADAL" clId="{CF6AB4FE-821D-4317-A79F-1DD306352215}" dt="2023-04-25T10:26:28.533" v="217" actId="108"/>
          <ac:spMkLst>
            <pc:docMk/>
            <pc:sldMk cId="1445273778" sldId="2147479553"/>
            <ac:spMk id="33" creationId="{6C4330BF-A589-4958-A824-03762CB8E860}"/>
          </ac:spMkLst>
        </pc:spChg>
        <pc:spChg chg="mod">
          <ac:chgData name="Andrew Cochrane" userId="7c8c56e5-33b6-4702-bf4e-be44fe3a7df1" providerId="ADAL" clId="{CF6AB4FE-821D-4317-A79F-1DD306352215}" dt="2023-04-25T10:27:11.157" v="226" actId="108"/>
          <ac:spMkLst>
            <pc:docMk/>
            <pc:sldMk cId="1445273778" sldId="2147479553"/>
            <ac:spMk id="34" creationId="{2A72C1DB-87D8-44F9-827C-3F5A08B55393}"/>
          </ac:spMkLst>
        </pc:spChg>
        <pc:spChg chg="mod">
          <ac:chgData name="Andrew Cochrane" userId="7c8c56e5-33b6-4702-bf4e-be44fe3a7df1" providerId="ADAL" clId="{CF6AB4FE-821D-4317-A79F-1DD306352215}" dt="2023-04-25T10:26:07.109" v="213" actId="255"/>
          <ac:spMkLst>
            <pc:docMk/>
            <pc:sldMk cId="1445273778" sldId="2147479553"/>
            <ac:spMk id="35" creationId="{400FB52E-56AB-40DF-9D86-642D006E331E}"/>
          </ac:spMkLst>
        </pc:spChg>
        <pc:spChg chg="del">
          <ac:chgData name="Andrew Cochrane" userId="7c8c56e5-33b6-4702-bf4e-be44fe3a7df1" providerId="ADAL" clId="{CF6AB4FE-821D-4317-A79F-1DD306352215}" dt="2023-04-25T10:22:06.430" v="3" actId="478"/>
          <ac:spMkLst>
            <pc:docMk/>
            <pc:sldMk cId="1445273778" sldId="2147479553"/>
            <ac:spMk id="36" creationId="{1867D903-8293-40D9-80DF-97BE43352914}"/>
          </ac:spMkLst>
        </pc:spChg>
        <pc:spChg chg="del">
          <ac:chgData name="Andrew Cochrane" userId="7c8c56e5-33b6-4702-bf4e-be44fe3a7df1" providerId="ADAL" clId="{CF6AB4FE-821D-4317-A79F-1DD306352215}" dt="2023-04-25T10:22:06.430" v="3" actId="478"/>
          <ac:spMkLst>
            <pc:docMk/>
            <pc:sldMk cId="1445273778" sldId="2147479553"/>
            <ac:spMk id="37" creationId="{B039F474-C1EE-429C-A1BA-F7902108CE9E}"/>
          </ac:spMkLst>
        </pc:spChg>
        <pc:spChg chg="del">
          <ac:chgData name="Andrew Cochrane" userId="7c8c56e5-33b6-4702-bf4e-be44fe3a7df1" providerId="ADAL" clId="{CF6AB4FE-821D-4317-A79F-1DD306352215}" dt="2023-04-25T10:22:06.430" v="3" actId="478"/>
          <ac:spMkLst>
            <pc:docMk/>
            <pc:sldMk cId="1445273778" sldId="2147479553"/>
            <ac:spMk id="38" creationId="{EDDCA0F1-ED39-4CE1-9E91-1A00ADD62A02}"/>
          </ac:spMkLst>
        </pc:spChg>
        <pc:spChg chg="mod">
          <ac:chgData name="Andrew Cochrane" userId="7c8c56e5-33b6-4702-bf4e-be44fe3a7df1" providerId="ADAL" clId="{CF6AB4FE-821D-4317-A79F-1DD306352215}" dt="2023-04-25T10:26:37.649" v="219" actId="108"/>
          <ac:spMkLst>
            <pc:docMk/>
            <pc:sldMk cId="1445273778" sldId="2147479553"/>
            <ac:spMk id="39" creationId="{648E35EF-2F0F-45D6-8BD6-FAADB431FA82}"/>
          </ac:spMkLst>
        </pc:spChg>
        <pc:spChg chg="del mod">
          <ac:chgData name="Andrew Cochrane" userId="7c8c56e5-33b6-4702-bf4e-be44fe3a7df1" providerId="ADAL" clId="{CF6AB4FE-821D-4317-A79F-1DD306352215}" dt="2023-04-25T10:22:52.354" v="58" actId="478"/>
          <ac:spMkLst>
            <pc:docMk/>
            <pc:sldMk cId="1445273778" sldId="2147479553"/>
            <ac:spMk id="40" creationId="{29499C7C-FB49-4E32-8035-68CCDF474836}"/>
          </ac:spMkLst>
        </pc:spChg>
        <pc:spChg chg="mod">
          <ac:chgData name="Andrew Cochrane" userId="7c8c56e5-33b6-4702-bf4e-be44fe3a7df1" providerId="ADAL" clId="{CF6AB4FE-821D-4317-A79F-1DD306352215}" dt="2023-04-25T10:26:07.109" v="213" actId="255"/>
          <ac:spMkLst>
            <pc:docMk/>
            <pc:sldMk cId="1445273778" sldId="2147479553"/>
            <ac:spMk id="41" creationId="{987EF1B3-418D-4C37-97BD-51B2339F010C}"/>
          </ac:spMkLst>
        </pc:spChg>
        <pc:spChg chg="mod">
          <ac:chgData name="Andrew Cochrane" userId="7c8c56e5-33b6-4702-bf4e-be44fe3a7df1" providerId="ADAL" clId="{CF6AB4FE-821D-4317-A79F-1DD306352215}" dt="2023-04-25T10:26:25.108" v="216" actId="108"/>
          <ac:spMkLst>
            <pc:docMk/>
            <pc:sldMk cId="1445273778" sldId="2147479553"/>
            <ac:spMk id="42" creationId="{D8436C69-2130-4FF2-942B-0080FC6E51B8}"/>
          </ac:spMkLst>
        </pc:spChg>
        <pc:spChg chg="del">
          <ac:chgData name="Andrew Cochrane" userId="7c8c56e5-33b6-4702-bf4e-be44fe3a7df1" providerId="ADAL" clId="{CF6AB4FE-821D-4317-A79F-1DD306352215}" dt="2023-04-25T10:21:52.448" v="2" actId="478"/>
          <ac:spMkLst>
            <pc:docMk/>
            <pc:sldMk cId="1445273778" sldId="2147479553"/>
            <ac:spMk id="43" creationId="{7AA862DA-B047-455C-A3CA-7F021E43FB03}"/>
          </ac:spMkLst>
        </pc:spChg>
        <pc:spChg chg="del">
          <ac:chgData name="Andrew Cochrane" userId="7c8c56e5-33b6-4702-bf4e-be44fe3a7df1" providerId="ADAL" clId="{CF6AB4FE-821D-4317-A79F-1DD306352215}" dt="2023-04-25T10:21:52.448" v="2" actId="478"/>
          <ac:spMkLst>
            <pc:docMk/>
            <pc:sldMk cId="1445273778" sldId="2147479553"/>
            <ac:spMk id="44" creationId="{51E1C16B-51F0-41B2-AA2C-7F1FEE953D88}"/>
          </ac:spMkLst>
        </pc:spChg>
        <pc:spChg chg="del">
          <ac:chgData name="Andrew Cochrane" userId="7c8c56e5-33b6-4702-bf4e-be44fe3a7df1" providerId="ADAL" clId="{CF6AB4FE-821D-4317-A79F-1DD306352215}" dt="2023-04-25T10:21:52.448" v="2" actId="478"/>
          <ac:spMkLst>
            <pc:docMk/>
            <pc:sldMk cId="1445273778" sldId="2147479553"/>
            <ac:spMk id="45" creationId="{42D3D28F-2DF0-4173-9F66-3179949D25F1}"/>
          </ac:spMkLst>
        </pc:spChg>
        <pc:spChg chg="mod">
          <ac:chgData name="Andrew Cochrane" userId="7c8c56e5-33b6-4702-bf4e-be44fe3a7df1" providerId="ADAL" clId="{CF6AB4FE-821D-4317-A79F-1DD306352215}" dt="2023-04-25T10:27:19.322" v="228" actId="108"/>
          <ac:spMkLst>
            <pc:docMk/>
            <pc:sldMk cId="1445273778" sldId="2147479553"/>
            <ac:spMk id="46" creationId="{3934BF05-652B-4D27-8273-AEBA25F56641}"/>
          </ac:spMkLst>
        </pc:spChg>
        <pc:spChg chg="add mod">
          <ac:chgData name="Andrew Cochrane" userId="7c8c56e5-33b6-4702-bf4e-be44fe3a7df1" providerId="ADAL" clId="{CF6AB4FE-821D-4317-A79F-1DD306352215}" dt="2023-04-25T10:26:07.109" v="213" actId="255"/>
          <ac:spMkLst>
            <pc:docMk/>
            <pc:sldMk cId="1445273778" sldId="2147479553"/>
            <ac:spMk id="47" creationId="{D91830E2-A04A-450E-B503-556C2EA6066A}"/>
          </ac:spMkLst>
        </pc:spChg>
        <pc:spChg chg="add mod">
          <ac:chgData name="Andrew Cochrane" userId="7c8c56e5-33b6-4702-bf4e-be44fe3a7df1" providerId="ADAL" clId="{CF6AB4FE-821D-4317-A79F-1DD306352215}" dt="2023-04-25T10:26:18.653" v="214" actId="108"/>
          <ac:spMkLst>
            <pc:docMk/>
            <pc:sldMk cId="1445273778" sldId="2147479553"/>
            <ac:spMk id="48" creationId="{044196F3-5B76-4A57-BE5E-1AEF9EA52041}"/>
          </ac:spMkLst>
        </pc:spChg>
        <pc:spChg chg="add mod">
          <ac:chgData name="Andrew Cochrane" userId="7c8c56e5-33b6-4702-bf4e-be44fe3a7df1" providerId="ADAL" clId="{CF6AB4FE-821D-4317-A79F-1DD306352215}" dt="2023-04-25T10:27:03.025" v="225" actId="108"/>
          <ac:spMkLst>
            <pc:docMk/>
            <pc:sldMk cId="1445273778" sldId="2147479553"/>
            <ac:spMk id="49" creationId="{8BCAB0F7-B589-434E-99BD-AE0FF1D265EA}"/>
          </ac:spMkLst>
        </pc:spChg>
        <pc:spChg chg="add mod">
          <ac:chgData name="Andrew Cochrane" userId="7c8c56e5-33b6-4702-bf4e-be44fe3a7df1" providerId="ADAL" clId="{CF6AB4FE-821D-4317-A79F-1DD306352215}" dt="2023-04-25T10:26:07.109" v="213" actId="255"/>
          <ac:spMkLst>
            <pc:docMk/>
            <pc:sldMk cId="1445273778" sldId="2147479553"/>
            <ac:spMk id="50" creationId="{EA96CE0F-4324-4948-9BD3-167D39665C29}"/>
          </ac:spMkLst>
        </pc:spChg>
        <pc:spChg chg="add mod">
          <ac:chgData name="Andrew Cochrane" userId="7c8c56e5-33b6-4702-bf4e-be44fe3a7df1" providerId="ADAL" clId="{CF6AB4FE-821D-4317-A79F-1DD306352215}" dt="2023-04-25T10:26:21.936" v="215" actId="108"/>
          <ac:spMkLst>
            <pc:docMk/>
            <pc:sldMk cId="1445273778" sldId="2147479553"/>
            <ac:spMk id="51" creationId="{FA7A90AE-5190-43A3-BD61-B6337938FEA3}"/>
          </ac:spMkLst>
        </pc:spChg>
        <pc:spChg chg="add mod">
          <ac:chgData name="Andrew Cochrane" userId="7c8c56e5-33b6-4702-bf4e-be44fe3a7df1" providerId="ADAL" clId="{CF6AB4FE-821D-4317-A79F-1DD306352215}" dt="2023-04-25T10:26:07.109" v="213" actId="255"/>
          <ac:spMkLst>
            <pc:docMk/>
            <pc:sldMk cId="1445273778" sldId="2147479553"/>
            <ac:spMk id="52" creationId="{55A0DCED-8761-40CF-BED6-A75DAE915382}"/>
          </ac:spMkLst>
        </pc:spChg>
        <pc:spChg chg="add mod">
          <ac:chgData name="Andrew Cochrane" userId="7c8c56e5-33b6-4702-bf4e-be44fe3a7df1" providerId="ADAL" clId="{CF6AB4FE-821D-4317-A79F-1DD306352215}" dt="2023-04-25T10:27:03.025" v="225" actId="108"/>
          <ac:spMkLst>
            <pc:docMk/>
            <pc:sldMk cId="1445273778" sldId="2147479553"/>
            <ac:spMk id="53" creationId="{50E53C33-7711-4B31-8596-76372CAEFB6B}"/>
          </ac:spMkLst>
        </pc:spChg>
        <pc:spChg chg="add mod">
          <ac:chgData name="Andrew Cochrane" userId="7c8c56e5-33b6-4702-bf4e-be44fe3a7df1" providerId="ADAL" clId="{CF6AB4FE-821D-4317-A79F-1DD306352215}" dt="2023-04-25T10:26:07.109" v="213" actId="255"/>
          <ac:spMkLst>
            <pc:docMk/>
            <pc:sldMk cId="1445273778" sldId="2147479553"/>
            <ac:spMk id="54" creationId="{F529249F-E18C-4824-BD48-F930277D6667}"/>
          </ac:spMkLst>
        </pc:spChg>
        <pc:spChg chg="add mod">
          <ac:chgData name="Andrew Cochrane" userId="7c8c56e5-33b6-4702-bf4e-be44fe3a7df1" providerId="ADAL" clId="{CF6AB4FE-821D-4317-A79F-1DD306352215}" dt="2023-04-25T10:26:07.109" v="213" actId="255"/>
          <ac:spMkLst>
            <pc:docMk/>
            <pc:sldMk cId="1445273778" sldId="2147479553"/>
            <ac:spMk id="55" creationId="{0864B2C0-60B2-49EF-B27B-9876BD8E1733}"/>
          </ac:spMkLst>
        </pc:spChg>
      </pc:sldChg>
    </pc:docChg>
  </pc:docChgLst>
  <pc:docChgLst>
    <pc:chgData name="Jeffrey Obi" userId="S::jeffrey.obi@ie.ey.com::488f269d-1fa2-455e-bf95-7695136a100d" providerId="AD" clId="Web-{76169BBC-1708-3D73-E028-B2F57655B905}"/>
    <pc:docChg chg="addSld modSld modSection">
      <pc:chgData name="Jeffrey Obi" userId="S::jeffrey.obi@ie.ey.com::488f269d-1fa2-455e-bf95-7695136a100d" providerId="AD" clId="Web-{76169BBC-1708-3D73-E028-B2F57655B905}" dt="2023-08-03T16:41:16.686" v="159"/>
      <pc:docMkLst>
        <pc:docMk/>
      </pc:docMkLst>
      <pc:sldChg chg="modSp">
        <pc:chgData name="Jeffrey Obi" userId="S::jeffrey.obi@ie.ey.com::488f269d-1fa2-455e-bf95-7695136a100d" providerId="AD" clId="Web-{76169BBC-1708-3D73-E028-B2F57655B905}" dt="2023-08-03T16:40:54.732" v="158"/>
        <pc:sldMkLst>
          <pc:docMk/>
          <pc:sldMk cId="2074381867" sldId="2147479609"/>
        </pc:sldMkLst>
        <pc:graphicFrameChg chg="mod modGraphic">
          <ac:chgData name="Jeffrey Obi" userId="S::jeffrey.obi@ie.ey.com::488f269d-1fa2-455e-bf95-7695136a100d" providerId="AD" clId="Web-{76169BBC-1708-3D73-E028-B2F57655B905}" dt="2023-08-03T16:40:54.732" v="158"/>
          <ac:graphicFrameMkLst>
            <pc:docMk/>
            <pc:sldMk cId="2074381867" sldId="2147479609"/>
            <ac:graphicFrameMk id="3" creationId="{A8C79D6C-A7C9-DB57-D69D-756EB168AE4F}"/>
          </ac:graphicFrameMkLst>
        </pc:graphicFrameChg>
      </pc:sldChg>
      <pc:sldChg chg="delSp">
        <pc:chgData name="Jeffrey Obi" userId="S::jeffrey.obi@ie.ey.com::488f269d-1fa2-455e-bf95-7695136a100d" providerId="AD" clId="Web-{76169BBC-1708-3D73-E028-B2F57655B905}" dt="2023-08-03T16:28:41.985" v="0"/>
        <pc:sldMkLst>
          <pc:docMk/>
          <pc:sldMk cId="2915504962" sldId="2147479644"/>
        </pc:sldMkLst>
        <pc:spChg chg="del">
          <ac:chgData name="Jeffrey Obi" userId="S::jeffrey.obi@ie.ey.com::488f269d-1fa2-455e-bf95-7695136a100d" providerId="AD" clId="Web-{76169BBC-1708-3D73-E028-B2F57655B905}" dt="2023-08-03T16:28:41.985" v="0"/>
          <ac:spMkLst>
            <pc:docMk/>
            <pc:sldMk cId="2915504962" sldId="2147479644"/>
            <ac:spMk id="40" creationId="{CBE1FF7C-DD0E-69A7-8FE3-B26832BB52E9}"/>
          </ac:spMkLst>
        </pc:spChg>
      </pc:sldChg>
      <pc:sldChg chg="new">
        <pc:chgData name="Jeffrey Obi" userId="S::jeffrey.obi@ie.ey.com::488f269d-1fa2-455e-bf95-7695136a100d" providerId="AD" clId="Web-{76169BBC-1708-3D73-E028-B2F57655B905}" dt="2023-08-03T16:41:16.686" v="159"/>
        <pc:sldMkLst>
          <pc:docMk/>
          <pc:sldMk cId="401458886" sldId="2147479689"/>
        </pc:sldMkLst>
      </pc:sldChg>
    </pc:docChg>
  </pc:docChgLst>
  <pc:docChgLst>
    <pc:chgData name="Uros Djordjevic" userId="09eae9ca-0f8e-49e0-bbba-0d0545b127c8" providerId="ADAL" clId="{58CD56F3-8986-420B-A823-B2DE0A6E5228}"/>
    <pc:docChg chg="custSel modSld">
      <pc:chgData name="Uros Djordjevic" userId="09eae9ca-0f8e-49e0-bbba-0d0545b127c8" providerId="ADAL" clId="{58CD56F3-8986-420B-A823-B2DE0A6E5228}" dt="2023-04-25T09:57:48.770" v="23" actId="368"/>
      <pc:docMkLst>
        <pc:docMk/>
      </pc:docMkLst>
      <pc:sldChg chg="modNotes">
        <pc:chgData name="Uros Djordjevic" userId="09eae9ca-0f8e-49e0-bbba-0d0545b127c8" providerId="ADAL" clId="{58CD56F3-8986-420B-A823-B2DE0A6E5228}" dt="2023-04-25T09:57:48.751" v="19" actId="368"/>
        <pc:sldMkLst>
          <pc:docMk/>
          <pc:sldMk cId="3902066404" sldId="2147473124"/>
        </pc:sldMkLst>
      </pc:sldChg>
      <pc:sldChg chg="modNotes">
        <pc:chgData name="Uros Djordjevic" userId="09eae9ca-0f8e-49e0-bbba-0d0545b127c8" providerId="ADAL" clId="{58CD56F3-8986-420B-A823-B2DE0A6E5228}" dt="2023-04-25T09:57:48.758" v="21" actId="368"/>
        <pc:sldMkLst>
          <pc:docMk/>
          <pc:sldMk cId="2949565930" sldId="2147473125"/>
        </pc:sldMkLst>
      </pc:sldChg>
      <pc:sldChg chg="modNotes">
        <pc:chgData name="Uros Djordjevic" userId="09eae9ca-0f8e-49e0-bbba-0d0545b127c8" providerId="ADAL" clId="{58CD56F3-8986-420B-A823-B2DE0A6E5228}" dt="2023-04-25T09:57:48.770" v="23" actId="368"/>
        <pc:sldMkLst>
          <pc:docMk/>
          <pc:sldMk cId="4187379778" sldId="2147473130"/>
        </pc:sldMkLst>
      </pc:sldChg>
      <pc:sldChg chg="modNotes">
        <pc:chgData name="Uros Djordjevic" userId="09eae9ca-0f8e-49e0-bbba-0d0545b127c8" providerId="ADAL" clId="{58CD56F3-8986-420B-A823-B2DE0A6E5228}" dt="2023-04-25T09:57:48.741" v="17" actId="368"/>
        <pc:sldMkLst>
          <pc:docMk/>
          <pc:sldMk cId="2769565885" sldId="2147479570"/>
        </pc:sldMkLst>
      </pc:sldChg>
      <pc:sldChg chg="modNotes">
        <pc:chgData name="Uros Djordjevic" userId="09eae9ca-0f8e-49e0-bbba-0d0545b127c8" providerId="ADAL" clId="{58CD56F3-8986-420B-A823-B2DE0A6E5228}" dt="2023-04-25T09:57:48.689" v="1" actId="368"/>
        <pc:sldMkLst>
          <pc:docMk/>
          <pc:sldMk cId="2756146067" sldId="2147479573"/>
        </pc:sldMkLst>
      </pc:sldChg>
      <pc:sldChg chg="modNotes">
        <pc:chgData name="Uros Djordjevic" userId="09eae9ca-0f8e-49e0-bbba-0d0545b127c8" providerId="ADAL" clId="{58CD56F3-8986-420B-A823-B2DE0A6E5228}" dt="2023-04-25T09:57:48.699" v="3" actId="368"/>
        <pc:sldMkLst>
          <pc:docMk/>
          <pc:sldMk cId="3715160721" sldId="2147479574"/>
        </pc:sldMkLst>
      </pc:sldChg>
      <pc:sldChg chg="modNotes">
        <pc:chgData name="Uros Djordjevic" userId="09eae9ca-0f8e-49e0-bbba-0d0545b127c8" providerId="ADAL" clId="{58CD56F3-8986-420B-A823-B2DE0A6E5228}" dt="2023-04-25T09:57:48.704" v="5" actId="368"/>
        <pc:sldMkLst>
          <pc:docMk/>
          <pc:sldMk cId="1754719268" sldId="2147479575"/>
        </pc:sldMkLst>
      </pc:sldChg>
      <pc:sldChg chg="modNotes">
        <pc:chgData name="Uros Djordjevic" userId="09eae9ca-0f8e-49e0-bbba-0d0545b127c8" providerId="ADAL" clId="{58CD56F3-8986-420B-A823-B2DE0A6E5228}" dt="2023-04-25T09:57:48.710" v="7" actId="368"/>
        <pc:sldMkLst>
          <pc:docMk/>
          <pc:sldMk cId="1796822435" sldId="2147479578"/>
        </pc:sldMkLst>
      </pc:sldChg>
      <pc:sldChg chg="modNotes">
        <pc:chgData name="Uros Djordjevic" userId="09eae9ca-0f8e-49e0-bbba-0d0545b127c8" providerId="ADAL" clId="{58CD56F3-8986-420B-A823-B2DE0A6E5228}" dt="2023-04-25T09:57:48.714" v="9" actId="368"/>
        <pc:sldMkLst>
          <pc:docMk/>
          <pc:sldMk cId="1088096342" sldId="2147479579"/>
        </pc:sldMkLst>
      </pc:sldChg>
      <pc:sldChg chg="modNotes">
        <pc:chgData name="Uros Djordjevic" userId="09eae9ca-0f8e-49e0-bbba-0d0545b127c8" providerId="ADAL" clId="{58CD56F3-8986-420B-A823-B2DE0A6E5228}" dt="2023-04-25T09:57:48.719" v="11" actId="368"/>
        <pc:sldMkLst>
          <pc:docMk/>
          <pc:sldMk cId="3794218092" sldId="2147479580"/>
        </pc:sldMkLst>
      </pc:sldChg>
      <pc:sldChg chg="modNotes">
        <pc:chgData name="Uros Djordjevic" userId="09eae9ca-0f8e-49e0-bbba-0d0545b127c8" providerId="ADAL" clId="{58CD56F3-8986-420B-A823-B2DE0A6E5228}" dt="2023-04-25T09:57:48.726" v="13" actId="368"/>
        <pc:sldMkLst>
          <pc:docMk/>
          <pc:sldMk cId="2004736651" sldId="2147479581"/>
        </pc:sldMkLst>
      </pc:sldChg>
      <pc:sldChg chg="modNotes">
        <pc:chgData name="Uros Djordjevic" userId="09eae9ca-0f8e-49e0-bbba-0d0545b127c8" providerId="ADAL" clId="{58CD56F3-8986-420B-A823-B2DE0A6E5228}" dt="2023-04-25T09:57:48.733" v="15" actId="368"/>
        <pc:sldMkLst>
          <pc:docMk/>
          <pc:sldMk cId="4019338259" sldId="2147479582"/>
        </pc:sldMkLst>
      </pc:sldChg>
    </pc:docChg>
  </pc:docChgLst>
  <pc:docChgLst>
    <pc:chgData name="Ahmed Helmy" userId="S::ahmed.helmy@ie.ey.com::00ab2dc9-190a-451b-8f35-a658adf790b2" providerId="AD" clId="Web-{3861DDF4-9EF3-3BA3-1499-8C93A5658289}"/>
    <pc:docChg chg="modSld">
      <pc:chgData name="Ahmed Helmy" userId="S::ahmed.helmy@ie.ey.com::00ab2dc9-190a-451b-8f35-a658adf790b2" providerId="AD" clId="Web-{3861DDF4-9EF3-3BA3-1499-8C93A5658289}" dt="2023-07-25T13:31:46.591" v="14" actId="20577"/>
      <pc:docMkLst>
        <pc:docMk/>
      </pc:docMkLst>
      <pc:sldChg chg="modSp">
        <pc:chgData name="Ahmed Helmy" userId="S::ahmed.helmy@ie.ey.com::00ab2dc9-190a-451b-8f35-a658adf790b2" providerId="AD" clId="Web-{3861DDF4-9EF3-3BA3-1499-8C93A5658289}" dt="2023-07-25T13:31:46.591" v="14" actId="20577"/>
        <pc:sldMkLst>
          <pc:docMk/>
          <pc:sldMk cId="3673377692" sldId="2147479616"/>
        </pc:sldMkLst>
        <pc:spChg chg="mod">
          <ac:chgData name="Ahmed Helmy" userId="S::ahmed.helmy@ie.ey.com::00ab2dc9-190a-451b-8f35-a658adf790b2" providerId="AD" clId="Web-{3861DDF4-9EF3-3BA3-1499-8C93A5658289}" dt="2023-07-25T13:31:46.591" v="14" actId="20577"/>
          <ac:spMkLst>
            <pc:docMk/>
            <pc:sldMk cId="3673377692" sldId="2147479616"/>
            <ac:spMk id="28" creationId="{3C2A5434-720E-4AA9-21BF-0B0E8A76CA06}"/>
          </ac:spMkLst>
        </pc:spChg>
      </pc:sldChg>
      <pc:sldChg chg="modSp">
        <pc:chgData name="Ahmed Helmy" userId="S::ahmed.helmy@ie.ey.com::00ab2dc9-190a-451b-8f35-a658adf790b2" providerId="AD" clId="Web-{3861DDF4-9EF3-3BA3-1499-8C93A5658289}" dt="2023-07-25T13:31:37.419" v="6" actId="20577"/>
        <pc:sldMkLst>
          <pc:docMk/>
          <pc:sldMk cId="554842699" sldId="2147479617"/>
        </pc:sldMkLst>
        <pc:spChg chg="mod">
          <ac:chgData name="Ahmed Helmy" userId="S::ahmed.helmy@ie.ey.com::00ab2dc9-190a-451b-8f35-a658adf790b2" providerId="AD" clId="Web-{3861DDF4-9EF3-3BA3-1499-8C93A5658289}" dt="2023-07-25T13:31:37.419" v="6" actId="20577"/>
          <ac:spMkLst>
            <pc:docMk/>
            <pc:sldMk cId="554842699" sldId="2147479617"/>
            <ac:spMk id="28" creationId="{3C2A5434-720E-4AA9-21BF-0B0E8A76CA06}"/>
          </ac:spMkLst>
        </pc:spChg>
      </pc:sldChg>
      <pc:sldChg chg="modSp">
        <pc:chgData name="Ahmed Helmy" userId="S::ahmed.helmy@ie.ey.com::00ab2dc9-190a-451b-8f35-a658adf790b2" providerId="AD" clId="Web-{3861DDF4-9EF3-3BA3-1499-8C93A5658289}" dt="2023-07-25T13:31:38.216" v="7" actId="20577"/>
        <pc:sldMkLst>
          <pc:docMk/>
          <pc:sldMk cId="1127760975" sldId="2147479618"/>
        </pc:sldMkLst>
        <pc:spChg chg="mod">
          <ac:chgData name="Ahmed Helmy" userId="S::ahmed.helmy@ie.ey.com::00ab2dc9-190a-451b-8f35-a658adf790b2" providerId="AD" clId="Web-{3861DDF4-9EF3-3BA3-1499-8C93A5658289}" dt="2023-07-25T13:31:38.216" v="7" actId="20577"/>
          <ac:spMkLst>
            <pc:docMk/>
            <pc:sldMk cId="1127760975" sldId="2147479618"/>
            <ac:spMk id="28" creationId="{3C2A5434-720E-4AA9-21BF-0B0E8A76CA06}"/>
          </ac:spMkLst>
        </pc:spChg>
        <pc:picChg chg="mod">
          <ac:chgData name="Ahmed Helmy" userId="S::ahmed.helmy@ie.ey.com::00ab2dc9-190a-451b-8f35-a658adf790b2" providerId="AD" clId="Web-{3861DDF4-9EF3-3BA3-1499-8C93A5658289}" dt="2023-07-25T12:41:12.241" v="4" actId="1076"/>
          <ac:picMkLst>
            <pc:docMk/>
            <pc:sldMk cId="1127760975" sldId="2147479618"/>
            <ac:picMk id="2" creationId="{CA0EB169-F38B-2E55-2336-865B273BB63E}"/>
          </ac:picMkLst>
        </pc:picChg>
      </pc:sldChg>
    </pc:docChg>
  </pc:docChgLst>
  <pc:docChgLst>
    <pc:chgData name="Immanuel J Daniel" userId="S::immanuel.johnston.daniel@ie.ey.com::b9141605-49ff-443e-8af4-0c21e2766a66" providerId="AD" clId="Web-{27D4F023-D690-8010-9DDB-DF9B597AB4E9}"/>
    <pc:docChg chg="addSld delSld modSld sldOrd addSection modSection">
      <pc:chgData name="Immanuel J Daniel" userId="S::immanuel.johnston.daniel@ie.ey.com::b9141605-49ff-443e-8af4-0c21e2766a66" providerId="AD" clId="Web-{27D4F023-D690-8010-9DDB-DF9B597AB4E9}" dt="2023-07-26T11:05:02.494" v="546"/>
      <pc:docMkLst>
        <pc:docMk/>
      </pc:docMkLst>
      <pc:sldChg chg="modSp">
        <pc:chgData name="Immanuel J Daniel" userId="S::immanuel.johnston.daniel@ie.ey.com::b9141605-49ff-443e-8af4-0c21e2766a66" providerId="AD" clId="Web-{27D4F023-D690-8010-9DDB-DF9B597AB4E9}" dt="2023-07-26T09:54:19.326" v="106" actId="20577"/>
        <pc:sldMkLst>
          <pc:docMk/>
          <pc:sldMk cId="2703490332" sldId="2147473150"/>
        </pc:sldMkLst>
        <pc:spChg chg="mod">
          <ac:chgData name="Immanuel J Daniel" userId="S::immanuel.johnston.daniel@ie.ey.com::b9141605-49ff-443e-8af4-0c21e2766a66" providerId="AD" clId="Web-{27D4F023-D690-8010-9DDB-DF9B597AB4E9}" dt="2023-07-26T09:54:19.326" v="106" actId="20577"/>
          <ac:spMkLst>
            <pc:docMk/>
            <pc:sldMk cId="2703490332" sldId="2147473150"/>
            <ac:spMk id="12" creationId="{F6E8B279-1398-B4F2-2F45-A63F0E17D8AD}"/>
          </ac:spMkLst>
        </pc:spChg>
      </pc:sldChg>
      <pc:sldChg chg="modSp">
        <pc:chgData name="Immanuel J Daniel" userId="S::immanuel.johnston.daniel@ie.ey.com::b9141605-49ff-443e-8af4-0c21e2766a66" providerId="AD" clId="Web-{27D4F023-D690-8010-9DDB-DF9B597AB4E9}" dt="2023-07-26T09:39:22.637" v="71" actId="1076"/>
        <pc:sldMkLst>
          <pc:docMk/>
          <pc:sldMk cId="3107324555" sldId="2147473173"/>
        </pc:sldMkLst>
        <pc:spChg chg="mod">
          <ac:chgData name="Immanuel J Daniel" userId="S::immanuel.johnston.daniel@ie.ey.com::b9141605-49ff-443e-8af4-0c21e2766a66" providerId="AD" clId="Web-{27D4F023-D690-8010-9DDB-DF9B597AB4E9}" dt="2023-07-26T09:39:22.637" v="71" actId="1076"/>
          <ac:spMkLst>
            <pc:docMk/>
            <pc:sldMk cId="3107324555" sldId="2147473173"/>
            <ac:spMk id="40" creationId="{D76B222C-769B-43FD-A5BD-1900879116BC}"/>
          </ac:spMkLst>
        </pc:spChg>
      </pc:sldChg>
      <pc:sldChg chg="modSp">
        <pc:chgData name="Immanuel J Daniel" userId="S::immanuel.johnston.daniel@ie.ey.com::b9141605-49ff-443e-8af4-0c21e2766a66" providerId="AD" clId="Web-{27D4F023-D690-8010-9DDB-DF9B597AB4E9}" dt="2023-07-26T09:54:54.765" v="122" actId="20577"/>
        <pc:sldMkLst>
          <pc:docMk/>
          <pc:sldMk cId="2488466455" sldId="2147479585"/>
        </pc:sldMkLst>
        <pc:spChg chg="mod">
          <ac:chgData name="Immanuel J Daniel" userId="S::immanuel.johnston.daniel@ie.ey.com::b9141605-49ff-443e-8af4-0c21e2766a66" providerId="AD" clId="Web-{27D4F023-D690-8010-9DDB-DF9B597AB4E9}" dt="2023-07-26T09:54:51.249" v="120" actId="20577"/>
          <ac:spMkLst>
            <pc:docMk/>
            <pc:sldMk cId="2488466455" sldId="2147479585"/>
            <ac:spMk id="9" creationId="{EDFD3F8C-2C8A-0507-F0A6-ABD45DE625C7}"/>
          </ac:spMkLst>
        </pc:spChg>
        <pc:spChg chg="mod">
          <ac:chgData name="Immanuel J Daniel" userId="S::immanuel.johnston.daniel@ie.ey.com::b9141605-49ff-443e-8af4-0c21e2766a66" providerId="AD" clId="Web-{27D4F023-D690-8010-9DDB-DF9B597AB4E9}" dt="2023-07-26T09:54:54.765" v="122" actId="20577"/>
          <ac:spMkLst>
            <pc:docMk/>
            <pc:sldMk cId="2488466455" sldId="2147479585"/>
            <ac:spMk id="11" creationId="{5793A24B-ABE3-D06E-AC2E-051576A1FB22}"/>
          </ac:spMkLst>
        </pc:spChg>
      </pc:sldChg>
      <pc:sldChg chg="modSp">
        <pc:chgData name="Immanuel J Daniel" userId="S::immanuel.johnston.daniel@ie.ey.com::b9141605-49ff-443e-8af4-0c21e2766a66" providerId="AD" clId="Web-{27D4F023-D690-8010-9DDB-DF9B597AB4E9}" dt="2023-07-26T10:20:09.662" v="378" actId="20577"/>
        <pc:sldMkLst>
          <pc:docMk/>
          <pc:sldMk cId="783175190" sldId="2147479586"/>
        </pc:sldMkLst>
        <pc:spChg chg="mod">
          <ac:chgData name="Immanuel J Daniel" userId="S::immanuel.johnston.daniel@ie.ey.com::b9141605-49ff-443e-8af4-0c21e2766a66" providerId="AD" clId="Web-{27D4F023-D690-8010-9DDB-DF9B597AB4E9}" dt="2023-07-26T10:20:09.662" v="378" actId="20577"/>
          <ac:spMkLst>
            <pc:docMk/>
            <pc:sldMk cId="783175190" sldId="2147479586"/>
            <ac:spMk id="2" creationId="{35CD8BED-68CF-D983-C8AF-A9AD64B592B0}"/>
          </ac:spMkLst>
        </pc:spChg>
        <pc:spChg chg="mod">
          <ac:chgData name="Immanuel J Daniel" userId="S::immanuel.johnston.daniel@ie.ey.com::b9141605-49ff-443e-8af4-0c21e2766a66" providerId="AD" clId="Web-{27D4F023-D690-8010-9DDB-DF9B597AB4E9}" dt="2023-07-26T09:58:16.897" v="137" actId="20577"/>
          <ac:spMkLst>
            <pc:docMk/>
            <pc:sldMk cId="783175190" sldId="2147479586"/>
            <ac:spMk id="4" creationId="{E432C490-8501-4DEB-9800-36DD8F00D9DA}"/>
          </ac:spMkLst>
        </pc:spChg>
      </pc:sldChg>
      <pc:sldChg chg="modSp">
        <pc:chgData name="Immanuel J Daniel" userId="S::immanuel.johnston.daniel@ie.ey.com::b9141605-49ff-443e-8af4-0c21e2766a66" providerId="AD" clId="Web-{27D4F023-D690-8010-9DDB-DF9B597AB4E9}" dt="2023-07-26T09:53:25.652" v="85" actId="20577"/>
        <pc:sldMkLst>
          <pc:docMk/>
          <pc:sldMk cId="663762665" sldId="2147479591"/>
        </pc:sldMkLst>
        <pc:spChg chg="mod">
          <ac:chgData name="Immanuel J Daniel" userId="S::immanuel.johnston.daniel@ie.ey.com::b9141605-49ff-443e-8af4-0c21e2766a66" providerId="AD" clId="Web-{27D4F023-D690-8010-9DDB-DF9B597AB4E9}" dt="2023-07-26T09:53:25.652" v="85" actId="20577"/>
          <ac:spMkLst>
            <pc:docMk/>
            <pc:sldMk cId="663762665" sldId="2147479591"/>
            <ac:spMk id="4" creationId="{E432C490-8501-4DEB-9800-36DD8F00D9DA}"/>
          </ac:spMkLst>
        </pc:spChg>
      </pc:sldChg>
      <pc:sldChg chg="modSp">
        <pc:chgData name="Immanuel J Daniel" userId="S::immanuel.johnston.daniel@ie.ey.com::b9141605-49ff-443e-8af4-0c21e2766a66" providerId="AD" clId="Web-{27D4F023-D690-8010-9DDB-DF9B597AB4E9}" dt="2023-07-26T11:05:02.494" v="546"/>
        <pc:sldMkLst>
          <pc:docMk/>
          <pc:sldMk cId="2074381867" sldId="2147479609"/>
        </pc:sldMkLst>
        <pc:graphicFrameChg chg="mod modGraphic">
          <ac:chgData name="Immanuel J Daniel" userId="S::immanuel.johnston.daniel@ie.ey.com::b9141605-49ff-443e-8af4-0c21e2766a66" providerId="AD" clId="Web-{27D4F023-D690-8010-9DDB-DF9B597AB4E9}" dt="2023-07-26T11:05:02.494" v="546"/>
          <ac:graphicFrameMkLst>
            <pc:docMk/>
            <pc:sldMk cId="2074381867" sldId="2147479609"/>
            <ac:graphicFrameMk id="3" creationId="{A8C79D6C-A7C9-DB57-D69D-756EB168AE4F}"/>
          </ac:graphicFrameMkLst>
        </pc:graphicFrameChg>
      </pc:sldChg>
      <pc:sldChg chg="modSp">
        <pc:chgData name="Immanuel J Daniel" userId="S::immanuel.johnston.daniel@ie.ey.com::b9141605-49ff-443e-8af4-0c21e2766a66" providerId="AD" clId="Web-{27D4F023-D690-8010-9DDB-DF9B597AB4E9}" dt="2023-07-26T10:45:13.152" v="461" actId="20577"/>
        <pc:sldMkLst>
          <pc:docMk/>
          <pc:sldMk cId="3046752737" sldId="2147479614"/>
        </pc:sldMkLst>
        <pc:spChg chg="mod">
          <ac:chgData name="Immanuel J Daniel" userId="S::immanuel.johnston.daniel@ie.ey.com::b9141605-49ff-443e-8af4-0c21e2766a66" providerId="AD" clId="Web-{27D4F023-D690-8010-9DDB-DF9B597AB4E9}" dt="2023-07-26T10:45:13.152" v="461" actId="20577"/>
          <ac:spMkLst>
            <pc:docMk/>
            <pc:sldMk cId="3046752737" sldId="2147479614"/>
            <ac:spMk id="20" creationId="{71597D73-FC0D-0F7C-BC32-B2FA32899DF9}"/>
          </ac:spMkLst>
        </pc:spChg>
      </pc:sldChg>
      <pc:sldChg chg="modSp">
        <pc:chgData name="Immanuel J Daniel" userId="S::immanuel.johnston.daniel@ie.ey.com::b9141605-49ff-443e-8af4-0c21e2766a66" providerId="AD" clId="Web-{27D4F023-D690-8010-9DDB-DF9B597AB4E9}" dt="2023-07-26T11:04:57.431" v="542" actId="20577"/>
        <pc:sldMkLst>
          <pc:docMk/>
          <pc:sldMk cId="3673377692" sldId="2147479616"/>
        </pc:sldMkLst>
        <pc:spChg chg="mod">
          <ac:chgData name="Immanuel J Daniel" userId="S::immanuel.johnston.daniel@ie.ey.com::b9141605-49ff-443e-8af4-0c21e2766a66" providerId="AD" clId="Web-{27D4F023-D690-8010-9DDB-DF9B597AB4E9}" dt="2023-07-26T11:04:57.431" v="542" actId="20577"/>
          <ac:spMkLst>
            <pc:docMk/>
            <pc:sldMk cId="3673377692" sldId="2147479616"/>
            <ac:spMk id="20" creationId="{71597D73-FC0D-0F7C-BC32-B2FA32899DF9}"/>
          </ac:spMkLst>
        </pc:spChg>
      </pc:sldChg>
      <pc:sldChg chg="modSp add ord replId">
        <pc:chgData name="Immanuel J Daniel" userId="S::immanuel.johnston.daniel@ie.ey.com::b9141605-49ff-443e-8af4-0c21e2766a66" providerId="AD" clId="Web-{27D4F023-D690-8010-9DDB-DF9B597AB4E9}" dt="2023-07-26T10:11:31.847" v="363" actId="20577"/>
        <pc:sldMkLst>
          <pc:docMk/>
          <pc:sldMk cId="1878775612" sldId="2147479634"/>
        </pc:sldMkLst>
        <pc:spChg chg="mod">
          <ac:chgData name="Immanuel J Daniel" userId="S::immanuel.johnston.daniel@ie.ey.com::b9141605-49ff-443e-8af4-0c21e2766a66" providerId="AD" clId="Web-{27D4F023-D690-8010-9DDB-DF9B597AB4E9}" dt="2023-07-26T10:11:31.847" v="363" actId="20577"/>
          <ac:spMkLst>
            <pc:docMk/>
            <pc:sldMk cId="1878775612" sldId="2147479634"/>
            <ac:spMk id="2" creationId="{35CD8BED-68CF-D983-C8AF-A9AD64B592B0}"/>
          </ac:spMkLst>
        </pc:spChg>
        <pc:spChg chg="mod">
          <ac:chgData name="Immanuel J Daniel" userId="S::immanuel.johnston.daniel@ie.ey.com::b9141605-49ff-443e-8af4-0c21e2766a66" providerId="AD" clId="Web-{27D4F023-D690-8010-9DDB-DF9B597AB4E9}" dt="2023-07-26T10:06:30.430" v="155" actId="20577"/>
          <ac:spMkLst>
            <pc:docMk/>
            <pc:sldMk cId="1878775612" sldId="2147479634"/>
            <ac:spMk id="4" creationId="{E432C490-8501-4DEB-9800-36DD8F00D9DA}"/>
          </ac:spMkLst>
        </pc:spChg>
        <pc:spChg chg="mod">
          <ac:chgData name="Immanuel J Daniel" userId="S::immanuel.johnston.daniel@ie.ey.com::b9141605-49ff-443e-8af4-0c21e2766a66" providerId="AD" clId="Web-{27D4F023-D690-8010-9DDB-DF9B597AB4E9}" dt="2023-07-26T10:06:23.539" v="145" actId="20577"/>
          <ac:spMkLst>
            <pc:docMk/>
            <pc:sldMk cId="1878775612" sldId="2147479634"/>
            <ac:spMk id="5" creationId="{82ACE101-9079-4B28-90D1-41FFC709BAB0}"/>
          </ac:spMkLst>
        </pc:spChg>
      </pc:sldChg>
      <pc:sldChg chg="modSp add del replId">
        <pc:chgData name="Immanuel J Daniel" userId="S::immanuel.johnston.daniel@ie.ey.com::b9141605-49ff-443e-8af4-0c21e2766a66" providerId="AD" clId="Web-{27D4F023-D690-8010-9DDB-DF9B597AB4E9}" dt="2023-07-26T09:47:07.107" v="75"/>
        <pc:sldMkLst>
          <pc:docMk/>
          <pc:sldMk cId="2244523019" sldId="2147479634"/>
        </pc:sldMkLst>
        <pc:spChg chg="mod">
          <ac:chgData name="Immanuel J Daniel" userId="S::immanuel.johnston.daniel@ie.ey.com::b9141605-49ff-443e-8af4-0c21e2766a66" providerId="AD" clId="Web-{27D4F023-D690-8010-9DDB-DF9B597AB4E9}" dt="2023-07-26T09:46:58.888" v="74" actId="20577"/>
          <ac:spMkLst>
            <pc:docMk/>
            <pc:sldMk cId="2244523019" sldId="2147479634"/>
            <ac:spMk id="5" creationId="{82ACE101-9079-4B28-90D1-41FFC709BAB0}"/>
          </ac:spMkLst>
        </pc:spChg>
      </pc:sldChg>
    </pc:docChg>
  </pc:docChgLst>
  <pc:docChgLst>
    <pc:chgData name="Jeffrey Obi" userId="S::jeffrey.obi@ie.ey.com::488f269d-1fa2-455e-bf95-7695136a100d" providerId="AD" clId="Web-{342D99F9-C61A-77D5-2F35-2AD5E317FB60}"/>
    <pc:docChg chg="modSld">
      <pc:chgData name="Jeffrey Obi" userId="S::jeffrey.obi@ie.ey.com::488f269d-1fa2-455e-bf95-7695136a100d" providerId="AD" clId="Web-{342D99F9-C61A-77D5-2F35-2AD5E317FB60}" dt="2023-08-10T10:53:28.004" v="2"/>
      <pc:docMkLst>
        <pc:docMk/>
      </pc:docMkLst>
      <pc:sldChg chg="addSp delSp modSp">
        <pc:chgData name="Jeffrey Obi" userId="S::jeffrey.obi@ie.ey.com::488f269d-1fa2-455e-bf95-7695136a100d" providerId="AD" clId="Web-{342D99F9-C61A-77D5-2F35-2AD5E317FB60}" dt="2023-08-10T10:53:28.004" v="2"/>
        <pc:sldMkLst>
          <pc:docMk/>
          <pc:sldMk cId="3501663959" sldId="2147479688"/>
        </pc:sldMkLst>
        <pc:picChg chg="add del mod">
          <ac:chgData name="Jeffrey Obi" userId="S::jeffrey.obi@ie.ey.com::488f269d-1fa2-455e-bf95-7695136a100d" providerId="AD" clId="Web-{342D99F9-C61A-77D5-2F35-2AD5E317FB60}" dt="2023-08-10T10:53:28.004" v="2"/>
          <ac:picMkLst>
            <pc:docMk/>
            <pc:sldMk cId="3501663959" sldId="2147479688"/>
            <ac:picMk id="68" creationId="{4523A469-879B-4615-608E-1D4E5FEDC157}"/>
          </ac:picMkLst>
        </pc:picChg>
      </pc:sldChg>
    </pc:docChg>
  </pc:docChgLst>
  <pc:docChgLst>
    <pc:chgData name="Ahmed Helmy" userId="S::ahmed.helmy@ie.ey.com::00ab2dc9-190a-451b-8f35-a658adf790b2" providerId="AD" clId="Web-{6998536C-4283-6983-BB38-B4CD8867978C}"/>
    <pc:docChg chg="modSld">
      <pc:chgData name="Ahmed Helmy" userId="S::ahmed.helmy@ie.ey.com::00ab2dc9-190a-451b-8f35-a658adf790b2" providerId="AD" clId="Web-{6998536C-4283-6983-BB38-B4CD8867978C}" dt="2023-07-26T18:18:49.338" v="1" actId="20577"/>
      <pc:docMkLst>
        <pc:docMk/>
      </pc:docMkLst>
      <pc:sldChg chg="modSp">
        <pc:chgData name="Ahmed Helmy" userId="S::ahmed.helmy@ie.ey.com::00ab2dc9-190a-451b-8f35-a658adf790b2" providerId="AD" clId="Web-{6998536C-4283-6983-BB38-B4CD8867978C}" dt="2023-07-26T18:18:49.338" v="1" actId="20577"/>
        <pc:sldMkLst>
          <pc:docMk/>
          <pc:sldMk cId="3168648727" sldId="2147479555"/>
        </pc:sldMkLst>
        <pc:spChg chg="mod">
          <ac:chgData name="Ahmed Helmy" userId="S::ahmed.helmy@ie.ey.com::00ab2dc9-190a-451b-8f35-a658adf790b2" providerId="AD" clId="Web-{6998536C-4283-6983-BB38-B4CD8867978C}" dt="2023-07-26T18:18:49.338" v="1" actId="20577"/>
          <ac:spMkLst>
            <pc:docMk/>
            <pc:sldMk cId="3168648727" sldId="2147479555"/>
            <ac:spMk id="62" creationId="{7D789C92-723E-FC5B-CD32-366B551536E0}"/>
          </ac:spMkLst>
        </pc:spChg>
      </pc:sldChg>
    </pc:docChg>
  </pc:docChgLst>
  <pc:docChgLst>
    <pc:chgData name="Immanuel J Daniel" userId="S::immanuel.johnston.daniel@ie.ey.com::b9141605-49ff-443e-8af4-0c21e2766a66" providerId="AD" clId="Web-{08745223-DEEA-4044-4505-1F76374B626F}"/>
    <pc:docChg chg="">
      <pc:chgData name="Immanuel J Daniel" userId="S::immanuel.johnston.daniel@ie.ey.com::b9141605-49ff-443e-8af4-0c21e2766a66" providerId="AD" clId="Web-{08745223-DEEA-4044-4505-1F76374B626F}" dt="2023-08-02T16:36:24.445" v="1"/>
      <pc:docMkLst>
        <pc:docMk/>
      </pc:docMkLst>
      <pc:sldChg chg="addCm">
        <pc:chgData name="Immanuel J Daniel" userId="S::immanuel.johnston.daniel@ie.ey.com::b9141605-49ff-443e-8af4-0c21e2766a66" providerId="AD" clId="Web-{08745223-DEEA-4044-4505-1F76374B626F}" dt="2023-08-02T15:09:32.838" v="0"/>
        <pc:sldMkLst>
          <pc:docMk/>
          <pc:sldMk cId="555873494" sldId="2147473103"/>
        </pc:sldMkLst>
      </pc:sldChg>
      <pc:sldChg chg="modCm">
        <pc:chgData name="Immanuel J Daniel" userId="S::immanuel.johnston.daniel@ie.ey.com::b9141605-49ff-443e-8af4-0c21e2766a66" providerId="AD" clId="Web-{08745223-DEEA-4044-4505-1F76374B626F}" dt="2023-08-02T16:36:24.445" v="1"/>
        <pc:sldMkLst>
          <pc:docMk/>
          <pc:sldMk cId="787045591" sldId="2147479651"/>
        </pc:sldMkLst>
      </pc:sldChg>
    </pc:docChg>
  </pc:docChgLst>
  <pc:docChgLst>
    <pc:chgData name="Jeffrey Obi" userId="S::jeffrey.obi@ie.ey.com::488f269d-1fa2-455e-bf95-7695136a100d" providerId="AD" clId="Web-{114A923E-DE96-FAB1-FAE0-C9AF9E0BDC47}"/>
    <pc:docChg chg="addSld delSld modSld addMainMaster delMainMaster modSection">
      <pc:chgData name="Jeffrey Obi" userId="S::jeffrey.obi@ie.ey.com::488f269d-1fa2-455e-bf95-7695136a100d" providerId="AD" clId="Web-{114A923E-DE96-FAB1-FAE0-C9AF9E0BDC47}" dt="2023-08-03T14:57:57.108" v="47"/>
      <pc:docMkLst>
        <pc:docMk/>
      </pc:docMkLst>
      <pc:sldChg chg="addSp delSp modSp mod modClrScheme chgLayout">
        <pc:chgData name="Jeffrey Obi" userId="S::jeffrey.obi@ie.ey.com::488f269d-1fa2-455e-bf95-7695136a100d" providerId="AD" clId="Web-{114A923E-DE96-FAB1-FAE0-C9AF9E0BDC47}" dt="2023-08-03T14:57:57.108" v="47"/>
        <pc:sldMkLst>
          <pc:docMk/>
          <pc:sldMk cId="3988806097" sldId="2147479687"/>
        </pc:sldMkLst>
        <pc:spChg chg="mod ord">
          <ac:chgData name="Jeffrey Obi" userId="S::jeffrey.obi@ie.ey.com::488f269d-1fa2-455e-bf95-7695136a100d" providerId="AD" clId="Web-{114A923E-DE96-FAB1-FAE0-C9AF9E0BDC47}" dt="2023-08-03T14:54:06.525" v="6"/>
          <ac:spMkLst>
            <pc:docMk/>
            <pc:sldMk cId="3988806097" sldId="2147479687"/>
            <ac:spMk id="3" creationId="{D2FF72AF-9783-DFFC-9A7A-6D57999F6F0C}"/>
          </ac:spMkLst>
        </pc:spChg>
        <pc:spChg chg="add del">
          <ac:chgData name="Jeffrey Obi" userId="S::jeffrey.obi@ie.ey.com::488f269d-1fa2-455e-bf95-7695136a100d" providerId="AD" clId="Web-{114A923E-DE96-FAB1-FAE0-C9AF9E0BDC47}" dt="2023-08-03T14:55:59.496" v="40"/>
          <ac:spMkLst>
            <pc:docMk/>
            <pc:sldMk cId="3988806097" sldId="2147479687"/>
            <ac:spMk id="11" creationId="{957A6037-9815-4129-B319-71CF1947D341}"/>
          </ac:spMkLst>
        </pc:spChg>
        <pc:spChg chg="add del">
          <ac:chgData name="Jeffrey Obi" userId="S::jeffrey.obi@ie.ey.com::488f269d-1fa2-455e-bf95-7695136a100d" providerId="AD" clId="Web-{114A923E-DE96-FAB1-FAE0-C9AF9E0BDC47}" dt="2023-08-03T14:55:59.496" v="39"/>
          <ac:spMkLst>
            <pc:docMk/>
            <pc:sldMk cId="3988806097" sldId="2147479687"/>
            <ac:spMk id="13" creationId="{FF3BE11C-D50C-BC54-C41A-AE4980886291}"/>
          </ac:spMkLst>
        </pc:spChg>
        <pc:spChg chg="add del mod">
          <ac:chgData name="Jeffrey Obi" userId="S::jeffrey.obi@ie.ey.com::488f269d-1fa2-455e-bf95-7695136a100d" providerId="AD" clId="Web-{114A923E-DE96-FAB1-FAE0-C9AF9E0BDC47}" dt="2023-08-03T14:54:00.962" v="3"/>
          <ac:spMkLst>
            <pc:docMk/>
            <pc:sldMk cId="3988806097" sldId="2147479687"/>
            <ac:spMk id="15" creationId="{74E9D9EB-B7D3-2C44-6CC2-AFD79A69ED1F}"/>
          </ac:spMkLst>
        </pc:spChg>
        <pc:spChg chg="add del mod">
          <ac:chgData name="Jeffrey Obi" userId="S::jeffrey.obi@ie.ey.com::488f269d-1fa2-455e-bf95-7695136a100d" providerId="AD" clId="Web-{114A923E-DE96-FAB1-FAE0-C9AF9E0BDC47}" dt="2023-08-03T14:54:06.525" v="5"/>
          <ac:spMkLst>
            <pc:docMk/>
            <pc:sldMk cId="3988806097" sldId="2147479687"/>
            <ac:spMk id="19" creationId="{208389B1-AFB8-C359-7064-036339A3DDE4}"/>
          </ac:spMkLst>
        </pc:spChg>
        <pc:spChg chg="add mod">
          <ac:chgData name="Jeffrey Obi" userId="S::jeffrey.obi@ie.ey.com::488f269d-1fa2-455e-bf95-7695136a100d" providerId="AD" clId="Web-{114A923E-DE96-FAB1-FAE0-C9AF9E0BDC47}" dt="2023-08-03T14:54:06.525" v="6"/>
          <ac:spMkLst>
            <pc:docMk/>
            <pc:sldMk cId="3988806097" sldId="2147479687"/>
            <ac:spMk id="21" creationId="{74E9D9EB-B7D3-2C44-6CC2-AFD79A69ED1F}"/>
          </ac:spMkLst>
        </pc:spChg>
        <pc:spChg chg="add del">
          <ac:chgData name="Jeffrey Obi" userId="S::jeffrey.obi@ie.ey.com::488f269d-1fa2-455e-bf95-7695136a100d" providerId="AD" clId="Web-{114A923E-DE96-FAB1-FAE0-C9AF9E0BDC47}" dt="2023-08-03T14:55:59.496" v="36"/>
          <ac:spMkLst>
            <pc:docMk/>
            <pc:sldMk cId="3988806097" sldId="2147479687"/>
            <ac:spMk id="28" creationId="{872CF4FE-C021-08B5-E3D2-E5CCA195E7B7}"/>
          </ac:spMkLst>
        </pc:spChg>
        <pc:grpChg chg="add del">
          <ac:chgData name="Jeffrey Obi" userId="S::jeffrey.obi@ie.ey.com::488f269d-1fa2-455e-bf95-7695136a100d" providerId="AD" clId="Web-{114A923E-DE96-FAB1-FAE0-C9AF9E0BDC47}" dt="2023-08-03T14:55:59.496" v="41"/>
          <ac:grpSpMkLst>
            <pc:docMk/>
            <pc:sldMk cId="3988806097" sldId="2147479687"/>
            <ac:grpSpMk id="9" creationId="{B379AFDF-361F-6F0F-34BC-51A5A38AC819}"/>
          </ac:grpSpMkLst>
        </pc:grpChg>
        <pc:grpChg chg="add del">
          <ac:chgData name="Jeffrey Obi" userId="S::jeffrey.obi@ie.ey.com::488f269d-1fa2-455e-bf95-7695136a100d" providerId="AD" clId="Web-{114A923E-DE96-FAB1-FAE0-C9AF9E0BDC47}" dt="2023-08-03T14:55:59.496" v="38"/>
          <ac:grpSpMkLst>
            <pc:docMk/>
            <pc:sldMk cId="3988806097" sldId="2147479687"/>
            <ac:grpSpMk id="20" creationId="{947FF586-E976-54BC-9DC8-FCA157575400}"/>
          </ac:grpSpMkLst>
        </pc:grpChg>
        <pc:grpChg chg="add del">
          <ac:chgData name="Jeffrey Obi" userId="S::jeffrey.obi@ie.ey.com::488f269d-1fa2-455e-bf95-7695136a100d" providerId="AD" clId="Web-{114A923E-DE96-FAB1-FAE0-C9AF9E0BDC47}" dt="2023-08-03T14:55:59.496" v="37"/>
          <ac:grpSpMkLst>
            <pc:docMk/>
            <pc:sldMk cId="3988806097" sldId="2147479687"/>
            <ac:grpSpMk id="26" creationId="{BA169B42-659B-34B1-9375-FB371C102DA4}"/>
          </ac:grpSpMkLst>
        </pc:grpChg>
        <pc:grpChg chg="add del">
          <ac:chgData name="Jeffrey Obi" userId="S::jeffrey.obi@ie.ey.com::488f269d-1fa2-455e-bf95-7695136a100d" providerId="AD" clId="Web-{114A923E-DE96-FAB1-FAE0-C9AF9E0BDC47}" dt="2023-08-03T14:55:59.496" v="34"/>
          <ac:grpSpMkLst>
            <pc:docMk/>
            <pc:sldMk cId="3988806097" sldId="2147479687"/>
            <ac:grpSpMk id="35" creationId="{DE9FADB2-1E46-F060-E536-6F60318C6548}"/>
          </ac:grpSpMkLst>
        </pc:grpChg>
        <pc:grpChg chg="add del">
          <ac:chgData name="Jeffrey Obi" userId="S::jeffrey.obi@ie.ey.com::488f269d-1fa2-455e-bf95-7695136a100d" providerId="AD" clId="Web-{114A923E-DE96-FAB1-FAE0-C9AF9E0BDC47}" dt="2023-08-03T14:55:59.496" v="33"/>
          <ac:grpSpMkLst>
            <pc:docMk/>
            <pc:sldMk cId="3988806097" sldId="2147479687"/>
            <ac:grpSpMk id="40" creationId="{32C85BDA-89A2-20C8-F443-009CEF56F9CB}"/>
          </ac:grpSpMkLst>
        </pc:grpChg>
        <pc:grpChg chg="add del">
          <ac:chgData name="Jeffrey Obi" userId="S::jeffrey.obi@ie.ey.com::488f269d-1fa2-455e-bf95-7695136a100d" providerId="AD" clId="Web-{114A923E-DE96-FAB1-FAE0-C9AF9E0BDC47}" dt="2023-08-03T14:55:59.496" v="32"/>
          <ac:grpSpMkLst>
            <pc:docMk/>
            <pc:sldMk cId="3988806097" sldId="2147479687"/>
            <ac:grpSpMk id="46" creationId="{EF49A03D-8D12-93F2-B25A-2C08FEC1D51E}"/>
          </ac:grpSpMkLst>
        </pc:grpChg>
        <pc:grpChg chg="add del">
          <ac:chgData name="Jeffrey Obi" userId="S::jeffrey.obi@ie.ey.com::488f269d-1fa2-455e-bf95-7695136a100d" providerId="AD" clId="Web-{114A923E-DE96-FAB1-FAE0-C9AF9E0BDC47}" dt="2023-08-03T14:55:59.496" v="31"/>
          <ac:grpSpMkLst>
            <pc:docMk/>
            <pc:sldMk cId="3988806097" sldId="2147479687"/>
            <ac:grpSpMk id="52" creationId="{1BB96553-04E0-6C49-A41A-398CD00DE8DB}"/>
          </ac:grpSpMkLst>
        </pc:grpChg>
        <pc:grpChg chg="add del">
          <ac:chgData name="Jeffrey Obi" userId="S::jeffrey.obi@ie.ey.com::488f269d-1fa2-455e-bf95-7695136a100d" providerId="AD" clId="Web-{114A923E-DE96-FAB1-FAE0-C9AF9E0BDC47}" dt="2023-08-03T14:55:59.496" v="30"/>
          <ac:grpSpMkLst>
            <pc:docMk/>
            <pc:sldMk cId="3988806097" sldId="2147479687"/>
            <ac:grpSpMk id="58" creationId="{B2E8E351-C083-D400-6E3C-91EA9C84DD34}"/>
          </ac:grpSpMkLst>
        </pc:grpChg>
        <pc:grpChg chg="add del">
          <ac:chgData name="Jeffrey Obi" userId="S::jeffrey.obi@ie.ey.com::488f269d-1fa2-455e-bf95-7695136a100d" providerId="AD" clId="Web-{114A923E-DE96-FAB1-FAE0-C9AF9E0BDC47}" dt="2023-08-03T14:55:59.496" v="29"/>
          <ac:grpSpMkLst>
            <pc:docMk/>
            <pc:sldMk cId="3988806097" sldId="2147479687"/>
            <ac:grpSpMk id="64" creationId="{CC363BA0-DCBC-112C-35A3-AD31DE658516}"/>
          </ac:grpSpMkLst>
        </pc:grpChg>
        <pc:grpChg chg="add del">
          <ac:chgData name="Jeffrey Obi" userId="S::jeffrey.obi@ie.ey.com::488f269d-1fa2-455e-bf95-7695136a100d" providerId="AD" clId="Web-{114A923E-DE96-FAB1-FAE0-C9AF9E0BDC47}" dt="2023-08-03T14:55:59.496" v="28"/>
          <ac:grpSpMkLst>
            <pc:docMk/>
            <pc:sldMk cId="3988806097" sldId="2147479687"/>
            <ac:grpSpMk id="70" creationId="{3425A075-F886-A53A-8804-333985A83E26}"/>
          </ac:grpSpMkLst>
        </pc:grpChg>
        <pc:picChg chg="add del mod">
          <ac:chgData name="Jeffrey Obi" userId="S::jeffrey.obi@ie.ey.com::488f269d-1fa2-455e-bf95-7695136a100d" providerId="AD" clId="Web-{114A923E-DE96-FAB1-FAE0-C9AF9E0BDC47}" dt="2023-08-03T14:54:11.838" v="7"/>
          <ac:picMkLst>
            <pc:docMk/>
            <pc:sldMk cId="3988806097" sldId="2147479687"/>
            <ac:picMk id="2" creationId="{95CE2F05-C326-22B2-71A7-3512DFF2BA36}"/>
          </ac:picMkLst>
        </pc:picChg>
        <pc:picChg chg="add del mod">
          <ac:chgData name="Jeffrey Obi" userId="S::jeffrey.obi@ie.ey.com::488f269d-1fa2-455e-bf95-7695136a100d" providerId="AD" clId="Web-{114A923E-DE96-FAB1-FAE0-C9AF9E0BDC47}" dt="2023-08-03T14:57:57.108" v="47"/>
          <ac:picMkLst>
            <pc:docMk/>
            <pc:sldMk cId="3988806097" sldId="2147479687"/>
            <ac:picMk id="75" creationId="{8FC4C61F-5BF5-BD66-ABBB-BE719739C11A}"/>
          </ac:picMkLst>
        </pc:picChg>
        <pc:cxnChg chg="add del">
          <ac:chgData name="Jeffrey Obi" userId="S::jeffrey.obi@ie.ey.com::488f269d-1fa2-455e-bf95-7695136a100d" providerId="AD" clId="Web-{114A923E-DE96-FAB1-FAE0-C9AF9E0BDC47}" dt="2023-08-03T14:55:59.496" v="35"/>
          <ac:cxnSpMkLst>
            <pc:docMk/>
            <pc:sldMk cId="3988806097" sldId="2147479687"/>
            <ac:cxnSpMk id="30" creationId="{D846E4FB-FEF4-BF38-5E25-240964FB5C83}"/>
          </ac:cxnSpMkLst>
        </pc:cxnChg>
        <pc:cxnChg chg="add del">
          <ac:chgData name="Jeffrey Obi" userId="S::jeffrey.obi@ie.ey.com::488f269d-1fa2-455e-bf95-7695136a100d" providerId="AD" clId="Web-{114A923E-DE96-FAB1-FAE0-C9AF9E0BDC47}" dt="2023-08-03T14:55:59.496" v="27"/>
          <ac:cxnSpMkLst>
            <pc:docMk/>
            <pc:sldMk cId="3988806097" sldId="2147479687"/>
            <ac:cxnSpMk id="72" creationId="{BEE5EAAB-E0B5-A6B3-9556-D0B4628BB240}"/>
          </ac:cxnSpMkLst>
        </pc:cxnChg>
        <pc:cxnChg chg="add del">
          <ac:chgData name="Jeffrey Obi" userId="S::jeffrey.obi@ie.ey.com::488f269d-1fa2-455e-bf95-7695136a100d" providerId="AD" clId="Web-{114A923E-DE96-FAB1-FAE0-C9AF9E0BDC47}" dt="2023-08-03T14:55:59.496" v="26"/>
          <ac:cxnSpMkLst>
            <pc:docMk/>
            <pc:sldMk cId="3988806097" sldId="2147479687"/>
            <ac:cxnSpMk id="74" creationId="{1A2CF2EE-9487-C5D2-8BD4-BAD5BFA2344A}"/>
          </ac:cxnSpMkLst>
        </pc:cxnChg>
      </pc:sldChg>
      <pc:sldChg chg="add del addCm delCm">
        <pc:chgData name="Jeffrey Obi" userId="S::jeffrey.obi@ie.ey.com::488f269d-1fa2-455e-bf95-7695136a100d" providerId="AD" clId="Web-{114A923E-DE96-FAB1-FAE0-C9AF9E0BDC47}" dt="2023-08-03T14:56:23.325" v="43"/>
        <pc:sldMkLst>
          <pc:docMk/>
          <pc:sldMk cId="1121052351" sldId="2147479688"/>
        </pc:sldMkLst>
      </pc:sldChg>
      <pc:sldMasterChg chg="add del addSldLayout delSldLayout">
        <pc:chgData name="Jeffrey Obi" userId="S::jeffrey.obi@ie.ey.com::488f269d-1fa2-455e-bf95-7695136a100d" providerId="AD" clId="Web-{114A923E-DE96-FAB1-FAE0-C9AF9E0BDC47}" dt="2023-08-03T14:56:23.325" v="43"/>
        <pc:sldMasterMkLst>
          <pc:docMk/>
          <pc:sldMasterMk cId="2069344114" sldId="2147483648"/>
        </pc:sldMasterMkLst>
        <pc:sldLayoutChg chg="add del">
          <pc:chgData name="Jeffrey Obi" userId="S::jeffrey.obi@ie.ey.com::488f269d-1fa2-455e-bf95-7695136a100d" providerId="AD" clId="Web-{114A923E-DE96-FAB1-FAE0-C9AF9E0BDC47}" dt="2023-08-03T14:56:23.325" v="43"/>
          <pc:sldLayoutMkLst>
            <pc:docMk/>
            <pc:sldMasterMk cId="2069344114" sldId="2147483648"/>
            <pc:sldLayoutMk cId="1798413012" sldId="2147483649"/>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310778275" sldId="2147483650"/>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507219354" sldId="2147483651"/>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2437544679" sldId="2147483652"/>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2364774662" sldId="2147483653"/>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3084712692" sldId="2147483654"/>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3018740185" sldId="2147483655"/>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1490168043" sldId="2147483656"/>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1771506621" sldId="2147483657"/>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4191799057" sldId="2147483658"/>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788093136" sldId="2147483659"/>
          </pc:sldLayoutMkLst>
        </pc:sldLayoutChg>
        <pc:sldLayoutChg chg="add del">
          <pc:chgData name="Jeffrey Obi" userId="S::jeffrey.obi@ie.ey.com::488f269d-1fa2-455e-bf95-7695136a100d" providerId="AD" clId="Web-{114A923E-DE96-FAB1-FAE0-C9AF9E0BDC47}" dt="2023-08-03T14:56:23.325" v="43"/>
          <pc:sldLayoutMkLst>
            <pc:docMk/>
            <pc:sldMasterMk cId="2069344114" sldId="2147483648"/>
            <pc:sldLayoutMk cId="2349004837" sldId="2147483678"/>
          </pc:sldLayoutMkLst>
        </pc:sldLayoutChg>
      </pc:sldMasterChg>
    </pc:docChg>
  </pc:docChgLst>
  <pc:docChgLst>
    <pc:chgData name="Plunkett Kelly" userId="cdb012e4-69ac-4954-928c-e33ec36f5eba" providerId="ADAL" clId="{CDF63375-607F-42DE-93F8-C478169F6FE4}"/>
    <pc:docChg chg="undo custSel addSld delSld modSld sldOrd addSection delSection modSection">
      <pc:chgData name="Plunkett Kelly" userId="cdb012e4-69ac-4954-928c-e33ec36f5eba" providerId="ADAL" clId="{CDF63375-607F-42DE-93F8-C478169F6FE4}" dt="2023-08-15T14:21:22.551" v="4967" actId="20577"/>
      <pc:docMkLst>
        <pc:docMk/>
      </pc:docMkLst>
      <pc:sldChg chg="modSp mod">
        <pc:chgData name="Plunkett Kelly" userId="cdb012e4-69ac-4954-928c-e33ec36f5eba" providerId="ADAL" clId="{CDF63375-607F-42DE-93F8-C478169F6FE4}" dt="2023-08-15T11:54:05.720" v="4592" actId="313"/>
        <pc:sldMkLst>
          <pc:docMk/>
          <pc:sldMk cId="2692628411" sldId="728"/>
        </pc:sldMkLst>
        <pc:spChg chg="mod">
          <ac:chgData name="Plunkett Kelly" userId="cdb012e4-69ac-4954-928c-e33ec36f5eba" providerId="ADAL" clId="{CDF63375-607F-42DE-93F8-C478169F6FE4}" dt="2023-08-15T11:54:05.720" v="4592" actId="313"/>
          <ac:spMkLst>
            <pc:docMk/>
            <pc:sldMk cId="2692628411" sldId="728"/>
            <ac:spMk id="9" creationId="{00000000-0000-0000-0000-000000000000}"/>
          </ac:spMkLst>
        </pc:spChg>
      </pc:sldChg>
      <pc:sldChg chg="delSp modSp mod">
        <pc:chgData name="Plunkett Kelly" userId="cdb012e4-69ac-4954-928c-e33ec36f5eba" providerId="ADAL" clId="{CDF63375-607F-42DE-93F8-C478169F6FE4}" dt="2023-08-15T14:19:30.014" v="4963" actId="478"/>
        <pc:sldMkLst>
          <pc:docMk/>
          <pc:sldMk cId="1569982749" sldId="2142535160"/>
        </pc:sldMkLst>
        <pc:spChg chg="del mod">
          <ac:chgData name="Plunkett Kelly" userId="cdb012e4-69ac-4954-928c-e33ec36f5eba" providerId="ADAL" clId="{CDF63375-607F-42DE-93F8-C478169F6FE4}" dt="2023-08-15T14:19:30.014" v="4963" actId="478"/>
          <ac:spMkLst>
            <pc:docMk/>
            <pc:sldMk cId="1569982749" sldId="2142535160"/>
            <ac:spMk id="16" creationId="{3CADC340-898D-BB97-05BF-627A5421ADA1}"/>
          </ac:spMkLst>
        </pc:spChg>
      </pc:sldChg>
      <pc:sldChg chg="mod modShow">
        <pc:chgData name="Plunkett Kelly" userId="cdb012e4-69ac-4954-928c-e33ec36f5eba" providerId="ADAL" clId="{CDF63375-607F-42DE-93F8-C478169F6FE4}" dt="2023-08-04T09:04:13.040" v="3880" actId="729"/>
        <pc:sldMkLst>
          <pc:docMk/>
          <pc:sldMk cId="1500833212" sldId="2142535223"/>
        </pc:sldMkLst>
      </pc:sldChg>
      <pc:sldChg chg="ord">
        <pc:chgData name="Plunkett Kelly" userId="cdb012e4-69ac-4954-928c-e33ec36f5eba" providerId="ADAL" clId="{CDF63375-607F-42DE-93F8-C478169F6FE4}" dt="2023-08-14T10:49:27.519" v="3920"/>
        <pc:sldMkLst>
          <pc:docMk/>
          <pc:sldMk cId="3348310596" sldId="2147473016"/>
        </pc:sldMkLst>
      </pc:sldChg>
      <pc:sldChg chg="ord">
        <pc:chgData name="Plunkett Kelly" userId="cdb012e4-69ac-4954-928c-e33ec36f5eba" providerId="ADAL" clId="{CDF63375-607F-42DE-93F8-C478169F6FE4}" dt="2023-08-14T10:49:27.519" v="3920"/>
        <pc:sldMkLst>
          <pc:docMk/>
          <pc:sldMk cId="4150608312" sldId="2147473035"/>
        </pc:sldMkLst>
      </pc:sldChg>
      <pc:sldChg chg="modSp mod">
        <pc:chgData name="Plunkett Kelly" userId="cdb012e4-69ac-4954-928c-e33ec36f5eba" providerId="ADAL" clId="{CDF63375-607F-42DE-93F8-C478169F6FE4}" dt="2023-08-03T14:55:59.811" v="382" actId="1035"/>
        <pc:sldMkLst>
          <pc:docMk/>
          <pc:sldMk cId="1508220717" sldId="2147473085"/>
        </pc:sldMkLst>
        <pc:spChg chg="mod">
          <ac:chgData name="Plunkett Kelly" userId="cdb012e4-69ac-4954-928c-e33ec36f5eba" providerId="ADAL" clId="{CDF63375-607F-42DE-93F8-C478169F6FE4}" dt="2023-08-03T14:55:56.740" v="381" actId="1035"/>
          <ac:spMkLst>
            <pc:docMk/>
            <pc:sldMk cId="1508220717" sldId="2147473085"/>
            <ac:spMk id="48" creationId="{10703650-948A-7609-7B4E-D0014D8038BF}"/>
          </ac:spMkLst>
        </pc:spChg>
        <pc:spChg chg="mod">
          <ac:chgData name="Plunkett Kelly" userId="cdb012e4-69ac-4954-928c-e33ec36f5eba" providerId="ADAL" clId="{CDF63375-607F-42DE-93F8-C478169F6FE4}" dt="2023-08-03T14:55:51.037" v="378" actId="1035"/>
          <ac:spMkLst>
            <pc:docMk/>
            <pc:sldMk cId="1508220717" sldId="2147473085"/>
            <ac:spMk id="53" creationId="{AE105799-F122-5828-F13C-DC228FBEE579}"/>
          </ac:spMkLst>
        </pc:spChg>
        <pc:spChg chg="mod">
          <ac:chgData name="Plunkett Kelly" userId="cdb012e4-69ac-4954-928c-e33ec36f5eba" providerId="ADAL" clId="{CDF63375-607F-42DE-93F8-C478169F6FE4}" dt="2023-08-03T14:55:59.811" v="382" actId="1035"/>
          <ac:spMkLst>
            <pc:docMk/>
            <pc:sldMk cId="1508220717" sldId="2147473085"/>
            <ac:spMk id="63" creationId="{13D1406A-8B12-86F3-DC53-1F7788DF5F59}"/>
          </ac:spMkLst>
        </pc:spChg>
        <pc:spChg chg="mod">
          <ac:chgData name="Plunkett Kelly" userId="cdb012e4-69ac-4954-928c-e33ec36f5eba" providerId="ADAL" clId="{CDF63375-607F-42DE-93F8-C478169F6FE4}" dt="2023-08-03T14:55:42.639" v="372" actId="1035"/>
          <ac:spMkLst>
            <pc:docMk/>
            <pc:sldMk cId="1508220717" sldId="2147473085"/>
            <ac:spMk id="73" creationId="{8BEEC400-08B9-38D3-D6D7-E061FC34B84D}"/>
          </ac:spMkLst>
        </pc:spChg>
      </pc:sldChg>
      <pc:sldChg chg="modSp mod">
        <pc:chgData name="Plunkett Kelly" userId="cdb012e4-69ac-4954-928c-e33ec36f5eba" providerId="ADAL" clId="{CDF63375-607F-42DE-93F8-C478169F6FE4}" dt="2023-08-03T14:57:38.555" v="394" actId="1035"/>
        <pc:sldMkLst>
          <pc:docMk/>
          <pc:sldMk cId="1356336447" sldId="2147473087"/>
        </pc:sldMkLst>
        <pc:spChg chg="mod">
          <ac:chgData name="Plunkett Kelly" userId="cdb012e4-69ac-4954-928c-e33ec36f5eba" providerId="ADAL" clId="{CDF63375-607F-42DE-93F8-C478169F6FE4}" dt="2023-08-03T14:57:38.555" v="394" actId="1035"/>
          <ac:spMkLst>
            <pc:docMk/>
            <pc:sldMk cId="1356336447" sldId="2147473087"/>
            <ac:spMk id="29" creationId="{7F45EB88-F9F2-5B9C-AF80-8B4B093179FC}"/>
          </ac:spMkLst>
        </pc:spChg>
      </pc:sldChg>
      <pc:sldChg chg="modSp mod">
        <pc:chgData name="Plunkett Kelly" userId="cdb012e4-69ac-4954-928c-e33ec36f5eba" providerId="ADAL" clId="{CDF63375-607F-42DE-93F8-C478169F6FE4}" dt="2023-08-03T14:57:00.231" v="383" actId="6549"/>
        <pc:sldMkLst>
          <pc:docMk/>
          <pc:sldMk cId="2991878390" sldId="2147473088"/>
        </pc:sldMkLst>
        <pc:spChg chg="mod">
          <ac:chgData name="Plunkett Kelly" userId="cdb012e4-69ac-4954-928c-e33ec36f5eba" providerId="ADAL" clId="{CDF63375-607F-42DE-93F8-C478169F6FE4}" dt="2023-08-03T14:57:00.231" v="383" actId="6549"/>
          <ac:spMkLst>
            <pc:docMk/>
            <pc:sldMk cId="2991878390" sldId="2147473088"/>
            <ac:spMk id="26" creationId="{EA6EF1EA-6E0A-BC30-D333-8868B523A242}"/>
          </ac:spMkLst>
        </pc:spChg>
      </pc:sldChg>
      <pc:sldChg chg="modSp mod addCm delCm">
        <pc:chgData name="Plunkett Kelly" userId="cdb012e4-69ac-4954-928c-e33ec36f5eba" providerId="ADAL" clId="{CDF63375-607F-42DE-93F8-C478169F6FE4}" dt="2023-08-15T11:55:47.786" v="4620"/>
        <pc:sldMkLst>
          <pc:docMk/>
          <pc:sldMk cId="3987827024" sldId="2147473095"/>
        </pc:sldMkLst>
        <pc:spChg chg="mod">
          <ac:chgData name="Plunkett Kelly" userId="cdb012e4-69ac-4954-928c-e33ec36f5eba" providerId="ADAL" clId="{CDF63375-607F-42DE-93F8-C478169F6FE4}" dt="2023-08-15T11:55:47.786" v="4620"/>
          <ac:spMkLst>
            <pc:docMk/>
            <pc:sldMk cId="3987827024" sldId="2147473095"/>
            <ac:spMk id="2" creationId="{90A2479D-7BB0-416C-B8C6-6F8A651B4A6C}"/>
          </ac:spMkLst>
        </pc:spChg>
        <pc:spChg chg="mod">
          <ac:chgData name="Plunkett Kelly" userId="cdb012e4-69ac-4954-928c-e33ec36f5eba" providerId="ADAL" clId="{CDF63375-607F-42DE-93F8-C478169F6FE4}" dt="2023-08-03T12:25:28.098" v="351" actId="1076"/>
          <ac:spMkLst>
            <pc:docMk/>
            <pc:sldMk cId="3987827024" sldId="2147473095"/>
            <ac:spMk id="13" creationId="{636F3126-F165-FDC1-45E5-02BE7CF277D9}"/>
          </ac:spMkLst>
        </pc:spChg>
        <pc:spChg chg="mod">
          <ac:chgData name="Plunkett Kelly" userId="cdb012e4-69ac-4954-928c-e33ec36f5eba" providerId="ADAL" clId="{CDF63375-607F-42DE-93F8-C478169F6FE4}" dt="2023-08-03T13:37:28.792" v="360" actId="14100"/>
          <ac:spMkLst>
            <pc:docMk/>
            <pc:sldMk cId="3987827024" sldId="2147473095"/>
            <ac:spMk id="17" creationId="{ADD56C1B-C979-4732-A114-6F2187BB5E15}"/>
          </ac:spMkLst>
        </pc:spChg>
        <pc:spChg chg="mod">
          <ac:chgData name="Plunkett Kelly" userId="cdb012e4-69ac-4954-928c-e33ec36f5eba" providerId="ADAL" clId="{CDF63375-607F-42DE-93F8-C478169F6FE4}" dt="2023-08-03T12:27:15.111" v="354" actId="14100"/>
          <ac:spMkLst>
            <pc:docMk/>
            <pc:sldMk cId="3987827024" sldId="2147473095"/>
            <ac:spMk id="20" creationId="{EEA738DE-84E8-8598-E4FC-B5BA45A78882}"/>
          </ac:spMkLst>
        </pc:spChg>
        <pc:spChg chg="mod">
          <ac:chgData name="Plunkett Kelly" userId="cdb012e4-69ac-4954-928c-e33ec36f5eba" providerId="ADAL" clId="{CDF63375-607F-42DE-93F8-C478169F6FE4}" dt="2023-08-03T13:37:08.969" v="359" actId="20577"/>
          <ac:spMkLst>
            <pc:docMk/>
            <pc:sldMk cId="3987827024" sldId="2147473095"/>
            <ac:spMk id="21" creationId="{E7D4AE69-A60A-47B4-AE01-3E3509FC1AD1}"/>
          </ac:spMkLst>
        </pc:spChg>
        <pc:spChg chg="mod">
          <ac:chgData name="Plunkett Kelly" userId="cdb012e4-69ac-4954-928c-e33ec36f5eba" providerId="ADAL" clId="{CDF63375-607F-42DE-93F8-C478169F6FE4}" dt="2023-08-03T12:23:36.310" v="348"/>
          <ac:spMkLst>
            <pc:docMk/>
            <pc:sldMk cId="3987827024" sldId="2147473095"/>
            <ac:spMk id="22" creationId="{4C29D2F3-C1AE-4B9D-A419-A8C571F10F3B}"/>
          </ac:spMkLst>
        </pc:spChg>
        <pc:spChg chg="mod">
          <ac:chgData name="Plunkett Kelly" userId="cdb012e4-69ac-4954-928c-e33ec36f5eba" providerId="ADAL" clId="{CDF63375-607F-42DE-93F8-C478169F6FE4}" dt="2023-08-03T12:25:34.717" v="352" actId="1076"/>
          <ac:spMkLst>
            <pc:docMk/>
            <pc:sldMk cId="3987827024" sldId="2147473095"/>
            <ac:spMk id="25" creationId="{354B584B-A525-30FD-3039-BB24767C3CE4}"/>
          </ac:spMkLst>
        </pc:spChg>
      </pc:sldChg>
      <pc:sldChg chg="modSp mod">
        <pc:chgData name="Plunkett Kelly" userId="cdb012e4-69ac-4954-928c-e33ec36f5eba" providerId="ADAL" clId="{CDF63375-607F-42DE-93F8-C478169F6FE4}" dt="2023-08-14T11:32:49.707" v="4279" actId="20577"/>
        <pc:sldMkLst>
          <pc:docMk/>
          <pc:sldMk cId="555873494" sldId="2147473103"/>
        </pc:sldMkLst>
        <pc:spChg chg="mod">
          <ac:chgData name="Plunkett Kelly" userId="cdb012e4-69ac-4954-928c-e33ec36f5eba" providerId="ADAL" clId="{CDF63375-607F-42DE-93F8-C478169F6FE4}" dt="2023-08-14T11:32:49.707" v="4279" actId="20577"/>
          <ac:spMkLst>
            <pc:docMk/>
            <pc:sldMk cId="555873494" sldId="2147473103"/>
            <ac:spMk id="4" creationId="{E432C490-8501-4DEB-9800-36DD8F00D9DA}"/>
          </ac:spMkLst>
        </pc:spChg>
      </pc:sldChg>
      <pc:sldChg chg="modSp mod ord">
        <pc:chgData name="Plunkett Kelly" userId="cdb012e4-69ac-4954-928c-e33ec36f5eba" providerId="ADAL" clId="{CDF63375-607F-42DE-93F8-C478169F6FE4}" dt="2023-08-14T15:37:23.748" v="4374"/>
        <pc:sldMkLst>
          <pc:docMk/>
          <pc:sldMk cId="2703490332" sldId="2147473150"/>
        </pc:sldMkLst>
        <pc:spChg chg="mod">
          <ac:chgData name="Plunkett Kelly" userId="cdb012e4-69ac-4954-928c-e33ec36f5eba" providerId="ADAL" clId="{CDF63375-607F-42DE-93F8-C478169F6FE4}" dt="2023-08-14T10:59:24.282" v="3929"/>
          <ac:spMkLst>
            <pc:docMk/>
            <pc:sldMk cId="2703490332" sldId="2147473150"/>
            <ac:spMk id="14" creationId="{B4783593-C7C6-BC3F-9B70-D8CAB693396E}"/>
          </ac:spMkLst>
        </pc:spChg>
      </pc:sldChg>
      <pc:sldChg chg="modSp mod">
        <pc:chgData name="Plunkett Kelly" userId="cdb012e4-69ac-4954-928c-e33ec36f5eba" providerId="ADAL" clId="{CDF63375-607F-42DE-93F8-C478169F6FE4}" dt="2023-08-14T11:29:50.168" v="4202" actId="20577"/>
        <pc:sldMkLst>
          <pc:docMk/>
          <pc:sldMk cId="236134785" sldId="2147473160"/>
        </pc:sldMkLst>
        <pc:spChg chg="mod">
          <ac:chgData name="Plunkett Kelly" userId="cdb012e4-69ac-4954-928c-e33ec36f5eba" providerId="ADAL" clId="{CDF63375-607F-42DE-93F8-C478169F6FE4}" dt="2023-08-14T11:29:50.168" v="4202" actId="20577"/>
          <ac:spMkLst>
            <pc:docMk/>
            <pc:sldMk cId="236134785" sldId="2147473160"/>
            <ac:spMk id="21" creationId="{014E59DE-9899-4AB4-9565-64D35AE09C49}"/>
          </ac:spMkLst>
        </pc:spChg>
      </pc:sldChg>
      <pc:sldChg chg="modSp mod">
        <pc:chgData name="Plunkett Kelly" userId="cdb012e4-69ac-4954-928c-e33ec36f5eba" providerId="ADAL" clId="{CDF63375-607F-42DE-93F8-C478169F6FE4}" dt="2023-08-15T11:55:40.029" v="4616" actId="313"/>
        <pc:sldMkLst>
          <pc:docMk/>
          <pc:sldMk cId="1597229887" sldId="2147473161"/>
        </pc:sldMkLst>
        <pc:spChg chg="mod">
          <ac:chgData name="Plunkett Kelly" userId="cdb012e4-69ac-4954-928c-e33ec36f5eba" providerId="ADAL" clId="{CDF63375-607F-42DE-93F8-C478169F6FE4}" dt="2023-08-14T11:25:19.140" v="4168" actId="20577"/>
          <ac:spMkLst>
            <pc:docMk/>
            <pc:sldMk cId="1597229887" sldId="2147473161"/>
            <ac:spMk id="8" creationId="{7824D54C-15D2-467C-A016-166944D0781C}"/>
          </ac:spMkLst>
        </pc:spChg>
        <pc:graphicFrameChg chg="modGraphic">
          <ac:chgData name="Plunkett Kelly" userId="cdb012e4-69ac-4954-928c-e33ec36f5eba" providerId="ADAL" clId="{CDF63375-607F-42DE-93F8-C478169F6FE4}" dt="2023-08-15T11:55:40.029" v="4616" actId="313"/>
          <ac:graphicFrameMkLst>
            <pc:docMk/>
            <pc:sldMk cId="1597229887" sldId="2147473161"/>
            <ac:graphicFrameMk id="10" creationId="{DEF1C875-55F5-40A5-AF79-1EF6B560E6B8}"/>
          </ac:graphicFrameMkLst>
        </pc:graphicFrameChg>
      </pc:sldChg>
      <pc:sldChg chg="modSp mod">
        <pc:chgData name="Plunkett Kelly" userId="cdb012e4-69ac-4954-928c-e33ec36f5eba" providerId="ADAL" clId="{CDF63375-607F-42DE-93F8-C478169F6FE4}" dt="2023-08-15T11:55:47.786" v="4620"/>
        <pc:sldMkLst>
          <pc:docMk/>
          <pc:sldMk cId="653093163" sldId="2147473164"/>
        </pc:sldMkLst>
        <pc:spChg chg="mod">
          <ac:chgData name="Plunkett Kelly" userId="cdb012e4-69ac-4954-928c-e33ec36f5eba" providerId="ADAL" clId="{CDF63375-607F-42DE-93F8-C478169F6FE4}" dt="2023-08-14T11:25:26.517" v="4172" actId="20577"/>
          <ac:spMkLst>
            <pc:docMk/>
            <pc:sldMk cId="653093163" sldId="2147473164"/>
            <ac:spMk id="8" creationId="{7824D54C-15D2-467C-A016-166944D0781C}"/>
          </ac:spMkLst>
        </pc:spChg>
        <pc:graphicFrameChg chg="mod modGraphic">
          <ac:chgData name="Plunkett Kelly" userId="cdb012e4-69ac-4954-928c-e33ec36f5eba" providerId="ADAL" clId="{CDF63375-607F-42DE-93F8-C478169F6FE4}" dt="2023-08-15T11:55:47.786" v="4620"/>
          <ac:graphicFrameMkLst>
            <pc:docMk/>
            <pc:sldMk cId="653093163" sldId="2147473164"/>
            <ac:graphicFrameMk id="10" creationId="{DEF1C875-55F5-40A5-AF79-1EF6B560E6B8}"/>
          </ac:graphicFrameMkLst>
        </pc:graphicFrameChg>
      </pc:sldChg>
      <pc:sldChg chg="modSp mod">
        <pc:chgData name="Plunkett Kelly" userId="cdb012e4-69ac-4954-928c-e33ec36f5eba" providerId="ADAL" clId="{CDF63375-607F-42DE-93F8-C478169F6FE4}" dt="2023-08-14T11:28:22.131" v="4176" actId="20577"/>
        <pc:sldMkLst>
          <pc:docMk/>
          <pc:sldMk cId="3107324555" sldId="2147473173"/>
        </pc:sldMkLst>
        <pc:spChg chg="mod">
          <ac:chgData name="Plunkett Kelly" userId="cdb012e4-69ac-4954-928c-e33ec36f5eba" providerId="ADAL" clId="{CDF63375-607F-42DE-93F8-C478169F6FE4}" dt="2023-08-14T11:28:22.131" v="4176" actId="20577"/>
          <ac:spMkLst>
            <pc:docMk/>
            <pc:sldMk cId="3107324555" sldId="2147473173"/>
            <ac:spMk id="8" creationId="{7824D54C-15D2-467C-A016-166944D0781C}"/>
          </ac:spMkLst>
        </pc:spChg>
      </pc:sldChg>
      <pc:sldChg chg="modSp mod ord delCm modCm">
        <pc:chgData name="Plunkett Kelly" userId="cdb012e4-69ac-4954-928c-e33ec36f5eba" providerId="ADAL" clId="{CDF63375-607F-42DE-93F8-C478169F6FE4}" dt="2023-08-15T11:52:06.126" v="4587" actId="20577"/>
        <pc:sldMkLst>
          <pc:docMk/>
          <pc:sldMk cId="1370127621" sldId="2147479552"/>
        </pc:sldMkLst>
        <pc:spChg chg="mod">
          <ac:chgData name="Plunkett Kelly" userId="cdb012e4-69ac-4954-928c-e33ec36f5eba" providerId="ADAL" clId="{CDF63375-607F-42DE-93F8-C478169F6FE4}" dt="2023-08-15T11:52:06.126" v="4587" actId="20577"/>
          <ac:spMkLst>
            <pc:docMk/>
            <pc:sldMk cId="1370127621" sldId="2147479552"/>
            <ac:spMk id="20" creationId="{4233EFC8-C57D-439B-97EA-634EC2902006}"/>
          </ac:spMkLst>
        </pc:spChg>
      </pc:sldChg>
      <pc:sldChg chg="modSp mod">
        <pc:chgData name="Plunkett Kelly" userId="cdb012e4-69ac-4954-928c-e33ec36f5eba" providerId="ADAL" clId="{CDF63375-607F-42DE-93F8-C478169F6FE4}" dt="2023-08-15T11:55:15.772" v="4600" actId="313"/>
        <pc:sldMkLst>
          <pc:docMk/>
          <pc:sldMk cId="3168648727" sldId="2147479555"/>
        </pc:sldMkLst>
        <pc:spChg chg="mod">
          <ac:chgData name="Plunkett Kelly" userId="cdb012e4-69ac-4954-928c-e33ec36f5eba" providerId="ADAL" clId="{CDF63375-607F-42DE-93F8-C478169F6FE4}" dt="2023-08-15T11:55:15.772" v="4600" actId="313"/>
          <ac:spMkLst>
            <pc:docMk/>
            <pc:sldMk cId="3168648727" sldId="2147479555"/>
            <ac:spMk id="59" creationId="{9700A555-2C50-4CBA-5D41-215F49B0C889}"/>
          </ac:spMkLst>
        </pc:spChg>
        <pc:spChg chg="mod">
          <ac:chgData name="Plunkett Kelly" userId="cdb012e4-69ac-4954-928c-e33ec36f5eba" providerId="ADAL" clId="{CDF63375-607F-42DE-93F8-C478169F6FE4}" dt="2023-08-03T15:27:49.985" v="395" actId="6549"/>
          <ac:spMkLst>
            <pc:docMk/>
            <pc:sldMk cId="3168648727" sldId="2147479555"/>
            <ac:spMk id="1031" creationId="{F34B1A3B-43D1-3BB3-3686-C533AC5F9F8F}"/>
          </ac:spMkLst>
        </pc:spChg>
      </pc:sldChg>
      <pc:sldChg chg="modSp mod ord">
        <pc:chgData name="Plunkett Kelly" userId="cdb012e4-69ac-4954-928c-e33ec36f5eba" providerId="ADAL" clId="{CDF63375-607F-42DE-93F8-C478169F6FE4}" dt="2023-08-15T11:55:36.999" v="4613" actId="313"/>
        <pc:sldMkLst>
          <pc:docMk/>
          <pc:sldMk cId="311767825" sldId="2147479556"/>
        </pc:sldMkLst>
        <pc:spChg chg="mod">
          <ac:chgData name="Plunkett Kelly" userId="cdb012e4-69ac-4954-928c-e33ec36f5eba" providerId="ADAL" clId="{CDF63375-607F-42DE-93F8-C478169F6FE4}" dt="2023-08-15T11:55:36.999" v="4613" actId="313"/>
          <ac:spMkLst>
            <pc:docMk/>
            <pc:sldMk cId="311767825" sldId="2147479556"/>
            <ac:spMk id="122" creationId="{710E8CDF-D624-4E80-AE64-0EB3AE0E63BF}"/>
          </ac:spMkLst>
        </pc:spChg>
      </pc:sldChg>
      <pc:sldChg chg="modSp mod ord">
        <pc:chgData name="Plunkett Kelly" userId="cdb012e4-69ac-4954-928c-e33ec36f5eba" providerId="ADAL" clId="{CDF63375-607F-42DE-93F8-C478169F6FE4}" dt="2023-08-15T11:55:29.831" v="4607" actId="313"/>
        <pc:sldMkLst>
          <pc:docMk/>
          <pc:sldMk cId="2149490646" sldId="2147479558"/>
        </pc:sldMkLst>
        <pc:spChg chg="mod">
          <ac:chgData name="Plunkett Kelly" userId="cdb012e4-69ac-4954-928c-e33ec36f5eba" providerId="ADAL" clId="{CDF63375-607F-42DE-93F8-C478169F6FE4}" dt="2023-08-15T11:55:29.831" v="4607" actId="313"/>
          <ac:spMkLst>
            <pc:docMk/>
            <pc:sldMk cId="2149490646" sldId="2147479558"/>
            <ac:spMk id="5" creationId="{C4C24851-0BFB-4EAC-9EFA-216B7E0A7C41}"/>
          </ac:spMkLst>
        </pc:spChg>
        <pc:spChg chg="mod">
          <ac:chgData name="Plunkett Kelly" userId="cdb012e4-69ac-4954-928c-e33ec36f5eba" providerId="ADAL" clId="{CDF63375-607F-42DE-93F8-C478169F6FE4}" dt="2023-08-15T10:05:19.708" v="4419" actId="20577"/>
          <ac:spMkLst>
            <pc:docMk/>
            <pc:sldMk cId="2149490646" sldId="2147479558"/>
            <ac:spMk id="7" creationId="{75AE26E8-D7A0-4F25-953F-76C58086051B}"/>
          </ac:spMkLst>
        </pc:spChg>
      </pc:sldChg>
      <pc:sldChg chg="ord">
        <pc:chgData name="Plunkett Kelly" userId="cdb012e4-69ac-4954-928c-e33ec36f5eba" providerId="ADAL" clId="{CDF63375-607F-42DE-93F8-C478169F6FE4}" dt="2023-08-14T15:37:23.748" v="4374"/>
        <pc:sldMkLst>
          <pc:docMk/>
          <pc:sldMk cId="1224251522" sldId="2147479563"/>
        </pc:sldMkLst>
      </pc:sldChg>
      <pc:sldChg chg="modSp mod ord">
        <pc:chgData name="Plunkett Kelly" userId="cdb012e4-69ac-4954-928c-e33ec36f5eba" providerId="ADAL" clId="{CDF63375-607F-42DE-93F8-C478169F6FE4}" dt="2023-08-15T11:55:27.284" v="4606" actId="313"/>
        <pc:sldMkLst>
          <pc:docMk/>
          <pc:sldMk cId="2042349048" sldId="2147479564"/>
        </pc:sldMkLst>
        <pc:spChg chg="mod">
          <ac:chgData name="Plunkett Kelly" userId="cdb012e4-69ac-4954-928c-e33ec36f5eba" providerId="ADAL" clId="{CDF63375-607F-42DE-93F8-C478169F6FE4}" dt="2023-08-15T11:55:27.284" v="4606" actId="313"/>
          <ac:spMkLst>
            <pc:docMk/>
            <pc:sldMk cId="2042349048" sldId="2147479564"/>
            <ac:spMk id="9" creationId="{239F2B45-0ACC-423D-B497-F4FF2974EB21}"/>
          </ac:spMkLst>
        </pc:spChg>
      </pc:sldChg>
      <pc:sldChg chg="modSp mod ord">
        <pc:chgData name="Plunkett Kelly" userId="cdb012e4-69ac-4954-928c-e33ec36f5eba" providerId="ADAL" clId="{CDF63375-607F-42DE-93F8-C478169F6FE4}" dt="2023-08-15T12:19:05.548" v="4961"/>
        <pc:sldMkLst>
          <pc:docMk/>
          <pc:sldMk cId="2740582591" sldId="2147479566"/>
        </pc:sldMkLst>
        <pc:spChg chg="mod">
          <ac:chgData name="Plunkett Kelly" userId="cdb012e4-69ac-4954-928c-e33ec36f5eba" providerId="ADAL" clId="{CDF63375-607F-42DE-93F8-C478169F6FE4}" dt="2023-08-15T12:00:01.977" v="4623" actId="207"/>
          <ac:spMkLst>
            <pc:docMk/>
            <pc:sldMk cId="2740582591" sldId="2147479566"/>
            <ac:spMk id="33" creationId="{A065609D-0D70-4A8D-BDB1-2E2386A84C44}"/>
          </ac:spMkLst>
        </pc:spChg>
        <pc:spChg chg="mod">
          <ac:chgData name="Plunkett Kelly" userId="cdb012e4-69ac-4954-928c-e33ec36f5eba" providerId="ADAL" clId="{CDF63375-607F-42DE-93F8-C478169F6FE4}" dt="2023-08-15T12:18:55.427" v="4959" actId="20577"/>
          <ac:spMkLst>
            <pc:docMk/>
            <pc:sldMk cId="2740582591" sldId="2147479566"/>
            <ac:spMk id="43" creationId="{FB83D1E7-DC34-4AC4-BCA8-C163C4B05037}"/>
          </ac:spMkLst>
        </pc:spChg>
        <pc:spChg chg="mod">
          <ac:chgData name="Plunkett Kelly" userId="cdb012e4-69ac-4954-928c-e33ec36f5eba" providerId="ADAL" clId="{CDF63375-607F-42DE-93F8-C478169F6FE4}" dt="2023-08-15T12:19:05.548" v="4961"/>
          <ac:spMkLst>
            <pc:docMk/>
            <pc:sldMk cId="2740582591" sldId="2147479566"/>
            <ac:spMk id="44" creationId="{5869F941-731F-493E-AD26-F31C06DCD1E1}"/>
          </ac:spMkLst>
        </pc:spChg>
        <pc:spChg chg="mod">
          <ac:chgData name="Plunkett Kelly" userId="cdb012e4-69ac-4954-928c-e33ec36f5eba" providerId="ADAL" clId="{CDF63375-607F-42DE-93F8-C478169F6FE4}" dt="2023-08-15T12:19:02.577" v="4960"/>
          <ac:spMkLst>
            <pc:docMk/>
            <pc:sldMk cId="2740582591" sldId="2147479566"/>
            <ac:spMk id="45" creationId="{1AA4DE9B-AD5D-447A-9BEB-AE2E3752C523}"/>
          </ac:spMkLst>
        </pc:spChg>
      </pc:sldChg>
      <pc:sldChg chg="modSp mod ord">
        <pc:chgData name="Plunkett Kelly" userId="cdb012e4-69ac-4954-928c-e33ec36f5eba" providerId="ADAL" clId="{CDF63375-607F-42DE-93F8-C478169F6FE4}" dt="2023-08-15T12:18:20.310" v="4943" actId="20577"/>
        <pc:sldMkLst>
          <pc:docMk/>
          <pc:sldMk cId="2541600766" sldId="2147479584"/>
        </pc:sldMkLst>
        <pc:spChg chg="mod">
          <ac:chgData name="Plunkett Kelly" userId="cdb012e4-69ac-4954-928c-e33ec36f5eba" providerId="ADAL" clId="{CDF63375-607F-42DE-93F8-C478169F6FE4}" dt="2023-08-15T12:11:57.086" v="4924" actId="122"/>
          <ac:spMkLst>
            <pc:docMk/>
            <pc:sldMk cId="2541600766" sldId="2147479584"/>
            <ac:spMk id="38" creationId="{05A27321-6665-4F93-BB0F-78799C85093F}"/>
          </ac:spMkLst>
        </pc:spChg>
        <pc:spChg chg="mod">
          <ac:chgData name="Plunkett Kelly" userId="cdb012e4-69ac-4954-928c-e33ec36f5eba" providerId="ADAL" clId="{CDF63375-607F-42DE-93F8-C478169F6FE4}" dt="2023-08-15T12:18:20.310" v="4943" actId="20577"/>
          <ac:spMkLst>
            <pc:docMk/>
            <pc:sldMk cId="2541600766" sldId="2147479584"/>
            <ac:spMk id="45" creationId="{3A1B096A-7B9F-44B0-9E05-754789A4D1BE}"/>
          </ac:spMkLst>
        </pc:spChg>
        <pc:spChg chg="mod">
          <ac:chgData name="Plunkett Kelly" userId="cdb012e4-69ac-4954-928c-e33ec36f5eba" providerId="ADAL" clId="{CDF63375-607F-42DE-93F8-C478169F6FE4}" dt="2023-08-15T12:11:02.889" v="4873" actId="20577"/>
          <ac:spMkLst>
            <pc:docMk/>
            <pc:sldMk cId="2541600766" sldId="2147479584"/>
            <ac:spMk id="60" creationId="{85C595CB-B3CF-4012-97C8-BDD8873FA274}"/>
          </ac:spMkLst>
        </pc:spChg>
      </pc:sldChg>
      <pc:sldChg chg="ord">
        <pc:chgData name="Plunkett Kelly" userId="cdb012e4-69ac-4954-928c-e33ec36f5eba" providerId="ADAL" clId="{CDF63375-607F-42DE-93F8-C478169F6FE4}" dt="2023-08-14T10:50:22.730" v="3922"/>
        <pc:sldMkLst>
          <pc:docMk/>
          <pc:sldMk cId="2488466455" sldId="2147479585"/>
        </pc:sldMkLst>
      </pc:sldChg>
      <pc:sldChg chg="modSp mod">
        <pc:chgData name="Plunkett Kelly" userId="cdb012e4-69ac-4954-928c-e33ec36f5eba" providerId="ADAL" clId="{CDF63375-607F-42DE-93F8-C478169F6FE4}" dt="2023-08-14T11:32:45.620" v="4277" actId="6549"/>
        <pc:sldMkLst>
          <pc:docMk/>
          <pc:sldMk cId="783175190" sldId="2147479586"/>
        </pc:sldMkLst>
        <pc:spChg chg="mod">
          <ac:chgData name="Plunkett Kelly" userId="cdb012e4-69ac-4954-928c-e33ec36f5eba" providerId="ADAL" clId="{CDF63375-607F-42DE-93F8-C478169F6FE4}" dt="2023-08-14T11:32:45.620" v="4277" actId="6549"/>
          <ac:spMkLst>
            <pc:docMk/>
            <pc:sldMk cId="783175190" sldId="2147479586"/>
            <ac:spMk id="2" creationId="{35CD8BED-68CF-D983-C8AF-A9AD64B592B0}"/>
          </ac:spMkLst>
        </pc:spChg>
        <pc:spChg chg="mod">
          <ac:chgData name="Plunkett Kelly" userId="cdb012e4-69ac-4954-928c-e33ec36f5eba" providerId="ADAL" clId="{CDF63375-607F-42DE-93F8-C478169F6FE4}" dt="2023-08-14T11:30:58.798" v="4224" actId="20577"/>
          <ac:spMkLst>
            <pc:docMk/>
            <pc:sldMk cId="783175190" sldId="2147479586"/>
            <ac:spMk id="5" creationId="{82ACE101-9079-4B28-90D1-41FFC709BAB0}"/>
          </ac:spMkLst>
        </pc:spChg>
      </pc:sldChg>
      <pc:sldChg chg="modSp mod">
        <pc:chgData name="Plunkett Kelly" userId="cdb012e4-69ac-4954-928c-e33ec36f5eba" providerId="ADAL" clId="{CDF63375-607F-42DE-93F8-C478169F6FE4}" dt="2023-08-15T11:55:11.081" v="4599" actId="313"/>
        <pc:sldMkLst>
          <pc:docMk/>
          <pc:sldMk cId="1584002695" sldId="2147479590"/>
        </pc:sldMkLst>
        <pc:spChg chg="mod">
          <ac:chgData name="Plunkett Kelly" userId="cdb012e4-69ac-4954-928c-e33ec36f5eba" providerId="ADAL" clId="{CDF63375-607F-42DE-93F8-C478169F6FE4}" dt="2023-08-15T11:55:11.081" v="4599" actId="313"/>
          <ac:spMkLst>
            <pc:docMk/>
            <pc:sldMk cId="1584002695" sldId="2147479590"/>
            <ac:spMk id="3" creationId="{054356EA-79F4-3612-54CC-809CBFF37041}"/>
          </ac:spMkLst>
        </pc:spChg>
      </pc:sldChg>
      <pc:sldChg chg="addSp delSp modSp mod">
        <pc:chgData name="Plunkett Kelly" userId="cdb012e4-69ac-4954-928c-e33ec36f5eba" providerId="ADAL" clId="{CDF63375-607F-42DE-93F8-C478169F6FE4}" dt="2023-08-14T10:56:07.661" v="3926" actId="478"/>
        <pc:sldMkLst>
          <pc:docMk/>
          <pc:sldMk cId="3060046903" sldId="2147479600"/>
        </pc:sldMkLst>
        <pc:spChg chg="add del mod">
          <ac:chgData name="Plunkett Kelly" userId="cdb012e4-69ac-4954-928c-e33ec36f5eba" providerId="ADAL" clId="{CDF63375-607F-42DE-93F8-C478169F6FE4}" dt="2023-08-14T10:56:07.661" v="3926" actId="478"/>
          <ac:spMkLst>
            <pc:docMk/>
            <pc:sldMk cId="3060046903" sldId="2147479600"/>
            <ac:spMk id="2" creationId="{A895F192-2DFB-D5D9-4BD8-E5D94CBFBEFD}"/>
          </ac:spMkLst>
        </pc:spChg>
      </pc:sldChg>
      <pc:sldChg chg="modSp mod">
        <pc:chgData name="Plunkett Kelly" userId="cdb012e4-69ac-4954-928c-e33ec36f5eba" providerId="ADAL" clId="{CDF63375-607F-42DE-93F8-C478169F6FE4}" dt="2023-08-15T11:54:13.641" v="4594" actId="313"/>
        <pc:sldMkLst>
          <pc:docMk/>
          <pc:sldMk cId="4281992946" sldId="2147479607"/>
        </pc:sldMkLst>
        <pc:spChg chg="mod">
          <ac:chgData name="Plunkett Kelly" userId="cdb012e4-69ac-4954-928c-e33ec36f5eba" providerId="ADAL" clId="{CDF63375-607F-42DE-93F8-C478169F6FE4}" dt="2023-08-14T11:28:28.781" v="4180" actId="20577"/>
          <ac:spMkLst>
            <pc:docMk/>
            <pc:sldMk cId="4281992946" sldId="2147479607"/>
            <ac:spMk id="8" creationId="{7824D54C-15D2-467C-A016-166944D0781C}"/>
          </ac:spMkLst>
        </pc:spChg>
        <pc:spChg chg="mod">
          <ac:chgData name="Plunkett Kelly" userId="cdb012e4-69ac-4954-928c-e33ec36f5eba" providerId="ADAL" clId="{CDF63375-607F-42DE-93F8-C478169F6FE4}" dt="2023-08-15T11:54:13.641" v="4594" actId="313"/>
          <ac:spMkLst>
            <pc:docMk/>
            <pc:sldMk cId="4281992946" sldId="2147479607"/>
            <ac:spMk id="9" creationId="{6C153CAD-CB4E-4351-8C09-19E5BC5E2B25}"/>
          </ac:spMkLst>
        </pc:spChg>
      </pc:sldChg>
      <pc:sldChg chg="modSp mod">
        <pc:chgData name="Plunkett Kelly" userId="cdb012e4-69ac-4954-928c-e33ec36f5eba" providerId="ADAL" clId="{CDF63375-607F-42DE-93F8-C478169F6FE4}" dt="2023-08-14T11:29:27.743" v="4192" actId="20577"/>
        <pc:sldMkLst>
          <pc:docMk/>
          <pc:sldMk cId="2074381867" sldId="2147479609"/>
        </pc:sldMkLst>
        <pc:spChg chg="mod">
          <ac:chgData name="Plunkett Kelly" userId="cdb012e4-69ac-4954-928c-e33ec36f5eba" providerId="ADAL" clId="{CDF63375-607F-42DE-93F8-C478169F6FE4}" dt="2023-08-14T11:29:27.743" v="4192" actId="20577"/>
          <ac:spMkLst>
            <pc:docMk/>
            <pc:sldMk cId="2074381867" sldId="2147479609"/>
            <ac:spMk id="8" creationId="{7824D54C-15D2-467C-A016-166944D0781C}"/>
          </ac:spMkLst>
        </pc:spChg>
      </pc:sldChg>
      <pc:sldChg chg="modSp mod">
        <pc:chgData name="Plunkett Kelly" userId="cdb012e4-69ac-4954-928c-e33ec36f5eba" providerId="ADAL" clId="{CDF63375-607F-42DE-93F8-C478169F6FE4}" dt="2023-08-14T11:29:41.286" v="4200" actId="20577"/>
        <pc:sldMkLst>
          <pc:docMk/>
          <pc:sldMk cId="2582236747" sldId="2147479613"/>
        </pc:sldMkLst>
        <pc:spChg chg="mod">
          <ac:chgData name="Plunkett Kelly" userId="cdb012e4-69ac-4954-928c-e33ec36f5eba" providerId="ADAL" clId="{CDF63375-607F-42DE-93F8-C478169F6FE4}" dt="2023-08-14T11:29:41.286" v="4200" actId="20577"/>
          <ac:spMkLst>
            <pc:docMk/>
            <pc:sldMk cId="2582236747" sldId="2147479613"/>
            <ac:spMk id="30" creationId="{472A8A6B-5ED0-EBDF-66D3-9469542D95B7}"/>
          </ac:spMkLst>
        </pc:spChg>
      </pc:sldChg>
      <pc:sldChg chg="modSp mod">
        <pc:chgData name="Plunkett Kelly" userId="cdb012e4-69ac-4954-928c-e33ec36f5eba" providerId="ADAL" clId="{CDF63375-607F-42DE-93F8-C478169F6FE4}" dt="2023-08-14T11:30:34.063" v="4220" actId="20577"/>
        <pc:sldMkLst>
          <pc:docMk/>
          <pc:sldMk cId="3673377692" sldId="2147479616"/>
        </pc:sldMkLst>
        <pc:spChg chg="mod">
          <ac:chgData name="Plunkett Kelly" userId="cdb012e4-69ac-4954-928c-e33ec36f5eba" providerId="ADAL" clId="{CDF63375-607F-42DE-93F8-C478169F6FE4}" dt="2023-08-14T11:30:34.063" v="4220" actId="20577"/>
          <ac:spMkLst>
            <pc:docMk/>
            <pc:sldMk cId="3673377692" sldId="2147479616"/>
            <ac:spMk id="30" creationId="{D93FAA2B-249B-226A-0A9D-DF62EFC7C39A}"/>
          </ac:spMkLst>
        </pc:spChg>
      </pc:sldChg>
      <pc:sldChg chg="modSp mod">
        <pc:chgData name="Plunkett Kelly" userId="cdb012e4-69ac-4954-928c-e33ec36f5eba" providerId="ADAL" clId="{CDF63375-607F-42DE-93F8-C478169F6FE4}" dt="2023-08-14T11:30:05.627" v="4208" actId="20577"/>
        <pc:sldMkLst>
          <pc:docMk/>
          <pc:sldMk cId="554842699" sldId="2147479617"/>
        </pc:sldMkLst>
        <pc:spChg chg="mod">
          <ac:chgData name="Plunkett Kelly" userId="cdb012e4-69ac-4954-928c-e33ec36f5eba" providerId="ADAL" clId="{CDF63375-607F-42DE-93F8-C478169F6FE4}" dt="2023-08-14T11:30:05.627" v="4208" actId="20577"/>
          <ac:spMkLst>
            <pc:docMk/>
            <pc:sldMk cId="554842699" sldId="2147479617"/>
            <ac:spMk id="30" creationId="{D93FAA2B-249B-226A-0A9D-DF62EFC7C39A}"/>
          </ac:spMkLst>
        </pc:spChg>
      </pc:sldChg>
      <pc:sldChg chg="modSp mod">
        <pc:chgData name="Plunkett Kelly" userId="cdb012e4-69ac-4954-928c-e33ec36f5eba" providerId="ADAL" clId="{CDF63375-607F-42DE-93F8-C478169F6FE4}" dt="2023-08-14T11:30:10.319" v="4210" actId="20577"/>
        <pc:sldMkLst>
          <pc:docMk/>
          <pc:sldMk cId="1127760975" sldId="2147479618"/>
        </pc:sldMkLst>
        <pc:spChg chg="mod">
          <ac:chgData name="Plunkett Kelly" userId="cdb012e4-69ac-4954-928c-e33ec36f5eba" providerId="ADAL" clId="{CDF63375-607F-42DE-93F8-C478169F6FE4}" dt="2023-08-14T11:30:10.319" v="4210" actId="20577"/>
          <ac:spMkLst>
            <pc:docMk/>
            <pc:sldMk cId="1127760975" sldId="2147479618"/>
            <ac:spMk id="30" creationId="{D93FAA2B-249B-226A-0A9D-DF62EFC7C39A}"/>
          </ac:spMkLst>
        </pc:spChg>
      </pc:sldChg>
      <pc:sldChg chg="addSp modSp add del mod addCm modCm">
        <pc:chgData name="Plunkett Kelly" userId="cdb012e4-69ac-4954-928c-e33ec36f5eba" providerId="ADAL" clId="{CDF63375-607F-42DE-93F8-C478169F6FE4}" dt="2023-08-14T11:33:47.923" v="4304" actId="20577"/>
        <pc:sldMkLst>
          <pc:docMk/>
          <pc:sldMk cId="1361792716" sldId="2147479632"/>
        </pc:sldMkLst>
        <pc:spChg chg="add mod">
          <ac:chgData name="Plunkett Kelly" userId="cdb012e4-69ac-4954-928c-e33ec36f5eba" providerId="ADAL" clId="{CDF63375-607F-42DE-93F8-C478169F6FE4}" dt="2023-08-14T11:17:08.193" v="4155" actId="208"/>
          <ac:spMkLst>
            <pc:docMk/>
            <pc:sldMk cId="1361792716" sldId="2147479632"/>
            <ac:spMk id="5" creationId="{59C73157-CD02-0C97-2B02-8AEC6213801E}"/>
          </ac:spMkLst>
        </pc:spChg>
        <pc:spChg chg="add mod">
          <ac:chgData name="Plunkett Kelly" userId="cdb012e4-69ac-4954-928c-e33ec36f5eba" providerId="ADAL" clId="{CDF63375-607F-42DE-93F8-C478169F6FE4}" dt="2023-08-14T11:17:08.193" v="4155" actId="208"/>
          <ac:spMkLst>
            <pc:docMk/>
            <pc:sldMk cId="1361792716" sldId="2147479632"/>
            <ac:spMk id="7" creationId="{DA32DDC8-125F-24ED-B978-AE1AAD5EE3D2}"/>
          </ac:spMkLst>
        </pc:spChg>
        <pc:spChg chg="mod">
          <ac:chgData name="Plunkett Kelly" userId="cdb012e4-69ac-4954-928c-e33ec36f5eba" providerId="ADAL" clId="{CDF63375-607F-42DE-93F8-C478169F6FE4}" dt="2023-08-14T11:33:47.923" v="4304" actId="20577"/>
          <ac:spMkLst>
            <pc:docMk/>
            <pc:sldMk cId="1361792716" sldId="2147479632"/>
            <ac:spMk id="8" creationId="{7824D54C-15D2-467C-A016-166944D0781C}"/>
          </ac:spMkLst>
        </pc:spChg>
        <pc:spChg chg="add mod">
          <ac:chgData name="Plunkett Kelly" userId="cdb012e4-69ac-4954-928c-e33ec36f5eba" providerId="ADAL" clId="{CDF63375-607F-42DE-93F8-C478169F6FE4}" dt="2023-08-14T11:17:08.193" v="4155" actId="208"/>
          <ac:spMkLst>
            <pc:docMk/>
            <pc:sldMk cId="1361792716" sldId="2147479632"/>
            <ac:spMk id="10" creationId="{15965A57-6D5C-3FF3-8DFE-17AF7DE7D580}"/>
          </ac:spMkLst>
        </pc:spChg>
        <pc:spChg chg="add mod">
          <ac:chgData name="Plunkett Kelly" userId="cdb012e4-69ac-4954-928c-e33ec36f5eba" providerId="ADAL" clId="{CDF63375-607F-42DE-93F8-C478169F6FE4}" dt="2023-08-14T11:17:08.193" v="4155" actId="208"/>
          <ac:spMkLst>
            <pc:docMk/>
            <pc:sldMk cId="1361792716" sldId="2147479632"/>
            <ac:spMk id="12" creationId="{81F3CCD0-B835-B150-BC5A-64F880AC23A7}"/>
          </ac:spMkLst>
        </pc:spChg>
        <pc:spChg chg="add mod">
          <ac:chgData name="Plunkett Kelly" userId="cdb012e4-69ac-4954-928c-e33ec36f5eba" providerId="ADAL" clId="{CDF63375-607F-42DE-93F8-C478169F6FE4}" dt="2023-08-14T11:17:08.193" v="4155" actId="208"/>
          <ac:spMkLst>
            <pc:docMk/>
            <pc:sldMk cId="1361792716" sldId="2147479632"/>
            <ac:spMk id="14" creationId="{F4883733-DA43-36CC-F31A-DF5FAC782416}"/>
          </ac:spMkLst>
        </pc:spChg>
        <pc:spChg chg="add mod">
          <ac:chgData name="Plunkett Kelly" userId="cdb012e4-69ac-4954-928c-e33ec36f5eba" providerId="ADAL" clId="{CDF63375-607F-42DE-93F8-C478169F6FE4}" dt="2023-08-14T11:17:08.193" v="4155" actId="208"/>
          <ac:spMkLst>
            <pc:docMk/>
            <pc:sldMk cId="1361792716" sldId="2147479632"/>
            <ac:spMk id="16" creationId="{506A4B42-49E1-7365-4A93-E322BCC617C2}"/>
          </ac:spMkLst>
        </pc:spChg>
        <pc:spChg chg="mod">
          <ac:chgData name="Plunkett Kelly" userId="cdb012e4-69ac-4954-928c-e33ec36f5eba" providerId="ADAL" clId="{CDF63375-607F-42DE-93F8-C478169F6FE4}" dt="2023-08-14T11:17:08.193" v="4155" actId="208"/>
          <ac:spMkLst>
            <pc:docMk/>
            <pc:sldMk cId="1361792716" sldId="2147479632"/>
            <ac:spMk id="17" creationId="{8C9460DB-676C-4AF1-BB43-13950E17CBA7}"/>
          </ac:spMkLst>
        </pc:spChg>
        <pc:picChg chg="add mod">
          <ac:chgData name="Plunkett Kelly" userId="cdb012e4-69ac-4954-928c-e33ec36f5eba" providerId="ADAL" clId="{CDF63375-607F-42DE-93F8-C478169F6FE4}" dt="2023-08-14T11:09:57.467" v="4017" actId="14100"/>
          <ac:picMkLst>
            <pc:docMk/>
            <pc:sldMk cId="1361792716" sldId="2147479632"/>
            <ac:picMk id="2" creationId="{555DC62A-F1BD-9DCC-E1F2-31F83C32756F}"/>
          </ac:picMkLst>
        </pc:picChg>
        <pc:picChg chg="add mod">
          <ac:chgData name="Plunkett Kelly" userId="cdb012e4-69ac-4954-928c-e33ec36f5eba" providerId="ADAL" clId="{CDF63375-607F-42DE-93F8-C478169F6FE4}" dt="2023-08-14T11:07:41.951" v="3988" actId="1076"/>
          <ac:picMkLst>
            <pc:docMk/>
            <pc:sldMk cId="1361792716" sldId="2147479632"/>
            <ac:picMk id="3" creationId="{6BF77464-80D9-E724-90BE-EEBE2B4C38D2}"/>
          </ac:picMkLst>
        </pc:picChg>
        <pc:picChg chg="mod">
          <ac:chgData name="Plunkett Kelly" userId="cdb012e4-69ac-4954-928c-e33ec36f5eba" providerId="ADAL" clId="{CDF63375-607F-42DE-93F8-C478169F6FE4}" dt="2023-08-14T11:09:59.667" v="4018" actId="14100"/>
          <ac:picMkLst>
            <pc:docMk/>
            <pc:sldMk cId="1361792716" sldId="2147479632"/>
            <ac:picMk id="4" creationId="{1AA9E0EE-B671-4BAA-9478-C9937E34B4A7}"/>
          </ac:picMkLst>
        </pc:picChg>
        <pc:picChg chg="add mod">
          <ac:chgData name="Plunkett Kelly" userId="cdb012e4-69ac-4954-928c-e33ec36f5eba" providerId="ADAL" clId="{CDF63375-607F-42DE-93F8-C478169F6FE4}" dt="2023-08-14T11:08:03.210" v="3993" actId="1076"/>
          <ac:picMkLst>
            <pc:docMk/>
            <pc:sldMk cId="1361792716" sldId="2147479632"/>
            <ac:picMk id="6" creationId="{45D2E7EC-BF12-5883-C4D3-DF95DECCCE6C}"/>
          </ac:picMkLst>
        </pc:picChg>
        <pc:picChg chg="add mod">
          <ac:chgData name="Plunkett Kelly" userId="cdb012e4-69ac-4954-928c-e33ec36f5eba" providerId="ADAL" clId="{CDF63375-607F-42DE-93F8-C478169F6FE4}" dt="2023-08-14T11:16:00.773" v="4139" actId="1035"/>
          <ac:picMkLst>
            <pc:docMk/>
            <pc:sldMk cId="1361792716" sldId="2147479632"/>
            <ac:picMk id="9" creationId="{4A5D0DC9-A257-CA56-6994-09F513181D27}"/>
          </ac:picMkLst>
        </pc:picChg>
        <pc:picChg chg="add mod">
          <ac:chgData name="Plunkett Kelly" userId="cdb012e4-69ac-4954-928c-e33ec36f5eba" providerId="ADAL" clId="{CDF63375-607F-42DE-93F8-C478169F6FE4}" dt="2023-08-14T11:16:00.773" v="4139" actId="1035"/>
          <ac:picMkLst>
            <pc:docMk/>
            <pc:sldMk cId="1361792716" sldId="2147479632"/>
            <ac:picMk id="11" creationId="{E3FD3D70-A5ED-F6B8-D88E-0B3144BF9C86}"/>
          </ac:picMkLst>
        </pc:picChg>
        <pc:picChg chg="add mod">
          <ac:chgData name="Plunkett Kelly" userId="cdb012e4-69ac-4954-928c-e33ec36f5eba" providerId="ADAL" clId="{CDF63375-607F-42DE-93F8-C478169F6FE4}" dt="2023-08-14T11:16:00.773" v="4139" actId="1035"/>
          <ac:picMkLst>
            <pc:docMk/>
            <pc:sldMk cId="1361792716" sldId="2147479632"/>
            <ac:picMk id="13" creationId="{9828983C-3538-AA29-71A9-4F253AB11C56}"/>
          </ac:picMkLst>
        </pc:picChg>
        <pc:picChg chg="add mod">
          <ac:chgData name="Plunkett Kelly" userId="cdb012e4-69ac-4954-928c-e33ec36f5eba" providerId="ADAL" clId="{CDF63375-607F-42DE-93F8-C478169F6FE4}" dt="2023-08-14T11:16:00.773" v="4139" actId="1035"/>
          <ac:picMkLst>
            <pc:docMk/>
            <pc:sldMk cId="1361792716" sldId="2147479632"/>
            <ac:picMk id="15" creationId="{E38B5595-EBF2-CBA0-C9ED-21D70BE21138}"/>
          </ac:picMkLst>
        </pc:picChg>
      </pc:sldChg>
      <pc:sldChg chg="modSp mod ord delCm">
        <pc:chgData name="Plunkett Kelly" userId="cdb012e4-69ac-4954-928c-e33ec36f5eba" providerId="ADAL" clId="{CDF63375-607F-42DE-93F8-C478169F6FE4}" dt="2023-08-15T11:55:25.103" v="4605" actId="313"/>
        <pc:sldMkLst>
          <pc:docMk/>
          <pc:sldMk cId="2175479650" sldId="2147479633"/>
        </pc:sldMkLst>
        <pc:spChg chg="mod">
          <ac:chgData name="Plunkett Kelly" userId="cdb012e4-69ac-4954-928c-e33ec36f5eba" providerId="ADAL" clId="{CDF63375-607F-42DE-93F8-C478169F6FE4}" dt="2023-08-15T11:55:20.742" v="4602" actId="313"/>
          <ac:spMkLst>
            <pc:docMk/>
            <pc:sldMk cId="2175479650" sldId="2147479633"/>
            <ac:spMk id="2" creationId="{B62662A1-6231-C9A3-CB98-DA447F38793A}"/>
          </ac:spMkLst>
        </pc:spChg>
        <pc:spChg chg="mod">
          <ac:chgData name="Plunkett Kelly" userId="cdb012e4-69ac-4954-928c-e33ec36f5eba" providerId="ADAL" clId="{CDF63375-607F-42DE-93F8-C478169F6FE4}" dt="2023-08-15T11:55:25.103" v="4605" actId="313"/>
          <ac:spMkLst>
            <pc:docMk/>
            <pc:sldMk cId="2175479650" sldId="2147479633"/>
            <ac:spMk id="4" creationId="{C60F421B-BF94-1677-9595-B5C1422289A2}"/>
          </ac:spMkLst>
        </pc:spChg>
      </pc:sldChg>
      <pc:sldChg chg="modSp mod">
        <pc:chgData name="Plunkett Kelly" userId="cdb012e4-69ac-4954-928c-e33ec36f5eba" providerId="ADAL" clId="{CDF63375-607F-42DE-93F8-C478169F6FE4}" dt="2023-08-14T11:35:47.506" v="4346" actId="20577"/>
        <pc:sldMkLst>
          <pc:docMk/>
          <pc:sldMk cId="1878775612" sldId="2147479634"/>
        </pc:sldMkLst>
        <pc:spChg chg="mod">
          <ac:chgData name="Plunkett Kelly" userId="cdb012e4-69ac-4954-928c-e33ec36f5eba" providerId="ADAL" clId="{CDF63375-607F-42DE-93F8-C478169F6FE4}" dt="2023-08-14T11:35:47.506" v="4346" actId="20577"/>
          <ac:spMkLst>
            <pc:docMk/>
            <pc:sldMk cId="1878775612" sldId="2147479634"/>
            <ac:spMk id="2" creationId="{35CD8BED-68CF-D983-C8AF-A9AD64B592B0}"/>
          </ac:spMkLst>
        </pc:spChg>
        <pc:spChg chg="mod">
          <ac:chgData name="Plunkett Kelly" userId="cdb012e4-69ac-4954-928c-e33ec36f5eba" providerId="ADAL" clId="{CDF63375-607F-42DE-93F8-C478169F6FE4}" dt="2023-08-14T11:35:31.150" v="4326" actId="20577"/>
          <ac:spMkLst>
            <pc:docMk/>
            <pc:sldMk cId="1878775612" sldId="2147479634"/>
            <ac:spMk id="5" creationId="{82ACE101-9079-4B28-90D1-41FFC709BAB0}"/>
          </ac:spMkLst>
        </pc:spChg>
      </pc:sldChg>
      <pc:sldChg chg="modSp mod">
        <pc:chgData name="Plunkett Kelly" userId="cdb012e4-69ac-4954-928c-e33ec36f5eba" providerId="ADAL" clId="{CDF63375-607F-42DE-93F8-C478169F6FE4}" dt="2023-08-14T11:30:29.150" v="4218" actId="20577"/>
        <pc:sldMkLst>
          <pc:docMk/>
          <pc:sldMk cId="2127201987" sldId="2147479638"/>
        </pc:sldMkLst>
        <pc:spChg chg="mod">
          <ac:chgData name="Plunkett Kelly" userId="cdb012e4-69ac-4954-928c-e33ec36f5eba" providerId="ADAL" clId="{CDF63375-607F-42DE-93F8-C478169F6FE4}" dt="2023-08-14T11:30:29.150" v="4218" actId="20577"/>
          <ac:spMkLst>
            <pc:docMk/>
            <pc:sldMk cId="2127201987" sldId="2147479638"/>
            <ac:spMk id="30" creationId="{D93FAA2B-249B-226A-0A9D-DF62EFC7C39A}"/>
          </ac:spMkLst>
        </pc:spChg>
      </pc:sldChg>
      <pc:sldChg chg="modSp mod">
        <pc:chgData name="Plunkett Kelly" userId="cdb012e4-69ac-4954-928c-e33ec36f5eba" providerId="ADAL" clId="{CDF63375-607F-42DE-93F8-C478169F6FE4}" dt="2023-08-14T11:30:00.284" v="4206" actId="20577"/>
        <pc:sldMkLst>
          <pc:docMk/>
          <pc:sldMk cId="2835511252" sldId="2147479640"/>
        </pc:sldMkLst>
        <pc:spChg chg="mod">
          <ac:chgData name="Plunkett Kelly" userId="cdb012e4-69ac-4954-928c-e33ec36f5eba" providerId="ADAL" clId="{CDF63375-607F-42DE-93F8-C478169F6FE4}" dt="2023-08-14T11:30:00.284" v="4206" actId="20577"/>
          <ac:spMkLst>
            <pc:docMk/>
            <pc:sldMk cId="2835511252" sldId="2147479640"/>
            <ac:spMk id="30" creationId="{D93FAA2B-249B-226A-0A9D-DF62EFC7C39A}"/>
          </ac:spMkLst>
        </pc:spChg>
      </pc:sldChg>
      <pc:sldChg chg="modSp mod">
        <pc:chgData name="Plunkett Kelly" userId="cdb012e4-69ac-4954-928c-e33ec36f5eba" providerId="ADAL" clId="{CDF63375-607F-42DE-93F8-C478169F6FE4}" dt="2023-08-14T11:30:24.148" v="4216" actId="20577"/>
        <pc:sldMkLst>
          <pc:docMk/>
          <pc:sldMk cId="209286626" sldId="2147479641"/>
        </pc:sldMkLst>
        <pc:spChg chg="mod">
          <ac:chgData name="Plunkett Kelly" userId="cdb012e4-69ac-4954-928c-e33ec36f5eba" providerId="ADAL" clId="{CDF63375-607F-42DE-93F8-C478169F6FE4}" dt="2023-08-14T11:30:24.148" v="4216" actId="20577"/>
          <ac:spMkLst>
            <pc:docMk/>
            <pc:sldMk cId="209286626" sldId="2147479641"/>
            <ac:spMk id="30" creationId="{D93FAA2B-249B-226A-0A9D-DF62EFC7C39A}"/>
          </ac:spMkLst>
        </pc:spChg>
      </pc:sldChg>
      <pc:sldChg chg="modSp mod">
        <pc:chgData name="Plunkett Kelly" userId="cdb012e4-69ac-4954-928c-e33ec36f5eba" providerId="ADAL" clId="{CDF63375-607F-42DE-93F8-C478169F6FE4}" dt="2023-08-14T11:32:54.692" v="4281" actId="20577"/>
        <pc:sldMkLst>
          <pc:docMk/>
          <pc:sldMk cId="3831876268" sldId="2147479642"/>
        </pc:sldMkLst>
        <pc:spChg chg="mod">
          <ac:chgData name="Plunkett Kelly" userId="cdb012e4-69ac-4954-928c-e33ec36f5eba" providerId="ADAL" clId="{CDF63375-607F-42DE-93F8-C478169F6FE4}" dt="2023-08-14T11:32:54.692" v="4281" actId="20577"/>
          <ac:spMkLst>
            <pc:docMk/>
            <pc:sldMk cId="3831876268" sldId="2147479642"/>
            <ac:spMk id="34" creationId="{810BA9CC-2C5C-4AE6-AD9A-085AE329CD3B}"/>
          </ac:spMkLst>
        </pc:spChg>
      </pc:sldChg>
      <pc:sldChg chg="modSp mod">
        <pc:chgData name="Plunkett Kelly" userId="cdb012e4-69ac-4954-928c-e33ec36f5eba" providerId="ADAL" clId="{CDF63375-607F-42DE-93F8-C478169F6FE4}" dt="2023-08-14T11:32:58.253" v="4283" actId="20577"/>
        <pc:sldMkLst>
          <pc:docMk/>
          <pc:sldMk cId="2915504962" sldId="2147479644"/>
        </pc:sldMkLst>
        <pc:spChg chg="mod">
          <ac:chgData name="Plunkett Kelly" userId="cdb012e4-69ac-4954-928c-e33ec36f5eba" providerId="ADAL" clId="{CDF63375-607F-42DE-93F8-C478169F6FE4}" dt="2023-08-14T11:32:58.253" v="4283" actId="20577"/>
          <ac:spMkLst>
            <pc:docMk/>
            <pc:sldMk cId="2915504962" sldId="2147479644"/>
            <ac:spMk id="34" creationId="{810BA9CC-2C5C-4AE6-AD9A-085AE329CD3B}"/>
          </ac:spMkLst>
        </pc:spChg>
      </pc:sldChg>
      <pc:sldChg chg="modSp mod">
        <pc:chgData name="Plunkett Kelly" userId="cdb012e4-69ac-4954-928c-e33ec36f5eba" providerId="ADAL" clId="{CDF63375-607F-42DE-93F8-C478169F6FE4}" dt="2023-08-15T11:54:12.085" v="4593" actId="313"/>
        <pc:sldMkLst>
          <pc:docMk/>
          <pc:sldMk cId="1066138" sldId="2147479646"/>
        </pc:sldMkLst>
        <pc:spChg chg="mod">
          <ac:chgData name="Plunkett Kelly" userId="cdb012e4-69ac-4954-928c-e33ec36f5eba" providerId="ADAL" clId="{CDF63375-607F-42DE-93F8-C478169F6FE4}" dt="2023-08-14T11:29:06.596" v="4188" actId="20577"/>
          <ac:spMkLst>
            <pc:docMk/>
            <pc:sldMk cId="1066138" sldId="2147479646"/>
            <ac:spMk id="6" creationId="{375A8375-8BDA-8591-7CD2-CF1F98D8E40F}"/>
          </ac:spMkLst>
        </pc:spChg>
        <pc:spChg chg="mod">
          <ac:chgData name="Plunkett Kelly" userId="cdb012e4-69ac-4954-928c-e33ec36f5eba" providerId="ADAL" clId="{CDF63375-607F-42DE-93F8-C478169F6FE4}" dt="2023-08-15T11:54:12.085" v="4593" actId="313"/>
          <ac:spMkLst>
            <pc:docMk/>
            <pc:sldMk cId="1066138" sldId="2147479646"/>
            <ac:spMk id="10" creationId="{94BC6B52-470B-4F59-4E4C-58B5DCC1F763}"/>
          </ac:spMkLst>
        </pc:spChg>
      </pc:sldChg>
      <pc:sldChg chg="modSp mod">
        <pc:chgData name="Plunkett Kelly" userId="cdb012e4-69ac-4954-928c-e33ec36f5eba" providerId="ADAL" clId="{CDF63375-607F-42DE-93F8-C478169F6FE4}" dt="2023-08-14T11:31:26.291" v="4242" actId="20577"/>
        <pc:sldMkLst>
          <pc:docMk/>
          <pc:sldMk cId="1412110567" sldId="2147479649"/>
        </pc:sldMkLst>
        <pc:spChg chg="mod">
          <ac:chgData name="Plunkett Kelly" userId="cdb012e4-69ac-4954-928c-e33ec36f5eba" providerId="ADAL" clId="{CDF63375-607F-42DE-93F8-C478169F6FE4}" dt="2023-08-14T11:31:26.291" v="4242" actId="20577"/>
          <ac:spMkLst>
            <pc:docMk/>
            <pc:sldMk cId="1412110567" sldId="2147479649"/>
            <ac:spMk id="8" creationId="{7824D54C-15D2-467C-A016-166944D0781C}"/>
          </ac:spMkLst>
        </pc:spChg>
      </pc:sldChg>
      <pc:sldChg chg="modSp mod">
        <pc:chgData name="Plunkett Kelly" userId="cdb012e4-69ac-4954-928c-e33ec36f5eba" providerId="ADAL" clId="{CDF63375-607F-42DE-93F8-C478169F6FE4}" dt="2023-08-15T09:57:44.169" v="4395" actId="12"/>
        <pc:sldMkLst>
          <pc:docMk/>
          <pc:sldMk cId="3733227749" sldId="2147479650"/>
        </pc:sldMkLst>
        <pc:spChg chg="mod">
          <ac:chgData name="Plunkett Kelly" userId="cdb012e4-69ac-4954-928c-e33ec36f5eba" providerId="ADAL" clId="{CDF63375-607F-42DE-93F8-C478169F6FE4}" dt="2023-08-14T11:31:11.616" v="4236" actId="20577"/>
          <ac:spMkLst>
            <pc:docMk/>
            <pc:sldMk cId="3733227749" sldId="2147479650"/>
            <ac:spMk id="8" creationId="{7824D54C-15D2-467C-A016-166944D0781C}"/>
          </ac:spMkLst>
        </pc:spChg>
        <pc:spChg chg="mod">
          <ac:chgData name="Plunkett Kelly" userId="cdb012e4-69ac-4954-928c-e33ec36f5eba" providerId="ADAL" clId="{CDF63375-607F-42DE-93F8-C478169F6FE4}" dt="2023-08-15T09:57:44.169" v="4395" actId="12"/>
          <ac:spMkLst>
            <pc:docMk/>
            <pc:sldMk cId="3733227749" sldId="2147479650"/>
            <ac:spMk id="187" creationId="{5BA3EDD6-D559-C3EE-BE00-7D8F7F3222C3}"/>
          </ac:spMkLst>
        </pc:spChg>
      </pc:sldChg>
      <pc:sldChg chg="modSp mod ord modCm">
        <pc:chgData name="Plunkett Kelly" userId="cdb012e4-69ac-4954-928c-e33ec36f5eba" providerId="ADAL" clId="{CDF63375-607F-42DE-93F8-C478169F6FE4}" dt="2023-08-15T10:10:24.700" v="4584" actId="6549"/>
        <pc:sldMkLst>
          <pc:docMk/>
          <pc:sldMk cId="787045591" sldId="2147479651"/>
        </pc:sldMkLst>
        <pc:spChg chg="mod">
          <ac:chgData name="Plunkett Kelly" userId="cdb012e4-69ac-4954-928c-e33ec36f5eba" providerId="ADAL" clId="{CDF63375-607F-42DE-93F8-C478169F6FE4}" dt="2023-08-15T10:10:24.700" v="4584" actId="6549"/>
          <ac:spMkLst>
            <pc:docMk/>
            <pc:sldMk cId="787045591" sldId="2147479651"/>
            <ac:spMk id="2" creationId="{79492056-A46A-C98F-7C19-8A45ECCB4E81}"/>
          </ac:spMkLst>
        </pc:spChg>
        <pc:spChg chg="mod">
          <ac:chgData name="Plunkett Kelly" userId="cdb012e4-69ac-4954-928c-e33ec36f5eba" providerId="ADAL" clId="{CDF63375-607F-42DE-93F8-C478169F6FE4}" dt="2023-08-15T10:07:03.554" v="4423" actId="6549"/>
          <ac:spMkLst>
            <pc:docMk/>
            <pc:sldMk cId="787045591" sldId="2147479651"/>
            <ac:spMk id="9" creationId="{5778A9EA-DED7-643D-DAF4-5B4D353EF821}"/>
          </ac:spMkLst>
        </pc:spChg>
      </pc:sldChg>
      <pc:sldChg chg="addSp delSp modSp del mod modCm">
        <pc:chgData name="Plunkett Kelly" userId="cdb012e4-69ac-4954-928c-e33ec36f5eba" providerId="ADAL" clId="{CDF63375-607F-42DE-93F8-C478169F6FE4}" dt="2023-08-03T14:27:35.193" v="364" actId="2696"/>
        <pc:sldMkLst>
          <pc:docMk/>
          <pc:sldMk cId="1118370846" sldId="2147479653"/>
        </pc:sldMkLst>
        <pc:spChg chg="add mod">
          <ac:chgData name="Plunkett Kelly" userId="cdb012e4-69ac-4954-928c-e33ec36f5eba" providerId="ADAL" clId="{CDF63375-607F-42DE-93F8-C478169F6FE4}" dt="2023-08-03T14:27:10.725" v="362" actId="478"/>
          <ac:spMkLst>
            <pc:docMk/>
            <pc:sldMk cId="1118370846" sldId="2147479653"/>
            <ac:spMk id="7" creationId="{E7A2CE50-1F22-2C10-2343-7270DB19E930}"/>
          </ac:spMkLst>
        </pc:spChg>
        <pc:spChg chg="del">
          <ac:chgData name="Plunkett Kelly" userId="cdb012e4-69ac-4954-928c-e33ec36f5eba" providerId="ADAL" clId="{CDF63375-607F-42DE-93F8-C478169F6FE4}" dt="2023-08-03T14:27:10.725" v="362" actId="478"/>
          <ac:spMkLst>
            <pc:docMk/>
            <pc:sldMk cId="1118370846" sldId="2147479653"/>
            <ac:spMk id="8" creationId="{7824D54C-15D2-467C-A016-166944D0781C}"/>
          </ac:spMkLst>
        </pc:spChg>
      </pc:sldChg>
      <pc:sldChg chg="modSp mod modCm">
        <pc:chgData name="Plunkett Kelly" userId="cdb012e4-69ac-4954-928c-e33ec36f5eba" providerId="ADAL" clId="{CDF63375-607F-42DE-93F8-C478169F6FE4}" dt="2023-08-15T09:57:05.576" v="4391" actId="12"/>
        <pc:sldMkLst>
          <pc:docMk/>
          <pc:sldMk cId="3656600548" sldId="2147479654"/>
        </pc:sldMkLst>
        <pc:spChg chg="mod">
          <ac:chgData name="Plunkett Kelly" userId="cdb012e4-69ac-4954-928c-e33ec36f5eba" providerId="ADAL" clId="{CDF63375-607F-42DE-93F8-C478169F6FE4}" dt="2023-08-14T11:31:15.211" v="4238" actId="20577"/>
          <ac:spMkLst>
            <pc:docMk/>
            <pc:sldMk cId="3656600548" sldId="2147479654"/>
            <ac:spMk id="8" creationId="{7824D54C-15D2-467C-A016-166944D0781C}"/>
          </ac:spMkLst>
        </pc:spChg>
        <pc:spChg chg="mod">
          <ac:chgData name="Plunkett Kelly" userId="cdb012e4-69ac-4954-928c-e33ec36f5eba" providerId="ADAL" clId="{CDF63375-607F-42DE-93F8-C478169F6FE4}" dt="2023-08-15T09:57:05.576" v="4391" actId="12"/>
          <ac:spMkLst>
            <pc:docMk/>
            <pc:sldMk cId="3656600548" sldId="2147479654"/>
            <ac:spMk id="10" creationId="{AECC769F-BC3C-5CF2-4BF9-72EA6D6FEA0E}"/>
          </ac:spMkLst>
        </pc:spChg>
        <pc:spChg chg="mod">
          <ac:chgData name="Plunkett Kelly" userId="cdb012e4-69ac-4954-928c-e33ec36f5eba" providerId="ADAL" clId="{CDF63375-607F-42DE-93F8-C478169F6FE4}" dt="2023-08-15T09:57:05.576" v="4391" actId="12"/>
          <ac:spMkLst>
            <pc:docMk/>
            <pc:sldMk cId="3656600548" sldId="2147479654"/>
            <ac:spMk id="133" creationId="{590A35AF-D334-6DA1-9B69-24A0FD6D2883}"/>
          </ac:spMkLst>
        </pc:spChg>
        <pc:spChg chg="mod">
          <ac:chgData name="Plunkett Kelly" userId="cdb012e4-69ac-4954-928c-e33ec36f5eba" providerId="ADAL" clId="{CDF63375-607F-42DE-93F8-C478169F6FE4}" dt="2023-08-03T12:07:15.055" v="23" actId="20577"/>
          <ac:spMkLst>
            <pc:docMk/>
            <pc:sldMk cId="3656600548" sldId="2147479654"/>
            <ac:spMk id="134" creationId="{18E877D6-E49E-DFEA-F0B5-BB1AC0F95365}"/>
          </ac:spMkLst>
        </pc:spChg>
      </pc:sldChg>
      <pc:sldChg chg="modSp del mod modShow">
        <pc:chgData name="Plunkett Kelly" userId="cdb012e4-69ac-4954-928c-e33ec36f5eba" providerId="ADAL" clId="{CDF63375-607F-42DE-93F8-C478169F6FE4}" dt="2023-08-14T11:35:12.463" v="4320" actId="47"/>
        <pc:sldMkLst>
          <pc:docMk/>
          <pc:sldMk cId="3258489592" sldId="2147479655"/>
        </pc:sldMkLst>
        <pc:spChg chg="mod">
          <ac:chgData name="Plunkett Kelly" userId="cdb012e4-69ac-4954-928c-e33ec36f5eba" providerId="ADAL" clId="{CDF63375-607F-42DE-93F8-C478169F6FE4}" dt="2023-08-14T11:34:13.560" v="4311"/>
          <ac:spMkLst>
            <pc:docMk/>
            <pc:sldMk cId="3258489592" sldId="2147479655"/>
            <ac:spMk id="8" creationId="{7824D54C-15D2-467C-A016-166944D0781C}"/>
          </ac:spMkLst>
        </pc:spChg>
        <pc:picChg chg="mod">
          <ac:chgData name="Plunkett Kelly" userId="cdb012e4-69ac-4954-928c-e33ec36f5eba" providerId="ADAL" clId="{CDF63375-607F-42DE-93F8-C478169F6FE4}" dt="2023-08-14T11:06:37.173" v="3978" actId="208"/>
          <ac:picMkLst>
            <pc:docMk/>
            <pc:sldMk cId="3258489592" sldId="2147479655"/>
            <ac:picMk id="7" creationId="{54403831-2DFF-6998-F5CC-8B86CD9BE04B}"/>
          </ac:picMkLst>
        </pc:picChg>
      </pc:sldChg>
      <pc:sldChg chg="modSp mod">
        <pc:chgData name="Plunkett Kelly" userId="cdb012e4-69ac-4954-928c-e33ec36f5eba" providerId="ADAL" clId="{CDF63375-607F-42DE-93F8-C478169F6FE4}" dt="2023-08-15T11:55:59.361" v="4622" actId="14100"/>
        <pc:sldMkLst>
          <pc:docMk/>
          <pc:sldMk cId="3770532317" sldId="2147479657"/>
        </pc:sldMkLst>
        <pc:spChg chg="mod">
          <ac:chgData name="Plunkett Kelly" userId="cdb012e4-69ac-4954-928c-e33ec36f5eba" providerId="ADAL" clId="{CDF63375-607F-42DE-93F8-C478169F6FE4}" dt="2023-08-15T11:55:59.361" v="4622" actId="14100"/>
          <ac:spMkLst>
            <pc:docMk/>
            <pc:sldMk cId="3770532317" sldId="2147479657"/>
            <ac:spMk id="17" creationId="{451535D1-19C9-DA0E-B434-A865955706BB}"/>
          </ac:spMkLst>
        </pc:spChg>
      </pc:sldChg>
      <pc:sldChg chg="modSp del mod modShow">
        <pc:chgData name="Plunkett Kelly" userId="cdb012e4-69ac-4954-928c-e33ec36f5eba" providerId="ADAL" clId="{CDF63375-607F-42DE-93F8-C478169F6FE4}" dt="2023-08-14T11:35:12.009" v="4319" actId="47"/>
        <pc:sldMkLst>
          <pc:docMk/>
          <pc:sldMk cId="531447485" sldId="2147479659"/>
        </pc:sldMkLst>
        <pc:spChg chg="mod">
          <ac:chgData name="Plunkett Kelly" userId="cdb012e4-69ac-4954-928c-e33ec36f5eba" providerId="ADAL" clId="{CDF63375-607F-42DE-93F8-C478169F6FE4}" dt="2023-08-14T11:34:08.545" v="4310"/>
          <ac:spMkLst>
            <pc:docMk/>
            <pc:sldMk cId="531447485" sldId="2147479659"/>
            <ac:spMk id="8" creationId="{7824D54C-15D2-467C-A016-166944D0781C}"/>
          </ac:spMkLst>
        </pc:spChg>
        <pc:picChg chg="mod">
          <ac:chgData name="Plunkett Kelly" userId="cdb012e4-69ac-4954-928c-e33ec36f5eba" providerId="ADAL" clId="{CDF63375-607F-42DE-93F8-C478169F6FE4}" dt="2023-08-14T11:06:34.694" v="3977" actId="208"/>
          <ac:picMkLst>
            <pc:docMk/>
            <pc:sldMk cId="531447485" sldId="2147479659"/>
            <ac:picMk id="4" creationId="{235E5A93-2046-DE85-9018-1CCAFB4E4AF2}"/>
          </ac:picMkLst>
        </pc:picChg>
      </pc:sldChg>
      <pc:sldChg chg="modSp del mod modShow">
        <pc:chgData name="Plunkett Kelly" userId="cdb012e4-69ac-4954-928c-e33ec36f5eba" providerId="ADAL" clId="{CDF63375-607F-42DE-93F8-C478169F6FE4}" dt="2023-08-14T11:35:11.232" v="4318" actId="47"/>
        <pc:sldMkLst>
          <pc:docMk/>
          <pc:sldMk cId="309813952" sldId="2147479660"/>
        </pc:sldMkLst>
        <pc:spChg chg="mod">
          <ac:chgData name="Plunkett Kelly" userId="cdb012e4-69ac-4954-928c-e33ec36f5eba" providerId="ADAL" clId="{CDF63375-607F-42DE-93F8-C478169F6FE4}" dt="2023-08-14T11:34:05.095" v="4309"/>
          <ac:spMkLst>
            <pc:docMk/>
            <pc:sldMk cId="309813952" sldId="2147479660"/>
            <ac:spMk id="8" creationId="{7824D54C-15D2-467C-A016-166944D0781C}"/>
          </ac:spMkLst>
        </pc:spChg>
        <pc:picChg chg="mod">
          <ac:chgData name="Plunkett Kelly" userId="cdb012e4-69ac-4954-928c-e33ec36f5eba" providerId="ADAL" clId="{CDF63375-607F-42DE-93F8-C478169F6FE4}" dt="2023-08-14T11:06:29.189" v="3976" actId="208"/>
          <ac:picMkLst>
            <pc:docMk/>
            <pc:sldMk cId="309813952" sldId="2147479660"/>
            <ac:picMk id="4" creationId="{C167C5D6-35A2-F453-F6CC-9ADF8288C429}"/>
          </ac:picMkLst>
        </pc:picChg>
      </pc:sldChg>
      <pc:sldChg chg="modSp del mod modShow">
        <pc:chgData name="Plunkett Kelly" userId="cdb012e4-69ac-4954-928c-e33ec36f5eba" providerId="ADAL" clId="{CDF63375-607F-42DE-93F8-C478169F6FE4}" dt="2023-08-14T11:35:13.013" v="4321" actId="47"/>
        <pc:sldMkLst>
          <pc:docMk/>
          <pc:sldMk cId="3049243147" sldId="2147479661"/>
        </pc:sldMkLst>
        <pc:spChg chg="mod">
          <ac:chgData name="Plunkett Kelly" userId="cdb012e4-69ac-4954-928c-e33ec36f5eba" providerId="ADAL" clId="{CDF63375-607F-42DE-93F8-C478169F6FE4}" dt="2023-08-14T11:34:16.911" v="4312"/>
          <ac:spMkLst>
            <pc:docMk/>
            <pc:sldMk cId="3049243147" sldId="2147479661"/>
            <ac:spMk id="8" creationId="{7824D54C-15D2-467C-A016-166944D0781C}"/>
          </ac:spMkLst>
        </pc:spChg>
        <pc:picChg chg="mod">
          <ac:chgData name="Plunkett Kelly" userId="cdb012e4-69ac-4954-928c-e33ec36f5eba" providerId="ADAL" clId="{CDF63375-607F-42DE-93F8-C478169F6FE4}" dt="2023-08-14T11:06:40.543" v="3979" actId="208"/>
          <ac:picMkLst>
            <pc:docMk/>
            <pc:sldMk cId="3049243147" sldId="2147479661"/>
            <ac:picMk id="7" creationId="{4EC4272E-5A74-0BE8-5D76-693E532623E6}"/>
          </ac:picMkLst>
        </pc:picChg>
      </pc:sldChg>
      <pc:sldChg chg="modSp del mod modShow">
        <pc:chgData name="Plunkett Kelly" userId="cdb012e4-69ac-4954-928c-e33ec36f5eba" providerId="ADAL" clId="{CDF63375-607F-42DE-93F8-C478169F6FE4}" dt="2023-08-14T11:35:13.575" v="4322" actId="47"/>
        <pc:sldMkLst>
          <pc:docMk/>
          <pc:sldMk cId="2143741187" sldId="2147479662"/>
        </pc:sldMkLst>
        <pc:spChg chg="mod">
          <ac:chgData name="Plunkett Kelly" userId="cdb012e4-69ac-4954-928c-e33ec36f5eba" providerId="ADAL" clId="{CDF63375-607F-42DE-93F8-C478169F6FE4}" dt="2023-08-14T11:34:20.229" v="4313"/>
          <ac:spMkLst>
            <pc:docMk/>
            <pc:sldMk cId="2143741187" sldId="2147479662"/>
            <ac:spMk id="8" creationId="{7824D54C-15D2-467C-A016-166944D0781C}"/>
          </ac:spMkLst>
        </pc:spChg>
        <pc:picChg chg="mod">
          <ac:chgData name="Plunkett Kelly" userId="cdb012e4-69ac-4954-928c-e33ec36f5eba" providerId="ADAL" clId="{CDF63375-607F-42DE-93F8-C478169F6FE4}" dt="2023-08-14T11:06:44.248" v="3980" actId="208"/>
          <ac:picMkLst>
            <pc:docMk/>
            <pc:sldMk cId="2143741187" sldId="2147479662"/>
            <ac:picMk id="7" creationId="{B45919D5-85B2-C38F-15E7-09194E29F84F}"/>
          </ac:picMkLst>
        </pc:picChg>
      </pc:sldChg>
      <pc:sldChg chg="modSp del mod modShow">
        <pc:chgData name="Plunkett Kelly" userId="cdb012e4-69ac-4954-928c-e33ec36f5eba" providerId="ADAL" clId="{CDF63375-607F-42DE-93F8-C478169F6FE4}" dt="2023-08-14T11:35:14.221" v="4323" actId="47"/>
        <pc:sldMkLst>
          <pc:docMk/>
          <pc:sldMk cId="3083095690" sldId="2147479663"/>
        </pc:sldMkLst>
        <pc:spChg chg="mod">
          <ac:chgData name="Plunkett Kelly" userId="cdb012e4-69ac-4954-928c-e33ec36f5eba" providerId="ADAL" clId="{CDF63375-607F-42DE-93F8-C478169F6FE4}" dt="2023-08-14T11:34:22.655" v="4314"/>
          <ac:spMkLst>
            <pc:docMk/>
            <pc:sldMk cId="3083095690" sldId="2147479663"/>
            <ac:spMk id="8" creationId="{7824D54C-15D2-467C-A016-166944D0781C}"/>
          </ac:spMkLst>
        </pc:spChg>
        <pc:picChg chg="mod">
          <ac:chgData name="Plunkett Kelly" userId="cdb012e4-69ac-4954-928c-e33ec36f5eba" providerId="ADAL" clId="{CDF63375-607F-42DE-93F8-C478169F6FE4}" dt="2023-08-14T11:06:48.313" v="3981" actId="208"/>
          <ac:picMkLst>
            <pc:docMk/>
            <pc:sldMk cId="3083095690" sldId="2147479663"/>
            <ac:picMk id="7" creationId="{9B0CCFEB-E225-5BBE-8C1B-741B495D8CC7}"/>
          </ac:picMkLst>
        </pc:picChg>
      </pc:sldChg>
      <pc:sldChg chg="modSp del mod modShow">
        <pc:chgData name="Plunkett Kelly" userId="cdb012e4-69ac-4954-928c-e33ec36f5eba" providerId="ADAL" clId="{CDF63375-607F-42DE-93F8-C478169F6FE4}" dt="2023-08-14T11:35:14.992" v="4324" actId="47"/>
        <pc:sldMkLst>
          <pc:docMk/>
          <pc:sldMk cId="1995074081" sldId="2147479664"/>
        </pc:sldMkLst>
        <pc:spChg chg="mod">
          <ac:chgData name="Plunkett Kelly" userId="cdb012e4-69ac-4954-928c-e33ec36f5eba" providerId="ADAL" clId="{CDF63375-607F-42DE-93F8-C478169F6FE4}" dt="2023-08-14T11:34:28.396" v="4316" actId="20577"/>
          <ac:spMkLst>
            <pc:docMk/>
            <pc:sldMk cId="1995074081" sldId="2147479664"/>
            <ac:spMk id="8" creationId="{7824D54C-15D2-467C-A016-166944D0781C}"/>
          </ac:spMkLst>
        </pc:spChg>
        <pc:picChg chg="mod">
          <ac:chgData name="Plunkett Kelly" userId="cdb012e4-69ac-4954-928c-e33ec36f5eba" providerId="ADAL" clId="{CDF63375-607F-42DE-93F8-C478169F6FE4}" dt="2023-08-14T11:06:53.009" v="3982" actId="208"/>
          <ac:picMkLst>
            <pc:docMk/>
            <pc:sldMk cId="1995074081" sldId="2147479664"/>
            <ac:picMk id="4" creationId="{17A4C6F3-F8C1-5986-BAEC-4879D61B3DAD}"/>
          </ac:picMkLst>
        </pc:picChg>
      </pc:sldChg>
      <pc:sldChg chg="modSp mod">
        <pc:chgData name="Plunkett Kelly" userId="cdb012e4-69ac-4954-928c-e33ec36f5eba" providerId="ADAL" clId="{CDF63375-607F-42DE-93F8-C478169F6FE4}" dt="2023-08-14T11:35:52.834" v="4348" actId="20577"/>
        <pc:sldMkLst>
          <pc:docMk/>
          <pc:sldMk cId="1638219384" sldId="2147479668"/>
        </pc:sldMkLst>
        <pc:spChg chg="mod">
          <ac:chgData name="Plunkett Kelly" userId="cdb012e4-69ac-4954-928c-e33ec36f5eba" providerId="ADAL" clId="{CDF63375-607F-42DE-93F8-C478169F6FE4}" dt="2023-08-14T11:35:52.834" v="4348" actId="20577"/>
          <ac:spMkLst>
            <pc:docMk/>
            <pc:sldMk cId="1638219384" sldId="2147479668"/>
            <ac:spMk id="8" creationId="{7824D54C-15D2-467C-A016-166944D0781C}"/>
          </ac:spMkLst>
        </pc:spChg>
      </pc:sldChg>
      <pc:sldChg chg="modSp mod">
        <pc:chgData name="Plunkett Kelly" userId="cdb012e4-69ac-4954-928c-e33ec36f5eba" providerId="ADAL" clId="{CDF63375-607F-42DE-93F8-C478169F6FE4}" dt="2023-08-14T11:35:57.681" v="4350" actId="20577"/>
        <pc:sldMkLst>
          <pc:docMk/>
          <pc:sldMk cId="3375914741" sldId="2147479669"/>
        </pc:sldMkLst>
        <pc:spChg chg="mod">
          <ac:chgData name="Plunkett Kelly" userId="cdb012e4-69ac-4954-928c-e33ec36f5eba" providerId="ADAL" clId="{CDF63375-607F-42DE-93F8-C478169F6FE4}" dt="2023-08-14T11:35:57.681" v="4350" actId="20577"/>
          <ac:spMkLst>
            <pc:docMk/>
            <pc:sldMk cId="3375914741" sldId="2147479669"/>
            <ac:spMk id="8" creationId="{7824D54C-15D2-467C-A016-166944D0781C}"/>
          </ac:spMkLst>
        </pc:spChg>
      </pc:sldChg>
      <pc:sldChg chg="modSp mod">
        <pc:chgData name="Plunkett Kelly" userId="cdb012e4-69ac-4954-928c-e33ec36f5eba" providerId="ADAL" clId="{CDF63375-607F-42DE-93F8-C478169F6FE4}" dt="2023-08-14T11:36:01.400" v="4352" actId="20577"/>
        <pc:sldMkLst>
          <pc:docMk/>
          <pc:sldMk cId="622934420" sldId="2147479670"/>
        </pc:sldMkLst>
        <pc:spChg chg="mod">
          <ac:chgData name="Plunkett Kelly" userId="cdb012e4-69ac-4954-928c-e33ec36f5eba" providerId="ADAL" clId="{CDF63375-607F-42DE-93F8-C478169F6FE4}" dt="2023-08-14T11:36:01.400" v="4352" actId="20577"/>
          <ac:spMkLst>
            <pc:docMk/>
            <pc:sldMk cId="622934420" sldId="2147479670"/>
            <ac:spMk id="8" creationId="{7824D54C-15D2-467C-A016-166944D0781C}"/>
          </ac:spMkLst>
        </pc:spChg>
      </pc:sldChg>
      <pc:sldChg chg="modSp mod">
        <pc:chgData name="Plunkett Kelly" userId="cdb012e4-69ac-4954-928c-e33ec36f5eba" providerId="ADAL" clId="{CDF63375-607F-42DE-93F8-C478169F6FE4}" dt="2023-08-14T11:36:08.521" v="4354" actId="20577"/>
        <pc:sldMkLst>
          <pc:docMk/>
          <pc:sldMk cId="59976583" sldId="2147479671"/>
        </pc:sldMkLst>
        <pc:spChg chg="mod">
          <ac:chgData name="Plunkett Kelly" userId="cdb012e4-69ac-4954-928c-e33ec36f5eba" providerId="ADAL" clId="{CDF63375-607F-42DE-93F8-C478169F6FE4}" dt="2023-08-14T11:36:08.521" v="4354" actId="20577"/>
          <ac:spMkLst>
            <pc:docMk/>
            <pc:sldMk cId="59976583" sldId="2147479671"/>
            <ac:spMk id="8" creationId="{7824D54C-15D2-467C-A016-166944D0781C}"/>
          </ac:spMkLst>
        </pc:spChg>
      </pc:sldChg>
      <pc:sldChg chg="modSp mod">
        <pc:chgData name="Plunkett Kelly" userId="cdb012e4-69ac-4954-928c-e33ec36f5eba" providerId="ADAL" clId="{CDF63375-607F-42DE-93F8-C478169F6FE4}" dt="2023-08-14T11:36:11.767" v="4356" actId="20577"/>
        <pc:sldMkLst>
          <pc:docMk/>
          <pc:sldMk cId="3234471790" sldId="2147479672"/>
        </pc:sldMkLst>
        <pc:spChg chg="mod">
          <ac:chgData name="Plunkett Kelly" userId="cdb012e4-69ac-4954-928c-e33ec36f5eba" providerId="ADAL" clId="{CDF63375-607F-42DE-93F8-C478169F6FE4}" dt="2023-08-14T11:36:11.767" v="4356" actId="20577"/>
          <ac:spMkLst>
            <pc:docMk/>
            <pc:sldMk cId="3234471790" sldId="2147479672"/>
            <ac:spMk id="8" creationId="{7824D54C-15D2-467C-A016-166944D0781C}"/>
          </ac:spMkLst>
        </pc:spChg>
      </pc:sldChg>
      <pc:sldChg chg="modSp mod">
        <pc:chgData name="Plunkett Kelly" userId="cdb012e4-69ac-4954-928c-e33ec36f5eba" providerId="ADAL" clId="{CDF63375-607F-42DE-93F8-C478169F6FE4}" dt="2023-08-14T11:36:15.725" v="4358" actId="20577"/>
        <pc:sldMkLst>
          <pc:docMk/>
          <pc:sldMk cId="2550533011" sldId="2147479673"/>
        </pc:sldMkLst>
        <pc:spChg chg="mod">
          <ac:chgData name="Plunkett Kelly" userId="cdb012e4-69ac-4954-928c-e33ec36f5eba" providerId="ADAL" clId="{CDF63375-607F-42DE-93F8-C478169F6FE4}" dt="2023-08-14T11:36:15.725" v="4358" actId="20577"/>
          <ac:spMkLst>
            <pc:docMk/>
            <pc:sldMk cId="2550533011" sldId="2147479673"/>
            <ac:spMk id="8" creationId="{7824D54C-15D2-467C-A016-166944D0781C}"/>
          </ac:spMkLst>
        </pc:spChg>
      </pc:sldChg>
      <pc:sldChg chg="modSp mod">
        <pc:chgData name="Plunkett Kelly" userId="cdb012e4-69ac-4954-928c-e33ec36f5eba" providerId="ADAL" clId="{CDF63375-607F-42DE-93F8-C478169F6FE4}" dt="2023-08-14T11:36:21.732" v="4360" actId="20577"/>
        <pc:sldMkLst>
          <pc:docMk/>
          <pc:sldMk cId="1379980121" sldId="2147479674"/>
        </pc:sldMkLst>
        <pc:spChg chg="mod">
          <ac:chgData name="Plunkett Kelly" userId="cdb012e4-69ac-4954-928c-e33ec36f5eba" providerId="ADAL" clId="{CDF63375-607F-42DE-93F8-C478169F6FE4}" dt="2023-08-14T11:36:21.732" v="4360" actId="20577"/>
          <ac:spMkLst>
            <pc:docMk/>
            <pc:sldMk cId="1379980121" sldId="2147479674"/>
            <ac:spMk id="8" creationId="{7824D54C-15D2-467C-A016-166944D0781C}"/>
          </ac:spMkLst>
        </pc:spChg>
      </pc:sldChg>
      <pc:sldChg chg="modSp mod">
        <pc:chgData name="Plunkett Kelly" userId="cdb012e4-69ac-4954-928c-e33ec36f5eba" providerId="ADAL" clId="{CDF63375-607F-42DE-93F8-C478169F6FE4}" dt="2023-08-14T11:36:26.941" v="4362" actId="20577"/>
        <pc:sldMkLst>
          <pc:docMk/>
          <pc:sldMk cId="1504332585" sldId="2147479675"/>
        </pc:sldMkLst>
        <pc:spChg chg="mod">
          <ac:chgData name="Plunkett Kelly" userId="cdb012e4-69ac-4954-928c-e33ec36f5eba" providerId="ADAL" clId="{CDF63375-607F-42DE-93F8-C478169F6FE4}" dt="2023-08-14T11:36:26.941" v="4362" actId="20577"/>
          <ac:spMkLst>
            <pc:docMk/>
            <pc:sldMk cId="1504332585" sldId="2147479675"/>
            <ac:spMk id="8" creationId="{7824D54C-15D2-467C-A016-166944D0781C}"/>
          </ac:spMkLst>
        </pc:spChg>
      </pc:sldChg>
      <pc:sldChg chg="modSp mod">
        <pc:chgData name="Plunkett Kelly" userId="cdb012e4-69ac-4954-928c-e33ec36f5eba" providerId="ADAL" clId="{CDF63375-607F-42DE-93F8-C478169F6FE4}" dt="2023-08-14T11:36:39.797" v="4368" actId="20577"/>
        <pc:sldMkLst>
          <pc:docMk/>
          <pc:sldMk cId="2959099894" sldId="2147479678"/>
        </pc:sldMkLst>
        <pc:spChg chg="mod">
          <ac:chgData name="Plunkett Kelly" userId="cdb012e4-69ac-4954-928c-e33ec36f5eba" providerId="ADAL" clId="{CDF63375-607F-42DE-93F8-C478169F6FE4}" dt="2023-08-14T11:36:39.797" v="4368" actId="20577"/>
          <ac:spMkLst>
            <pc:docMk/>
            <pc:sldMk cId="2959099894" sldId="2147479678"/>
            <ac:spMk id="8" creationId="{7824D54C-15D2-467C-A016-166944D0781C}"/>
          </ac:spMkLst>
        </pc:spChg>
      </pc:sldChg>
      <pc:sldChg chg="modSp mod">
        <pc:chgData name="Plunkett Kelly" userId="cdb012e4-69ac-4954-928c-e33ec36f5eba" providerId="ADAL" clId="{CDF63375-607F-42DE-93F8-C478169F6FE4}" dt="2023-08-14T11:36:34.533" v="4366" actId="20577"/>
        <pc:sldMkLst>
          <pc:docMk/>
          <pc:sldMk cId="2224978157" sldId="2147479679"/>
        </pc:sldMkLst>
        <pc:spChg chg="mod">
          <ac:chgData name="Plunkett Kelly" userId="cdb012e4-69ac-4954-928c-e33ec36f5eba" providerId="ADAL" clId="{CDF63375-607F-42DE-93F8-C478169F6FE4}" dt="2023-08-14T11:36:34.533" v="4366" actId="20577"/>
          <ac:spMkLst>
            <pc:docMk/>
            <pc:sldMk cId="2224978157" sldId="2147479679"/>
            <ac:spMk id="8" creationId="{7824D54C-15D2-467C-A016-166944D0781C}"/>
          </ac:spMkLst>
        </pc:spChg>
      </pc:sldChg>
      <pc:sldChg chg="modSp mod">
        <pc:chgData name="Plunkett Kelly" userId="cdb012e4-69ac-4954-928c-e33ec36f5eba" providerId="ADAL" clId="{CDF63375-607F-42DE-93F8-C478169F6FE4}" dt="2023-08-14T11:36:31.276" v="4364" actId="20577"/>
        <pc:sldMkLst>
          <pc:docMk/>
          <pc:sldMk cId="3711356101" sldId="2147479680"/>
        </pc:sldMkLst>
        <pc:spChg chg="mod">
          <ac:chgData name="Plunkett Kelly" userId="cdb012e4-69ac-4954-928c-e33ec36f5eba" providerId="ADAL" clId="{CDF63375-607F-42DE-93F8-C478169F6FE4}" dt="2023-08-14T11:36:31.276" v="4364" actId="20577"/>
          <ac:spMkLst>
            <pc:docMk/>
            <pc:sldMk cId="3711356101" sldId="2147479680"/>
            <ac:spMk id="8" creationId="{7824D54C-15D2-467C-A016-166944D0781C}"/>
          </ac:spMkLst>
        </pc:spChg>
      </pc:sldChg>
      <pc:sldChg chg="modSp mod">
        <pc:chgData name="Plunkett Kelly" userId="cdb012e4-69ac-4954-928c-e33ec36f5eba" providerId="ADAL" clId="{CDF63375-607F-42DE-93F8-C478169F6FE4}" dt="2023-08-14T11:36:43.010" v="4370" actId="20577"/>
        <pc:sldMkLst>
          <pc:docMk/>
          <pc:sldMk cId="2458956774" sldId="2147479681"/>
        </pc:sldMkLst>
        <pc:spChg chg="mod">
          <ac:chgData name="Plunkett Kelly" userId="cdb012e4-69ac-4954-928c-e33ec36f5eba" providerId="ADAL" clId="{CDF63375-607F-42DE-93F8-C478169F6FE4}" dt="2023-08-14T11:36:43.010" v="4370" actId="20577"/>
          <ac:spMkLst>
            <pc:docMk/>
            <pc:sldMk cId="2458956774" sldId="2147479681"/>
            <ac:spMk id="8" creationId="{7824D54C-15D2-467C-A016-166944D0781C}"/>
          </ac:spMkLst>
        </pc:spChg>
      </pc:sldChg>
      <pc:sldChg chg="modSp add del mod">
        <pc:chgData name="Plunkett Kelly" userId="cdb012e4-69ac-4954-928c-e33ec36f5eba" providerId="ADAL" clId="{CDF63375-607F-42DE-93F8-C478169F6FE4}" dt="2023-08-03T18:08:46.478" v="3181" actId="47"/>
        <pc:sldMkLst>
          <pc:docMk/>
          <pc:sldMk cId="2015443442" sldId="2147479683"/>
        </pc:sldMkLst>
        <pc:spChg chg="mod">
          <ac:chgData name="Plunkett Kelly" userId="cdb012e4-69ac-4954-928c-e33ec36f5eba" providerId="ADAL" clId="{CDF63375-607F-42DE-93F8-C478169F6FE4}" dt="2023-08-03T15:47:53.569" v="396" actId="6549"/>
          <ac:spMkLst>
            <pc:docMk/>
            <pc:sldMk cId="2015443442" sldId="2147479683"/>
            <ac:spMk id="124" creationId="{6654B6A8-EE7F-EFE2-0637-BB1B087B8DCA}"/>
          </ac:spMkLst>
        </pc:spChg>
      </pc:sldChg>
      <pc:sldChg chg="addSp delSp modSp mod ord modShow addCm delCm modCm">
        <pc:chgData name="Plunkett Kelly" userId="cdb012e4-69ac-4954-928c-e33ec36f5eba" providerId="ADAL" clId="{CDF63375-607F-42DE-93F8-C478169F6FE4}" dt="2023-08-15T14:21:22.551" v="4967" actId="20577"/>
        <pc:sldMkLst>
          <pc:docMk/>
          <pc:sldMk cId="3541093670" sldId="2147479686"/>
        </pc:sldMkLst>
        <pc:spChg chg="del mod">
          <ac:chgData name="Plunkett Kelly" userId="cdb012e4-69ac-4954-928c-e33ec36f5eba" providerId="ADAL" clId="{CDF63375-607F-42DE-93F8-C478169F6FE4}" dt="2023-08-03T15:48:07.835" v="408" actId="478"/>
          <ac:spMkLst>
            <pc:docMk/>
            <pc:sldMk cId="3541093670" sldId="2147479686"/>
            <ac:spMk id="3" creationId="{900B9DFE-ACC1-E6AC-C214-5EC13714DA9A}"/>
          </ac:spMkLst>
        </pc:spChg>
        <pc:spChg chg="add del mod">
          <ac:chgData name="Plunkett Kelly" userId="cdb012e4-69ac-4954-928c-e33ec36f5eba" providerId="ADAL" clId="{CDF63375-607F-42DE-93F8-C478169F6FE4}" dt="2023-08-03T15:48:12.896" v="409" actId="478"/>
          <ac:spMkLst>
            <pc:docMk/>
            <pc:sldMk cId="3541093670" sldId="2147479686"/>
            <ac:spMk id="5" creationId="{D0CAA146-232E-36D4-1234-524D76C3CDFF}"/>
          </ac:spMkLst>
        </pc:spChg>
        <pc:spChg chg="add mod">
          <ac:chgData name="Plunkett Kelly" userId="cdb012e4-69ac-4954-928c-e33ec36f5eba" providerId="ADAL" clId="{CDF63375-607F-42DE-93F8-C478169F6FE4}" dt="2023-08-15T08:41:11.988" v="4375" actId="20577"/>
          <ac:spMkLst>
            <pc:docMk/>
            <pc:sldMk cId="3541093670" sldId="2147479686"/>
            <ac:spMk id="6" creationId="{55E0E012-0D47-92BE-031E-1BF62225CF8C}"/>
          </ac:spMkLst>
        </pc:spChg>
        <pc:spChg chg="add mod">
          <ac:chgData name="Plunkett Kelly" userId="cdb012e4-69ac-4954-928c-e33ec36f5eba" providerId="ADAL" clId="{CDF63375-607F-42DE-93F8-C478169F6FE4}" dt="2023-08-03T18:07:53.123" v="3142" actId="1035"/>
          <ac:spMkLst>
            <pc:docMk/>
            <pc:sldMk cId="3541093670" sldId="2147479686"/>
            <ac:spMk id="7" creationId="{1CAD1F7B-D803-E9FC-1120-1367D1D93CBA}"/>
          </ac:spMkLst>
        </pc:spChg>
        <pc:spChg chg="add mod">
          <ac:chgData name="Plunkett Kelly" userId="cdb012e4-69ac-4954-928c-e33ec36f5eba" providerId="ADAL" clId="{CDF63375-607F-42DE-93F8-C478169F6FE4}" dt="2023-08-03T18:07:53.123" v="3142" actId="1035"/>
          <ac:spMkLst>
            <pc:docMk/>
            <pc:sldMk cId="3541093670" sldId="2147479686"/>
            <ac:spMk id="8" creationId="{DA01C120-F5C4-ED5A-E54E-40CD4076FD4D}"/>
          </ac:spMkLst>
        </pc:spChg>
        <pc:spChg chg="mod">
          <ac:chgData name="Plunkett Kelly" userId="cdb012e4-69ac-4954-928c-e33ec36f5eba" providerId="ADAL" clId="{CDF63375-607F-42DE-93F8-C478169F6FE4}" dt="2023-08-03T16:53:50.068" v="2190" actId="6549"/>
          <ac:spMkLst>
            <pc:docMk/>
            <pc:sldMk cId="3541093670" sldId="2147479686"/>
            <ac:spMk id="64" creationId="{24161BEC-6A5A-5DCF-D7EE-6040166883A8}"/>
          </ac:spMkLst>
        </pc:spChg>
        <pc:spChg chg="mod">
          <ac:chgData name="Plunkett Kelly" userId="cdb012e4-69ac-4954-928c-e33ec36f5eba" providerId="ADAL" clId="{CDF63375-607F-42DE-93F8-C478169F6FE4}" dt="2023-08-03T18:08:14.517" v="3177" actId="1035"/>
          <ac:spMkLst>
            <pc:docMk/>
            <pc:sldMk cId="3541093670" sldId="2147479686"/>
            <ac:spMk id="65" creationId="{112B29F6-9E6C-C7C0-8020-9669671E299F}"/>
          </ac:spMkLst>
        </pc:spChg>
        <pc:spChg chg="add del">
          <ac:chgData name="Plunkett Kelly" userId="cdb012e4-69ac-4954-928c-e33ec36f5eba" providerId="ADAL" clId="{CDF63375-607F-42DE-93F8-C478169F6FE4}" dt="2023-08-03T16:54:16.148" v="2193" actId="478"/>
          <ac:spMkLst>
            <pc:docMk/>
            <pc:sldMk cId="3541093670" sldId="2147479686"/>
            <ac:spMk id="66" creationId="{747BF436-365B-0A92-7F51-D7F30D3E5FDB}"/>
          </ac:spMkLst>
        </pc:spChg>
        <pc:spChg chg="mod">
          <ac:chgData name="Plunkett Kelly" userId="cdb012e4-69ac-4954-928c-e33ec36f5eba" providerId="ADAL" clId="{CDF63375-607F-42DE-93F8-C478169F6FE4}" dt="2023-08-03T18:09:44.326" v="3182" actId="20577"/>
          <ac:spMkLst>
            <pc:docMk/>
            <pc:sldMk cId="3541093670" sldId="2147479686"/>
            <ac:spMk id="67" creationId="{4B97A60B-1800-EDC0-DA9C-EFFDDFD1D802}"/>
          </ac:spMkLst>
        </pc:spChg>
        <pc:spChg chg="mod">
          <ac:chgData name="Plunkett Kelly" userId="cdb012e4-69ac-4954-928c-e33ec36f5eba" providerId="ADAL" clId="{CDF63375-607F-42DE-93F8-C478169F6FE4}" dt="2023-08-03T18:07:53.123" v="3142" actId="1035"/>
          <ac:spMkLst>
            <pc:docMk/>
            <pc:sldMk cId="3541093670" sldId="2147479686"/>
            <ac:spMk id="68" creationId="{DC6F51C7-F973-91B3-7CEA-F32153B02ED6}"/>
          </ac:spMkLst>
        </pc:spChg>
        <pc:spChg chg="mod">
          <ac:chgData name="Plunkett Kelly" userId="cdb012e4-69ac-4954-928c-e33ec36f5eba" providerId="ADAL" clId="{CDF63375-607F-42DE-93F8-C478169F6FE4}" dt="2023-08-03T18:07:53.123" v="3142" actId="1035"/>
          <ac:spMkLst>
            <pc:docMk/>
            <pc:sldMk cId="3541093670" sldId="2147479686"/>
            <ac:spMk id="69" creationId="{E32ABC63-6842-045D-FA2E-B6CE8475E1D5}"/>
          </ac:spMkLst>
        </pc:spChg>
        <pc:spChg chg="mod">
          <ac:chgData name="Plunkett Kelly" userId="cdb012e4-69ac-4954-928c-e33ec36f5eba" providerId="ADAL" clId="{CDF63375-607F-42DE-93F8-C478169F6FE4}" dt="2023-08-03T18:07:53.123" v="3142" actId="1035"/>
          <ac:spMkLst>
            <pc:docMk/>
            <pc:sldMk cId="3541093670" sldId="2147479686"/>
            <ac:spMk id="70" creationId="{F08BEB03-2EEB-AD11-36D9-5170261835BC}"/>
          </ac:spMkLst>
        </pc:spChg>
        <pc:spChg chg="mod">
          <ac:chgData name="Plunkett Kelly" userId="cdb012e4-69ac-4954-928c-e33ec36f5eba" providerId="ADAL" clId="{CDF63375-607F-42DE-93F8-C478169F6FE4}" dt="2023-08-03T18:07:53.123" v="3142" actId="1035"/>
          <ac:spMkLst>
            <pc:docMk/>
            <pc:sldMk cId="3541093670" sldId="2147479686"/>
            <ac:spMk id="71" creationId="{EAD21127-E343-6E68-2F39-8A8B4BF2AE37}"/>
          </ac:spMkLst>
        </pc:spChg>
        <pc:spChg chg="mod">
          <ac:chgData name="Plunkett Kelly" userId="cdb012e4-69ac-4954-928c-e33ec36f5eba" providerId="ADAL" clId="{CDF63375-607F-42DE-93F8-C478169F6FE4}" dt="2023-08-03T18:07:53.123" v="3142" actId="1035"/>
          <ac:spMkLst>
            <pc:docMk/>
            <pc:sldMk cId="3541093670" sldId="2147479686"/>
            <ac:spMk id="72" creationId="{B2B33827-CAAB-B770-20ED-F54C4F9E64AA}"/>
          </ac:spMkLst>
        </pc:spChg>
        <pc:spChg chg="mod">
          <ac:chgData name="Plunkett Kelly" userId="cdb012e4-69ac-4954-928c-e33ec36f5eba" providerId="ADAL" clId="{CDF63375-607F-42DE-93F8-C478169F6FE4}" dt="2023-08-03T18:07:53.123" v="3142" actId="1035"/>
          <ac:spMkLst>
            <pc:docMk/>
            <pc:sldMk cId="3541093670" sldId="2147479686"/>
            <ac:spMk id="73" creationId="{6D9789E2-19F1-A8CD-ACE0-9B9A4E3C517B}"/>
          </ac:spMkLst>
        </pc:spChg>
        <pc:spChg chg="mod">
          <ac:chgData name="Plunkett Kelly" userId="cdb012e4-69ac-4954-928c-e33ec36f5eba" providerId="ADAL" clId="{CDF63375-607F-42DE-93F8-C478169F6FE4}" dt="2023-08-03T18:07:53.123" v="3142" actId="1035"/>
          <ac:spMkLst>
            <pc:docMk/>
            <pc:sldMk cId="3541093670" sldId="2147479686"/>
            <ac:spMk id="74" creationId="{2E96678E-8323-783D-6739-E7C405F3D8C3}"/>
          </ac:spMkLst>
        </pc:spChg>
        <pc:spChg chg="mod">
          <ac:chgData name="Plunkett Kelly" userId="cdb012e4-69ac-4954-928c-e33ec36f5eba" providerId="ADAL" clId="{CDF63375-607F-42DE-93F8-C478169F6FE4}" dt="2023-08-03T18:07:53.123" v="3142" actId="1035"/>
          <ac:spMkLst>
            <pc:docMk/>
            <pc:sldMk cId="3541093670" sldId="2147479686"/>
            <ac:spMk id="75" creationId="{BFDDC8CE-61A3-493C-F97A-4130748A1901}"/>
          </ac:spMkLst>
        </pc:spChg>
        <pc:spChg chg="mod">
          <ac:chgData name="Plunkett Kelly" userId="cdb012e4-69ac-4954-928c-e33ec36f5eba" providerId="ADAL" clId="{CDF63375-607F-42DE-93F8-C478169F6FE4}" dt="2023-08-03T18:07:53.123" v="3142" actId="1035"/>
          <ac:spMkLst>
            <pc:docMk/>
            <pc:sldMk cId="3541093670" sldId="2147479686"/>
            <ac:spMk id="76" creationId="{3AD90018-317D-2CAC-55AB-C6E54183E497}"/>
          </ac:spMkLst>
        </pc:spChg>
        <pc:spChg chg="add del">
          <ac:chgData name="Plunkett Kelly" userId="cdb012e4-69ac-4954-928c-e33ec36f5eba" providerId="ADAL" clId="{CDF63375-607F-42DE-93F8-C478169F6FE4}" dt="2023-08-03T16:54:16.148" v="2193" actId="478"/>
          <ac:spMkLst>
            <pc:docMk/>
            <pc:sldMk cId="3541093670" sldId="2147479686"/>
            <ac:spMk id="77" creationId="{921713CC-3500-6DDD-F1B1-FE9E99D3F878}"/>
          </ac:spMkLst>
        </pc:spChg>
        <pc:spChg chg="add del">
          <ac:chgData name="Plunkett Kelly" userId="cdb012e4-69ac-4954-928c-e33ec36f5eba" providerId="ADAL" clId="{CDF63375-607F-42DE-93F8-C478169F6FE4}" dt="2023-08-03T16:54:16.148" v="2193" actId="478"/>
          <ac:spMkLst>
            <pc:docMk/>
            <pc:sldMk cId="3541093670" sldId="2147479686"/>
            <ac:spMk id="78" creationId="{3481CC8D-C9E7-3EA9-7EE9-41B927E864A6}"/>
          </ac:spMkLst>
        </pc:spChg>
        <pc:spChg chg="mod">
          <ac:chgData name="Plunkett Kelly" userId="cdb012e4-69ac-4954-928c-e33ec36f5eba" providerId="ADAL" clId="{CDF63375-607F-42DE-93F8-C478169F6FE4}" dt="2023-08-03T18:07:53.123" v="3142" actId="1035"/>
          <ac:spMkLst>
            <pc:docMk/>
            <pc:sldMk cId="3541093670" sldId="2147479686"/>
            <ac:spMk id="79" creationId="{12D69E85-2F52-D8DB-E0A8-79471616C74A}"/>
          </ac:spMkLst>
        </pc:spChg>
        <pc:spChg chg="mod">
          <ac:chgData name="Plunkett Kelly" userId="cdb012e4-69ac-4954-928c-e33ec36f5eba" providerId="ADAL" clId="{CDF63375-607F-42DE-93F8-C478169F6FE4}" dt="2023-08-03T18:08:02.443" v="3156" actId="1035"/>
          <ac:spMkLst>
            <pc:docMk/>
            <pc:sldMk cId="3541093670" sldId="2147479686"/>
            <ac:spMk id="81" creationId="{388931DC-D292-61B5-BE40-64196FB440D1}"/>
          </ac:spMkLst>
        </pc:spChg>
        <pc:spChg chg="mod">
          <ac:chgData name="Plunkett Kelly" userId="cdb012e4-69ac-4954-928c-e33ec36f5eba" providerId="ADAL" clId="{CDF63375-607F-42DE-93F8-C478169F6FE4}" dt="2023-08-03T18:08:02.443" v="3156" actId="1035"/>
          <ac:spMkLst>
            <pc:docMk/>
            <pc:sldMk cId="3541093670" sldId="2147479686"/>
            <ac:spMk id="82" creationId="{2F06342E-0787-5ECB-BC5D-F81B92DBE5D4}"/>
          </ac:spMkLst>
        </pc:spChg>
        <pc:spChg chg="mod">
          <ac:chgData name="Plunkett Kelly" userId="cdb012e4-69ac-4954-928c-e33ec36f5eba" providerId="ADAL" clId="{CDF63375-607F-42DE-93F8-C478169F6FE4}" dt="2023-08-03T18:08:02.443" v="3156" actId="1035"/>
          <ac:spMkLst>
            <pc:docMk/>
            <pc:sldMk cId="3541093670" sldId="2147479686"/>
            <ac:spMk id="83" creationId="{FFE0EC23-BABA-4B8F-A5F2-C2C1E7E4BB1D}"/>
          </ac:spMkLst>
        </pc:spChg>
        <pc:spChg chg="mod">
          <ac:chgData name="Plunkett Kelly" userId="cdb012e4-69ac-4954-928c-e33ec36f5eba" providerId="ADAL" clId="{CDF63375-607F-42DE-93F8-C478169F6FE4}" dt="2023-08-03T18:08:02.443" v="3156" actId="1035"/>
          <ac:spMkLst>
            <pc:docMk/>
            <pc:sldMk cId="3541093670" sldId="2147479686"/>
            <ac:spMk id="84" creationId="{B0E26D1A-F9B7-291D-F763-D9A25A844120}"/>
          </ac:spMkLst>
        </pc:spChg>
        <pc:spChg chg="mod">
          <ac:chgData name="Plunkett Kelly" userId="cdb012e4-69ac-4954-928c-e33ec36f5eba" providerId="ADAL" clId="{CDF63375-607F-42DE-93F8-C478169F6FE4}" dt="2023-08-03T18:08:02.443" v="3156" actId="1035"/>
          <ac:spMkLst>
            <pc:docMk/>
            <pc:sldMk cId="3541093670" sldId="2147479686"/>
            <ac:spMk id="86" creationId="{B64936C4-9626-22BF-6E35-7E5CCC664523}"/>
          </ac:spMkLst>
        </pc:spChg>
        <pc:spChg chg="mod">
          <ac:chgData name="Plunkett Kelly" userId="cdb012e4-69ac-4954-928c-e33ec36f5eba" providerId="ADAL" clId="{CDF63375-607F-42DE-93F8-C478169F6FE4}" dt="2023-08-03T18:08:02.443" v="3156" actId="1035"/>
          <ac:spMkLst>
            <pc:docMk/>
            <pc:sldMk cId="3541093670" sldId="2147479686"/>
            <ac:spMk id="87" creationId="{8A6F9B1D-A6AA-363A-878F-F94F88735BD5}"/>
          </ac:spMkLst>
        </pc:spChg>
        <pc:spChg chg="mod">
          <ac:chgData name="Plunkett Kelly" userId="cdb012e4-69ac-4954-928c-e33ec36f5eba" providerId="ADAL" clId="{CDF63375-607F-42DE-93F8-C478169F6FE4}" dt="2023-08-03T18:08:02.443" v="3156" actId="1035"/>
          <ac:spMkLst>
            <pc:docMk/>
            <pc:sldMk cId="3541093670" sldId="2147479686"/>
            <ac:spMk id="88" creationId="{533320D6-D0AC-AF0C-B0F9-7CE745F51C29}"/>
          </ac:spMkLst>
        </pc:spChg>
        <pc:spChg chg="mod">
          <ac:chgData name="Plunkett Kelly" userId="cdb012e4-69ac-4954-928c-e33ec36f5eba" providerId="ADAL" clId="{CDF63375-607F-42DE-93F8-C478169F6FE4}" dt="2023-08-03T18:08:02.443" v="3156" actId="1035"/>
          <ac:spMkLst>
            <pc:docMk/>
            <pc:sldMk cId="3541093670" sldId="2147479686"/>
            <ac:spMk id="91" creationId="{6596B196-B319-8CC5-BEF3-8DF667D1FA2E}"/>
          </ac:spMkLst>
        </pc:spChg>
        <pc:spChg chg="mod">
          <ac:chgData name="Plunkett Kelly" userId="cdb012e4-69ac-4954-928c-e33ec36f5eba" providerId="ADAL" clId="{CDF63375-607F-42DE-93F8-C478169F6FE4}" dt="2023-08-03T18:08:02.443" v="3156" actId="1035"/>
          <ac:spMkLst>
            <pc:docMk/>
            <pc:sldMk cId="3541093670" sldId="2147479686"/>
            <ac:spMk id="94" creationId="{06147953-2EEE-FFFB-E533-39B13E89CA8C}"/>
          </ac:spMkLst>
        </pc:spChg>
        <pc:spChg chg="mod">
          <ac:chgData name="Plunkett Kelly" userId="cdb012e4-69ac-4954-928c-e33ec36f5eba" providerId="ADAL" clId="{CDF63375-607F-42DE-93F8-C478169F6FE4}" dt="2023-08-03T18:08:02.443" v="3156" actId="1035"/>
          <ac:spMkLst>
            <pc:docMk/>
            <pc:sldMk cId="3541093670" sldId="2147479686"/>
            <ac:spMk id="95" creationId="{3D8E38AB-7C62-8B78-8438-8E5FA66B4864}"/>
          </ac:spMkLst>
        </pc:spChg>
        <pc:spChg chg="mod">
          <ac:chgData name="Plunkett Kelly" userId="cdb012e4-69ac-4954-928c-e33ec36f5eba" providerId="ADAL" clId="{CDF63375-607F-42DE-93F8-C478169F6FE4}" dt="2023-08-03T18:08:02.443" v="3156" actId="1035"/>
          <ac:spMkLst>
            <pc:docMk/>
            <pc:sldMk cId="3541093670" sldId="2147479686"/>
            <ac:spMk id="96" creationId="{36E6E964-E87F-FA4E-96D9-5F2B89355E4F}"/>
          </ac:spMkLst>
        </pc:spChg>
        <pc:spChg chg="mod">
          <ac:chgData name="Plunkett Kelly" userId="cdb012e4-69ac-4954-928c-e33ec36f5eba" providerId="ADAL" clId="{CDF63375-607F-42DE-93F8-C478169F6FE4}" dt="2023-08-03T18:08:02.443" v="3156" actId="1035"/>
          <ac:spMkLst>
            <pc:docMk/>
            <pc:sldMk cId="3541093670" sldId="2147479686"/>
            <ac:spMk id="97" creationId="{FADC49F2-B8E2-B748-1817-A31F8F9A06FB}"/>
          </ac:spMkLst>
        </pc:spChg>
        <pc:spChg chg="mod">
          <ac:chgData name="Plunkett Kelly" userId="cdb012e4-69ac-4954-928c-e33ec36f5eba" providerId="ADAL" clId="{CDF63375-607F-42DE-93F8-C478169F6FE4}" dt="2023-08-03T18:08:02.443" v="3156" actId="1035"/>
          <ac:spMkLst>
            <pc:docMk/>
            <pc:sldMk cId="3541093670" sldId="2147479686"/>
            <ac:spMk id="98" creationId="{5F65C354-1D51-6316-9F47-84E49A981E88}"/>
          </ac:spMkLst>
        </pc:spChg>
        <pc:spChg chg="mod">
          <ac:chgData name="Plunkett Kelly" userId="cdb012e4-69ac-4954-928c-e33ec36f5eba" providerId="ADAL" clId="{CDF63375-607F-42DE-93F8-C478169F6FE4}" dt="2023-08-03T18:08:02.443" v="3156" actId="1035"/>
          <ac:spMkLst>
            <pc:docMk/>
            <pc:sldMk cId="3541093670" sldId="2147479686"/>
            <ac:spMk id="99" creationId="{54AD994D-0608-6250-A6D7-83433C643224}"/>
          </ac:spMkLst>
        </pc:spChg>
        <pc:spChg chg="mod">
          <ac:chgData name="Plunkett Kelly" userId="cdb012e4-69ac-4954-928c-e33ec36f5eba" providerId="ADAL" clId="{CDF63375-607F-42DE-93F8-C478169F6FE4}" dt="2023-08-03T18:08:02.443" v="3156" actId="1035"/>
          <ac:spMkLst>
            <pc:docMk/>
            <pc:sldMk cId="3541093670" sldId="2147479686"/>
            <ac:spMk id="100" creationId="{E811943D-7FDC-BA24-2616-2D2E9FA6EDA6}"/>
          </ac:spMkLst>
        </pc:spChg>
        <pc:spChg chg="mod">
          <ac:chgData name="Plunkett Kelly" userId="cdb012e4-69ac-4954-928c-e33ec36f5eba" providerId="ADAL" clId="{CDF63375-607F-42DE-93F8-C478169F6FE4}" dt="2023-08-03T18:08:02.443" v="3156" actId="1035"/>
          <ac:spMkLst>
            <pc:docMk/>
            <pc:sldMk cId="3541093670" sldId="2147479686"/>
            <ac:spMk id="101" creationId="{5C729096-63C2-8804-F2FC-2FCD2A0C99B4}"/>
          </ac:spMkLst>
        </pc:spChg>
        <pc:spChg chg="mod">
          <ac:chgData name="Plunkett Kelly" userId="cdb012e4-69ac-4954-928c-e33ec36f5eba" providerId="ADAL" clId="{CDF63375-607F-42DE-93F8-C478169F6FE4}" dt="2023-08-03T18:08:02.443" v="3156" actId="1035"/>
          <ac:spMkLst>
            <pc:docMk/>
            <pc:sldMk cId="3541093670" sldId="2147479686"/>
            <ac:spMk id="102" creationId="{2B13F30C-6813-8737-5277-72C43D4D95A4}"/>
          </ac:spMkLst>
        </pc:spChg>
        <pc:spChg chg="mod">
          <ac:chgData name="Plunkett Kelly" userId="cdb012e4-69ac-4954-928c-e33ec36f5eba" providerId="ADAL" clId="{CDF63375-607F-42DE-93F8-C478169F6FE4}" dt="2023-08-03T18:08:02.443" v="3156" actId="1035"/>
          <ac:spMkLst>
            <pc:docMk/>
            <pc:sldMk cId="3541093670" sldId="2147479686"/>
            <ac:spMk id="103" creationId="{B46F246C-35B8-0DDD-1577-1D53F221E5B4}"/>
          </ac:spMkLst>
        </pc:spChg>
        <pc:spChg chg="mod">
          <ac:chgData name="Plunkett Kelly" userId="cdb012e4-69ac-4954-928c-e33ec36f5eba" providerId="ADAL" clId="{CDF63375-607F-42DE-93F8-C478169F6FE4}" dt="2023-08-03T18:08:02.443" v="3156" actId="1035"/>
          <ac:spMkLst>
            <pc:docMk/>
            <pc:sldMk cId="3541093670" sldId="2147479686"/>
            <ac:spMk id="104" creationId="{8B64C5AE-470E-6D9E-8792-0C3864DB8147}"/>
          </ac:spMkLst>
        </pc:spChg>
        <pc:spChg chg="mod">
          <ac:chgData name="Plunkett Kelly" userId="cdb012e4-69ac-4954-928c-e33ec36f5eba" providerId="ADAL" clId="{CDF63375-607F-42DE-93F8-C478169F6FE4}" dt="2023-08-03T18:08:02.443" v="3156" actId="1035"/>
          <ac:spMkLst>
            <pc:docMk/>
            <pc:sldMk cId="3541093670" sldId="2147479686"/>
            <ac:spMk id="105" creationId="{2A4AEBA5-59FA-9EDB-3DAB-F014E4F61CB6}"/>
          </ac:spMkLst>
        </pc:spChg>
        <pc:spChg chg="mod">
          <ac:chgData name="Plunkett Kelly" userId="cdb012e4-69ac-4954-928c-e33ec36f5eba" providerId="ADAL" clId="{CDF63375-607F-42DE-93F8-C478169F6FE4}" dt="2023-08-03T18:08:02.443" v="3156" actId="1035"/>
          <ac:spMkLst>
            <pc:docMk/>
            <pc:sldMk cId="3541093670" sldId="2147479686"/>
            <ac:spMk id="106" creationId="{997E2866-E837-26D6-9ECF-69A710BBF643}"/>
          </ac:spMkLst>
        </pc:spChg>
        <pc:spChg chg="mod">
          <ac:chgData name="Plunkett Kelly" userId="cdb012e4-69ac-4954-928c-e33ec36f5eba" providerId="ADAL" clId="{CDF63375-607F-42DE-93F8-C478169F6FE4}" dt="2023-08-03T18:08:02.443" v="3156" actId="1035"/>
          <ac:spMkLst>
            <pc:docMk/>
            <pc:sldMk cId="3541093670" sldId="2147479686"/>
            <ac:spMk id="107" creationId="{90C5C5B7-AEBB-CE24-ABD0-46C18DAE3095}"/>
          </ac:spMkLst>
        </pc:spChg>
        <pc:spChg chg="mod">
          <ac:chgData name="Plunkett Kelly" userId="cdb012e4-69ac-4954-928c-e33ec36f5eba" providerId="ADAL" clId="{CDF63375-607F-42DE-93F8-C478169F6FE4}" dt="2023-08-03T18:08:02.443" v="3156" actId="1035"/>
          <ac:spMkLst>
            <pc:docMk/>
            <pc:sldMk cId="3541093670" sldId="2147479686"/>
            <ac:spMk id="108" creationId="{21586E4C-9851-1970-1B15-1FEA71055767}"/>
          </ac:spMkLst>
        </pc:spChg>
        <pc:spChg chg="mod">
          <ac:chgData name="Plunkett Kelly" userId="cdb012e4-69ac-4954-928c-e33ec36f5eba" providerId="ADAL" clId="{CDF63375-607F-42DE-93F8-C478169F6FE4}" dt="2023-08-03T18:08:02.443" v="3156" actId="1035"/>
          <ac:spMkLst>
            <pc:docMk/>
            <pc:sldMk cId="3541093670" sldId="2147479686"/>
            <ac:spMk id="109" creationId="{5E5462A4-7B00-33CE-EF8C-AE3B3BE4A712}"/>
          </ac:spMkLst>
        </pc:spChg>
        <pc:spChg chg="mod">
          <ac:chgData name="Plunkett Kelly" userId="cdb012e4-69ac-4954-928c-e33ec36f5eba" providerId="ADAL" clId="{CDF63375-607F-42DE-93F8-C478169F6FE4}" dt="2023-08-03T18:08:02.443" v="3156" actId="1035"/>
          <ac:spMkLst>
            <pc:docMk/>
            <pc:sldMk cId="3541093670" sldId="2147479686"/>
            <ac:spMk id="110" creationId="{D80529A2-9633-EBBB-EF68-85255A750307}"/>
          </ac:spMkLst>
        </pc:spChg>
        <pc:spChg chg="mod">
          <ac:chgData name="Plunkett Kelly" userId="cdb012e4-69ac-4954-928c-e33ec36f5eba" providerId="ADAL" clId="{CDF63375-607F-42DE-93F8-C478169F6FE4}" dt="2023-08-03T18:08:02.443" v="3156" actId="1035"/>
          <ac:spMkLst>
            <pc:docMk/>
            <pc:sldMk cId="3541093670" sldId="2147479686"/>
            <ac:spMk id="111" creationId="{C994DDA1-048D-938E-7416-4695BD597DD5}"/>
          </ac:spMkLst>
        </pc:spChg>
        <pc:spChg chg="mod">
          <ac:chgData name="Plunkett Kelly" userId="cdb012e4-69ac-4954-928c-e33ec36f5eba" providerId="ADAL" clId="{CDF63375-607F-42DE-93F8-C478169F6FE4}" dt="2023-08-03T18:08:02.443" v="3156" actId="1035"/>
          <ac:spMkLst>
            <pc:docMk/>
            <pc:sldMk cId="3541093670" sldId="2147479686"/>
            <ac:spMk id="112" creationId="{4B2C7F4F-701B-6A9A-327A-378F47E6DFF2}"/>
          </ac:spMkLst>
        </pc:spChg>
        <pc:spChg chg="mod">
          <ac:chgData name="Plunkett Kelly" userId="cdb012e4-69ac-4954-928c-e33ec36f5eba" providerId="ADAL" clId="{CDF63375-607F-42DE-93F8-C478169F6FE4}" dt="2023-08-03T18:08:02.443" v="3156" actId="1035"/>
          <ac:spMkLst>
            <pc:docMk/>
            <pc:sldMk cId="3541093670" sldId="2147479686"/>
            <ac:spMk id="113" creationId="{31062669-3B35-3E28-05DA-C9367917B66D}"/>
          </ac:spMkLst>
        </pc:spChg>
        <pc:spChg chg="mod">
          <ac:chgData name="Plunkett Kelly" userId="cdb012e4-69ac-4954-928c-e33ec36f5eba" providerId="ADAL" clId="{CDF63375-607F-42DE-93F8-C478169F6FE4}" dt="2023-08-03T18:07:53.123" v="3142" actId="1035"/>
          <ac:spMkLst>
            <pc:docMk/>
            <pc:sldMk cId="3541093670" sldId="2147479686"/>
            <ac:spMk id="116" creationId="{61C1CB68-D0DE-7C78-196C-32FDC46BD155}"/>
          </ac:spMkLst>
        </pc:spChg>
        <pc:spChg chg="add del">
          <ac:chgData name="Plunkett Kelly" userId="cdb012e4-69ac-4954-928c-e33ec36f5eba" providerId="ADAL" clId="{CDF63375-607F-42DE-93F8-C478169F6FE4}" dt="2023-08-03T16:54:16.148" v="2193" actId="478"/>
          <ac:spMkLst>
            <pc:docMk/>
            <pc:sldMk cId="3541093670" sldId="2147479686"/>
            <ac:spMk id="117" creationId="{0B3DA14C-0755-0C39-E1EB-DCBED80F65A9}"/>
          </ac:spMkLst>
        </pc:spChg>
        <pc:spChg chg="add del">
          <ac:chgData name="Plunkett Kelly" userId="cdb012e4-69ac-4954-928c-e33ec36f5eba" providerId="ADAL" clId="{CDF63375-607F-42DE-93F8-C478169F6FE4}" dt="2023-08-03T16:54:16.148" v="2193" actId="478"/>
          <ac:spMkLst>
            <pc:docMk/>
            <pc:sldMk cId="3541093670" sldId="2147479686"/>
            <ac:spMk id="118" creationId="{32836F20-33F7-A702-0F3A-09AB2973CC05}"/>
          </ac:spMkLst>
        </pc:spChg>
        <pc:spChg chg="add del">
          <ac:chgData name="Plunkett Kelly" userId="cdb012e4-69ac-4954-928c-e33ec36f5eba" providerId="ADAL" clId="{CDF63375-607F-42DE-93F8-C478169F6FE4}" dt="2023-08-03T16:54:16.148" v="2193" actId="478"/>
          <ac:spMkLst>
            <pc:docMk/>
            <pc:sldMk cId="3541093670" sldId="2147479686"/>
            <ac:spMk id="119" creationId="{5CF474C4-A1E7-5C49-225B-F3E4C45724BE}"/>
          </ac:spMkLst>
        </pc:spChg>
        <pc:spChg chg="add del">
          <ac:chgData name="Plunkett Kelly" userId="cdb012e4-69ac-4954-928c-e33ec36f5eba" providerId="ADAL" clId="{CDF63375-607F-42DE-93F8-C478169F6FE4}" dt="2023-08-03T16:54:16.148" v="2193" actId="478"/>
          <ac:spMkLst>
            <pc:docMk/>
            <pc:sldMk cId="3541093670" sldId="2147479686"/>
            <ac:spMk id="120" creationId="{E3322F3E-007D-A0D1-CB09-59408E28A4F1}"/>
          </ac:spMkLst>
        </pc:spChg>
        <pc:spChg chg="add del">
          <ac:chgData name="Plunkett Kelly" userId="cdb012e4-69ac-4954-928c-e33ec36f5eba" providerId="ADAL" clId="{CDF63375-607F-42DE-93F8-C478169F6FE4}" dt="2023-08-03T16:54:16.148" v="2193" actId="478"/>
          <ac:spMkLst>
            <pc:docMk/>
            <pc:sldMk cId="3541093670" sldId="2147479686"/>
            <ac:spMk id="121" creationId="{6766DE7E-BA62-9AB8-64FE-7AF37269AB0C}"/>
          </ac:spMkLst>
        </pc:spChg>
        <pc:spChg chg="add del">
          <ac:chgData name="Plunkett Kelly" userId="cdb012e4-69ac-4954-928c-e33ec36f5eba" providerId="ADAL" clId="{CDF63375-607F-42DE-93F8-C478169F6FE4}" dt="2023-08-03T16:54:16.148" v="2193" actId="478"/>
          <ac:spMkLst>
            <pc:docMk/>
            <pc:sldMk cId="3541093670" sldId="2147479686"/>
            <ac:spMk id="122" creationId="{5C843442-DE37-40B5-AAD7-D9C9BDE984B0}"/>
          </ac:spMkLst>
        </pc:spChg>
        <pc:spChg chg="add del mod">
          <ac:chgData name="Plunkett Kelly" userId="cdb012e4-69ac-4954-928c-e33ec36f5eba" providerId="ADAL" clId="{CDF63375-607F-42DE-93F8-C478169F6FE4}" dt="2023-08-15T14:21:22.551" v="4967" actId="20577"/>
          <ac:spMkLst>
            <pc:docMk/>
            <pc:sldMk cId="3541093670" sldId="2147479686"/>
            <ac:spMk id="123" creationId="{B18721CB-771E-F56D-03AD-2C8005BA3E97}"/>
          </ac:spMkLst>
        </pc:spChg>
        <pc:grpChg chg="mod">
          <ac:chgData name="Plunkett Kelly" userId="cdb012e4-69ac-4954-928c-e33ec36f5eba" providerId="ADAL" clId="{CDF63375-607F-42DE-93F8-C478169F6FE4}" dt="2023-08-03T18:08:02.443" v="3156" actId="1035"/>
          <ac:grpSpMkLst>
            <pc:docMk/>
            <pc:sldMk cId="3541093670" sldId="2147479686"/>
            <ac:grpSpMk id="80" creationId="{AF971465-5C3B-9310-EED8-274D249C800C}"/>
          </ac:grpSpMkLst>
        </pc:grpChg>
        <pc:grpChg chg="mod">
          <ac:chgData name="Plunkett Kelly" userId="cdb012e4-69ac-4954-928c-e33ec36f5eba" providerId="ADAL" clId="{CDF63375-607F-42DE-93F8-C478169F6FE4}" dt="2023-08-03T18:08:02.443" v="3156" actId="1035"/>
          <ac:grpSpMkLst>
            <pc:docMk/>
            <pc:sldMk cId="3541093670" sldId="2147479686"/>
            <ac:grpSpMk id="85" creationId="{55ECD157-1720-0000-23D2-368299EC2CE8}"/>
          </ac:grpSpMkLst>
        </pc:grpChg>
        <pc:picChg chg="mod">
          <ac:chgData name="Plunkett Kelly" userId="cdb012e4-69ac-4954-928c-e33ec36f5eba" providerId="ADAL" clId="{CDF63375-607F-42DE-93F8-C478169F6FE4}" dt="2023-08-03T18:08:02.443" v="3156" actId="1035"/>
          <ac:picMkLst>
            <pc:docMk/>
            <pc:sldMk cId="3541093670" sldId="2147479686"/>
            <ac:picMk id="89" creationId="{02A98C7A-7BB8-5CB8-0F50-85F5E51C95E4}"/>
          </ac:picMkLst>
        </pc:picChg>
        <pc:picChg chg="mod">
          <ac:chgData name="Plunkett Kelly" userId="cdb012e4-69ac-4954-928c-e33ec36f5eba" providerId="ADAL" clId="{CDF63375-607F-42DE-93F8-C478169F6FE4}" dt="2023-08-03T18:08:02.443" v="3156" actId="1035"/>
          <ac:picMkLst>
            <pc:docMk/>
            <pc:sldMk cId="3541093670" sldId="2147479686"/>
            <ac:picMk id="90" creationId="{4C3AB228-68AB-BAF4-6A00-058686B0BE05}"/>
          </ac:picMkLst>
        </pc:picChg>
        <pc:cxnChg chg="mod">
          <ac:chgData name="Plunkett Kelly" userId="cdb012e4-69ac-4954-928c-e33ec36f5eba" providerId="ADAL" clId="{CDF63375-607F-42DE-93F8-C478169F6FE4}" dt="2023-08-03T18:08:02.443" v="3156" actId="1035"/>
          <ac:cxnSpMkLst>
            <pc:docMk/>
            <pc:sldMk cId="3541093670" sldId="2147479686"/>
            <ac:cxnSpMk id="92" creationId="{AD0F4EAE-DD7C-F2B7-319A-ED2A892EE923}"/>
          </ac:cxnSpMkLst>
        </pc:cxnChg>
        <pc:cxnChg chg="mod">
          <ac:chgData name="Plunkett Kelly" userId="cdb012e4-69ac-4954-928c-e33ec36f5eba" providerId="ADAL" clId="{CDF63375-607F-42DE-93F8-C478169F6FE4}" dt="2023-08-03T18:08:02.443" v="3156" actId="1035"/>
          <ac:cxnSpMkLst>
            <pc:docMk/>
            <pc:sldMk cId="3541093670" sldId="2147479686"/>
            <ac:cxnSpMk id="93" creationId="{B9DCB518-779A-8692-094F-E06DE4138A0E}"/>
          </ac:cxnSpMkLst>
        </pc:cxnChg>
      </pc:sldChg>
      <pc:sldChg chg="modSp mod">
        <pc:chgData name="Plunkett Kelly" userId="cdb012e4-69ac-4954-928c-e33ec36f5eba" providerId="ADAL" clId="{CDF63375-607F-42DE-93F8-C478169F6FE4}" dt="2023-08-14T11:29:34.737" v="4196" actId="20577"/>
        <pc:sldMkLst>
          <pc:docMk/>
          <pc:sldMk cId="3501663959" sldId="2147479688"/>
        </pc:sldMkLst>
        <pc:spChg chg="mod">
          <ac:chgData name="Plunkett Kelly" userId="cdb012e4-69ac-4954-928c-e33ec36f5eba" providerId="ADAL" clId="{CDF63375-607F-42DE-93F8-C478169F6FE4}" dt="2023-08-14T11:29:34.737" v="4196" actId="20577"/>
          <ac:spMkLst>
            <pc:docMk/>
            <pc:sldMk cId="3501663959" sldId="2147479688"/>
            <ac:spMk id="3" creationId="{D2FF72AF-9783-DFFC-9A7A-6D57999F6F0C}"/>
          </ac:spMkLst>
        </pc:spChg>
      </pc:sldChg>
      <pc:sldChg chg="modSp mod">
        <pc:chgData name="Plunkett Kelly" userId="cdb012e4-69ac-4954-928c-e33ec36f5eba" providerId="ADAL" clId="{CDF63375-607F-42DE-93F8-C478169F6FE4}" dt="2023-08-14T11:30:39.323" v="4222" actId="20577"/>
        <pc:sldMkLst>
          <pc:docMk/>
          <pc:sldMk cId="1313391205" sldId="2147479690"/>
        </pc:sldMkLst>
        <pc:spChg chg="mod">
          <ac:chgData name="Plunkett Kelly" userId="cdb012e4-69ac-4954-928c-e33ec36f5eba" providerId="ADAL" clId="{CDF63375-607F-42DE-93F8-C478169F6FE4}" dt="2023-08-14T11:30:39.323" v="4222" actId="20577"/>
          <ac:spMkLst>
            <pc:docMk/>
            <pc:sldMk cId="1313391205" sldId="2147479690"/>
            <ac:spMk id="30" creationId="{D93FAA2B-249B-226A-0A9D-DF62EFC7C39A}"/>
          </ac:spMkLst>
        </pc:spChg>
      </pc:sldChg>
      <pc:sldChg chg="modSp mod">
        <pc:chgData name="Plunkett Kelly" userId="cdb012e4-69ac-4954-928c-e33ec36f5eba" providerId="ADAL" clId="{CDF63375-607F-42DE-93F8-C478169F6FE4}" dt="2023-08-14T11:29:55.428" v="4204" actId="20577"/>
        <pc:sldMkLst>
          <pc:docMk/>
          <pc:sldMk cId="864295631" sldId="2147479692"/>
        </pc:sldMkLst>
        <pc:spChg chg="mod">
          <ac:chgData name="Plunkett Kelly" userId="cdb012e4-69ac-4954-928c-e33ec36f5eba" providerId="ADAL" clId="{CDF63375-607F-42DE-93F8-C478169F6FE4}" dt="2023-08-14T11:29:55.428" v="4204" actId="20577"/>
          <ac:spMkLst>
            <pc:docMk/>
            <pc:sldMk cId="864295631" sldId="2147479692"/>
            <ac:spMk id="21" creationId="{014E59DE-9899-4AB4-9565-64D35AE09C49}"/>
          </ac:spMkLst>
        </pc:spChg>
      </pc:sldChg>
      <pc:sldChg chg="modSp mod">
        <pc:chgData name="Plunkett Kelly" userId="cdb012e4-69ac-4954-928c-e33ec36f5eba" providerId="ADAL" clId="{CDF63375-607F-42DE-93F8-C478169F6FE4}" dt="2023-08-14T11:30:19.284" v="4214" actId="20577"/>
        <pc:sldMkLst>
          <pc:docMk/>
          <pc:sldMk cId="3766478621" sldId="2147479693"/>
        </pc:sldMkLst>
        <pc:spChg chg="mod">
          <ac:chgData name="Plunkett Kelly" userId="cdb012e4-69ac-4954-928c-e33ec36f5eba" providerId="ADAL" clId="{CDF63375-607F-42DE-93F8-C478169F6FE4}" dt="2023-08-14T11:30:19.284" v="4214" actId="20577"/>
          <ac:spMkLst>
            <pc:docMk/>
            <pc:sldMk cId="3766478621" sldId="2147479693"/>
            <ac:spMk id="30" creationId="{D93FAA2B-249B-226A-0A9D-DF62EFC7C39A}"/>
          </ac:spMkLst>
        </pc:spChg>
      </pc:sldChg>
      <pc:sldChg chg="modSp mod">
        <pc:chgData name="Plunkett Kelly" userId="cdb012e4-69ac-4954-928c-e33ec36f5eba" providerId="ADAL" clId="{CDF63375-607F-42DE-93F8-C478169F6FE4}" dt="2023-08-15T11:54:14.705" v="4595" actId="313"/>
        <pc:sldMkLst>
          <pc:docMk/>
          <pc:sldMk cId="4040668140" sldId="2147479694"/>
        </pc:sldMkLst>
        <pc:spChg chg="mod">
          <ac:chgData name="Plunkett Kelly" userId="cdb012e4-69ac-4954-928c-e33ec36f5eba" providerId="ADAL" clId="{CDF63375-607F-42DE-93F8-C478169F6FE4}" dt="2023-08-14T11:28:36.879" v="4184" actId="20577"/>
          <ac:spMkLst>
            <pc:docMk/>
            <pc:sldMk cId="4040668140" sldId="2147479694"/>
            <ac:spMk id="8" creationId="{7824D54C-15D2-467C-A016-166944D0781C}"/>
          </ac:spMkLst>
        </pc:spChg>
        <pc:spChg chg="mod">
          <ac:chgData name="Plunkett Kelly" userId="cdb012e4-69ac-4954-928c-e33ec36f5eba" providerId="ADAL" clId="{CDF63375-607F-42DE-93F8-C478169F6FE4}" dt="2023-08-15T11:54:14.705" v="4595" actId="313"/>
          <ac:spMkLst>
            <pc:docMk/>
            <pc:sldMk cId="4040668140" sldId="2147479694"/>
            <ac:spMk id="9" creationId="{6C153CAD-CB4E-4351-8C09-19E5BC5E2B25}"/>
          </ac:spMkLst>
        </pc:spChg>
      </pc:sldChg>
      <pc:sldChg chg="modSp mod">
        <pc:chgData name="Plunkett Kelly" userId="cdb012e4-69ac-4954-928c-e33ec36f5eba" providerId="ADAL" clId="{CDF63375-607F-42DE-93F8-C478169F6FE4}" dt="2023-08-14T11:30:14.213" v="4212" actId="20577"/>
        <pc:sldMkLst>
          <pc:docMk/>
          <pc:sldMk cId="1380860995" sldId="2147479695"/>
        </pc:sldMkLst>
        <pc:spChg chg="mod">
          <ac:chgData name="Plunkett Kelly" userId="cdb012e4-69ac-4954-928c-e33ec36f5eba" providerId="ADAL" clId="{CDF63375-607F-42DE-93F8-C478169F6FE4}" dt="2023-08-14T11:30:14.213" v="4212" actId="20577"/>
          <ac:spMkLst>
            <pc:docMk/>
            <pc:sldMk cId="1380860995" sldId="2147479695"/>
            <ac:spMk id="30" creationId="{D93FAA2B-249B-226A-0A9D-DF62EFC7C39A}"/>
          </ac:spMkLst>
        </pc:spChg>
      </pc:sldChg>
      <pc:sldChg chg="modSp del mod">
        <pc:chgData name="Plunkett Kelly" userId="cdb012e4-69ac-4954-928c-e33ec36f5eba" providerId="ADAL" clId="{CDF63375-607F-42DE-93F8-C478169F6FE4}" dt="2023-08-15T10:01:25.081" v="4399" actId="2696"/>
        <pc:sldMkLst>
          <pc:docMk/>
          <pc:sldMk cId="1378313707" sldId="2147479696"/>
        </pc:sldMkLst>
        <pc:spChg chg="mod">
          <ac:chgData name="Plunkett Kelly" userId="cdb012e4-69ac-4954-928c-e33ec36f5eba" providerId="ADAL" clId="{CDF63375-607F-42DE-93F8-C478169F6FE4}" dt="2023-08-15T09:58:55.863" v="4398" actId="5793"/>
          <ac:spMkLst>
            <pc:docMk/>
            <pc:sldMk cId="1378313707" sldId="2147479696"/>
            <ac:spMk id="4" creationId="{0B4CC64C-67DA-1ABD-ACB7-07CC600F8BCF}"/>
          </ac:spMkLst>
        </pc:spChg>
        <pc:spChg chg="mod">
          <ac:chgData name="Plunkett Kelly" userId="cdb012e4-69ac-4954-928c-e33ec36f5eba" providerId="ADAL" clId="{CDF63375-607F-42DE-93F8-C478169F6FE4}" dt="2023-08-14T11:31:19.804" v="4240" actId="20577"/>
          <ac:spMkLst>
            <pc:docMk/>
            <pc:sldMk cId="1378313707" sldId="2147479696"/>
            <ac:spMk id="8" creationId="{7824D54C-15D2-467C-A016-166944D0781C}"/>
          </ac:spMkLst>
        </pc:spChg>
        <pc:spChg chg="mod">
          <ac:chgData name="Plunkett Kelly" userId="cdb012e4-69ac-4954-928c-e33ec36f5eba" providerId="ADAL" clId="{CDF63375-607F-42DE-93F8-C478169F6FE4}" dt="2023-08-15T09:58:43.193" v="4397" actId="12"/>
          <ac:spMkLst>
            <pc:docMk/>
            <pc:sldMk cId="1378313707" sldId="2147479696"/>
            <ac:spMk id="134" creationId="{18E877D6-E49E-DFEA-F0B5-BB1AC0F95365}"/>
          </ac:spMkLst>
        </pc:spChg>
      </pc:sldChg>
      <pc:sldChg chg="modSp add del mod modShow">
        <pc:chgData name="Plunkett Kelly" userId="cdb012e4-69ac-4954-928c-e33ec36f5eba" providerId="ADAL" clId="{CDF63375-607F-42DE-93F8-C478169F6FE4}" dt="2023-08-14T11:35:10.404" v="4317" actId="47"/>
        <pc:sldMkLst>
          <pc:docMk/>
          <pc:sldMk cId="1557118333" sldId="2147479699"/>
        </pc:sldMkLst>
        <pc:spChg chg="mod">
          <ac:chgData name="Plunkett Kelly" userId="cdb012e4-69ac-4954-928c-e33ec36f5eba" providerId="ADAL" clId="{CDF63375-607F-42DE-93F8-C478169F6FE4}" dt="2023-08-14T11:33:58.370" v="4308" actId="20577"/>
          <ac:spMkLst>
            <pc:docMk/>
            <pc:sldMk cId="1557118333" sldId="2147479699"/>
            <ac:spMk id="8" creationId="{7824D54C-15D2-467C-A016-166944D0781C}"/>
          </ac:spMkLst>
        </pc:spChg>
      </pc:sldChg>
      <pc:sldChg chg="delSp modSp mod">
        <pc:chgData name="Plunkett Kelly" userId="cdb012e4-69ac-4954-928c-e33ec36f5eba" providerId="ADAL" clId="{CDF63375-607F-42DE-93F8-C478169F6FE4}" dt="2023-08-14T11:33:40.442" v="4300" actId="478"/>
        <pc:sldMkLst>
          <pc:docMk/>
          <pc:sldMk cId="1787325071" sldId="2147479705"/>
        </pc:sldMkLst>
        <pc:spChg chg="del">
          <ac:chgData name="Plunkett Kelly" userId="cdb012e4-69ac-4954-928c-e33ec36f5eba" providerId="ADAL" clId="{CDF63375-607F-42DE-93F8-C478169F6FE4}" dt="2023-08-14T11:33:40.442" v="4300" actId="478"/>
          <ac:spMkLst>
            <pc:docMk/>
            <pc:sldMk cId="1787325071" sldId="2147479705"/>
            <ac:spMk id="2" creationId="{35CD8BED-68CF-D983-C8AF-A9AD64B592B0}"/>
          </ac:spMkLst>
        </pc:spChg>
        <pc:spChg chg="mod">
          <ac:chgData name="Plunkett Kelly" userId="cdb012e4-69ac-4954-928c-e33ec36f5eba" providerId="ADAL" clId="{CDF63375-607F-42DE-93F8-C478169F6FE4}" dt="2023-08-14T11:33:34.694" v="4299" actId="20577"/>
          <ac:spMkLst>
            <pc:docMk/>
            <pc:sldMk cId="1787325071" sldId="2147479705"/>
            <ac:spMk id="4" creationId="{E432C490-8501-4DEB-9800-36DD8F00D9DA}"/>
          </ac:spMkLst>
        </pc:spChg>
        <pc:spChg chg="mod">
          <ac:chgData name="Plunkett Kelly" userId="cdb012e4-69ac-4954-928c-e33ec36f5eba" providerId="ADAL" clId="{CDF63375-607F-42DE-93F8-C478169F6FE4}" dt="2023-08-14T11:33:28.263" v="4285" actId="20577"/>
          <ac:spMkLst>
            <pc:docMk/>
            <pc:sldMk cId="1787325071" sldId="2147479705"/>
            <ac:spMk id="5" creationId="{82ACE101-9079-4B28-90D1-41FFC709BAB0}"/>
          </ac:spMkLst>
        </pc:spChg>
      </pc:sldChg>
    </pc:docChg>
  </pc:docChgLst>
  <pc:docChgLst>
    <pc:chgData name="Norman A Steyn" userId="S::norman.steyn@ie.ey.com::389782e4-40a0-472c-8c00-dad424df4c0b" providerId="AD" clId="Web-{BA36D6E4-3E28-FD38-BF49-26867A0CB9E2}"/>
    <pc:docChg chg="addSld delSld modSld modSection">
      <pc:chgData name="Norman A Steyn" userId="S::norman.steyn@ie.ey.com::389782e4-40a0-472c-8c00-dad424df4c0b" providerId="AD" clId="Web-{BA36D6E4-3E28-FD38-BF49-26867A0CB9E2}" dt="2023-04-25T10:54:15.389" v="4" actId="20577"/>
      <pc:docMkLst>
        <pc:docMk/>
      </pc:docMkLst>
      <pc:sldChg chg="modSp">
        <pc:chgData name="Norman A Steyn" userId="S::norman.steyn@ie.ey.com::389782e4-40a0-472c-8c00-dad424df4c0b" providerId="AD" clId="Web-{BA36D6E4-3E28-FD38-BF49-26867A0CB9E2}" dt="2023-04-25T10:54:15.389" v="4" actId="20577"/>
        <pc:sldMkLst>
          <pc:docMk/>
          <pc:sldMk cId="3373854854" sldId="2147479554"/>
        </pc:sldMkLst>
        <pc:spChg chg="mod">
          <ac:chgData name="Norman A Steyn" userId="S::norman.steyn@ie.ey.com::389782e4-40a0-472c-8c00-dad424df4c0b" providerId="AD" clId="Web-{BA36D6E4-3E28-FD38-BF49-26867A0CB9E2}" dt="2023-04-25T10:54:15.389" v="4" actId="20577"/>
          <ac:spMkLst>
            <pc:docMk/>
            <pc:sldMk cId="3373854854" sldId="2147479554"/>
            <ac:spMk id="6" creationId="{3299D6A3-B9FB-CC6D-6AA5-11C18042DA3A}"/>
          </ac:spMkLst>
        </pc:spChg>
      </pc:sldChg>
      <pc:sldChg chg="add del">
        <pc:chgData name="Norman A Steyn" userId="S::norman.steyn@ie.ey.com::389782e4-40a0-472c-8c00-dad424df4c0b" providerId="AD" clId="Web-{BA36D6E4-3E28-FD38-BF49-26867A0CB9E2}" dt="2023-04-25T10:14:50.934" v="1"/>
        <pc:sldMkLst>
          <pc:docMk/>
          <pc:sldMk cId="2293022892" sldId="2147479569"/>
        </pc:sldMkLst>
      </pc:sldChg>
    </pc:docChg>
  </pc:docChgLst>
  <pc:docChgLst>
    <pc:chgData name="Plunkett Kelly" userId="cdb012e4-69ac-4954-928c-e33ec36f5eba" providerId="ADAL" clId="{2A079017-6789-4E78-BFB4-5FB800F73343}"/>
    <pc:docChg chg="undo custSel addSld delSld modSld sldOrd modSection">
      <pc:chgData name="Plunkett Kelly" userId="cdb012e4-69ac-4954-928c-e33ec36f5eba" providerId="ADAL" clId="{2A079017-6789-4E78-BFB4-5FB800F73343}" dt="2023-08-03T12:00:58.635" v="11122" actId="20577"/>
      <pc:docMkLst>
        <pc:docMk/>
      </pc:docMkLst>
      <pc:sldChg chg="modSp mod">
        <pc:chgData name="Plunkett Kelly" userId="cdb012e4-69ac-4954-928c-e33ec36f5eba" providerId="ADAL" clId="{2A079017-6789-4E78-BFB4-5FB800F73343}" dt="2023-07-24T09:50:55.999" v="15" actId="20577"/>
        <pc:sldMkLst>
          <pc:docMk/>
          <pc:sldMk cId="3505510019" sldId="2142535109"/>
        </pc:sldMkLst>
        <pc:spChg chg="mod">
          <ac:chgData name="Plunkett Kelly" userId="cdb012e4-69ac-4954-928c-e33ec36f5eba" providerId="ADAL" clId="{2A079017-6789-4E78-BFB4-5FB800F73343}" dt="2023-07-24T09:50:55.999" v="15" actId="20577"/>
          <ac:spMkLst>
            <pc:docMk/>
            <pc:sldMk cId="3505510019" sldId="2142535109"/>
            <ac:spMk id="3" creationId="{54653C93-EE7D-BEDF-D2B4-67B3FBB2F9ED}"/>
          </ac:spMkLst>
        </pc:spChg>
      </pc:sldChg>
      <pc:sldChg chg="addSp modSp mod">
        <pc:chgData name="Plunkett Kelly" userId="cdb012e4-69ac-4954-928c-e33ec36f5eba" providerId="ADAL" clId="{2A079017-6789-4E78-BFB4-5FB800F73343}" dt="2023-08-03T10:51:02.496" v="10217" actId="20577"/>
        <pc:sldMkLst>
          <pc:docMk/>
          <pc:sldMk cId="1500833212" sldId="2142535223"/>
        </pc:sldMkLst>
        <pc:spChg chg="mod">
          <ac:chgData name="Plunkett Kelly" userId="cdb012e4-69ac-4954-928c-e33ec36f5eba" providerId="ADAL" clId="{2A079017-6789-4E78-BFB4-5FB800F73343}" dt="2023-08-03T10:47:12.866" v="10200" actId="20577"/>
          <ac:spMkLst>
            <pc:docMk/>
            <pc:sldMk cId="1500833212" sldId="2142535223"/>
            <ac:spMk id="2" creationId="{90A2479D-7BB0-416C-B8C6-6F8A651B4A6C}"/>
          </ac:spMkLst>
        </pc:spChg>
        <pc:spChg chg="add mod">
          <ac:chgData name="Plunkett Kelly" userId="cdb012e4-69ac-4954-928c-e33ec36f5eba" providerId="ADAL" clId="{2A079017-6789-4E78-BFB4-5FB800F73343}" dt="2023-08-03T10:47:46.379" v="10203" actId="20577"/>
          <ac:spMkLst>
            <pc:docMk/>
            <pc:sldMk cId="1500833212" sldId="2142535223"/>
            <ac:spMk id="3" creationId="{A4AC49E5-8716-5125-52EB-A87A1D07A368}"/>
          </ac:spMkLst>
        </pc:spChg>
        <pc:spChg chg="add mod">
          <ac:chgData name="Plunkett Kelly" userId="cdb012e4-69ac-4954-928c-e33ec36f5eba" providerId="ADAL" clId="{2A079017-6789-4E78-BFB4-5FB800F73343}" dt="2023-07-25T11:08:28.506" v="585" actId="20577"/>
          <ac:spMkLst>
            <pc:docMk/>
            <pc:sldMk cId="1500833212" sldId="2142535223"/>
            <ac:spMk id="4" creationId="{DC2C256F-4E7C-8633-B9C3-36E2B29CE1DB}"/>
          </ac:spMkLst>
        </pc:spChg>
        <pc:spChg chg="add mod">
          <ac:chgData name="Plunkett Kelly" userId="cdb012e4-69ac-4954-928c-e33ec36f5eba" providerId="ADAL" clId="{2A079017-6789-4E78-BFB4-5FB800F73343}" dt="2023-07-25T11:13:05.899" v="824" actId="20577"/>
          <ac:spMkLst>
            <pc:docMk/>
            <pc:sldMk cId="1500833212" sldId="2142535223"/>
            <ac:spMk id="5" creationId="{5DDD6489-C939-E2BF-ABDD-EF9E41FC8CF1}"/>
          </ac:spMkLst>
        </pc:spChg>
        <pc:spChg chg="add mod">
          <ac:chgData name="Plunkett Kelly" userId="cdb012e4-69ac-4954-928c-e33ec36f5eba" providerId="ADAL" clId="{2A079017-6789-4E78-BFB4-5FB800F73343}" dt="2023-07-24T10:41:06.168" v="16"/>
          <ac:spMkLst>
            <pc:docMk/>
            <pc:sldMk cId="1500833212" sldId="2142535223"/>
            <ac:spMk id="6" creationId="{EE8F8DA9-9BD3-71FD-4222-7F9D96D073C1}"/>
          </ac:spMkLst>
        </pc:spChg>
        <pc:spChg chg="add mod">
          <ac:chgData name="Plunkett Kelly" userId="cdb012e4-69ac-4954-928c-e33ec36f5eba" providerId="ADAL" clId="{2A079017-6789-4E78-BFB4-5FB800F73343}" dt="2023-07-25T11:09:47.073" v="671" actId="20577"/>
          <ac:spMkLst>
            <pc:docMk/>
            <pc:sldMk cId="1500833212" sldId="2142535223"/>
            <ac:spMk id="7" creationId="{63DDE9F0-82BC-4455-AF3E-5ABAA4DE5B29}"/>
          </ac:spMkLst>
        </pc:spChg>
        <pc:spChg chg="add mod">
          <ac:chgData name="Plunkett Kelly" userId="cdb012e4-69ac-4954-928c-e33ec36f5eba" providerId="ADAL" clId="{2A079017-6789-4E78-BFB4-5FB800F73343}" dt="2023-08-03T10:51:02.496" v="10217" actId="20577"/>
          <ac:spMkLst>
            <pc:docMk/>
            <pc:sldMk cId="1500833212" sldId="2142535223"/>
            <ac:spMk id="9" creationId="{3CB27E45-D1C8-087D-E0A8-DF38FC3725B5}"/>
          </ac:spMkLst>
        </pc:spChg>
        <pc:spChg chg="add mod">
          <ac:chgData name="Plunkett Kelly" userId="cdb012e4-69ac-4954-928c-e33ec36f5eba" providerId="ADAL" clId="{2A079017-6789-4E78-BFB4-5FB800F73343}" dt="2023-07-24T10:41:06.168" v="16"/>
          <ac:spMkLst>
            <pc:docMk/>
            <pc:sldMk cId="1500833212" sldId="2142535223"/>
            <ac:spMk id="10" creationId="{BEB5A996-4551-CEE8-AFD6-49465D38EB69}"/>
          </ac:spMkLst>
        </pc:spChg>
        <pc:spChg chg="add mod">
          <ac:chgData name="Plunkett Kelly" userId="cdb012e4-69ac-4954-928c-e33ec36f5eba" providerId="ADAL" clId="{2A079017-6789-4E78-BFB4-5FB800F73343}" dt="2023-07-24T10:41:06.168" v="16"/>
          <ac:spMkLst>
            <pc:docMk/>
            <pc:sldMk cId="1500833212" sldId="2142535223"/>
            <ac:spMk id="11" creationId="{397DD911-8EC7-C5BC-C42B-FBE1006CF149}"/>
          </ac:spMkLst>
        </pc:spChg>
      </pc:sldChg>
      <pc:sldChg chg="del">
        <pc:chgData name="Plunkett Kelly" userId="cdb012e4-69ac-4954-928c-e33ec36f5eba" providerId="ADAL" clId="{2A079017-6789-4E78-BFB4-5FB800F73343}" dt="2023-07-26T09:05:28.109" v="1168" actId="47"/>
        <pc:sldMkLst>
          <pc:docMk/>
          <pc:sldMk cId="744641018" sldId="2142535226"/>
        </pc:sldMkLst>
      </pc:sldChg>
      <pc:sldChg chg="delSp modSp mod">
        <pc:chgData name="Plunkett Kelly" userId="cdb012e4-69ac-4954-928c-e33ec36f5eba" providerId="ADAL" clId="{2A079017-6789-4E78-BFB4-5FB800F73343}" dt="2023-07-25T11:32:56.169" v="999" actId="20577"/>
        <pc:sldMkLst>
          <pc:docMk/>
          <pc:sldMk cId="3147662304" sldId="2147473015"/>
        </pc:sldMkLst>
        <pc:spChg chg="mod">
          <ac:chgData name="Plunkett Kelly" userId="cdb012e4-69ac-4954-928c-e33ec36f5eba" providerId="ADAL" clId="{2A079017-6789-4E78-BFB4-5FB800F73343}" dt="2023-07-25T09:00:07.283" v="245" actId="1035"/>
          <ac:spMkLst>
            <pc:docMk/>
            <pc:sldMk cId="3147662304" sldId="2147473015"/>
            <ac:spMk id="2" creationId="{891449F1-373B-460D-9406-98872BA5A64C}"/>
          </ac:spMkLst>
        </pc:spChg>
        <pc:spChg chg="mod">
          <ac:chgData name="Plunkett Kelly" userId="cdb012e4-69ac-4954-928c-e33ec36f5eba" providerId="ADAL" clId="{2A079017-6789-4E78-BFB4-5FB800F73343}" dt="2023-07-25T11:32:56.169" v="999" actId="20577"/>
          <ac:spMkLst>
            <pc:docMk/>
            <pc:sldMk cId="3147662304" sldId="2147473015"/>
            <ac:spMk id="8" creationId="{7824D54C-15D2-467C-A016-166944D0781C}"/>
          </ac:spMkLst>
        </pc:spChg>
        <pc:picChg chg="del">
          <ac:chgData name="Plunkett Kelly" userId="cdb012e4-69ac-4954-928c-e33ec36f5eba" providerId="ADAL" clId="{2A079017-6789-4E78-BFB4-5FB800F73343}" dt="2023-07-25T08:57:39.371" v="216" actId="478"/>
          <ac:picMkLst>
            <pc:docMk/>
            <pc:sldMk cId="3147662304" sldId="2147473015"/>
            <ac:picMk id="50" creationId="{3B35613A-7AC7-4C36-B270-2EC60CEB0776}"/>
          </ac:picMkLst>
        </pc:picChg>
      </pc:sldChg>
      <pc:sldChg chg="delSp modSp mod">
        <pc:chgData name="Plunkett Kelly" userId="cdb012e4-69ac-4954-928c-e33ec36f5eba" providerId="ADAL" clId="{2A079017-6789-4E78-BFB4-5FB800F73343}" dt="2023-07-29T11:20:47.389" v="4145"/>
        <pc:sldMkLst>
          <pc:docMk/>
          <pc:sldMk cId="3348310596" sldId="2147473016"/>
        </pc:sldMkLst>
        <pc:spChg chg="mod">
          <ac:chgData name="Plunkett Kelly" userId="cdb012e4-69ac-4954-928c-e33ec36f5eba" providerId="ADAL" clId="{2A079017-6789-4E78-BFB4-5FB800F73343}" dt="2023-07-29T11:20:47.389" v="4145"/>
          <ac:spMkLst>
            <pc:docMk/>
            <pc:sldMk cId="3348310596" sldId="2147473016"/>
            <ac:spMk id="8" creationId="{7824D54C-15D2-467C-A016-166944D0781C}"/>
          </ac:spMkLst>
        </pc:spChg>
        <pc:picChg chg="del">
          <ac:chgData name="Plunkett Kelly" userId="cdb012e4-69ac-4954-928c-e33ec36f5eba" providerId="ADAL" clId="{2A079017-6789-4E78-BFB4-5FB800F73343}" dt="2023-07-25T08:57:48.873" v="217" actId="478"/>
          <ac:picMkLst>
            <pc:docMk/>
            <pc:sldMk cId="3348310596" sldId="2147473016"/>
            <ac:picMk id="49" creationId="{1E2AF0D8-56F9-43DF-8888-B7422904981C}"/>
          </ac:picMkLst>
        </pc:picChg>
      </pc:sldChg>
      <pc:sldChg chg="addSp delSp modSp mod">
        <pc:chgData name="Plunkett Kelly" userId="cdb012e4-69ac-4954-928c-e33ec36f5eba" providerId="ADAL" clId="{2A079017-6789-4E78-BFB4-5FB800F73343}" dt="2023-08-03T11:27:58.360" v="10620" actId="20577"/>
        <pc:sldMkLst>
          <pc:docMk/>
          <pc:sldMk cId="3987827024" sldId="2147473095"/>
        </pc:sldMkLst>
        <pc:spChg chg="mod">
          <ac:chgData name="Plunkett Kelly" userId="cdb012e4-69ac-4954-928c-e33ec36f5eba" providerId="ADAL" clId="{2A079017-6789-4E78-BFB4-5FB800F73343}" dt="2023-08-03T10:49:07.371" v="10204"/>
          <ac:spMkLst>
            <pc:docMk/>
            <pc:sldMk cId="3987827024" sldId="2147473095"/>
            <ac:spMk id="2" creationId="{90A2479D-7BB0-416C-B8C6-6F8A651B4A6C}"/>
          </ac:spMkLst>
        </pc:spChg>
        <pc:spChg chg="add del mod">
          <ac:chgData name="Plunkett Kelly" userId="cdb012e4-69ac-4954-928c-e33ec36f5eba" providerId="ADAL" clId="{2A079017-6789-4E78-BFB4-5FB800F73343}" dt="2023-08-03T10:49:26.250" v="10207" actId="478"/>
          <ac:spMkLst>
            <pc:docMk/>
            <pc:sldMk cId="3987827024" sldId="2147473095"/>
            <ac:spMk id="4" creationId="{98583BC2-662B-9BC9-950D-22ED5E3D1EC9}"/>
          </ac:spMkLst>
        </pc:spChg>
        <pc:spChg chg="add mod">
          <ac:chgData name="Plunkett Kelly" userId="cdb012e4-69ac-4954-928c-e33ec36f5eba" providerId="ADAL" clId="{2A079017-6789-4E78-BFB4-5FB800F73343}" dt="2023-08-03T10:49:31.225" v="10208" actId="1076"/>
          <ac:spMkLst>
            <pc:docMk/>
            <pc:sldMk cId="3987827024" sldId="2147473095"/>
            <ac:spMk id="5" creationId="{806267F7-55F9-8EB2-52FF-6078763F4F6F}"/>
          </ac:spMkLst>
        </pc:spChg>
        <pc:spChg chg="del">
          <ac:chgData name="Plunkett Kelly" userId="cdb012e4-69ac-4954-928c-e33ec36f5eba" providerId="ADAL" clId="{2A079017-6789-4E78-BFB4-5FB800F73343}" dt="2023-08-03T10:49:21.967" v="10205" actId="478"/>
          <ac:spMkLst>
            <pc:docMk/>
            <pc:sldMk cId="3987827024" sldId="2147473095"/>
            <ac:spMk id="8" creationId="{7824D54C-15D2-467C-A016-166944D0781C}"/>
          </ac:spMkLst>
        </pc:spChg>
        <pc:spChg chg="mod">
          <ac:chgData name="Plunkett Kelly" userId="cdb012e4-69ac-4954-928c-e33ec36f5eba" providerId="ADAL" clId="{2A079017-6789-4E78-BFB4-5FB800F73343}" dt="2023-08-03T10:53:49.442" v="10303"/>
          <ac:spMkLst>
            <pc:docMk/>
            <pc:sldMk cId="3987827024" sldId="2147473095"/>
            <ac:spMk id="13" creationId="{636F3126-F165-FDC1-45E5-02BE7CF277D9}"/>
          </ac:spMkLst>
        </pc:spChg>
        <pc:spChg chg="mod">
          <ac:chgData name="Plunkett Kelly" userId="cdb012e4-69ac-4954-928c-e33ec36f5eba" providerId="ADAL" clId="{2A079017-6789-4E78-BFB4-5FB800F73343}" dt="2023-08-03T10:50:21.355" v="10212" actId="2711"/>
          <ac:spMkLst>
            <pc:docMk/>
            <pc:sldMk cId="3987827024" sldId="2147473095"/>
            <ac:spMk id="14" creationId="{7483C35A-FFCD-4BDC-86DA-68091FD80D19}"/>
          </ac:spMkLst>
        </pc:spChg>
        <pc:spChg chg="mod">
          <ac:chgData name="Plunkett Kelly" userId="cdb012e4-69ac-4954-928c-e33ec36f5eba" providerId="ADAL" clId="{2A079017-6789-4E78-BFB4-5FB800F73343}" dt="2023-08-03T10:55:48.153" v="10310" actId="113"/>
          <ac:spMkLst>
            <pc:docMk/>
            <pc:sldMk cId="3987827024" sldId="2147473095"/>
            <ac:spMk id="15" creationId="{34790857-0E6B-498B-A0A0-0E26D92FB17A}"/>
          </ac:spMkLst>
        </pc:spChg>
        <pc:spChg chg="mod">
          <ac:chgData name="Plunkett Kelly" userId="cdb012e4-69ac-4954-928c-e33ec36f5eba" providerId="ADAL" clId="{2A079017-6789-4E78-BFB4-5FB800F73343}" dt="2023-08-03T10:55:36.359" v="10308" actId="255"/>
          <ac:spMkLst>
            <pc:docMk/>
            <pc:sldMk cId="3987827024" sldId="2147473095"/>
            <ac:spMk id="16" creationId="{F9187787-2ECD-4EC5-AE0A-B5ECF722AF41}"/>
          </ac:spMkLst>
        </pc:spChg>
        <pc:spChg chg="mod">
          <ac:chgData name="Plunkett Kelly" userId="cdb012e4-69ac-4954-928c-e33ec36f5eba" providerId="ADAL" clId="{2A079017-6789-4E78-BFB4-5FB800F73343}" dt="2023-08-03T10:58:50.307" v="10492" actId="20577"/>
          <ac:spMkLst>
            <pc:docMk/>
            <pc:sldMk cId="3987827024" sldId="2147473095"/>
            <ac:spMk id="17" creationId="{ADD56C1B-C979-4732-A114-6F2187BB5E15}"/>
          </ac:spMkLst>
        </pc:spChg>
        <pc:spChg chg="mod">
          <ac:chgData name="Plunkett Kelly" userId="cdb012e4-69ac-4954-928c-e33ec36f5eba" providerId="ADAL" clId="{2A079017-6789-4E78-BFB4-5FB800F73343}" dt="2023-08-03T11:00:06.954" v="10503" actId="6549"/>
          <ac:spMkLst>
            <pc:docMk/>
            <pc:sldMk cId="3987827024" sldId="2147473095"/>
            <ac:spMk id="19" creationId="{8C1FD6F4-9AA7-0DCE-BBF9-69D2EC3B9008}"/>
          </ac:spMkLst>
        </pc:spChg>
        <pc:spChg chg="mod">
          <ac:chgData name="Plunkett Kelly" userId="cdb012e4-69ac-4954-928c-e33ec36f5eba" providerId="ADAL" clId="{2A079017-6789-4E78-BFB4-5FB800F73343}" dt="2023-08-03T10:50:45.257" v="10215" actId="2711"/>
          <ac:spMkLst>
            <pc:docMk/>
            <pc:sldMk cId="3987827024" sldId="2147473095"/>
            <ac:spMk id="20" creationId="{EEA738DE-84E8-8598-E4FC-B5BA45A78882}"/>
          </ac:spMkLst>
        </pc:spChg>
        <pc:spChg chg="mod">
          <ac:chgData name="Plunkett Kelly" userId="cdb012e4-69ac-4954-928c-e33ec36f5eba" providerId="ADAL" clId="{2A079017-6789-4E78-BFB4-5FB800F73343}" dt="2023-08-03T11:04:47.895" v="10586" actId="20577"/>
          <ac:spMkLst>
            <pc:docMk/>
            <pc:sldMk cId="3987827024" sldId="2147473095"/>
            <ac:spMk id="21" creationId="{E7D4AE69-A60A-47B4-AE01-3E3509FC1AD1}"/>
          </ac:spMkLst>
        </pc:spChg>
        <pc:spChg chg="mod">
          <ac:chgData name="Plunkett Kelly" userId="cdb012e4-69ac-4954-928c-e33ec36f5eba" providerId="ADAL" clId="{2A079017-6789-4E78-BFB4-5FB800F73343}" dt="2023-08-03T11:27:58.360" v="10620" actId="20577"/>
          <ac:spMkLst>
            <pc:docMk/>
            <pc:sldMk cId="3987827024" sldId="2147473095"/>
            <ac:spMk id="22" creationId="{4C29D2F3-C1AE-4B9D-A419-A8C571F10F3B}"/>
          </ac:spMkLst>
        </pc:spChg>
        <pc:spChg chg="mod">
          <ac:chgData name="Plunkett Kelly" userId="cdb012e4-69ac-4954-928c-e33ec36f5eba" providerId="ADAL" clId="{2A079017-6789-4E78-BFB4-5FB800F73343}" dt="2023-08-03T10:56:04.910" v="10312" actId="113"/>
          <ac:spMkLst>
            <pc:docMk/>
            <pc:sldMk cId="3987827024" sldId="2147473095"/>
            <ac:spMk id="23" creationId="{8638D428-82F3-4E25-A241-8900AD9382F4}"/>
          </ac:spMkLst>
        </pc:spChg>
        <pc:spChg chg="mod">
          <ac:chgData name="Plunkett Kelly" userId="cdb012e4-69ac-4954-928c-e33ec36f5eba" providerId="ADAL" clId="{2A079017-6789-4E78-BFB4-5FB800F73343}" dt="2023-08-03T11:27:37.485" v="10612" actId="20577"/>
          <ac:spMkLst>
            <pc:docMk/>
            <pc:sldMk cId="3987827024" sldId="2147473095"/>
            <ac:spMk id="24" creationId="{A3F1693A-3496-44D4-A75A-AE9F32F22190}"/>
          </ac:spMkLst>
        </pc:spChg>
        <pc:spChg chg="mod">
          <ac:chgData name="Plunkett Kelly" userId="cdb012e4-69ac-4954-928c-e33ec36f5eba" providerId="ADAL" clId="{2A079017-6789-4E78-BFB4-5FB800F73343}" dt="2023-08-03T10:50:45.257" v="10215" actId="2711"/>
          <ac:spMkLst>
            <pc:docMk/>
            <pc:sldMk cId="3987827024" sldId="2147473095"/>
            <ac:spMk id="25" creationId="{354B584B-A525-30FD-3039-BB24767C3CE4}"/>
          </ac:spMkLst>
        </pc:spChg>
      </pc:sldChg>
      <pc:sldChg chg="modSp mod">
        <pc:chgData name="Plunkett Kelly" userId="cdb012e4-69ac-4954-928c-e33ec36f5eba" providerId="ADAL" clId="{2A079017-6789-4E78-BFB4-5FB800F73343}" dt="2023-08-03T09:08:01.397" v="10162" actId="20577"/>
        <pc:sldMkLst>
          <pc:docMk/>
          <pc:sldMk cId="2703490332" sldId="2147473150"/>
        </pc:sldMkLst>
        <pc:spChg chg="mod">
          <ac:chgData name="Plunkett Kelly" userId="cdb012e4-69ac-4954-928c-e33ec36f5eba" providerId="ADAL" clId="{2A079017-6789-4E78-BFB4-5FB800F73343}" dt="2023-08-03T09:08:01.397" v="10162" actId="20577"/>
          <ac:spMkLst>
            <pc:docMk/>
            <pc:sldMk cId="2703490332" sldId="2147473150"/>
            <ac:spMk id="14" creationId="{B4783593-C7C6-BC3F-9B70-D8CAB693396E}"/>
          </ac:spMkLst>
        </pc:spChg>
      </pc:sldChg>
      <pc:sldChg chg="modSp mod modCm">
        <pc:chgData name="Plunkett Kelly" userId="cdb012e4-69ac-4954-928c-e33ec36f5eba" providerId="ADAL" clId="{2A079017-6789-4E78-BFB4-5FB800F73343}" dt="2023-08-03T11:35:32.881" v="10647" actId="20577"/>
        <pc:sldMkLst>
          <pc:docMk/>
          <pc:sldMk cId="1370127621" sldId="2147479552"/>
        </pc:sldMkLst>
        <pc:spChg chg="mod">
          <ac:chgData name="Plunkett Kelly" userId="cdb012e4-69ac-4954-928c-e33ec36f5eba" providerId="ADAL" clId="{2A079017-6789-4E78-BFB4-5FB800F73343}" dt="2023-08-03T11:35:32.881" v="10647" actId="20577"/>
          <ac:spMkLst>
            <pc:docMk/>
            <pc:sldMk cId="1370127621" sldId="2147479552"/>
            <ac:spMk id="20" creationId="{4233EFC8-C57D-439B-97EA-634EC2902006}"/>
          </ac:spMkLst>
        </pc:spChg>
      </pc:sldChg>
      <pc:sldChg chg="addSp delSp modSp del mod">
        <pc:chgData name="Plunkett Kelly" userId="cdb012e4-69ac-4954-928c-e33ec36f5eba" providerId="ADAL" clId="{2A079017-6789-4E78-BFB4-5FB800F73343}" dt="2023-07-31T09:26:22.428" v="7025" actId="2696"/>
        <pc:sldMkLst>
          <pc:docMk/>
          <pc:sldMk cId="1445273778" sldId="2147479553"/>
        </pc:sldMkLst>
        <pc:spChg chg="add del mod">
          <ac:chgData name="Plunkett Kelly" userId="cdb012e4-69ac-4954-928c-e33ec36f5eba" providerId="ADAL" clId="{2A079017-6789-4E78-BFB4-5FB800F73343}" dt="2023-07-29T16:56:09.191" v="6796" actId="478"/>
          <ac:spMkLst>
            <pc:docMk/>
            <pc:sldMk cId="1445273778" sldId="2147479553"/>
            <ac:spMk id="2" creationId="{72FB17D6-491B-CC42-AF73-20D2C7A15246}"/>
          </ac:spMkLst>
        </pc:spChg>
        <pc:spChg chg="mod">
          <ac:chgData name="Plunkett Kelly" userId="cdb012e4-69ac-4954-928c-e33ec36f5eba" providerId="ADAL" clId="{2A079017-6789-4E78-BFB4-5FB800F73343}" dt="2023-07-31T09:26:15.578" v="7023" actId="20577"/>
          <ac:spMkLst>
            <pc:docMk/>
            <pc:sldMk cId="1445273778" sldId="2147479553"/>
            <ac:spMk id="60" creationId="{6E36921E-CA21-4879-A684-A82EA46CCE56}"/>
          </ac:spMkLst>
        </pc:spChg>
        <pc:spChg chg="mod">
          <ac:chgData name="Plunkett Kelly" userId="cdb012e4-69ac-4954-928c-e33ec36f5eba" providerId="ADAL" clId="{2A079017-6789-4E78-BFB4-5FB800F73343}" dt="2023-07-31T09:26:18.867" v="7024" actId="1076"/>
          <ac:spMkLst>
            <pc:docMk/>
            <pc:sldMk cId="1445273778" sldId="2147479553"/>
            <ac:spMk id="61" creationId="{05D940C3-869E-4A99-8605-F0FCD7B4745B}"/>
          </ac:spMkLst>
        </pc:spChg>
      </pc:sldChg>
      <pc:sldChg chg="modSp mod">
        <pc:chgData name="Plunkett Kelly" userId="cdb012e4-69ac-4954-928c-e33ec36f5eba" providerId="ADAL" clId="{2A079017-6789-4E78-BFB4-5FB800F73343}" dt="2023-07-28T15:29:32.581" v="1938" actId="20577"/>
        <pc:sldMkLst>
          <pc:docMk/>
          <pc:sldMk cId="311767825" sldId="2147479556"/>
        </pc:sldMkLst>
        <pc:spChg chg="mod">
          <ac:chgData name="Plunkett Kelly" userId="cdb012e4-69ac-4954-928c-e33ec36f5eba" providerId="ADAL" clId="{2A079017-6789-4E78-BFB4-5FB800F73343}" dt="2023-07-28T15:29:32.581" v="1938" actId="20577"/>
          <ac:spMkLst>
            <pc:docMk/>
            <pc:sldMk cId="311767825" sldId="2147479556"/>
            <ac:spMk id="8" creationId="{7824D54C-15D2-467C-A016-166944D0781C}"/>
          </ac:spMkLst>
        </pc:spChg>
      </pc:sldChg>
      <pc:sldChg chg="addSp delSp modSp mod">
        <pc:chgData name="Plunkett Kelly" userId="cdb012e4-69ac-4954-928c-e33ec36f5eba" providerId="ADAL" clId="{2A079017-6789-4E78-BFB4-5FB800F73343}" dt="2023-08-03T09:08:33.337" v="10163" actId="6549"/>
        <pc:sldMkLst>
          <pc:docMk/>
          <pc:sldMk cId="2149490646" sldId="2147479558"/>
        </pc:sldMkLst>
        <pc:spChg chg="add del mod">
          <ac:chgData name="Plunkett Kelly" userId="cdb012e4-69ac-4954-928c-e33ec36f5eba" providerId="ADAL" clId="{2A079017-6789-4E78-BFB4-5FB800F73343}" dt="2023-07-28T14:28:03.735" v="1745" actId="478"/>
          <ac:spMkLst>
            <pc:docMk/>
            <pc:sldMk cId="2149490646" sldId="2147479558"/>
            <ac:spMk id="3" creationId="{72D1EAC1-32EB-723D-D0B6-4BA60758174D}"/>
          </ac:spMkLst>
        </pc:spChg>
        <pc:spChg chg="mod">
          <ac:chgData name="Plunkett Kelly" userId="cdb012e4-69ac-4954-928c-e33ec36f5eba" providerId="ADAL" clId="{2A079017-6789-4E78-BFB4-5FB800F73343}" dt="2023-08-03T09:08:33.337" v="10163" actId="6549"/>
          <ac:spMkLst>
            <pc:docMk/>
            <pc:sldMk cId="2149490646" sldId="2147479558"/>
            <ac:spMk id="5" creationId="{C4C24851-0BFB-4EAC-9EFA-216B7E0A7C41}"/>
          </ac:spMkLst>
        </pc:spChg>
        <pc:spChg chg="mod">
          <ac:chgData name="Plunkett Kelly" userId="cdb012e4-69ac-4954-928c-e33ec36f5eba" providerId="ADAL" clId="{2A079017-6789-4E78-BFB4-5FB800F73343}" dt="2023-08-01T07:57:05.105" v="8245" actId="6549"/>
          <ac:spMkLst>
            <pc:docMk/>
            <pc:sldMk cId="2149490646" sldId="2147479558"/>
            <ac:spMk id="7" creationId="{75AE26E8-D7A0-4F25-953F-76C58086051B}"/>
          </ac:spMkLst>
        </pc:spChg>
      </pc:sldChg>
      <pc:sldChg chg="modSp mod">
        <pc:chgData name="Plunkett Kelly" userId="cdb012e4-69ac-4954-928c-e33ec36f5eba" providerId="ADAL" clId="{2A079017-6789-4E78-BFB4-5FB800F73343}" dt="2023-07-28T15:29:36.075" v="1940" actId="20577"/>
        <pc:sldMkLst>
          <pc:docMk/>
          <pc:sldMk cId="1224251522" sldId="2147479563"/>
        </pc:sldMkLst>
        <pc:spChg chg="mod">
          <ac:chgData name="Plunkett Kelly" userId="cdb012e4-69ac-4954-928c-e33ec36f5eba" providerId="ADAL" clId="{2A079017-6789-4E78-BFB4-5FB800F73343}" dt="2023-07-28T15:29:36.075" v="1940" actId="20577"/>
          <ac:spMkLst>
            <pc:docMk/>
            <pc:sldMk cId="1224251522" sldId="2147479563"/>
            <ac:spMk id="8" creationId="{7824D54C-15D2-467C-A016-166944D0781C}"/>
          </ac:spMkLst>
        </pc:spChg>
      </pc:sldChg>
      <pc:sldChg chg="modSp mod ord">
        <pc:chgData name="Plunkett Kelly" userId="cdb012e4-69ac-4954-928c-e33ec36f5eba" providerId="ADAL" clId="{2A079017-6789-4E78-BFB4-5FB800F73343}" dt="2023-07-28T16:02:41.663" v="2311" actId="20577"/>
        <pc:sldMkLst>
          <pc:docMk/>
          <pc:sldMk cId="2042349048" sldId="2147479564"/>
        </pc:sldMkLst>
        <pc:spChg chg="mod">
          <ac:chgData name="Plunkett Kelly" userId="cdb012e4-69ac-4954-928c-e33ec36f5eba" providerId="ADAL" clId="{2A079017-6789-4E78-BFB4-5FB800F73343}" dt="2023-07-28T16:02:41.663" v="2311" actId="20577"/>
          <ac:spMkLst>
            <pc:docMk/>
            <pc:sldMk cId="2042349048" sldId="2147479564"/>
            <ac:spMk id="9" creationId="{239F2B45-0ACC-423D-B497-F4FF2974EB21}"/>
          </ac:spMkLst>
        </pc:spChg>
      </pc:sldChg>
      <pc:sldChg chg="modSp mod">
        <pc:chgData name="Plunkett Kelly" userId="cdb012e4-69ac-4954-928c-e33ec36f5eba" providerId="ADAL" clId="{2A079017-6789-4E78-BFB4-5FB800F73343}" dt="2023-07-28T15:29:22.355" v="1934" actId="20577"/>
        <pc:sldMkLst>
          <pc:docMk/>
          <pc:sldMk cId="2740582591" sldId="2147479566"/>
        </pc:sldMkLst>
        <pc:spChg chg="mod">
          <ac:chgData name="Plunkett Kelly" userId="cdb012e4-69ac-4954-928c-e33ec36f5eba" providerId="ADAL" clId="{2A079017-6789-4E78-BFB4-5FB800F73343}" dt="2023-07-28T15:29:22.355" v="1934" actId="20577"/>
          <ac:spMkLst>
            <pc:docMk/>
            <pc:sldMk cId="2740582591" sldId="2147479566"/>
            <ac:spMk id="8" creationId="{7824D54C-15D2-467C-A016-166944D0781C}"/>
          </ac:spMkLst>
        </pc:spChg>
        <pc:spChg chg="mod">
          <ac:chgData name="Plunkett Kelly" userId="cdb012e4-69ac-4954-928c-e33ec36f5eba" providerId="ADAL" clId="{2A079017-6789-4E78-BFB4-5FB800F73343}" dt="2023-07-25T11:45:46.279" v="1107" actId="1037"/>
          <ac:spMkLst>
            <pc:docMk/>
            <pc:sldMk cId="2740582591" sldId="2147479566"/>
            <ac:spMk id="43" creationId="{FB83D1E7-DC34-4AC4-BCA8-C163C4B05037}"/>
          </ac:spMkLst>
        </pc:spChg>
        <pc:spChg chg="mod">
          <ac:chgData name="Plunkett Kelly" userId="cdb012e4-69ac-4954-928c-e33ec36f5eba" providerId="ADAL" clId="{2A079017-6789-4E78-BFB4-5FB800F73343}" dt="2023-07-25T11:43:40.716" v="1098" actId="123"/>
          <ac:spMkLst>
            <pc:docMk/>
            <pc:sldMk cId="2740582591" sldId="2147479566"/>
            <ac:spMk id="44" creationId="{5869F941-731F-493E-AD26-F31C06DCD1E1}"/>
          </ac:spMkLst>
        </pc:spChg>
        <pc:spChg chg="mod">
          <ac:chgData name="Plunkett Kelly" userId="cdb012e4-69ac-4954-928c-e33ec36f5eba" providerId="ADAL" clId="{2A079017-6789-4E78-BFB4-5FB800F73343}" dt="2023-07-25T11:45:40.607" v="1103" actId="1037"/>
          <ac:spMkLst>
            <pc:docMk/>
            <pc:sldMk cId="2740582591" sldId="2147479566"/>
            <ac:spMk id="45" creationId="{1AA4DE9B-AD5D-447A-9BEB-AE2E3752C523}"/>
          </ac:spMkLst>
        </pc:spChg>
        <pc:spChg chg="mod">
          <ac:chgData name="Plunkett Kelly" userId="cdb012e4-69ac-4954-928c-e33ec36f5eba" providerId="ADAL" clId="{2A079017-6789-4E78-BFB4-5FB800F73343}" dt="2023-07-25T11:47:21.553" v="1119" actId="20577"/>
          <ac:spMkLst>
            <pc:docMk/>
            <pc:sldMk cId="2740582591" sldId="2147479566"/>
            <ac:spMk id="46" creationId="{FD6CB2A1-BBC2-423D-98C3-B84868E2258A}"/>
          </ac:spMkLst>
        </pc:spChg>
      </pc:sldChg>
      <pc:sldChg chg="modSp del mod">
        <pc:chgData name="Plunkett Kelly" userId="cdb012e4-69ac-4954-928c-e33ec36f5eba" providerId="ADAL" clId="{2A079017-6789-4E78-BFB4-5FB800F73343}" dt="2023-08-03T09:07:49.405" v="10161" actId="47"/>
        <pc:sldMkLst>
          <pc:docMk/>
          <pc:sldMk cId="1563776" sldId="2147479568"/>
        </pc:sldMkLst>
        <pc:spChg chg="mod">
          <ac:chgData name="Plunkett Kelly" userId="cdb012e4-69ac-4954-928c-e33ec36f5eba" providerId="ADAL" clId="{2A079017-6789-4E78-BFB4-5FB800F73343}" dt="2023-07-28T15:29:50.462" v="1944" actId="20577"/>
          <ac:spMkLst>
            <pc:docMk/>
            <pc:sldMk cId="1563776" sldId="2147479568"/>
            <ac:spMk id="8" creationId="{7824D54C-15D2-467C-A016-166944D0781C}"/>
          </ac:spMkLst>
        </pc:spChg>
        <pc:spChg chg="mod">
          <ac:chgData name="Plunkett Kelly" userId="cdb012e4-69ac-4954-928c-e33ec36f5eba" providerId="ADAL" clId="{2A079017-6789-4E78-BFB4-5FB800F73343}" dt="2023-07-28T11:53:05.438" v="1295" actId="255"/>
          <ac:spMkLst>
            <pc:docMk/>
            <pc:sldMk cId="1563776" sldId="2147479568"/>
            <ac:spMk id="43" creationId="{FE606071-20E3-4EA6-B706-663CF065F3C7}"/>
          </ac:spMkLst>
        </pc:spChg>
        <pc:spChg chg="mod">
          <ac:chgData name="Plunkett Kelly" userId="cdb012e4-69ac-4954-928c-e33ec36f5eba" providerId="ADAL" clId="{2A079017-6789-4E78-BFB4-5FB800F73343}" dt="2023-07-27T13:50:54.987" v="1281" actId="1076"/>
          <ac:spMkLst>
            <pc:docMk/>
            <pc:sldMk cId="1563776" sldId="2147479568"/>
            <ac:spMk id="50" creationId="{62BA95A9-B080-4FA1-BB17-4170C5C1BC74}"/>
          </ac:spMkLst>
        </pc:spChg>
        <pc:picChg chg="mod">
          <ac:chgData name="Plunkett Kelly" userId="cdb012e4-69ac-4954-928c-e33ec36f5eba" providerId="ADAL" clId="{2A079017-6789-4E78-BFB4-5FB800F73343}" dt="2023-07-28T11:52:37.791" v="1291" actId="1076"/>
          <ac:picMkLst>
            <pc:docMk/>
            <pc:sldMk cId="1563776" sldId="2147479568"/>
            <ac:picMk id="3" creationId="{68482E45-6159-D0DD-5F4F-3DB533CF4672}"/>
          </ac:picMkLst>
        </pc:picChg>
      </pc:sldChg>
      <pc:sldChg chg="modSp del mod">
        <pc:chgData name="Plunkett Kelly" userId="cdb012e4-69ac-4954-928c-e33ec36f5eba" providerId="ADAL" clId="{2A079017-6789-4E78-BFB4-5FB800F73343}" dt="2023-08-03T09:07:46.978" v="10160" actId="47"/>
        <pc:sldMkLst>
          <pc:docMk/>
          <pc:sldMk cId="4263117584" sldId="2147479569"/>
        </pc:sldMkLst>
        <pc:spChg chg="mod">
          <ac:chgData name="Plunkett Kelly" userId="cdb012e4-69ac-4954-928c-e33ec36f5eba" providerId="ADAL" clId="{2A079017-6789-4E78-BFB4-5FB800F73343}" dt="2023-07-28T15:29:39.760" v="1942" actId="20577"/>
          <ac:spMkLst>
            <pc:docMk/>
            <pc:sldMk cId="4263117584" sldId="2147479569"/>
            <ac:spMk id="8" creationId="{7824D54C-15D2-467C-A016-166944D0781C}"/>
          </ac:spMkLst>
        </pc:spChg>
        <pc:spChg chg="mod">
          <ac:chgData name="Plunkett Kelly" userId="cdb012e4-69ac-4954-928c-e33ec36f5eba" providerId="ADAL" clId="{2A079017-6789-4E78-BFB4-5FB800F73343}" dt="2023-07-26T08:58:53.300" v="1167" actId="1037"/>
          <ac:spMkLst>
            <pc:docMk/>
            <pc:sldMk cId="4263117584" sldId="2147479569"/>
            <ac:spMk id="39" creationId="{7D1581B4-1896-4BC3-B1AB-8D0E53946CDA}"/>
          </ac:spMkLst>
        </pc:spChg>
        <pc:spChg chg="mod">
          <ac:chgData name="Plunkett Kelly" userId="cdb012e4-69ac-4954-928c-e33ec36f5eba" providerId="ADAL" clId="{2A079017-6789-4E78-BFB4-5FB800F73343}" dt="2023-07-27T13:49:20.828" v="1279" actId="20577"/>
          <ac:spMkLst>
            <pc:docMk/>
            <pc:sldMk cId="4263117584" sldId="2147479569"/>
            <ac:spMk id="40" creationId="{1B9619C2-220D-41B8-81F2-FFD38A8682F1}"/>
          </ac:spMkLst>
        </pc:spChg>
        <pc:graphicFrameChg chg="mod modGraphic">
          <ac:chgData name="Plunkett Kelly" userId="cdb012e4-69ac-4954-928c-e33ec36f5eba" providerId="ADAL" clId="{2A079017-6789-4E78-BFB4-5FB800F73343}" dt="2023-07-24T15:07:18.013" v="40" actId="1036"/>
          <ac:graphicFrameMkLst>
            <pc:docMk/>
            <pc:sldMk cId="4263117584" sldId="2147479569"/>
            <ac:graphicFrameMk id="14" creationId="{D298456E-9E24-4226-B2F7-84FC23B92767}"/>
          </ac:graphicFrameMkLst>
        </pc:graphicFrameChg>
      </pc:sldChg>
      <pc:sldChg chg="modSp mod">
        <pc:chgData name="Plunkett Kelly" userId="cdb012e4-69ac-4954-928c-e33ec36f5eba" providerId="ADAL" clId="{2A079017-6789-4E78-BFB4-5FB800F73343}" dt="2023-08-03T11:35:01.608" v="10635" actId="21"/>
        <pc:sldMkLst>
          <pc:docMk/>
          <pc:sldMk cId="2541600766" sldId="2147479584"/>
        </pc:sldMkLst>
        <pc:spChg chg="mod">
          <ac:chgData name="Plunkett Kelly" userId="cdb012e4-69ac-4954-928c-e33ec36f5eba" providerId="ADAL" clId="{2A079017-6789-4E78-BFB4-5FB800F73343}" dt="2023-07-28T15:29:29.305" v="1936" actId="20577"/>
          <ac:spMkLst>
            <pc:docMk/>
            <pc:sldMk cId="2541600766" sldId="2147479584"/>
            <ac:spMk id="8" creationId="{7824D54C-15D2-467C-A016-166944D0781C}"/>
          </ac:spMkLst>
        </pc:spChg>
        <pc:spChg chg="mod">
          <ac:chgData name="Plunkett Kelly" userId="cdb012e4-69ac-4954-928c-e33ec36f5eba" providerId="ADAL" clId="{2A079017-6789-4E78-BFB4-5FB800F73343}" dt="2023-07-26T08:21:44.325" v="1148" actId="20577"/>
          <ac:spMkLst>
            <pc:docMk/>
            <pc:sldMk cId="2541600766" sldId="2147479584"/>
            <ac:spMk id="27" creationId="{621A73AB-F559-4367-A4AB-5678F597AB08}"/>
          </ac:spMkLst>
        </pc:spChg>
        <pc:spChg chg="mod">
          <ac:chgData name="Plunkett Kelly" userId="cdb012e4-69ac-4954-928c-e33ec36f5eba" providerId="ADAL" clId="{2A079017-6789-4E78-BFB4-5FB800F73343}" dt="2023-07-26T08:22:55.396" v="1164" actId="20577"/>
          <ac:spMkLst>
            <pc:docMk/>
            <pc:sldMk cId="2541600766" sldId="2147479584"/>
            <ac:spMk id="28" creationId="{6DA17E0E-2D06-41F2-B7C7-5C2A02D50E3D}"/>
          </ac:spMkLst>
        </pc:spChg>
        <pc:spChg chg="mod">
          <ac:chgData name="Plunkett Kelly" userId="cdb012e4-69ac-4954-928c-e33ec36f5eba" providerId="ADAL" clId="{2A079017-6789-4E78-BFB4-5FB800F73343}" dt="2023-07-26T08:22:48.340" v="1156" actId="20577"/>
          <ac:spMkLst>
            <pc:docMk/>
            <pc:sldMk cId="2541600766" sldId="2147479584"/>
            <ac:spMk id="33" creationId="{65F9D3B9-D6E1-4DF9-9664-3F9328EF2029}"/>
          </ac:spMkLst>
        </pc:spChg>
        <pc:spChg chg="mod">
          <ac:chgData name="Plunkett Kelly" userId="cdb012e4-69ac-4954-928c-e33ec36f5eba" providerId="ADAL" clId="{2A079017-6789-4E78-BFB4-5FB800F73343}" dt="2023-07-27T10:00:06.445" v="1173" actId="20577"/>
          <ac:spMkLst>
            <pc:docMk/>
            <pc:sldMk cId="2541600766" sldId="2147479584"/>
            <ac:spMk id="46" creationId="{8D9A2DB4-38EF-4DD0-82CC-AD875AED1296}"/>
          </ac:spMkLst>
        </pc:spChg>
        <pc:spChg chg="mod">
          <ac:chgData name="Plunkett Kelly" userId="cdb012e4-69ac-4954-928c-e33ec36f5eba" providerId="ADAL" clId="{2A079017-6789-4E78-BFB4-5FB800F73343}" dt="2023-08-03T11:35:01.608" v="10635" actId="21"/>
          <ac:spMkLst>
            <pc:docMk/>
            <pc:sldMk cId="2541600766" sldId="2147479584"/>
            <ac:spMk id="60" creationId="{85C595CB-B3CF-4012-97C8-BDD8873FA274}"/>
          </ac:spMkLst>
        </pc:spChg>
      </pc:sldChg>
      <pc:sldChg chg="modSp mod">
        <pc:chgData name="Plunkett Kelly" userId="cdb012e4-69ac-4954-928c-e33ec36f5eba" providerId="ADAL" clId="{2A079017-6789-4E78-BFB4-5FB800F73343}" dt="2023-07-25T11:33:25.648" v="1039" actId="20577"/>
        <pc:sldMkLst>
          <pc:docMk/>
          <pc:sldMk cId="2488466455" sldId="2147479585"/>
        </pc:sldMkLst>
        <pc:spChg chg="mod">
          <ac:chgData name="Plunkett Kelly" userId="cdb012e4-69ac-4954-928c-e33ec36f5eba" providerId="ADAL" clId="{2A079017-6789-4E78-BFB4-5FB800F73343}" dt="2023-07-25T11:33:25.648" v="1039" actId="20577"/>
          <ac:spMkLst>
            <pc:docMk/>
            <pc:sldMk cId="2488466455" sldId="2147479585"/>
            <ac:spMk id="11" creationId="{5793A24B-ABE3-D06E-AC2E-051576A1FB22}"/>
          </ac:spMkLst>
        </pc:spChg>
      </pc:sldChg>
      <pc:sldChg chg="modSp mod">
        <pc:chgData name="Plunkett Kelly" userId="cdb012e4-69ac-4954-928c-e33ec36f5eba" providerId="ADAL" clId="{2A079017-6789-4E78-BFB4-5FB800F73343}" dt="2023-07-29T11:24:00.177" v="4210" actId="20577"/>
        <pc:sldMkLst>
          <pc:docMk/>
          <pc:sldMk cId="783175190" sldId="2147479586"/>
        </pc:sldMkLst>
        <pc:spChg chg="mod">
          <ac:chgData name="Plunkett Kelly" userId="cdb012e4-69ac-4954-928c-e33ec36f5eba" providerId="ADAL" clId="{2A079017-6789-4E78-BFB4-5FB800F73343}" dt="2023-07-29T11:24:00.177" v="4210" actId="20577"/>
          <ac:spMkLst>
            <pc:docMk/>
            <pc:sldMk cId="783175190" sldId="2147479586"/>
            <ac:spMk id="2" creationId="{35CD8BED-68CF-D983-C8AF-A9AD64B592B0}"/>
          </ac:spMkLst>
        </pc:spChg>
      </pc:sldChg>
      <pc:sldChg chg="delSp modSp add del mod">
        <pc:chgData name="Plunkett Kelly" userId="cdb012e4-69ac-4954-928c-e33ec36f5eba" providerId="ADAL" clId="{2A079017-6789-4E78-BFB4-5FB800F73343}" dt="2023-07-25T10:27:34.674" v="246" actId="47"/>
        <pc:sldMkLst>
          <pc:docMk/>
          <pc:sldMk cId="547934222" sldId="2147479606"/>
        </pc:sldMkLst>
        <pc:spChg chg="mod">
          <ac:chgData name="Plunkett Kelly" userId="cdb012e4-69ac-4954-928c-e33ec36f5eba" providerId="ADAL" clId="{2A079017-6789-4E78-BFB4-5FB800F73343}" dt="2023-07-24T15:38:11.139" v="207" actId="20577"/>
          <ac:spMkLst>
            <pc:docMk/>
            <pc:sldMk cId="547934222" sldId="2147479606"/>
            <ac:spMk id="8" creationId="{7824D54C-15D2-467C-A016-166944D0781C}"/>
          </ac:spMkLst>
        </pc:spChg>
        <pc:spChg chg="mod">
          <ac:chgData name="Plunkett Kelly" userId="cdb012e4-69ac-4954-928c-e33ec36f5eba" providerId="ADAL" clId="{2A079017-6789-4E78-BFB4-5FB800F73343}" dt="2023-07-24T15:38:56.242" v="214" actId="20577"/>
          <ac:spMkLst>
            <pc:docMk/>
            <pc:sldMk cId="547934222" sldId="2147479606"/>
            <ac:spMk id="43" creationId="{FE606071-20E3-4EA6-B706-663CF065F3C7}"/>
          </ac:spMkLst>
        </pc:spChg>
        <pc:picChg chg="del">
          <ac:chgData name="Plunkett Kelly" userId="cdb012e4-69ac-4954-928c-e33ec36f5eba" providerId="ADAL" clId="{2A079017-6789-4E78-BFB4-5FB800F73343}" dt="2023-07-24T15:39:01.993" v="215" actId="478"/>
          <ac:picMkLst>
            <pc:docMk/>
            <pc:sldMk cId="547934222" sldId="2147479606"/>
            <ac:picMk id="7" creationId="{1E3AFBF1-3415-4042-8E03-CCC83257117A}"/>
          </ac:picMkLst>
        </pc:picChg>
      </pc:sldChg>
      <pc:sldChg chg="modSp mod">
        <pc:chgData name="Plunkett Kelly" userId="cdb012e4-69ac-4954-928c-e33ec36f5eba" providerId="ADAL" clId="{2A079017-6789-4E78-BFB4-5FB800F73343}" dt="2023-08-02T14:10:11.778" v="10076" actId="20577"/>
        <pc:sldMkLst>
          <pc:docMk/>
          <pc:sldMk cId="4281992946" sldId="2147479607"/>
        </pc:sldMkLst>
        <pc:spChg chg="mod">
          <ac:chgData name="Plunkett Kelly" userId="cdb012e4-69ac-4954-928c-e33ec36f5eba" providerId="ADAL" clId="{2A079017-6789-4E78-BFB4-5FB800F73343}" dt="2023-08-02T14:02:26.392" v="9917" actId="20577"/>
          <ac:spMkLst>
            <pc:docMk/>
            <pc:sldMk cId="4281992946" sldId="2147479607"/>
            <ac:spMk id="11" creationId="{9EE04F04-F794-4453-963E-5CFBB6620A43}"/>
          </ac:spMkLst>
        </pc:spChg>
        <pc:spChg chg="mod">
          <ac:chgData name="Plunkett Kelly" userId="cdb012e4-69ac-4954-928c-e33ec36f5eba" providerId="ADAL" clId="{2A079017-6789-4E78-BFB4-5FB800F73343}" dt="2023-08-02T14:10:11.778" v="10076" actId="20577"/>
          <ac:spMkLst>
            <pc:docMk/>
            <pc:sldMk cId="4281992946" sldId="2147479607"/>
            <ac:spMk id="12" creationId="{FB93CF21-DAD5-4B79-9666-F5B05BE3DD14}"/>
          </ac:spMkLst>
        </pc:spChg>
        <pc:spChg chg="mod">
          <ac:chgData name="Plunkett Kelly" userId="cdb012e4-69ac-4954-928c-e33ec36f5eba" providerId="ADAL" clId="{2A079017-6789-4E78-BFB4-5FB800F73343}" dt="2023-08-02T13:54:35.524" v="9655" actId="20577"/>
          <ac:spMkLst>
            <pc:docMk/>
            <pc:sldMk cId="4281992946" sldId="2147479607"/>
            <ac:spMk id="13" creationId="{D642F10C-58A5-4B16-A89B-076AEE9416C7}"/>
          </ac:spMkLst>
        </pc:spChg>
      </pc:sldChg>
      <pc:sldChg chg="modSp mod">
        <pc:chgData name="Plunkett Kelly" userId="cdb012e4-69ac-4954-928c-e33ec36f5eba" providerId="ADAL" clId="{2A079017-6789-4E78-BFB4-5FB800F73343}" dt="2023-08-02T14:35:50.477" v="10152" actId="20577"/>
        <pc:sldMkLst>
          <pc:docMk/>
          <pc:sldMk cId="2192119907" sldId="2147479608"/>
        </pc:sldMkLst>
        <pc:spChg chg="mod">
          <ac:chgData name="Plunkett Kelly" userId="cdb012e4-69ac-4954-928c-e33ec36f5eba" providerId="ADAL" clId="{2A079017-6789-4E78-BFB4-5FB800F73343}" dt="2023-08-02T13:26:15.010" v="9353" actId="123"/>
          <ac:spMkLst>
            <pc:docMk/>
            <pc:sldMk cId="2192119907" sldId="2147479608"/>
            <ac:spMk id="11" creationId="{9EE04F04-F794-4453-963E-5CFBB6620A43}"/>
          </ac:spMkLst>
        </pc:spChg>
        <pc:spChg chg="mod">
          <ac:chgData name="Plunkett Kelly" userId="cdb012e4-69ac-4954-928c-e33ec36f5eba" providerId="ADAL" clId="{2A079017-6789-4E78-BFB4-5FB800F73343}" dt="2023-08-02T14:35:50.477" v="10152" actId="20577"/>
          <ac:spMkLst>
            <pc:docMk/>
            <pc:sldMk cId="2192119907" sldId="2147479608"/>
            <ac:spMk id="12" creationId="{FB93CF21-DAD5-4B79-9666-F5B05BE3DD14}"/>
          </ac:spMkLst>
        </pc:spChg>
        <pc:spChg chg="mod">
          <ac:chgData name="Plunkett Kelly" userId="cdb012e4-69ac-4954-928c-e33ec36f5eba" providerId="ADAL" clId="{2A079017-6789-4E78-BFB4-5FB800F73343}" dt="2023-08-02T14:10:26.741" v="10077" actId="6549"/>
          <ac:spMkLst>
            <pc:docMk/>
            <pc:sldMk cId="2192119907" sldId="2147479608"/>
            <ac:spMk id="13" creationId="{D642F10C-58A5-4B16-A89B-076AEE9416C7}"/>
          </ac:spMkLst>
        </pc:spChg>
      </pc:sldChg>
      <pc:sldChg chg="modSp mod">
        <pc:chgData name="Plunkett Kelly" userId="cdb012e4-69ac-4954-928c-e33ec36f5eba" providerId="ADAL" clId="{2A079017-6789-4E78-BFB4-5FB800F73343}" dt="2023-08-01T08:13:07.705" v="8321" actId="6549"/>
        <pc:sldMkLst>
          <pc:docMk/>
          <pc:sldMk cId="421217003" sldId="2147479626"/>
        </pc:sldMkLst>
        <pc:spChg chg="mod">
          <ac:chgData name="Plunkett Kelly" userId="cdb012e4-69ac-4954-928c-e33ec36f5eba" providerId="ADAL" clId="{2A079017-6789-4E78-BFB4-5FB800F73343}" dt="2023-08-01T08:13:07.705" v="8321" actId="6549"/>
          <ac:spMkLst>
            <pc:docMk/>
            <pc:sldMk cId="421217003" sldId="2147479626"/>
            <ac:spMk id="42" creationId="{33342C3C-E577-4D3F-AACC-6DE72D6DBD0F}"/>
          </ac:spMkLst>
        </pc:spChg>
      </pc:sldChg>
      <pc:sldChg chg="modSp mod">
        <pc:chgData name="Plunkett Kelly" userId="cdb012e4-69ac-4954-928c-e33ec36f5eba" providerId="ADAL" clId="{2A079017-6789-4E78-BFB4-5FB800F73343}" dt="2023-08-01T08:16:05.063" v="8497" actId="20577"/>
        <pc:sldMkLst>
          <pc:docMk/>
          <pc:sldMk cId="3932437091" sldId="2147479627"/>
        </pc:sldMkLst>
        <pc:spChg chg="mod">
          <ac:chgData name="Plunkett Kelly" userId="cdb012e4-69ac-4954-928c-e33ec36f5eba" providerId="ADAL" clId="{2A079017-6789-4E78-BFB4-5FB800F73343}" dt="2023-08-01T08:16:05.063" v="8497" actId="20577"/>
          <ac:spMkLst>
            <pc:docMk/>
            <pc:sldMk cId="3932437091" sldId="2147479627"/>
            <ac:spMk id="3" creationId="{344904A7-DCF3-485F-99B8-3977E039158D}"/>
          </ac:spMkLst>
        </pc:spChg>
        <pc:spChg chg="mod">
          <ac:chgData name="Plunkett Kelly" userId="cdb012e4-69ac-4954-928c-e33ec36f5eba" providerId="ADAL" clId="{2A079017-6789-4E78-BFB4-5FB800F73343}" dt="2023-08-01T08:15:07.624" v="8345" actId="6549"/>
          <ac:spMkLst>
            <pc:docMk/>
            <pc:sldMk cId="3932437091" sldId="2147479627"/>
            <ac:spMk id="4" creationId="{E033BA0A-2ED6-4627-A066-21E646392CC9}"/>
          </ac:spMkLst>
        </pc:spChg>
      </pc:sldChg>
      <pc:sldChg chg="modSp mod">
        <pc:chgData name="Plunkett Kelly" userId="cdb012e4-69ac-4954-928c-e33ec36f5eba" providerId="ADAL" clId="{2A079017-6789-4E78-BFB4-5FB800F73343}" dt="2023-08-01T12:19:17.979" v="8960" actId="14100"/>
        <pc:sldMkLst>
          <pc:docMk/>
          <pc:sldMk cId="1361792716" sldId="2147479632"/>
        </pc:sldMkLst>
        <pc:spChg chg="mod">
          <ac:chgData name="Plunkett Kelly" userId="cdb012e4-69ac-4954-928c-e33ec36f5eba" providerId="ADAL" clId="{2A079017-6789-4E78-BFB4-5FB800F73343}" dt="2023-07-29T11:23:30.849" v="4171" actId="20577"/>
          <ac:spMkLst>
            <pc:docMk/>
            <pc:sldMk cId="1361792716" sldId="2147479632"/>
            <ac:spMk id="8" creationId="{7824D54C-15D2-467C-A016-166944D0781C}"/>
          </ac:spMkLst>
        </pc:spChg>
        <pc:spChg chg="mod">
          <ac:chgData name="Plunkett Kelly" userId="cdb012e4-69ac-4954-928c-e33ec36f5eba" providerId="ADAL" clId="{2A079017-6789-4E78-BFB4-5FB800F73343}" dt="2023-08-01T12:19:17.979" v="8960" actId="14100"/>
          <ac:spMkLst>
            <pc:docMk/>
            <pc:sldMk cId="1361792716" sldId="2147479632"/>
            <ac:spMk id="17" creationId="{8C9460DB-676C-4AF1-BB43-13950E17CBA7}"/>
          </ac:spMkLst>
        </pc:spChg>
      </pc:sldChg>
      <pc:sldChg chg="modSp mod modCm">
        <pc:chgData name="Plunkett Kelly" userId="cdb012e4-69ac-4954-928c-e33ec36f5eba" providerId="ADAL" clId="{2A079017-6789-4E78-BFB4-5FB800F73343}" dt="2023-08-03T11:56:50.940" v="11065" actId="255"/>
        <pc:sldMkLst>
          <pc:docMk/>
          <pc:sldMk cId="2175479650" sldId="2147479633"/>
        </pc:sldMkLst>
        <pc:spChg chg="mod">
          <ac:chgData name="Plunkett Kelly" userId="cdb012e4-69ac-4954-928c-e33ec36f5eba" providerId="ADAL" clId="{2A079017-6789-4E78-BFB4-5FB800F73343}" dt="2023-08-03T11:56:26.271" v="11063" actId="208"/>
          <ac:spMkLst>
            <pc:docMk/>
            <pc:sldMk cId="2175479650" sldId="2147479633"/>
            <ac:spMk id="2" creationId="{B62662A1-6231-C9A3-CB98-DA447F38793A}"/>
          </ac:spMkLst>
        </pc:spChg>
        <pc:spChg chg="mod">
          <ac:chgData name="Plunkett Kelly" userId="cdb012e4-69ac-4954-928c-e33ec36f5eba" providerId="ADAL" clId="{2A079017-6789-4E78-BFB4-5FB800F73343}" dt="2023-08-03T11:56:50.940" v="11065" actId="255"/>
          <ac:spMkLst>
            <pc:docMk/>
            <pc:sldMk cId="2175479650" sldId="2147479633"/>
            <ac:spMk id="4" creationId="{C60F421B-BF94-1677-9595-B5C1422289A2}"/>
          </ac:spMkLst>
        </pc:spChg>
        <pc:spChg chg="mod">
          <ac:chgData name="Plunkett Kelly" userId="cdb012e4-69ac-4954-928c-e33ec36f5eba" providerId="ADAL" clId="{2A079017-6789-4E78-BFB4-5FB800F73343}" dt="2023-07-27T10:17:07.968" v="1227" actId="20577"/>
          <ac:spMkLst>
            <pc:docMk/>
            <pc:sldMk cId="2175479650" sldId="2147479633"/>
            <ac:spMk id="8" creationId="{7824D54C-15D2-467C-A016-166944D0781C}"/>
          </ac:spMkLst>
        </pc:spChg>
      </pc:sldChg>
      <pc:sldChg chg="modSp del mod modShow">
        <pc:chgData name="Plunkett Kelly" userId="cdb012e4-69ac-4954-928c-e33ec36f5eba" providerId="ADAL" clId="{2A079017-6789-4E78-BFB4-5FB800F73343}" dt="2023-07-28T14:44:16.034" v="1832" actId="47"/>
        <pc:sldMkLst>
          <pc:docMk/>
          <pc:sldMk cId="2539415535" sldId="2147479645"/>
        </pc:sldMkLst>
        <pc:spChg chg="mod">
          <ac:chgData name="Plunkett Kelly" userId="cdb012e4-69ac-4954-928c-e33ec36f5eba" providerId="ADAL" clId="{2A079017-6789-4E78-BFB4-5FB800F73343}" dt="2023-07-27T11:57:55.752" v="1267" actId="948"/>
          <ac:spMkLst>
            <pc:docMk/>
            <pc:sldMk cId="2539415535" sldId="2147479645"/>
            <ac:spMk id="2" creationId="{B62662A1-6231-C9A3-CB98-DA447F38793A}"/>
          </ac:spMkLst>
        </pc:spChg>
        <pc:spChg chg="mod">
          <ac:chgData name="Plunkett Kelly" userId="cdb012e4-69ac-4954-928c-e33ec36f5eba" providerId="ADAL" clId="{2A079017-6789-4E78-BFB4-5FB800F73343}" dt="2023-07-27T10:17:21.441" v="1252" actId="20577"/>
          <ac:spMkLst>
            <pc:docMk/>
            <pc:sldMk cId="2539415535" sldId="2147479645"/>
            <ac:spMk id="8" creationId="{7824D54C-15D2-467C-A016-166944D0781C}"/>
          </ac:spMkLst>
        </pc:spChg>
        <pc:picChg chg="mod">
          <ac:chgData name="Plunkett Kelly" userId="cdb012e4-69ac-4954-928c-e33ec36f5eba" providerId="ADAL" clId="{2A079017-6789-4E78-BFB4-5FB800F73343}" dt="2023-07-27T12:00:10.641" v="1269" actId="1076"/>
          <ac:picMkLst>
            <pc:docMk/>
            <pc:sldMk cId="2539415535" sldId="2147479645"/>
            <ac:picMk id="10" creationId="{E103D117-A864-66E6-2CD0-377B1B7C652F}"/>
          </ac:picMkLst>
        </pc:picChg>
      </pc:sldChg>
      <pc:sldChg chg="modSp mod">
        <pc:chgData name="Plunkett Kelly" userId="cdb012e4-69ac-4954-928c-e33ec36f5eba" providerId="ADAL" clId="{2A079017-6789-4E78-BFB4-5FB800F73343}" dt="2023-08-02T14:37:47.590" v="10153" actId="14100"/>
        <pc:sldMkLst>
          <pc:docMk/>
          <pc:sldMk cId="1066138" sldId="2147479646"/>
        </pc:sldMkLst>
        <pc:spChg chg="mod">
          <ac:chgData name="Plunkett Kelly" userId="cdb012e4-69ac-4954-928c-e33ec36f5eba" providerId="ADAL" clId="{2A079017-6789-4E78-BFB4-5FB800F73343}" dt="2023-08-02T14:37:47.590" v="10153" actId="14100"/>
          <ac:spMkLst>
            <pc:docMk/>
            <pc:sldMk cId="1066138" sldId="2147479646"/>
            <ac:spMk id="14" creationId="{E8A55644-11AD-FD70-1A30-6A95013BD141}"/>
          </ac:spMkLst>
        </pc:spChg>
        <pc:spChg chg="mod">
          <ac:chgData name="Plunkett Kelly" userId="cdb012e4-69ac-4954-928c-e33ec36f5eba" providerId="ADAL" clId="{2A079017-6789-4E78-BFB4-5FB800F73343}" dt="2023-08-02T14:37:47.590" v="10153" actId="14100"/>
          <ac:spMkLst>
            <pc:docMk/>
            <pc:sldMk cId="1066138" sldId="2147479646"/>
            <ac:spMk id="16" creationId="{E1F487BF-2DB8-5EDD-C394-30A9E2FAAF66}"/>
          </ac:spMkLst>
        </pc:spChg>
        <pc:spChg chg="mod">
          <ac:chgData name="Plunkett Kelly" userId="cdb012e4-69ac-4954-928c-e33ec36f5eba" providerId="ADAL" clId="{2A079017-6789-4E78-BFB4-5FB800F73343}" dt="2023-08-02T14:37:47.590" v="10153" actId="14100"/>
          <ac:spMkLst>
            <pc:docMk/>
            <pc:sldMk cId="1066138" sldId="2147479646"/>
            <ac:spMk id="18" creationId="{CF0BC8A6-1F16-21B1-A715-9879FE7EE926}"/>
          </ac:spMkLst>
        </pc:spChg>
      </pc:sldChg>
      <pc:sldChg chg="modSp mod addCm">
        <pc:chgData name="Plunkett Kelly" userId="cdb012e4-69ac-4954-928c-e33ec36f5eba" providerId="ADAL" clId="{2A079017-6789-4E78-BFB4-5FB800F73343}" dt="2023-08-01T09:53:44.061" v="8668"/>
        <pc:sldMkLst>
          <pc:docMk/>
          <pc:sldMk cId="1412110567" sldId="2147479649"/>
        </pc:sldMkLst>
        <pc:spChg chg="mod">
          <ac:chgData name="Plunkett Kelly" userId="cdb012e4-69ac-4954-928c-e33ec36f5eba" providerId="ADAL" clId="{2A079017-6789-4E78-BFB4-5FB800F73343}" dt="2023-07-29T11:23:15.083" v="4169"/>
          <ac:spMkLst>
            <pc:docMk/>
            <pc:sldMk cId="1412110567" sldId="2147479649"/>
            <ac:spMk id="8" creationId="{7824D54C-15D2-467C-A016-166944D0781C}"/>
          </ac:spMkLst>
        </pc:spChg>
      </pc:sldChg>
      <pc:sldChg chg="addSp delSp modSp mod">
        <pc:chgData name="Plunkett Kelly" userId="cdb012e4-69ac-4954-928c-e33ec36f5eba" providerId="ADAL" clId="{2A079017-6789-4E78-BFB4-5FB800F73343}" dt="2023-08-03T11:55:17.479" v="11053" actId="1076"/>
        <pc:sldMkLst>
          <pc:docMk/>
          <pc:sldMk cId="3733227749" sldId="2147479650"/>
        </pc:sldMkLst>
        <pc:spChg chg="add del mod">
          <ac:chgData name="Plunkett Kelly" userId="cdb012e4-69ac-4954-928c-e33ec36f5eba" providerId="ADAL" clId="{2A079017-6789-4E78-BFB4-5FB800F73343}" dt="2023-07-29T11:21:00.258" v="4147" actId="478"/>
          <ac:spMkLst>
            <pc:docMk/>
            <pc:sldMk cId="3733227749" sldId="2147479650"/>
            <ac:spMk id="2" creationId="{E379AB8B-11E0-7D4C-2445-089F705A017B}"/>
          </ac:spMkLst>
        </pc:spChg>
        <pc:spChg chg="add mod ord topLvl">
          <ac:chgData name="Plunkett Kelly" userId="cdb012e4-69ac-4954-928c-e33ec36f5eba" providerId="ADAL" clId="{2A079017-6789-4E78-BFB4-5FB800F73343}" dt="2023-07-28T16:26:59.865" v="2479" actId="20577"/>
          <ac:spMkLst>
            <pc:docMk/>
            <pc:sldMk cId="3733227749" sldId="2147479650"/>
            <ac:spMk id="3" creationId="{C54E5CBB-656D-4D20-EC09-02BFD8042557}"/>
          </ac:spMkLst>
        </pc:spChg>
        <pc:spChg chg="add mod ord topLvl">
          <ac:chgData name="Plunkett Kelly" userId="cdb012e4-69ac-4954-928c-e33ec36f5eba" providerId="ADAL" clId="{2A079017-6789-4E78-BFB4-5FB800F73343}" dt="2023-07-28T15:49:41.780" v="2286" actId="14100"/>
          <ac:spMkLst>
            <pc:docMk/>
            <pc:sldMk cId="3733227749" sldId="2147479650"/>
            <ac:spMk id="4" creationId="{FB2A78B8-C45F-C6AA-5767-31B4622DBB3D}"/>
          </ac:spMkLst>
        </pc:spChg>
        <pc:spChg chg="mod">
          <ac:chgData name="Plunkett Kelly" userId="cdb012e4-69ac-4954-928c-e33ec36f5eba" providerId="ADAL" clId="{2A079017-6789-4E78-BFB4-5FB800F73343}" dt="2023-07-29T14:42:34.716" v="5105" actId="1076"/>
          <ac:spMkLst>
            <pc:docMk/>
            <pc:sldMk cId="3733227749" sldId="2147479650"/>
            <ac:spMk id="8" creationId="{7824D54C-15D2-467C-A016-166944D0781C}"/>
          </ac:spMkLst>
        </pc:spChg>
        <pc:spChg chg="add del mod">
          <ac:chgData name="Plunkett Kelly" userId="cdb012e4-69ac-4954-928c-e33ec36f5eba" providerId="ADAL" clId="{2A079017-6789-4E78-BFB4-5FB800F73343}" dt="2023-07-29T14:42:23.324" v="5101" actId="21"/>
          <ac:spMkLst>
            <pc:docMk/>
            <pc:sldMk cId="3733227749" sldId="2147479650"/>
            <ac:spMk id="10" creationId="{AECC769F-BC3C-5CF2-4BF9-72EA6D6FEA0E}"/>
          </ac:spMkLst>
        </pc:spChg>
        <pc:spChg chg="mod">
          <ac:chgData name="Plunkett Kelly" userId="cdb012e4-69ac-4954-928c-e33ec36f5eba" providerId="ADAL" clId="{2A079017-6789-4E78-BFB4-5FB800F73343}" dt="2023-07-29T14:00:12.039" v="4408"/>
          <ac:spMkLst>
            <pc:docMk/>
            <pc:sldMk cId="3733227749" sldId="2147479650"/>
            <ac:spMk id="12" creationId="{A46CE490-8BC7-7240-E31B-30114141F4D8}"/>
          </ac:spMkLst>
        </pc:spChg>
        <pc:spChg chg="mod">
          <ac:chgData name="Plunkett Kelly" userId="cdb012e4-69ac-4954-928c-e33ec36f5eba" providerId="ADAL" clId="{2A079017-6789-4E78-BFB4-5FB800F73343}" dt="2023-07-29T14:00:12.039" v="4408"/>
          <ac:spMkLst>
            <pc:docMk/>
            <pc:sldMk cId="3733227749" sldId="2147479650"/>
            <ac:spMk id="13" creationId="{5D8889BD-90D7-16E4-F68D-4A9DE40A7894}"/>
          </ac:spMkLst>
        </pc:spChg>
        <pc:spChg chg="mod">
          <ac:chgData name="Plunkett Kelly" userId="cdb012e4-69ac-4954-928c-e33ec36f5eba" providerId="ADAL" clId="{2A079017-6789-4E78-BFB4-5FB800F73343}" dt="2023-07-29T14:00:12.039" v="4408"/>
          <ac:spMkLst>
            <pc:docMk/>
            <pc:sldMk cId="3733227749" sldId="2147479650"/>
            <ac:spMk id="15" creationId="{3A9C4119-A7A0-FE1B-DB89-9772636F6BB2}"/>
          </ac:spMkLst>
        </pc:spChg>
        <pc:spChg chg="mod">
          <ac:chgData name="Plunkett Kelly" userId="cdb012e4-69ac-4954-928c-e33ec36f5eba" providerId="ADAL" clId="{2A079017-6789-4E78-BFB4-5FB800F73343}" dt="2023-07-29T14:00:12.039" v="4408"/>
          <ac:spMkLst>
            <pc:docMk/>
            <pc:sldMk cId="3733227749" sldId="2147479650"/>
            <ac:spMk id="16" creationId="{26B23726-08B2-13A7-2AF0-B20C8DF6E7B1}"/>
          </ac:spMkLst>
        </pc:spChg>
        <pc:spChg chg="mod">
          <ac:chgData name="Plunkett Kelly" userId="cdb012e4-69ac-4954-928c-e33ec36f5eba" providerId="ADAL" clId="{2A079017-6789-4E78-BFB4-5FB800F73343}" dt="2023-07-29T14:00:21.316" v="4410" actId="207"/>
          <ac:spMkLst>
            <pc:docMk/>
            <pc:sldMk cId="3733227749" sldId="2147479650"/>
            <ac:spMk id="22" creationId="{86D8ED81-84FB-5027-9704-703EEFB8D995}"/>
          </ac:spMkLst>
        </pc:spChg>
        <pc:spChg chg="mod">
          <ac:chgData name="Plunkett Kelly" userId="cdb012e4-69ac-4954-928c-e33ec36f5eba" providerId="ADAL" clId="{2A079017-6789-4E78-BFB4-5FB800F73343}" dt="2023-07-29T14:00:25.813" v="4411" actId="207"/>
          <ac:spMkLst>
            <pc:docMk/>
            <pc:sldMk cId="3733227749" sldId="2147479650"/>
            <ac:spMk id="23" creationId="{92381195-817D-F206-F259-B2CB0BE0E6F5}"/>
          </ac:spMkLst>
        </pc:spChg>
        <pc:spChg chg="mod">
          <ac:chgData name="Plunkett Kelly" userId="cdb012e4-69ac-4954-928c-e33ec36f5eba" providerId="ADAL" clId="{2A079017-6789-4E78-BFB4-5FB800F73343}" dt="2023-07-29T14:00:12.039" v="4408"/>
          <ac:spMkLst>
            <pc:docMk/>
            <pc:sldMk cId="3733227749" sldId="2147479650"/>
            <ac:spMk id="24" creationId="{975B6FB7-1FE0-572A-6E70-F3FB7047DEEA}"/>
          </ac:spMkLst>
        </pc:spChg>
        <pc:spChg chg="mod">
          <ac:chgData name="Plunkett Kelly" userId="cdb012e4-69ac-4954-928c-e33ec36f5eba" providerId="ADAL" clId="{2A079017-6789-4E78-BFB4-5FB800F73343}" dt="2023-07-29T14:00:12.039" v="4408"/>
          <ac:spMkLst>
            <pc:docMk/>
            <pc:sldMk cId="3733227749" sldId="2147479650"/>
            <ac:spMk id="25" creationId="{358D289E-94F6-DC45-8FB6-5AC9C5FE9718}"/>
          </ac:spMkLst>
        </pc:spChg>
        <pc:spChg chg="mod">
          <ac:chgData name="Plunkett Kelly" userId="cdb012e4-69ac-4954-928c-e33ec36f5eba" providerId="ADAL" clId="{2A079017-6789-4E78-BFB4-5FB800F73343}" dt="2023-07-29T14:00:12.039" v="4408"/>
          <ac:spMkLst>
            <pc:docMk/>
            <pc:sldMk cId="3733227749" sldId="2147479650"/>
            <ac:spMk id="26" creationId="{9A4A56CF-34B7-164D-3996-5662C68A0804}"/>
          </ac:spMkLst>
        </pc:spChg>
        <pc:spChg chg="mod">
          <ac:chgData name="Plunkett Kelly" userId="cdb012e4-69ac-4954-928c-e33ec36f5eba" providerId="ADAL" clId="{2A079017-6789-4E78-BFB4-5FB800F73343}" dt="2023-07-29T14:00:12.039" v="4408"/>
          <ac:spMkLst>
            <pc:docMk/>
            <pc:sldMk cId="3733227749" sldId="2147479650"/>
            <ac:spMk id="27" creationId="{1BE50BB4-92BF-E714-A310-F78CE45F56D4}"/>
          </ac:spMkLst>
        </pc:spChg>
        <pc:spChg chg="mod">
          <ac:chgData name="Plunkett Kelly" userId="cdb012e4-69ac-4954-928c-e33ec36f5eba" providerId="ADAL" clId="{2A079017-6789-4E78-BFB4-5FB800F73343}" dt="2023-07-29T14:00:12.039" v="4408"/>
          <ac:spMkLst>
            <pc:docMk/>
            <pc:sldMk cId="3733227749" sldId="2147479650"/>
            <ac:spMk id="30" creationId="{A3957379-6323-D044-ED23-A15BD5CE0E95}"/>
          </ac:spMkLst>
        </pc:spChg>
        <pc:spChg chg="mod">
          <ac:chgData name="Plunkett Kelly" userId="cdb012e4-69ac-4954-928c-e33ec36f5eba" providerId="ADAL" clId="{2A079017-6789-4E78-BFB4-5FB800F73343}" dt="2023-07-29T14:00:12.039" v="4408"/>
          <ac:spMkLst>
            <pc:docMk/>
            <pc:sldMk cId="3733227749" sldId="2147479650"/>
            <ac:spMk id="31" creationId="{0CD1F6EA-8DAA-14C3-EF86-EC4CA1EBD1F6}"/>
          </ac:spMkLst>
        </pc:spChg>
        <pc:spChg chg="mod">
          <ac:chgData name="Plunkett Kelly" userId="cdb012e4-69ac-4954-928c-e33ec36f5eba" providerId="ADAL" clId="{2A079017-6789-4E78-BFB4-5FB800F73343}" dt="2023-07-29T14:00:12.039" v="4408"/>
          <ac:spMkLst>
            <pc:docMk/>
            <pc:sldMk cId="3733227749" sldId="2147479650"/>
            <ac:spMk id="32" creationId="{67785F40-A5B0-403D-542E-7F24B63BB634}"/>
          </ac:spMkLst>
        </pc:spChg>
        <pc:spChg chg="mod">
          <ac:chgData name="Plunkett Kelly" userId="cdb012e4-69ac-4954-928c-e33ec36f5eba" providerId="ADAL" clId="{2A079017-6789-4E78-BFB4-5FB800F73343}" dt="2023-07-29T14:00:12.039" v="4408"/>
          <ac:spMkLst>
            <pc:docMk/>
            <pc:sldMk cId="3733227749" sldId="2147479650"/>
            <ac:spMk id="33" creationId="{A6FD3847-06E3-022F-0BBF-AAA8B5F33ABE}"/>
          </ac:spMkLst>
        </pc:spChg>
        <pc:spChg chg="mod">
          <ac:chgData name="Plunkett Kelly" userId="cdb012e4-69ac-4954-928c-e33ec36f5eba" providerId="ADAL" clId="{2A079017-6789-4E78-BFB4-5FB800F73343}" dt="2023-07-29T14:00:12.039" v="4408"/>
          <ac:spMkLst>
            <pc:docMk/>
            <pc:sldMk cId="3733227749" sldId="2147479650"/>
            <ac:spMk id="34" creationId="{F37D8B5A-D1EF-3704-AB0A-BC5BF84C0D14}"/>
          </ac:spMkLst>
        </pc:spChg>
        <pc:spChg chg="mod">
          <ac:chgData name="Plunkett Kelly" userId="cdb012e4-69ac-4954-928c-e33ec36f5eba" providerId="ADAL" clId="{2A079017-6789-4E78-BFB4-5FB800F73343}" dt="2023-07-29T14:00:12.039" v="4408"/>
          <ac:spMkLst>
            <pc:docMk/>
            <pc:sldMk cId="3733227749" sldId="2147479650"/>
            <ac:spMk id="35" creationId="{D1DF83BD-A14A-9745-09C0-40F81D1E178B}"/>
          </ac:spMkLst>
        </pc:spChg>
        <pc:spChg chg="mod">
          <ac:chgData name="Plunkett Kelly" userId="cdb012e4-69ac-4954-928c-e33ec36f5eba" providerId="ADAL" clId="{2A079017-6789-4E78-BFB4-5FB800F73343}" dt="2023-07-29T14:00:12.039" v="4408"/>
          <ac:spMkLst>
            <pc:docMk/>
            <pc:sldMk cId="3733227749" sldId="2147479650"/>
            <ac:spMk id="38" creationId="{E856D6D9-1D25-8A88-CAA7-FE9B24F2337F}"/>
          </ac:spMkLst>
        </pc:spChg>
        <pc:spChg chg="mod">
          <ac:chgData name="Plunkett Kelly" userId="cdb012e4-69ac-4954-928c-e33ec36f5eba" providerId="ADAL" clId="{2A079017-6789-4E78-BFB4-5FB800F73343}" dt="2023-07-29T14:00:12.039" v="4408"/>
          <ac:spMkLst>
            <pc:docMk/>
            <pc:sldMk cId="3733227749" sldId="2147479650"/>
            <ac:spMk id="39" creationId="{46185203-328F-6BED-55C4-9E1CCD5A673E}"/>
          </ac:spMkLst>
        </pc:spChg>
        <pc:spChg chg="mod">
          <ac:chgData name="Plunkett Kelly" userId="cdb012e4-69ac-4954-928c-e33ec36f5eba" providerId="ADAL" clId="{2A079017-6789-4E78-BFB4-5FB800F73343}" dt="2023-07-29T14:00:12.039" v="4408"/>
          <ac:spMkLst>
            <pc:docMk/>
            <pc:sldMk cId="3733227749" sldId="2147479650"/>
            <ac:spMk id="40" creationId="{A396776C-7FFF-A6D4-3589-C192B79F3E7A}"/>
          </ac:spMkLst>
        </pc:spChg>
        <pc:spChg chg="mod">
          <ac:chgData name="Plunkett Kelly" userId="cdb012e4-69ac-4954-928c-e33ec36f5eba" providerId="ADAL" clId="{2A079017-6789-4E78-BFB4-5FB800F73343}" dt="2023-07-29T14:00:12.039" v="4408"/>
          <ac:spMkLst>
            <pc:docMk/>
            <pc:sldMk cId="3733227749" sldId="2147479650"/>
            <ac:spMk id="45" creationId="{676E54E9-2853-6B50-B037-BD95B3EF7978}"/>
          </ac:spMkLst>
        </pc:spChg>
        <pc:spChg chg="mod">
          <ac:chgData name="Plunkett Kelly" userId="cdb012e4-69ac-4954-928c-e33ec36f5eba" providerId="ADAL" clId="{2A079017-6789-4E78-BFB4-5FB800F73343}" dt="2023-07-29T14:00:12.039" v="4408"/>
          <ac:spMkLst>
            <pc:docMk/>
            <pc:sldMk cId="3733227749" sldId="2147479650"/>
            <ac:spMk id="47" creationId="{9D2B207C-53C0-76A2-E537-B45025E0EF8D}"/>
          </ac:spMkLst>
        </pc:spChg>
        <pc:spChg chg="mod">
          <ac:chgData name="Plunkett Kelly" userId="cdb012e4-69ac-4954-928c-e33ec36f5eba" providerId="ADAL" clId="{2A079017-6789-4E78-BFB4-5FB800F73343}" dt="2023-07-29T14:00:12.039" v="4408"/>
          <ac:spMkLst>
            <pc:docMk/>
            <pc:sldMk cId="3733227749" sldId="2147479650"/>
            <ac:spMk id="48" creationId="{A62C6D9C-D2EA-05E7-AEB9-DBC3E5E9E4B4}"/>
          </ac:spMkLst>
        </pc:spChg>
        <pc:spChg chg="mod">
          <ac:chgData name="Plunkett Kelly" userId="cdb012e4-69ac-4954-928c-e33ec36f5eba" providerId="ADAL" clId="{2A079017-6789-4E78-BFB4-5FB800F73343}" dt="2023-07-29T14:00:12.039" v="4408"/>
          <ac:spMkLst>
            <pc:docMk/>
            <pc:sldMk cId="3733227749" sldId="2147479650"/>
            <ac:spMk id="49" creationId="{7382E9C9-E1AB-F3B7-6261-0F0557E9A63C}"/>
          </ac:spMkLst>
        </pc:spChg>
        <pc:spChg chg="mod">
          <ac:chgData name="Plunkett Kelly" userId="cdb012e4-69ac-4954-928c-e33ec36f5eba" providerId="ADAL" clId="{2A079017-6789-4E78-BFB4-5FB800F73343}" dt="2023-07-29T14:00:12.039" v="4408"/>
          <ac:spMkLst>
            <pc:docMk/>
            <pc:sldMk cId="3733227749" sldId="2147479650"/>
            <ac:spMk id="50" creationId="{6AD05352-097A-95BC-EBA6-463946637459}"/>
          </ac:spMkLst>
        </pc:spChg>
        <pc:spChg chg="mod">
          <ac:chgData name="Plunkett Kelly" userId="cdb012e4-69ac-4954-928c-e33ec36f5eba" providerId="ADAL" clId="{2A079017-6789-4E78-BFB4-5FB800F73343}" dt="2023-07-29T14:00:12.039" v="4408"/>
          <ac:spMkLst>
            <pc:docMk/>
            <pc:sldMk cId="3733227749" sldId="2147479650"/>
            <ac:spMk id="51" creationId="{5D187B95-F582-EA7A-82B7-D79D68B7343D}"/>
          </ac:spMkLst>
        </pc:spChg>
        <pc:spChg chg="mod">
          <ac:chgData name="Plunkett Kelly" userId="cdb012e4-69ac-4954-928c-e33ec36f5eba" providerId="ADAL" clId="{2A079017-6789-4E78-BFB4-5FB800F73343}" dt="2023-07-29T14:00:12.039" v="4408"/>
          <ac:spMkLst>
            <pc:docMk/>
            <pc:sldMk cId="3733227749" sldId="2147479650"/>
            <ac:spMk id="53" creationId="{21855C95-B2EE-651F-4364-A06505E50632}"/>
          </ac:spMkLst>
        </pc:spChg>
        <pc:spChg chg="mod">
          <ac:chgData name="Plunkett Kelly" userId="cdb012e4-69ac-4954-928c-e33ec36f5eba" providerId="ADAL" clId="{2A079017-6789-4E78-BFB4-5FB800F73343}" dt="2023-07-29T14:00:12.039" v="4408"/>
          <ac:spMkLst>
            <pc:docMk/>
            <pc:sldMk cId="3733227749" sldId="2147479650"/>
            <ac:spMk id="54" creationId="{4101F458-05C7-FC4C-6D52-2522A2F45ECD}"/>
          </ac:spMkLst>
        </pc:spChg>
        <pc:spChg chg="mod">
          <ac:chgData name="Plunkett Kelly" userId="cdb012e4-69ac-4954-928c-e33ec36f5eba" providerId="ADAL" clId="{2A079017-6789-4E78-BFB4-5FB800F73343}" dt="2023-07-29T14:00:12.039" v="4408"/>
          <ac:spMkLst>
            <pc:docMk/>
            <pc:sldMk cId="3733227749" sldId="2147479650"/>
            <ac:spMk id="55" creationId="{5BCFA21F-2928-4939-B32E-F2B26D8AD5CD}"/>
          </ac:spMkLst>
        </pc:spChg>
        <pc:spChg chg="mod">
          <ac:chgData name="Plunkett Kelly" userId="cdb012e4-69ac-4954-928c-e33ec36f5eba" providerId="ADAL" clId="{2A079017-6789-4E78-BFB4-5FB800F73343}" dt="2023-07-29T14:00:12.039" v="4408"/>
          <ac:spMkLst>
            <pc:docMk/>
            <pc:sldMk cId="3733227749" sldId="2147479650"/>
            <ac:spMk id="57" creationId="{BA539CBC-5E40-B2AF-3A3E-A9CA9C1747C7}"/>
          </ac:spMkLst>
        </pc:spChg>
        <pc:spChg chg="mod">
          <ac:chgData name="Plunkett Kelly" userId="cdb012e4-69ac-4954-928c-e33ec36f5eba" providerId="ADAL" clId="{2A079017-6789-4E78-BFB4-5FB800F73343}" dt="2023-07-29T14:00:12.039" v="4408"/>
          <ac:spMkLst>
            <pc:docMk/>
            <pc:sldMk cId="3733227749" sldId="2147479650"/>
            <ac:spMk id="58" creationId="{F8372585-21E6-4AC9-3A47-EFBA76AEA610}"/>
          </ac:spMkLst>
        </pc:spChg>
        <pc:spChg chg="mod">
          <ac:chgData name="Plunkett Kelly" userId="cdb012e4-69ac-4954-928c-e33ec36f5eba" providerId="ADAL" clId="{2A079017-6789-4E78-BFB4-5FB800F73343}" dt="2023-07-29T14:00:12.039" v="4408"/>
          <ac:spMkLst>
            <pc:docMk/>
            <pc:sldMk cId="3733227749" sldId="2147479650"/>
            <ac:spMk id="59" creationId="{4EE63168-16C0-B461-2594-7B85C32D6893}"/>
          </ac:spMkLst>
        </pc:spChg>
        <pc:spChg chg="add del mod">
          <ac:chgData name="Plunkett Kelly" userId="cdb012e4-69ac-4954-928c-e33ec36f5eba" providerId="ADAL" clId="{2A079017-6789-4E78-BFB4-5FB800F73343}" dt="2023-07-29T14:40:24.268" v="5093" actId="21"/>
          <ac:spMkLst>
            <pc:docMk/>
            <pc:sldMk cId="3733227749" sldId="2147479650"/>
            <ac:spMk id="60" creationId="{04E50E69-38DB-E1DC-E8F0-E72A46A14FA7}"/>
          </ac:spMkLst>
        </pc:spChg>
        <pc:spChg chg="mod">
          <ac:chgData name="Plunkett Kelly" userId="cdb012e4-69ac-4954-928c-e33ec36f5eba" providerId="ADAL" clId="{2A079017-6789-4E78-BFB4-5FB800F73343}" dt="2023-07-29T14:01:24.946" v="4414"/>
          <ac:spMkLst>
            <pc:docMk/>
            <pc:sldMk cId="3733227749" sldId="2147479650"/>
            <ac:spMk id="62" creationId="{918B9186-5990-F0CA-A818-BB1008E90D70}"/>
          </ac:spMkLst>
        </pc:spChg>
        <pc:spChg chg="mod">
          <ac:chgData name="Plunkett Kelly" userId="cdb012e4-69ac-4954-928c-e33ec36f5eba" providerId="ADAL" clId="{2A079017-6789-4E78-BFB4-5FB800F73343}" dt="2023-07-29T14:01:24.946" v="4414"/>
          <ac:spMkLst>
            <pc:docMk/>
            <pc:sldMk cId="3733227749" sldId="2147479650"/>
            <ac:spMk id="63" creationId="{62CD42F9-5E2F-D5EA-5C97-4782BF3EA7ED}"/>
          </ac:spMkLst>
        </pc:spChg>
        <pc:spChg chg="mod">
          <ac:chgData name="Plunkett Kelly" userId="cdb012e4-69ac-4954-928c-e33ec36f5eba" providerId="ADAL" clId="{2A079017-6789-4E78-BFB4-5FB800F73343}" dt="2023-07-29T14:01:24.946" v="4414"/>
          <ac:spMkLst>
            <pc:docMk/>
            <pc:sldMk cId="3733227749" sldId="2147479650"/>
            <ac:spMk id="65" creationId="{6CB646AA-B3EA-EEA3-FDD6-1AB1632AEBED}"/>
          </ac:spMkLst>
        </pc:spChg>
        <pc:spChg chg="mod">
          <ac:chgData name="Plunkett Kelly" userId="cdb012e4-69ac-4954-928c-e33ec36f5eba" providerId="ADAL" clId="{2A079017-6789-4E78-BFB4-5FB800F73343}" dt="2023-07-29T14:01:24.946" v="4414"/>
          <ac:spMkLst>
            <pc:docMk/>
            <pc:sldMk cId="3733227749" sldId="2147479650"/>
            <ac:spMk id="66" creationId="{ECDFD527-1503-FCFF-3395-07D97734897A}"/>
          </ac:spMkLst>
        </pc:spChg>
        <pc:spChg chg="mod">
          <ac:chgData name="Plunkett Kelly" userId="cdb012e4-69ac-4954-928c-e33ec36f5eba" providerId="ADAL" clId="{2A079017-6789-4E78-BFB4-5FB800F73343}" dt="2023-07-29T14:01:24.946" v="4414"/>
          <ac:spMkLst>
            <pc:docMk/>
            <pc:sldMk cId="3733227749" sldId="2147479650"/>
            <ac:spMk id="71" creationId="{8180161A-B74E-9C9A-6D77-59ECBE8845DB}"/>
          </ac:spMkLst>
        </pc:spChg>
        <pc:spChg chg="mod">
          <ac:chgData name="Plunkett Kelly" userId="cdb012e4-69ac-4954-928c-e33ec36f5eba" providerId="ADAL" clId="{2A079017-6789-4E78-BFB4-5FB800F73343}" dt="2023-07-29T14:01:24.946" v="4414"/>
          <ac:spMkLst>
            <pc:docMk/>
            <pc:sldMk cId="3733227749" sldId="2147479650"/>
            <ac:spMk id="72" creationId="{0FF11AD3-F9AE-A98F-2B59-B6DED18EFBF3}"/>
          </ac:spMkLst>
        </pc:spChg>
        <pc:spChg chg="mod">
          <ac:chgData name="Plunkett Kelly" userId="cdb012e4-69ac-4954-928c-e33ec36f5eba" providerId="ADAL" clId="{2A079017-6789-4E78-BFB4-5FB800F73343}" dt="2023-07-29T14:01:24.946" v="4414"/>
          <ac:spMkLst>
            <pc:docMk/>
            <pc:sldMk cId="3733227749" sldId="2147479650"/>
            <ac:spMk id="73" creationId="{5B595A9E-74C2-C097-2B40-AB3C79EBAE42}"/>
          </ac:spMkLst>
        </pc:spChg>
        <pc:spChg chg="mod">
          <ac:chgData name="Plunkett Kelly" userId="cdb012e4-69ac-4954-928c-e33ec36f5eba" providerId="ADAL" clId="{2A079017-6789-4E78-BFB4-5FB800F73343}" dt="2023-07-29T14:01:24.946" v="4414"/>
          <ac:spMkLst>
            <pc:docMk/>
            <pc:sldMk cId="3733227749" sldId="2147479650"/>
            <ac:spMk id="74" creationId="{5F07C12D-5858-D39F-D165-FE9D201167BF}"/>
          </ac:spMkLst>
        </pc:spChg>
        <pc:spChg chg="mod">
          <ac:chgData name="Plunkett Kelly" userId="cdb012e4-69ac-4954-928c-e33ec36f5eba" providerId="ADAL" clId="{2A079017-6789-4E78-BFB4-5FB800F73343}" dt="2023-07-29T14:01:24.946" v="4414"/>
          <ac:spMkLst>
            <pc:docMk/>
            <pc:sldMk cId="3733227749" sldId="2147479650"/>
            <ac:spMk id="75" creationId="{C5DB6087-532A-A80F-0C28-02D7B106EAF6}"/>
          </ac:spMkLst>
        </pc:spChg>
        <pc:spChg chg="mod">
          <ac:chgData name="Plunkett Kelly" userId="cdb012e4-69ac-4954-928c-e33ec36f5eba" providerId="ADAL" clId="{2A079017-6789-4E78-BFB4-5FB800F73343}" dt="2023-07-29T14:01:24.946" v="4414"/>
          <ac:spMkLst>
            <pc:docMk/>
            <pc:sldMk cId="3733227749" sldId="2147479650"/>
            <ac:spMk id="76" creationId="{AF92DF61-58D8-2B9D-A7FD-E2225C15881C}"/>
          </ac:spMkLst>
        </pc:spChg>
        <pc:spChg chg="mod">
          <ac:chgData name="Plunkett Kelly" userId="cdb012e4-69ac-4954-928c-e33ec36f5eba" providerId="ADAL" clId="{2A079017-6789-4E78-BFB4-5FB800F73343}" dt="2023-07-29T14:01:24.946" v="4414"/>
          <ac:spMkLst>
            <pc:docMk/>
            <pc:sldMk cId="3733227749" sldId="2147479650"/>
            <ac:spMk id="79" creationId="{EED51E3A-3392-F5FD-C35E-2DC46F042BDA}"/>
          </ac:spMkLst>
        </pc:spChg>
        <pc:spChg chg="mod">
          <ac:chgData name="Plunkett Kelly" userId="cdb012e4-69ac-4954-928c-e33ec36f5eba" providerId="ADAL" clId="{2A079017-6789-4E78-BFB4-5FB800F73343}" dt="2023-07-29T14:01:24.946" v="4414"/>
          <ac:spMkLst>
            <pc:docMk/>
            <pc:sldMk cId="3733227749" sldId="2147479650"/>
            <ac:spMk id="80" creationId="{3B78B8D4-EF05-ABD2-2D9F-BA4348F9886A}"/>
          </ac:spMkLst>
        </pc:spChg>
        <pc:spChg chg="mod">
          <ac:chgData name="Plunkett Kelly" userId="cdb012e4-69ac-4954-928c-e33ec36f5eba" providerId="ADAL" clId="{2A079017-6789-4E78-BFB4-5FB800F73343}" dt="2023-07-29T14:01:24.946" v="4414"/>
          <ac:spMkLst>
            <pc:docMk/>
            <pc:sldMk cId="3733227749" sldId="2147479650"/>
            <ac:spMk id="81" creationId="{518A5FD4-8F1F-6093-54D7-3128E32DAF29}"/>
          </ac:spMkLst>
        </pc:spChg>
        <pc:spChg chg="mod">
          <ac:chgData name="Plunkett Kelly" userId="cdb012e4-69ac-4954-928c-e33ec36f5eba" providerId="ADAL" clId="{2A079017-6789-4E78-BFB4-5FB800F73343}" dt="2023-07-29T14:01:24.946" v="4414"/>
          <ac:spMkLst>
            <pc:docMk/>
            <pc:sldMk cId="3733227749" sldId="2147479650"/>
            <ac:spMk id="82" creationId="{3EE763AA-BA02-DF0D-B10B-DAC0C0DA1187}"/>
          </ac:spMkLst>
        </pc:spChg>
        <pc:spChg chg="mod">
          <ac:chgData name="Plunkett Kelly" userId="cdb012e4-69ac-4954-928c-e33ec36f5eba" providerId="ADAL" clId="{2A079017-6789-4E78-BFB4-5FB800F73343}" dt="2023-07-29T14:01:24.946" v="4414"/>
          <ac:spMkLst>
            <pc:docMk/>
            <pc:sldMk cId="3733227749" sldId="2147479650"/>
            <ac:spMk id="83" creationId="{1ED4D714-6BAD-1F00-BD2E-0311D59FF8D1}"/>
          </ac:spMkLst>
        </pc:spChg>
        <pc:spChg chg="mod">
          <ac:chgData name="Plunkett Kelly" userId="cdb012e4-69ac-4954-928c-e33ec36f5eba" providerId="ADAL" clId="{2A079017-6789-4E78-BFB4-5FB800F73343}" dt="2023-07-29T14:01:24.946" v="4414"/>
          <ac:spMkLst>
            <pc:docMk/>
            <pc:sldMk cId="3733227749" sldId="2147479650"/>
            <ac:spMk id="84" creationId="{976E476D-C4AD-A4EB-4B0F-E8285223DB11}"/>
          </ac:spMkLst>
        </pc:spChg>
        <pc:spChg chg="mod">
          <ac:chgData name="Plunkett Kelly" userId="cdb012e4-69ac-4954-928c-e33ec36f5eba" providerId="ADAL" clId="{2A079017-6789-4E78-BFB4-5FB800F73343}" dt="2023-07-29T14:01:24.946" v="4414"/>
          <ac:spMkLst>
            <pc:docMk/>
            <pc:sldMk cId="3733227749" sldId="2147479650"/>
            <ac:spMk id="87" creationId="{91917EDD-47C3-1E0D-0944-DE4A0C33FAD5}"/>
          </ac:spMkLst>
        </pc:spChg>
        <pc:spChg chg="mod">
          <ac:chgData name="Plunkett Kelly" userId="cdb012e4-69ac-4954-928c-e33ec36f5eba" providerId="ADAL" clId="{2A079017-6789-4E78-BFB4-5FB800F73343}" dt="2023-07-29T14:01:24.946" v="4414"/>
          <ac:spMkLst>
            <pc:docMk/>
            <pc:sldMk cId="3733227749" sldId="2147479650"/>
            <ac:spMk id="88" creationId="{85BD84EB-F852-FF99-8078-C87717E25960}"/>
          </ac:spMkLst>
        </pc:spChg>
        <pc:spChg chg="mod">
          <ac:chgData name="Plunkett Kelly" userId="cdb012e4-69ac-4954-928c-e33ec36f5eba" providerId="ADAL" clId="{2A079017-6789-4E78-BFB4-5FB800F73343}" dt="2023-07-29T14:01:24.946" v="4414"/>
          <ac:spMkLst>
            <pc:docMk/>
            <pc:sldMk cId="3733227749" sldId="2147479650"/>
            <ac:spMk id="89" creationId="{6CA6D13D-9518-CAB1-FFC5-B5AD7FD08E9D}"/>
          </ac:spMkLst>
        </pc:spChg>
        <pc:spChg chg="mod">
          <ac:chgData name="Plunkett Kelly" userId="cdb012e4-69ac-4954-928c-e33ec36f5eba" providerId="ADAL" clId="{2A079017-6789-4E78-BFB4-5FB800F73343}" dt="2023-07-29T14:01:24.946" v="4414"/>
          <ac:spMkLst>
            <pc:docMk/>
            <pc:sldMk cId="3733227749" sldId="2147479650"/>
            <ac:spMk id="94" creationId="{B8EC417A-804E-B303-0CA1-791A0175A80C}"/>
          </ac:spMkLst>
        </pc:spChg>
        <pc:spChg chg="mod">
          <ac:chgData name="Plunkett Kelly" userId="cdb012e4-69ac-4954-928c-e33ec36f5eba" providerId="ADAL" clId="{2A079017-6789-4E78-BFB4-5FB800F73343}" dt="2023-07-29T14:01:24.946" v="4414"/>
          <ac:spMkLst>
            <pc:docMk/>
            <pc:sldMk cId="3733227749" sldId="2147479650"/>
            <ac:spMk id="96" creationId="{88F32466-9761-C6D8-5175-70CB1B1A0886}"/>
          </ac:spMkLst>
        </pc:spChg>
        <pc:spChg chg="mod">
          <ac:chgData name="Plunkett Kelly" userId="cdb012e4-69ac-4954-928c-e33ec36f5eba" providerId="ADAL" clId="{2A079017-6789-4E78-BFB4-5FB800F73343}" dt="2023-07-29T14:01:24.946" v="4414"/>
          <ac:spMkLst>
            <pc:docMk/>
            <pc:sldMk cId="3733227749" sldId="2147479650"/>
            <ac:spMk id="97" creationId="{E4DD5316-E05F-609C-AFEA-A2B2B188A556}"/>
          </ac:spMkLst>
        </pc:spChg>
        <pc:spChg chg="mod">
          <ac:chgData name="Plunkett Kelly" userId="cdb012e4-69ac-4954-928c-e33ec36f5eba" providerId="ADAL" clId="{2A079017-6789-4E78-BFB4-5FB800F73343}" dt="2023-07-29T14:01:24.946" v="4414"/>
          <ac:spMkLst>
            <pc:docMk/>
            <pc:sldMk cId="3733227749" sldId="2147479650"/>
            <ac:spMk id="98" creationId="{3DF0265D-1F78-80E0-E1C1-F9827B760F79}"/>
          </ac:spMkLst>
        </pc:spChg>
        <pc:spChg chg="mod">
          <ac:chgData name="Plunkett Kelly" userId="cdb012e4-69ac-4954-928c-e33ec36f5eba" providerId="ADAL" clId="{2A079017-6789-4E78-BFB4-5FB800F73343}" dt="2023-07-29T14:01:24.946" v="4414"/>
          <ac:spMkLst>
            <pc:docMk/>
            <pc:sldMk cId="3733227749" sldId="2147479650"/>
            <ac:spMk id="99" creationId="{B670EB8E-0E01-4052-75F0-6AD924AE4A93}"/>
          </ac:spMkLst>
        </pc:spChg>
        <pc:spChg chg="mod">
          <ac:chgData name="Plunkett Kelly" userId="cdb012e4-69ac-4954-928c-e33ec36f5eba" providerId="ADAL" clId="{2A079017-6789-4E78-BFB4-5FB800F73343}" dt="2023-07-29T14:01:24.946" v="4414"/>
          <ac:spMkLst>
            <pc:docMk/>
            <pc:sldMk cId="3733227749" sldId="2147479650"/>
            <ac:spMk id="100" creationId="{896163D4-21FD-64B0-0383-86268F2069BE}"/>
          </ac:spMkLst>
        </pc:spChg>
        <pc:spChg chg="mod">
          <ac:chgData name="Plunkett Kelly" userId="cdb012e4-69ac-4954-928c-e33ec36f5eba" providerId="ADAL" clId="{2A079017-6789-4E78-BFB4-5FB800F73343}" dt="2023-07-29T14:01:24.946" v="4414"/>
          <ac:spMkLst>
            <pc:docMk/>
            <pc:sldMk cId="3733227749" sldId="2147479650"/>
            <ac:spMk id="102" creationId="{C5831B07-C19D-CEC1-A766-9ECBABFA5E6E}"/>
          </ac:spMkLst>
        </pc:spChg>
        <pc:spChg chg="mod">
          <ac:chgData name="Plunkett Kelly" userId="cdb012e4-69ac-4954-928c-e33ec36f5eba" providerId="ADAL" clId="{2A079017-6789-4E78-BFB4-5FB800F73343}" dt="2023-07-29T14:01:24.946" v="4414"/>
          <ac:spMkLst>
            <pc:docMk/>
            <pc:sldMk cId="3733227749" sldId="2147479650"/>
            <ac:spMk id="103" creationId="{C819EA9D-435B-E217-99A0-82A92049F257}"/>
          </ac:spMkLst>
        </pc:spChg>
        <pc:spChg chg="mod">
          <ac:chgData name="Plunkett Kelly" userId="cdb012e4-69ac-4954-928c-e33ec36f5eba" providerId="ADAL" clId="{2A079017-6789-4E78-BFB4-5FB800F73343}" dt="2023-07-29T14:01:24.946" v="4414"/>
          <ac:spMkLst>
            <pc:docMk/>
            <pc:sldMk cId="3733227749" sldId="2147479650"/>
            <ac:spMk id="104" creationId="{2E7A19C6-B2E2-AC9A-F1E1-7BEEA6FACB81}"/>
          </ac:spMkLst>
        </pc:spChg>
        <pc:spChg chg="mod">
          <ac:chgData name="Plunkett Kelly" userId="cdb012e4-69ac-4954-928c-e33ec36f5eba" providerId="ADAL" clId="{2A079017-6789-4E78-BFB4-5FB800F73343}" dt="2023-07-29T14:01:24.946" v="4414"/>
          <ac:spMkLst>
            <pc:docMk/>
            <pc:sldMk cId="3733227749" sldId="2147479650"/>
            <ac:spMk id="106" creationId="{8E354D9F-BD43-0E3B-6146-53D2F801EA93}"/>
          </ac:spMkLst>
        </pc:spChg>
        <pc:spChg chg="mod">
          <ac:chgData name="Plunkett Kelly" userId="cdb012e4-69ac-4954-928c-e33ec36f5eba" providerId="ADAL" clId="{2A079017-6789-4E78-BFB4-5FB800F73343}" dt="2023-07-29T14:01:24.946" v="4414"/>
          <ac:spMkLst>
            <pc:docMk/>
            <pc:sldMk cId="3733227749" sldId="2147479650"/>
            <ac:spMk id="107" creationId="{4FACC4F7-3D11-F8BD-0C51-798C279A879E}"/>
          </ac:spMkLst>
        </pc:spChg>
        <pc:spChg chg="mod">
          <ac:chgData name="Plunkett Kelly" userId="cdb012e4-69ac-4954-928c-e33ec36f5eba" providerId="ADAL" clId="{2A079017-6789-4E78-BFB4-5FB800F73343}" dt="2023-07-29T14:01:24.946" v="4414"/>
          <ac:spMkLst>
            <pc:docMk/>
            <pc:sldMk cId="3733227749" sldId="2147479650"/>
            <ac:spMk id="108" creationId="{B2B75EC7-631A-2660-4942-96965818C69E}"/>
          </ac:spMkLst>
        </pc:spChg>
        <pc:spChg chg="add del mod">
          <ac:chgData name="Plunkett Kelly" userId="cdb012e4-69ac-4954-928c-e33ec36f5eba" providerId="ADAL" clId="{2A079017-6789-4E78-BFB4-5FB800F73343}" dt="2023-07-29T14:40:24.268" v="5093" actId="21"/>
          <ac:spMkLst>
            <pc:docMk/>
            <pc:sldMk cId="3733227749" sldId="2147479650"/>
            <ac:spMk id="109" creationId="{535F1685-281C-4640-1F14-45ACF07EB2AD}"/>
          </ac:spMkLst>
        </pc:spChg>
        <pc:spChg chg="add mod">
          <ac:chgData name="Plunkett Kelly" userId="cdb012e4-69ac-4954-928c-e33ec36f5eba" providerId="ADAL" clId="{2A079017-6789-4E78-BFB4-5FB800F73343}" dt="2023-08-01T07:44:43.810" v="8049" actId="1076"/>
          <ac:spMkLst>
            <pc:docMk/>
            <pc:sldMk cId="3733227749" sldId="2147479650"/>
            <ac:spMk id="110" creationId="{D9FAB352-CA46-811F-3D49-27E2367AE0CC}"/>
          </ac:spMkLst>
        </pc:spChg>
        <pc:spChg chg="add mod">
          <ac:chgData name="Plunkett Kelly" userId="cdb012e4-69ac-4954-928c-e33ec36f5eba" providerId="ADAL" clId="{2A079017-6789-4E78-BFB4-5FB800F73343}" dt="2023-07-29T16:25:24.470" v="6250" actId="1036"/>
          <ac:spMkLst>
            <pc:docMk/>
            <pc:sldMk cId="3733227749" sldId="2147479650"/>
            <ac:spMk id="111" creationId="{564B556F-FB64-D7DE-D219-FA7C493AD617}"/>
          </ac:spMkLst>
        </pc:spChg>
        <pc:spChg chg="add mod">
          <ac:chgData name="Plunkett Kelly" userId="cdb012e4-69ac-4954-928c-e33ec36f5eba" providerId="ADAL" clId="{2A079017-6789-4E78-BFB4-5FB800F73343}" dt="2023-07-29T16:25:24.470" v="6250" actId="1036"/>
          <ac:spMkLst>
            <pc:docMk/>
            <pc:sldMk cId="3733227749" sldId="2147479650"/>
            <ac:spMk id="112" creationId="{F40C5D27-A65E-0BED-243B-22341C764DB1}"/>
          </ac:spMkLst>
        </pc:spChg>
        <pc:spChg chg="add mod">
          <ac:chgData name="Plunkett Kelly" userId="cdb012e4-69ac-4954-928c-e33ec36f5eba" providerId="ADAL" clId="{2A079017-6789-4E78-BFB4-5FB800F73343}" dt="2023-07-29T16:25:24.470" v="6250" actId="1036"/>
          <ac:spMkLst>
            <pc:docMk/>
            <pc:sldMk cId="3733227749" sldId="2147479650"/>
            <ac:spMk id="113" creationId="{A25DB9C0-53AD-0CE1-D89B-4C9A1D3CB9BA}"/>
          </ac:spMkLst>
        </pc:spChg>
        <pc:spChg chg="add mod">
          <ac:chgData name="Plunkett Kelly" userId="cdb012e4-69ac-4954-928c-e33ec36f5eba" providerId="ADAL" clId="{2A079017-6789-4E78-BFB4-5FB800F73343}" dt="2023-07-29T16:25:24.470" v="6250" actId="1036"/>
          <ac:spMkLst>
            <pc:docMk/>
            <pc:sldMk cId="3733227749" sldId="2147479650"/>
            <ac:spMk id="114" creationId="{14DBA85B-69FB-FABC-7052-97ABD5B656B6}"/>
          </ac:spMkLst>
        </pc:spChg>
        <pc:spChg chg="add mod">
          <ac:chgData name="Plunkett Kelly" userId="cdb012e4-69ac-4954-928c-e33ec36f5eba" providerId="ADAL" clId="{2A079017-6789-4E78-BFB4-5FB800F73343}" dt="2023-07-29T16:25:24.470" v="6250" actId="1036"/>
          <ac:spMkLst>
            <pc:docMk/>
            <pc:sldMk cId="3733227749" sldId="2147479650"/>
            <ac:spMk id="115" creationId="{9C2B0133-DE3C-1C4D-B78C-74462022E4B8}"/>
          </ac:spMkLst>
        </pc:spChg>
        <pc:spChg chg="mod">
          <ac:chgData name="Plunkett Kelly" userId="cdb012e4-69ac-4954-928c-e33ec36f5eba" providerId="ADAL" clId="{2A079017-6789-4E78-BFB4-5FB800F73343}" dt="2023-07-29T14:40:44.295" v="5097"/>
          <ac:spMkLst>
            <pc:docMk/>
            <pc:sldMk cId="3733227749" sldId="2147479650"/>
            <ac:spMk id="117" creationId="{56B2FCA3-EB6C-37C3-E25B-FBF14507F2AD}"/>
          </ac:spMkLst>
        </pc:spChg>
        <pc:spChg chg="mod">
          <ac:chgData name="Plunkett Kelly" userId="cdb012e4-69ac-4954-928c-e33ec36f5eba" providerId="ADAL" clId="{2A079017-6789-4E78-BFB4-5FB800F73343}" dt="2023-07-29T14:40:44.295" v="5097"/>
          <ac:spMkLst>
            <pc:docMk/>
            <pc:sldMk cId="3733227749" sldId="2147479650"/>
            <ac:spMk id="118" creationId="{992B61DC-A20E-E5DC-EEE4-006D266FEE14}"/>
          </ac:spMkLst>
        </pc:spChg>
        <pc:spChg chg="mod">
          <ac:chgData name="Plunkett Kelly" userId="cdb012e4-69ac-4954-928c-e33ec36f5eba" providerId="ADAL" clId="{2A079017-6789-4E78-BFB4-5FB800F73343}" dt="2023-07-29T14:40:44.295" v="5097"/>
          <ac:spMkLst>
            <pc:docMk/>
            <pc:sldMk cId="3733227749" sldId="2147479650"/>
            <ac:spMk id="120" creationId="{8E4CD8C4-466F-F7D9-6125-C0643A0D8DF5}"/>
          </ac:spMkLst>
        </pc:spChg>
        <pc:spChg chg="mod">
          <ac:chgData name="Plunkett Kelly" userId="cdb012e4-69ac-4954-928c-e33ec36f5eba" providerId="ADAL" clId="{2A079017-6789-4E78-BFB4-5FB800F73343}" dt="2023-07-29T14:40:44.295" v="5097"/>
          <ac:spMkLst>
            <pc:docMk/>
            <pc:sldMk cId="3733227749" sldId="2147479650"/>
            <ac:spMk id="121" creationId="{E09CC333-5B00-2B8B-4F63-A879C5282EA6}"/>
          </ac:spMkLst>
        </pc:spChg>
        <pc:spChg chg="mod">
          <ac:chgData name="Plunkett Kelly" userId="cdb012e4-69ac-4954-928c-e33ec36f5eba" providerId="ADAL" clId="{2A079017-6789-4E78-BFB4-5FB800F73343}" dt="2023-07-29T14:40:44.295" v="5097"/>
          <ac:spMkLst>
            <pc:docMk/>
            <pc:sldMk cId="3733227749" sldId="2147479650"/>
            <ac:spMk id="123" creationId="{6CC1B568-58F4-12DB-860E-406C2887FF02}"/>
          </ac:spMkLst>
        </pc:spChg>
        <pc:spChg chg="mod">
          <ac:chgData name="Plunkett Kelly" userId="cdb012e4-69ac-4954-928c-e33ec36f5eba" providerId="ADAL" clId="{2A079017-6789-4E78-BFB4-5FB800F73343}" dt="2023-07-29T14:40:44.295" v="5097"/>
          <ac:spMkLst>
            <pc:docMk/>
            <pc:sldMk cId="3733227749" sldId="2147479650"/>
            <ac:spMk id="124" creationId="{D660F9E7-2341-DB82-B10A-5CD1ED75AC77}"/>
          </ac:spMkLst>
        </pc:spChg>
        <pc:spChg chg="add mod">
          <ac:chgData name="Plunkett Kelly" userId="cdb012e4-69ac-4954-928c-e33ec36f5eba" providerId="ADAL" clId="{2A079017-6789-4E78-BFB4-5FB800F73343}" dt="2023-07-29T16:25:24.470" v="6250" actId="1036"/>
          <ac:spMkLst>
            <pc:docMk/>
            <pc:sldMk cId="3733227749" sldId="2147479650"/>
            <ac:spMk id="125" creationId="{ABA63DE8-7BC0-62E4-5A85-4918D757A1EB}"/>
          </ac:spMkLst>
        </pc:spChg>
        <pc:spChg chg="add mod">
          <ac:chgData name="Plunkett Kelly" userId="cdb012e4-69ac-4954-928c-e33ec36f5eba" providerId="ADAL" clId="{2A079017-6789-4E78-BFB4-5FB800F73343}" dt="2023-07-29T16:25:24.470" v="6250" actId="1036"/>
          <ac:spMkLst>
            <pc:docMk/>
            <pc:sldMk cId="3733227749" sldId="2147479650"/>
            <ac:spMk id="126" creationId="{7FC01B13-7B57-19C5-A8E3-72490E140B58}"/>
          </ac:spMkLst>
        </pc:spChg>
        <pc:spChg chg="add mod">
          <ac:chgData name="Plunkett Kelly" userId="cdb012e4-69ac-4954-928c-e33ec36f5eba" providerId="ADAL" clId="{2A079017-6789-4E78-BFB4-5FB800F73343}" dt="2023-07-29T16:25:24.470" v="6250" actId="1036"/>
          <ac:spMkLst>
            <pc:docMk/>
            <pc:sldMk cId="3733227749" sldId="2147479650"/>
            <ac:spMk id="127" creationId="{A1CD7DD6-B954-1E58-9F64-31084D79C510}"/>
          </ac:spMkLst>
        </pc:spChg>
        <pc:spChg chg="add mod">
          <ac:chgData name="Plunkett Kelly" userId="cdb012e4-69ac-4954-928c-e33ec36f5eba" providerId="ADAL" clId="{2A079017-6789-4E78-BFB4-5FB800F73343}" dt="2023-07-29T16:25:24.470" v="6250" actId="1036"/>
          <ac:spMkLst>
            <pc:docMk/>
            <pc:sldMk cId="3733227749" sldId="2147479650"/>
            <ac:spMk id="128" creationId="{820909C1-4F7E-3872-9A96-D3EAECE38C55}"/>
          </ac:spMkLst>
        </pc:spChg>
        <pc:spChg chg="mod">
          <ac:chgData name="Plunkett Kelly" userId="cdb012e4-69ac-4954-928c-e33ec36f5eba" providerId="ADAL" clId="{2A079017-6789-4E78-BFB4-5FB800F73343}" dt="2023-07-29T14:40:44.295" v="5097"/>
          <ac:spMkLst>
            <pc:docMk/>
            <pc:sldMk cId="3733227749" sldId="2147479650"/>
            <ac:spMk id="130" creationId="{25E6DC50-3520-CB2E-8E8F-03EEDF7006EA}"/>
          </ac:spMkLst>
        </pc:spChg>
        <pc:spChg chg="mod">
          <ac:chgData name="Plunkett Kelly" userId="cdb012e4-69ac-4954-928c-e33ec36f5eba" providerId="ADAL" clId="{2A079017-6789-4E78-BFB4-5FB800F73343}" dt="2023-07-29T14:40:44.295" v="5097"/>
          <ac:spMkLst>
            <pc:docMk/>
            <pc:sldMk cId="3733227749" sldId="2147479650"/>
            <ac:spMk id="131" creationId="{B98CBD43-8E4A-9C8E-3CCD-60B087386E31}"/>
          </ac:spMkLst>
        </pc:spChg>
        <pc:spChg chg="add mod">
          <ac:chgData name="Plunkett Kelly" userId="cdb012e4-69ac-4954-928c-e33ec36f5eba" providerId="ADAL" clId="{2A079017-6789-4E78-BFB4-5FB800F73343}" dt="2023-07-29T16:25:24.470" v="6250" actId="1036"/>
          <ac:spMkLst>
            <pc:docMk/>
            <pc:sldMk cId="3733227749" sldId="2147479650"/>
            <ac:spMk id="132" creationId="{86F9CD59-DF1F-35E6-6D82-E70154E87D92}"/>
          </ac:spMkLst>
        </pc:spChg>
        <pc:spChg chg="add mod">
          <ac:chgData name="Plunkett Kelly" userId="cdb012e4-69ac-4954-928c-e33ec36f5eba" providerId="ADAL" clId="{2A079017-6789-4E78-BFB4-5FB800F73343}" dt="2023-07-29T16:25:24.470" v="6250" actId="1036"/>
          <ac:spMkLst>
            <pc:docMk/>
            <pc:sldMk cId="3733227749" sldId="2147479650"/>
            <ac:spMk id="133" creationId="{C0533F1F-2A58-17BC-DCB7-98D64C5392CA}"/>
          </ac:spMkLst>
        </pc:spChg>
        <pc:spChg chg="add mod">
          <ac:chgData name="Plunkett Kelly" userId="cdb012e4-69ac-4954-928c-e33ec36f5eba" providerId="ADAL" clId="{2A079017-6789-4E78-BFB4-5FB800F73343}" dt="2023-08-01T07:45:27.331" v="8062" actId="688"/>
          <ac:spMkLst>
            <pc:docMk/>
            <pc:sldMk cId="3733227749" sldId="2147479650"/>
            <ac:spMk id="134" creationId="{26A26251-35A7-555C-B853-251EAAE4C0B3}"/>
          </ac:spMkLst>
        </pc:spChg>
        <pc:spChg chg="add mod">
          <ac:chgData name="Plunkett Kelly" userId="cdb012e4-69ac-4954-928c-e33ec36f5eba" providerId="ADAL" clId="{2A079017-6789-4E78-BFB4-5FB800F73343}" dt="2023-08-01T07:45:04.827" v="8055" actId="1076"/>
          <ac:spMkLst>
            <pc:docMk/>
            <pc:sldMk cId="3733227749" sldId="2147479650"/>
            <ac:spMk id="135" creationId="{99DF9916-31D3-9497-89DA-B78672F32FEA}"/>
          </ac:spMkLst>
        </pc:spChg>
        <pc:spChg chg="add mod">
          <ac:chgData name="Plunkett Kelly" userId="cdb012e4-69ac-4954-928c-e33ec36f5eba" providerId="ADAL" clId="{2A079017-6789-4E78-BFB4-5FB800F73343}" dt="2023-07-29T16:25:24.470" v="6250" actId="1036"/>
          <ac:spMkLst>
            <pc:docMk/>
            <pc:sldMk cId="3733227749" sldId="2147479650"/>
            <ac:spMk id="136" creationId="{ACCC3A05-4361-CD2A-8C4A-D2DCF3C0A719}"/>
          </ac:spMkLst>
        </pc:spChg>
        <pc:spChg chg="add mod">
          <ac:chgData name="Plunkett Kelly" userId="cdb012e4-69ac-4954-928c-e33ec36f5eba" providerId="ADAL" clId="{2A079017-6789-4E78-BFB4-5FB800F73343}" dt="2023-08-03T11:55:17.479" v="11053" actId="1076"/>
          <ac:spMkLst>
            <pc:docMk/>
            <pc:sldMk cId="3733227749" sldId="2147479650"/>
            <ac:spMk id="137" creationId="{AF6C175B-768D-D787-B4B8-127FAD9FB644}"/>
          </ac:spMkLst>
        </pc:spChg>
        <pc:spChg chg="add mod">
          <ac:chgData name="Plunkett Kelly" userId="cdb012e4-69ac-4954-928c-e33ec36f5eba" providerId="ADAL" clId="{2A079017-6789-4E78-BFB4-5FB800F73343}" dt="2023-07-31T09:25:55.993" v="7020" actId="1038"/>
          <ac:spMkLst>
            <pc:docMk/>
            <pc:sldMk cId="3733227749" sldId="2147479650"/>
            <ac:spMk id="138" creationId="{78780F4A-B8F2-1525-9EE4-3D3FB679D192}"/>
          </ac:spMkLst>
        </pc:spChg>
        <pc:spChg chg="mod">
          <ac:chgData name="Plunkett Kelly" userId="cdb012e4-69ac-4954-928c-e33ec36f5eba" providerId="ADAL" clId="{2A079017-6789-4E78-BFB4-5FB800F73343}" dt="2023-07-29T14:42:57.986" v="5108"/>
          <ac:spMkLst>
            <pc:docMk/>
            <pc:sldMk cId="3733227749" sldId="2147479650"/>
            <ac:spMk id="140" creationId="{D7FF1205-F9F8-B06C-8313-0A8A06CB9391}"/>
          </ac:spMkLst>
        </pc:spChg>
        <pc:spChg chg="mod">
          <ac:chgData name="Plunkett Kelly" userId="cdb012e4-69ac-4954-928c-e33ec36f5eba" providerId="ADAL" clId="{2A079017-6789-4E78-BFB4-5FB800F73343}" dt="2023-07-29T14:42:57.986" v="5108"/>
          <ac:spMkLst>
            <pc:docMk/>
            <pc:sldMk cId="3733227749" sldId="2147479650"/>
            <ac:spMk id="141" creationId="{C030FB14-8CAF-DF28-497F-FE4F6765D802}"/>
          </ac:spMkLst>
        </pc:spChg>
        <pc:spChg chg="mod">
          <ac:chgData name="Plunkett Kelly" userId="cdb012e4-69ac-4954-928c-e33ec36f5eba" providerId="ADAL" clId="{2A079017-6789-4E78-BFB4-5FB800F73343}" dt="2023-07-29T14:42:57.986" v="5108"/>
          <ac:spMkLst>
            <pc:docMk/>
            <pc:sldMk cId="3733227749" sldId="2147479650"/>
            <ac:spMk id="143" creationId="{5AF9F232-B364-45C7-25DE-89DA784775E4}"/>
          </ac:spMkLst>
        </pc:spChg>
        <pc:spChg chg="mod">
          <ac:chgData name="Plunkett Kelly" userId="cdb012e4-69ac-4954-928c-e33ec36f5eba" providerId="ADAL" clId="{2A079017-6789-4E78-BFB4-5FB800F73343}" dt="2023-07-29T14:42:57.986" v="5108"/>
          <ac:spMkLst>
            <pc:docMk/>
            <pc:sldMk cId="3733227749" sldId="2147479650"/>
            <ac:spMk id="144" creationId="{0433680D-32A5-7238-BFA5-50C12B3F3634}"/>
          </ac:spMkLst>
        </pc:spChg>
        <pc:spChg chg="mod">
          <ac:chgData name="Plunkett Kelly" userId="cdb012e4-69ac-4954-928c-e33ec36f5eba" providerId="ADAL" clId="{2A079017-6789-4E78-BFB4-5FB800F73343}" dt="2023-07-29T14:42:57.986" v="5108"/>
          <ac:spMkLst>
            <pc:docMk/>
            <pc:sldMk cId="3733227749" sldId="2147479650"/>
            <ac:spMk id="149" creationId="{0D8FEB3A-5C54-062C-8F14-C1527CEED0E8}"/>
          </ac:spMkLst>
        </pc:spChg>
        <pc:spChg chg="mod">
          <ac:chgData name="Plunkett Kelly" userId="cdb012e4-69ac-4954-928c-e33ec36f5eba" providerId="ADAL" clId="{2A079017-6789-4E78-BFB4-5FB800F73343}" dt="2023-07-29T14:42:57.986" v="5108"/>
          <ac:spMkLst>
            <pc:docMk/>
            <pc:sldMk cId="3733227749" sldId="2147479650"/>
            <ac:spMk id="150" creationId="{0D5122B7-D3A4-4FBB-9E4D-C972ED55BA11}"/>
          </ac:spMkLst>
        </pc:spChg>
        <pc:spChg chg="mod">
          <ac:chgData name="Plunkett Kelly" userId="cdb012e4-69ac-4954-928c-e33ec36f5eba" providerId="ADAL" clId="{2A079017-6789-4E78-BFB4-5FB800F73343}" dt="2023-07-29T14:42:57.986" v="5108"/>
          <ac:spMkLst>
            <pc:docMk/>
            <pc:sldMk cId="3733227749" sldId="2147479650"/>
            <ac:spMk id="151" creationId="{F4240194-3083-7122-86EE-172E470B777B}"/>
          </ac:spMkLst>
        </pc:spChg>
        <pc:spChg chg="mod">
          <ac:chgData name="Plunkett Kelly" userId="cdb012e4-69ac-4954-928c-e33ec36f5eba" providerId="ADAL" clId="{2A079017-6789-4E78-BFB4-5FB800F73343}" dt="2023-07-29T14:42:57.986" v="5108"/>
          <ac:spMkLst>
            <pc:docMk/>
            <pc:sldMk cId="3733227749" sldId="2147479650"/>
            <ac:spMk id="152" creationId="{D1884D06-6703-DF72-193C-BA8655000126}"/>
          </ac:spMkLst>
        </pc:spChg>
        <pc:spChg chg="mod">
          <ac:chgData name="Plunkett Kelly" userId="cdb012e4-69ac-4954-928c-e33ec36f5eba" providerId="ADAL" clId="{2A079017-6789-4E78-BFB4-5FB800F73343}" dt="2023-07-29T14:42:57.986" v="5108"/>
          <ac:spMkLst>
            <pc:docMk/>
            <pc:sldMk cId="3733227749" sldId="2147479650"/>
            <ac:spMk id="153" creationId="{B6954AB1-B74F-6460-6C2A-FF1A00A8954D}"/>
          </ac:spMkLst>
        </pc:spChg>
        <pc:spChg chg="mod">
          <ac:chgData name="Plunkett Kelly" userId="cdb012e4-69ac-4954-928c-e33ec36f5eba" providerId="ADAL" clId="{2A079017-6789-4E78-BFB4-5FB800F73343}" dt="2023-07-29T14:42:57.986" v="5108"/>
          <ac:spMkLst>
            <pc:docMk/>
            <pc:sldMk cId="3733227749" sldId="2147479650"/>
            <ac:spMk id="154" creationId="{745F21F4-C5A5-BDA0-D1EA-6ACF5C2C2B8D}"/>
          </ac:spMkLst>
        </pc:spChg>
        <pc:spChg chg="mod">
          <ac:chgData name="Plunkett Kelly" userId="cdb012e4-69ac-4954-928c-e33ec36f5eba" providerId="ADAL" clId="{2A079017-6789-4E78-BFB4-5FB800F73343}" dt="2023-07-29T14:42:57.986" v="5108"/>
          <ac:spMkLst>
            <pc:docMk/>
            <pc:sldMk cId="3733227749" sldId="2147479650"/>
            <ac:spMk id="157" creationId="{DEB953E4-5BBB-AC49-56F4-8E6B4C80313A}"/>
          </ac:spMkLst>
        </pc:spChg>
        <pc:spChg chg="mod">
          <ac:chgData name="Plunkett Kelly" userId="cdb012e4-69ac-4954-928c-e33ec36f5eba" providerId="ADAL" clId="{2A079017-6789-4E78-BFB4-5FB800F73343}" dt="2023-07-29T14:42:57.986" v="5108"/>
          <ac:spMkLst>
            <pc:docMk/>
            <pc:sldMk cId="3733227749" sldId="2147479650"/>
            <ac:spMk id="158" creationId="{714C78D8-061B-90ED-9995-33707F432BA2}"/>
          </ac:spMkLst>
        </pc:spChg>
        <pc:spChg chg="mod">
          <ac:chgData name="Plunkett Kelly" userId="cdb012e4-69ac-4954-928c-e33ec36f5eba" providerId="ADAL" clId="{2A079017-6789-4E78-BFB4-5FB800F73343}" dt="2023-07-29T14:42:57.986" v="5108"/>
          <ac:spMkLst>
            <pc:docMk/>
            <pc:sldMk cId="3733227749" sldId="2147479650"/>
            <ac:spMk id="159" creationId="{152D1E8B-657E-1696-4676-BE83C29C51D6}"/>
          </ac:spMkLst>
        </pc:spChg>
        <pc:spChg chg="mod">
          <ac:chgData name="Plunkett Kelly" userId="cdb012e4-69ac-4954-928c-e33ec36f5eba" providerId="ADAL" clId="{2A079017-6789-4E78-BFB4-5FB800F73343}" dt="2023-07-29T14:42:57.986" v="5108"/>
          <ac:spMkLst>
            <pc:docMk/>
            <pc:sldMk cId="3733227749" sldId="2147479650"/>
            <ac:spMk id="160" creationId="{FCD0FB3C-1F2D-6DCB-2389-799A4390B9B4}"/>
          </ac:spMkLst>
        </pc:spChg>
        <pc:spChg chg="mod">
          <ac:chgData name="Plunkett Kelly" userId="cdb012e4-69ac-4954-928c-e33ec36f5eba" providerId="ADAL" clId="{2A079017-6789-4E78-BFB4-5FB800F73343}" dt="2023-07-29T14:42:57.986" v="5108"/>
          <ac:spMkLst>
            <pc:docMk/>
            <pc:sldMk cId="3733227749" sldId="2147479650"/>
            <ac:spMk id="161" creationId="{BFBAE10A-9152-1B1D-1C1C-94025E7A5688}"/>
          </ac:spMkLst>
        </pc:spChg>
        <pc:spChg chg="mod">
          <ac:chgData name="Plunkett Kelly" userId="cdb012e4-69ac-4954-928c-e33ec36f5eba" providerId="ADAL" clId="{2A079017-6789-4E78-BFB4-5FB800F73343}" dt="2023-07-29T14:42:57.986" v="5108"/>
          <ac:spMkLst>
            <pc:docMk/>
            <pc:sldMk cId="3733227749" sldId="2147479650"/>
            <ac:spMk id="162" creationId="{6723833B-C703-F899-5EDA-45F15073C0D3}"/>
          </ac:spMkLst>
        </pc:spChg>
        <pc:spChg chg="mod">
          <ac:chgData name="Plunkett Kelly" userId="cdb012e4-69ac-4954-928c-e33ec36f5eba" providerId="ADAL" clId="{2A079017-6789-4E78-BFB4-5FB800F73343}" dt="2023-07-29T14:42:57.986" v="5108"/>
          <ac:spMkLst>
            <pc:docMk/>
            <pc:sldMk cId="3733227749" sldId="2147479650"/>
            <ac:spMk id="165" creationId="{73992C8E-2FA4-AF7E-8FBC-90C43107BCDC}"/>
          </ac:spMkLst>
        </pc:spChg>
        <pc:spChg chg="mod">
          <ac:chgData name="Plunkett Kelly" userId="cdb012e4-69ac-4954-928c-e33ec36f5eba" providerId="ADAL" clId="{2A079017-6789-4E78-BFB4-5FB800F73343}" dt="2023-07-29T14:42:57.986" v="5108"/>
          <ac:spMkLst>
            <pc:docMk/>
            <pc:sldMk cId="3733227749" sldId="2147479650"/>
            <ac:spMk id="166" creationId="{022713E7-2EB0-B860-B592-2D154D79DF79}"/>
          </ac:spMkLst>
        </pc:spChg>
        <pc:spChg chg="mod">
          <ac:chgData name="Plunkett Kelly" userId="cdb012e4-69ac-4954-928c-e33ec36f5eba" providerId="ADAL" clId="{2A079017-6789-4E78-BFB4-5FB800F73343}" dt="2023-07-29T14:42:57.986" v="5108"/>
          <ac:spMkLst>
            <pc:docMk/>
            <pc:sldMk cId="3733227749" sldId="2147479650"/>
            <ac:spMk id="167" creationId="{3C3B840E-4D0F-1A92-4200-3D4F87907F36}"/>
          </ac:spMkLst>
        </pc:spChg>
        <pc:spChg chg="mod">
          <ac:chgData name="Plunkett Kelly" userId="cdb012e4-69ac-4954-928c-e33ec36f5eba" providerId="ADAL" clId="{2A079017-6789-4E78-BFB4-5FB800F73343}" dt="2023-07-29T14:42:57.986" v="5108"/>
          <ac:spMkLst>
            <pc:docMk/>
            <pc:sldMk cId="3733227749" sldId="2147479650"/>
            <ac:spMk id="172" creationId="{C398ECB9-B2D1-D9EC-0054-A2894EB567B8}"/>
          </ac:spMkLst>
        </pc:spChg>
        <pc:spChg chg="mod">
          <ac:chgData name="Plunkett Kelly" userId="cdb012e4-69ac-4954-928c-e33ec36f5eba" providerId="ADAL" clId="{2A079017-6789-4E78-BFB4-5FB800F73343}" dt="2023-07-29T14:42:57.986" v="5108"/>
          <ac:spMkLst>
            <pc:docMk/>
            <pc:sldMk cId="3733227749" sldId="2147479650"/>
            <ac:spMk id="174" creationId="{A2E3F149-405F-7C9B-2CA5-5875296ADB9E}"/>
          </ac:spMkLst>
        </pc:spChg>
        <pc:spChg chg="mod">
          <ac:chgData name="Plunkett Kelly" userId="cdb012e4-69ac-4954-928c-e33ec36f5eba" providerId="ADAL" clId="{2A079017-6789-4E78-BFB4-5FB800F73343}" dt="2023-07-29T14:42:57.986" v="5108"/>
          <ac:spMkLst>
            <pc:docMk/>
            <pc:sldMk cId="3733227749" sldId="2147479650"/>
            <ac:spMk id="175" creationId="{12AC6349-F324-4C12-78FE-FEB1F2159754}"/>
          </ac:spMkLst>
        </pc:spChg>
        <pc:spChg chg="mod">
          <ac:chgData name="Plunkett Kelly" userId="cdb012e4-69ac-4954-928c-e33ec36f5eba" providerId="ADAL" clId="{2A079017-6789-4E78-BFB4-5FB800F73343}" dt="2023-07-29T14:42:57.986" v="5108"/>
          <ac:spMkLst>
            <pc:docMk/>
            <pc:sldMk cId="3733227749" sldId="2147479650"/>
            <ac:spMk id="176" creationId="{B38EAEFE-41FA-A237-187F-CFA71655723B}"/>
          </ac:spMkLst>
        </pc:spChg>
        <pc:spChg chg="mod">
          <ac:chgData name="Plunkett Kelly" userId="cdb012e4-69ac-4954-928c-e33ec36f5eba" providerId="ADAL" clId="{2A079017-6789-4E78-BFB4-5FB800F73343}" dt="2023-07-29T14:42:57.986" v="5108"/>
          <ac:spMkLst>
            <pc:docMk/>
            <pc:sldMk cId="3733227749" sldId="2147479650"/>
            <ac:spMk id="177" creationId="{C8A03F7A-02D8-1244-695D-016FC7796B6F}"/>
          </ac:spMkLst>
        </pc:spChg>
        <pc:spChg chg="mod">
          <ac:chgData name="Plunkett Kelly" userId="cdb012e4-69ac-4954-928c-e33ec36f5eba" providerId="ADAL" clId="{2A079017-6789-4E78-BFB4-5FB800F73343}" dt="2023-07-29T14:42:57.986" v="5108"/>
          <ac:spMkLst>
            <pc:docMk/>
            <pc:sldMk cId="3733227749" sldId="2147479650"/>
            <ac:spMk id="178" creationId="{D66212FF-AB1C-3F5D-328C-454E97F2E48C}"/>
          </ac:spMkLst>
        </pc:spChg>
        <pc:spChg chg="mod">
          <ac:chgData name="Plunkett Kelly" userId="cdb012e4-69ac-4954-928c-e33ec36f5eba" providerId="ADAL" clId="{2A079017-6789-4E78-BFB4-5FB800F73343}" dt="2023-07-29T14:42:57.986" v="5108"/>
          <ac:spMkLst>
            <pc:docMk/>
            <pc:sldMk cId="3733227749" sldId="2147479650"/>
            <ac:spMk id="180" creationId="{6A52EE71-CCE0-DDDF-F86B-5637C5DAB7D1}"/>
          </ac:spMkLst>
        </pc:spChg>
        <pc:spChg chg="mod">
          <ac:chgData name="Plunkett Kelly" userId="cdb012e4-69ac-4954-928c-e33ec36f5eba" providerId="ADAL" clId="{2A079017-6789-4E78-BFB4-5FB800F73343}" dt="2023-07-29T14:42:57.986" v="5108"/>
          <ac:spMkLst>
            <pc:docMk/>
            <pc:sldMk cId="3733227749" sldId="2147479650"/>
            <ac:spMk id="181" creationId="{E1DEB2EC-AB37-738D-A172-14E6EFADFED3}"/>
          </ac:spMkLst>
        </pc:spChg>
        <pc:spChg chg="mod">
          <ac:chgData name="Plunkett Kelly" userId="cdb012e4-69ac-4954-928c-e33ec36f5eba" providerId="ADAL" clId="{2A079017-6789-4E78-BFB4-5FB800F73343}" dt="2023-07-29T14:42:57.986" v="5108"/>
          <ac:spMkLst>
            <pc:docMk/>
            <pc:sldMk cId="3733227749" sldId="2147479650"/>
            <ac:spMk id="182" creationId="{93473698-57BB-5471-CA76-B809424CBDE2}"/>
          </ac:spMkLst>
        </pc:spChg>
        <pc:spChg chg="mod">
          <ac:chgData name="Plunkett Kelly" userId="cdb012e4-69ac-4954-928c-e33ec36f5eba" providerId="ADAL" clId="{2A079017-6789-4E78-BFB4-5FB800F73343}" dt="2023-07-29T14:42:57.986" v="5108"/>
          <ac:spMkLst>
            <pc:docMk/>
            <pc:sldMk cId="3733227749" sldId="2147479650"/>
            <ac:spMk id="184" creationId="{8BE944C0-98F4-D100-1DC0-E8ACFC19B4C8}"/>
          </ac:spMkLst>
        </pc:spChg>
        <pc:spChg chg="mod">
          <ac:chgData name="Plunkett Kelly" userId="cdb012e4-69ac-4954-928c-e33ec36f5eba" providerId="ADAL" clId="{2A079017-6789-4E78-BFB4-5FB800F73343}" dt="2023-07-29T14:42:57.986" v="5108"/>
          <ac:spMkLst>
            <pc:docMk/>
            <pc:sldMk cId="3733227749" sldId="2147479650"/>
            <ac:spMk id="185" creationId="{3F85C8F7-C41C-D496-7055-434D0BE6C6B5}"/>
          </ac:spMkLst>
        </pc:spChg>
        <pc:spChg chg="mod">
          <ac:chgData name="Plunkett Kelly" userId="cdb012e4-69ac-4954-928c-e33ec36f5eba" providerId="ADAL" clId="{2A079017-6789-4E78-BFB4-5FB800F73343}" dt="2023-07-29T14:42:57.986" v="5108"/>
          <ac:spMkLst>
            <pc:docMk/>
            <pc:sldMk cId="3733227749" sldId="2147479650"/>
            <ac:spMk id="186" creationId="{90039FAC-7D21-0434-B497-9EFEA3079B9B}"/>
          </ac:spMkLst>
        </pc:spChg>
        <pc:spChg chg="add mod">
          <ac:chgData name="Plunkett Kelly" userId="cdb012e4-69ac-4954-928c-e33ec36f5eba" providerId="ADAL" clId="{2A079017-6789-4E78-BFB4-5FB800F73343}" dt="2023-08-01T07:38:42.065" v="7977" actId="6549"/>
          <ac:spMkLst>
            <pc:docMk/>
            <pc:sldMk cId="3733227749" sldId="2147479650"/>
            <ac:spMk id="187" creationId="{5BA3EDD6-D559-C3EE-BE00-7D8F7F3222C3}"/>
          </ac:spMkLst>
        </pc:spChg>
        <pc:spChg chg="add mod">
          <ac:chgData name="Plunkett Kelly" userId="cdb012e4-69ac-4954-928c-e33ec36f5eba" providerId="ADAL" clId="{2A079017-6789-4E78-BFB4-5FB800F73343}" dt="2023-07-29T16:23:48.278" v="6094" actId="571"/>
          <ac:spMkLst>
            <pc:docMk/>
            <pc:sldMk cId="3733227749" sldId="2147479650"/>
            <ac:spMk id="188" creationId="{A84B56F0-937C-8943-12D6-1CCFB1F21E7C}"/>
          </ac:spMkLst>
        </pc:spChg>
        <pc:grpChg chg="add del mod">
          <ac:chgData name="Plunkett Kelly" userId="cdb012e4-69ac-4954-928c-e33ec36f5eba" providerId="ADAL" clId="{2A079017-6789-4E78-BFB4-5FB800F73343}" dt="2023-07-28T15:48:26.424" v="2234" actId="165"/>
          <ac:grpSpMkLst>
            <pc:docMk/>
            <pc:sldMk cId="3733227749" sldId="2147479650"/>
            <ac:grpSpMk id="7" creationId="{B8C7FB8A-FB05-7FC9-6009-7273BC0CFBF2}"/>
          </ac:grpSpMkLst>
        </pc:grpChg>
        <pc:grpChg chg="add del mod">
          <ac:chgData name="Plunkett Kelly" userId="cdb012e4-69ac-4954-928c-e33ec36f5eba" providerId="ADAL" clId="{2A079017-6789-4E78-BFB4-5FB800F73343}" dt="2023-07-29T11:20:53.305" v="4146" actId="478"/>
          <ac:grpSpMkLst>
            <pc:docMk/>
            <pc:sldMk cId="3733227749" sldId="2147479650"/>
            <ac:grpSpMk id="9" creationId="{174C373E-46BB-84C8-81E5-2AE4FE9D9F14}"/>
          </ac:grpSpMkLst>
        </pc:grpChg>
        <pc:grpChg chg="add del mod">
          <ac:chgData name="Plunkett Kelly" userId="cdb012e4-69ac-4954-928c-e33ec36f5eba" providerId="ADAL" clId="{2A079017-6789-4E78-BFB4-5FB800F73343}" dt="2023-07-29T14:01:02.425" v="4412" actId="478"/>
          <ac:grpSpMkLst>
            <pc:docMk/>
            <pc:sldMk cId="3733227749" sldId="2147479650"/>
            <ac:grpSpMk id="11" creationId="{9C73B5D2-94CD-1B11-5C04-83FF31EAF078}"/>
          </ac:grpSpMkLst>
        </pc:grpChg>
        <pc:grpChg chg="mod">
          <ac:chgData name="Plunkett Kelly" userId="cdb012e4-69ac-4954-928c-e33ec36f5eba" providerId="ADAL" clId="{2A079017-6789-4E78-BFB4-5FB800F73343}" dt="2023-07-29T14:00:12.039" v="4408"/>
          <ac:grpSpMkLst>
            <pc:docMk/>
            <pc:sldMk cId="3733227749" sldId="2147479650"/>
            <ac:grpSpMk id="18" creationId="{F7CC05A1-3BD4-7D6E-40FB-1DBD8727F985}"/>
          </ac:grpSpMkLst>
        </pc:grpChg>
        <pc:grpChg chg="mod">
          <ac:chgData name="Plunkett Kelly" userId="cdb012e4-69ac-4954-928c-e33ec36f5eba" providerId="ADAL" clId="{2A079017-6789-4E78-BFB4-5FB800F73343}" dt="2023-07-29T14:00:12.039" v="4408"/>
          <ac:grpSpMkLst>
            <pc:docMk/>
            <pc:sldMk cId="3733227749" sldId="2147479650"/>
            <ac:grpSpMk id="19" creationId="{9B06D3D0-BFF7-AB5C-5185-67C12FA4DE1D}"/>
          </ac:grpSpMkLst>
        </pc:grpChg>
        <pc:grpChg chg="mod">
          <ac:chgData name="Plunkett Kelly" userId="cdb012e4-69ac-4954-928c-e33ec36f5eba" providerId="ADAL" clId="{2A079017-6789-4E78-BFB4-5FB800F73343}" dt="2023-07-29T14:00:12.039" v="4408"/>
          <ac:grpSpMkLst>
            <pc:docMk/>
            <pc:sldMk cId="3733227749" sldId="2147479650"/>
            <ac:grpSpMk id="21" creationId="{96BA003A-F547-138B-27DB-2D823572E728}"/>
          </ac:grpSpMkLst>
        </pc:grpChg>
        <pc:grpChg chg="mod">
          <ac:chgData name="Plunkett Kelly" userId="cdb012e4-69ac-4954-928c-e33ec36f5eba" providerId="ADAL" clId="{2A079017-6789-4E78-BFB4-5FB800F73343}" dt="2023-07-29T14:00:12.039" v="4408"/>
          <ac:grpSpMkLst>
            <pc:docMk/>
            <pc:sldMk cId="3733227749" sldId="2147479650"/>
            <ac:grpSpMk id="41" creationId="{E3D7F750-E7C7-74A5-6F30-C43ACFAD4002}"/>
          </ac:grpSpMkLst>
        </pc:grpChg>
        <pc:grpChg chg="mod">
          <ac:chgData name="Plunkett Kelly" userId="cdb012e4-69ac-4954-928c-e33ec36f5eba" providerId="ADAL" clId="{2A079017-6789-4E78-BFB4-5FB800F73343}" dt="2023-07-29T14:00:12.039" v="4408"/>
          <ac:grpSpMkLst>
            <pc:docMk/>
            <pc:sldMk cId="3733227749" sldId="2147479650"/>
            <ac:grpSpMk id="42" creationId="{1F50A53E-B5EB-71FC-6030-C4EA908F2716}"/>
          </ac:grpSpMkLst>
        </pc:grpChg>
        <pc:grpChg chg="mod">
          <ac:chgData name="Plunkett Kelly" userId="cdb012e4-69ac-4954-928c-e33ec36f5eba" providerId="ADAL" clId="{2A079017-6789-4E78-BFB4-5FB800F73343}" dt="2023-07-29T14:00:12.039" v="4408"/>
          <ac:grpSpMkLst>
            <pc:docMk/>
            <pc:sldMk cId="3733227749" sldId="2147479650"/>
            <ac:grpSpMk id="43" creationId="{B76039B7-1B7A-7E59-75F3-EF77C26D6E88}"/>
          </ac:grpSpMkLst>
        </pc:grpChg>
        <pc:grpChg chg="mod">
          <ac:chgData name="Plunkett Kelly" userId="cdb012e4-69ac-4954-928c-e33ec36f5eba" providerId="ADAL" clId="{2A079017-6789-4E78-BFB4-5FB800F73343}" dt="2023-07-29T14:00:12.039" v="4408"/>
          <ac:grpSpMkLst>
            <pc:docMk/>
            <pc:sldMk cId="3733227749" sldId="2147479650"/>
            <ac:grpSpMk id="44" creationId="{55835803-CD68-3DCE-5D3F-C33534805E85}"/>
          </ac:grpSpMkLst>
        </pc:grpChg>
        <pc:grpChg chg="mod">
          <ac:chgData name="Plunkett Kelly" userId="cdb012e4-69ac-4954-928c-e33ec36f5eba" providerId="ADAL" clId="{2A079017-6789-4E78-BFB4-5FB800F73343}" dt="2023-07-29T14:00:12.039" v="4408"/>
          <ac:grpSpMkLst>
            <pc:docMk/>
            <pc:sldMk cId="3733227749" sldId="2147479650"/>
            <ac:grpSpMk id="46" creationId="{18B53589-9FF0-3726-2467-821D9EE064BC}"/>
          </ac:grpSpMkLst>
        </pc:grpChg>
        <pc:grpChg chg="mod">
          <ac:chgData name="Plunkett Kelly" userId="cdb012e4-69ac-4954-928c-e33ec36f5eba" providerId="ADAL" clId="{2A079017-6789-4E78-BFB4-5FB800F73343}" dt="2023-07-29T14:00:12.039" v="4408"/>
          <ac:grpSpMkLst>
            <pc:docMk/>
            <pc:sldMk cId="3733227749" sldId="2147479650"/>
            <ac:grpSpMk id="52" creationId="{545FBD57-ACEF-7190-20B8-5FFB49814239}"/>
          </ac:grpSpMkLst>
        </pc:grpChg>
        <pc:grpChg chg="mod">
          <ac:chgData name="Plunkett Kelly" userId="cdb012e4-69ac-4954-928c-e33ec36f5eba" providerId="ADAL" clId="{2A079017-6789-4E78-BFB4-5FB800F73343}" dt="2023-07-29T14:00:12.039" v="4408"/>
          <ac:grpSpMkLst>
            <pc:docMk/>
            <pc:sldMk cId="3733227749" sldId="2147479650"/>
            <ac:grpSpMk id="56" creationId="{B5880245-B9D7-0B33-4224-6AB92F4A2915}"/>
          </ac:grpSpMkLst>
        </pc:grpChg>
        <pc:grpChg chg="add del mod">
          <ac:chgData name="Plunkett Kelly" userId="cdb012e4-69ac-4954-928c-e33ec36f5eba" providerId="ADAL" clId="{2A079017-6789-4E78-BFB4-5FB800F73343}" dt="2023-07-29T14:40:24.268" v="5093" actId="21"/>
          <ac:grpSpMkLst>
            <pc:docMk/>
            <pc:sldMk cId="3733227749" sldId="2147479650"/>
            <ac:grpSpMk id="61" creationId="{C17D975B-06F2-180D-859B-A95B1C842164}"/>
          </ac:grpSpMkLst>
        </pc:grpChg>
        <pc:grpChg chg="mod">
          <ac:chgData name="Plunkett Kelly" userId="cdb012e4-69ac-4954-928c-e33ec36f5eba" providerId="ADAL" clId="{2A079017-6789-4E78-BFB4-5FB800F73343}" dt="2023-07-29T14:01:24.946" v="4414"/>
          <ac:grpSpMkLst>
            <pc:docMk/>
            <pc:sldMk cId="3733227749" sldId="2147479650"/>
            <ac:grpSpMk id="67" creationId="{69C636D7-0EAD-B18A-4B0A-030C33A4DD33}"/>
          </ac:grpSpMkLst>
        </pc:grpChg>
        <pc:grpChg chg="mod">
          <ac:chgData name="Plunkett Kelly" userId="cdb012e4-69ac-4954-928c-e33ec36f5eba" providerId="ADAL" clId="{2A079017-6789-4E78-BFB4-5FB800F73343}" dt="2023-07-29T14:01:24.946" v="4414"/>
          <ac:grpSpMkLst>
            <pc:docMk/>
            <pc:sldMk cId="3733227749" sldId="2147479650"/>
            <ac:grpSpMk id="68" creationId="{D2C9F231-6748-1F9D-1C9C-F3FABE8B6BBC}"/>
          </ac:grpSpMkLst>
        </pc:grpChg>
        <pc:grpChg chg="mod">
          <ac:chgData name="Plunkett Kelly" userId="cdb012e4-69ac-4954-928c-e33ec36f5eba" providerId="ADAL" clId="{2A079017-6789-4E78-BFB4-5FB800F73343}" dt="2023-07-29T14:01:24.946" v="4414"/>
          <ac:grpSpMkLst>
            <pc:docMk/>
            <pc:sldMk cId="3733227749" sldId="2147479650"/>
            <ac:grpSpMk id="70" creationId="{D54C444D-5B1C-D327-32C2-5E92C1E83A2D}"/>
          </ac:grpSpMkLst>
        </pc:grpChg>
        <pc:grpChg chg="mod">
          <ac:chgData name="Plunkett Kelly" userId="cdb012e4-69ac-4954-928c-e33ec36f5eba" providerId="ADAL" clId="{2A079017-6789-4E78-BFB4-5FB800F73343}" dt="2023-07-29T14:01:24.946" v="4414"/>
          <ac:grpSpMkLst>
            <pc:docMk/>
            <pc:sldMk cId="3733227749" sldId="2147479650"/>
            <ac:grpSpMk id="90" creationId="{B91D2749-9FD9-1C49-F6F9-2BFD902293B6}"/>
          </ac:grpSpMkLst>
        </pc:grpChg>
        <pc:grpChg chg="mod">
          <ac:chgData name="Plunkett Kelly" userId="cdb012e4-69ac-4954-928c-e33ec36f5eba" providerId="ADAL" clId="{2A079017-6789-4E78-BFB4-5FB800F73343}" dt="2023-07-29T14:01:24.946" v="4414"/>
          <ac:grpSpMkLst>
            <pc:docMk/>
            <pc:sldMk cId="3733227749" sldId="2147479650"/>
            <ac:grpSpMk id="91" creationId="{5BCDDCD3-AB4B-3A08-0B06-5E7A8E4DF8B7}"/>
          </ac:grpSpMkLst>
        </pc:grpChg>
        <pc:grpChg chg="mod">
          <ac:chgData name="Plunkett Kelly" userId="cdb012e4-69ac-4954-928c-e33ec36f5eba" providerId="ADAL" clId="{2A079017-6789-4E78-BFB4-5FB800F73343}" dt="2023-07-29T14:01:24.946" v="4414"/>
          <ac:grpSpMkLst>
            <pc:docMk/>
            <pc:sldMk cId="3733227749" sldId="2147479650"/>
            <ac:grpSpMk id="92" creationId="{858A4F37-C359-8930-2BA4-B91C88690B5A}"/>
          </ac:grpSpMkLst>
        </pc:grpChg>
        <pc:grpChg chg="mod">
          <ac:chgData name="Plunkett Kelly" userId="cdb012e4-69ac-4954-928c-e33ec36f5eba" providerId="ADAL" clId="{2A079017-6789-4E78-BFB4-5FB800F73343}" dt="2023-07-29T14:01:24.946" v="4414"/>
          <ac:grpSpMkLst>
            <pc:docMk/>
            <pc:sldMk cId="3733227749" sldId="2147479650"/>
            <ac:grpSpMk id="93" creationId="{476D58BE-6A0E-BC72-74E9-7114FA31F1A1}"/>
          </ac:grpSpMkLst>
        </pc:grpChg>
        <pc:grpChg chg="mod">
          <ac:chgData name="Plunkett Kelly" userId="cdb012e4-69ac-4954-928c-e33ec36f5eba" providerId="ADAL" clId="{2A079017-6789-4E78-BFB4-5FB800F73343}" dt="2023-07-29T14:01:24.946" v="4414"/>
          <ac:grpSpMkLst>
            <pc:docMk/>
            <pc:sldMk cId="3733227749" sldId="2147479650"/>
            <ac:grpSpMk id="95" creationId="{0C9E8148-3BAE-12EC-668E-37645F69D994}"/>
          </ac:grpSpMkLst>
        </pc:grpChg>
        <pc:grpChg chg="mod">
          <ac:chgData name="Plunkett Kelly" userId="cdb012e4-69ac-4954-928c-e33ec36f5eba" providerId="ADAL" clId="{2A079017-6789-4E78-BFB4-5FB800F73343}" dt="2023-07-29T14:01:24.946" v="4414"/>
          <ac:grpSpMkLst>
            <pc:docMk/>
            <pc:sldMk cId="3733227749" sldId="2147479650"/>
            <ac:grpSpMk id="101" creationId="{F83BFF6C-16FF-CD91-A5D0-F99C39AFC670}"/>
          </ac:grpSpMkLst>
        </pc:grpChg>
        <pc:grpChg chg="mod">
          <ac:chgData name="Plunkett Kelly" userId="cdb012e4-69ac-4954-928c-e33ec36f5eba" providerId="ADAL" clId="{2A079017-6789-4E78-BFB4-5FB800F73343}" dt="2023-07-29T14:01:24.946" v="4414"/>
          <ac:grpSpMkLst>
            <pc:docMk/>
            <pc:sldMk cId="3733227749" sldId="2147479650"/>
            <ac:grpSpMk id="105" creationId="{6F847DF2-07D8-8773-5555-201B76E5C4CA}"/>
          </ac:grpSpMkLst>
        </pc:grpChg>
        <pc:grpChg chg="add mod">
          <ac:chgData name="Plunkett Kelly" userId="cdb012e4-69ac-4954-928c-e33ec36f5eba" providerId="ADAL" clId="{2A079017-6789-4E78-BFB4-5FB800F73343}" dt="2023-07-29T16:25:24.470" v="6250" actId="1036"/>
          <ac:grpSpMkLst>
            <pc:docMk/>
            <pc:sldMk cId="3733227749" sldId="2147479650"/>
            <ac:grpSpMk id="116" creationId="{0D9F9D78-EF9C-7DCD-21F1-381517F9F14A}"/>
          </ac:grpSpMkLst>
        </pc:grpChg>
        <pc:grpChg chg="add mod">
          <ac:chgData name="Plunkett Kelly" userId="cdb012e4-69ac-4954-928c-e33ec36f5eba" providerId="ADAL" clId="{2A079017-6789-4E78-BFB4-5FB800F73343}" dt="2023-07-29T16:25:24.470" v="6250" actId="1036"/>
          <ac:grpSpMkLst>
            <pc:docMk/>
            <pc:sldMk cId="3733227749" sldId="2147479650"/>
            <ac:grpSpMk id="119" creationId="{DE0A1EBD-91A0-E37D-2475-D832C7B5C281}"/>
          </ac:grpSpMkLst>
        </pc:grpChg>
        <pc:grpChg chg="add mod">
          <ac:chgData name="Plunkett Kelly" userId="cdb012e4-69ac-4954-928c-e33ec36f5eba" providerId="ADAL" clId="{2A079017-6789-4E78-BFB4-5FB800F73343}" dt="2023-07-29T16:25:24.470" v="6250" actId="1036"/>
          <ac:grpSpMkLst>
            <pc:docMk/>
            <pc:sldMk cId="3733227749" sldId="2147479650"/>
            <ac:grpSpMk id="122" creationId="{02CA9851-D8CA-87E7-7DB5-D1D9F104A3FC}"/>
          </ac:grpSpMkLst>
        </pc:grpChg>
        <pc:grpChg chg="add mod">
          <ac:chgData name="Plunkett Kelly" userId="cdb012e4-69ac-4954-928c-e33ec36f5eba" providerId="ADAL" clId="{2A079017-6789-4E78-BFB4-5FB800F73343}" dt="2023-07-29T16:25:24.470" v="6250" actId="1036"/>
          <ac:grpSpMkLst>
            <pc:docMk/>
            <pc:sldMk cId="3733227749" sldId="2147479650"/>
            <ac:grpSpMk id="129" creationId="{74DF5786-DD5C-B6AF-9C96-29B24AEE4D6C}"/>
          </ac:grpSpMkLst>
        </pc:grpChg>
        <pc:grpChg chg="add mod">
          <ac:chgData name="Plunkett Kelly" userId="cdb012e4-69ac-4954-928c-e33ec36f5eba" providerId="ADAL" clId="{2A079017-6789-4E78-BFB4-5FB800F73343}" dt="2023-07-31T09:25:55.993" v="7020" actId="1038"/>
          <ac:grpSpMkLst>
            <pc:docMk/>
            <pc:sldMk cId="3733227749" sldId="2147479650"/>
            <ac:grpSpMk id="139" creationId="{E65CC62A-B7EA-F078-AB46-A733138EF851}"/>
          </ac:grpSpMkLst>
        </pc:grpChg>
        <pc:grpChg chg="mod">
          <ac:chgData name="Plunkett Kelly" userId="cdb012e4-69ac-4954-928c-e33ec36f5eba" providerId="ADAL" clId="{2A079017-6789-4E78-BFB4-5FB800F73343}" dt="2023-07-29T14:42:57.986" v="5108"/>
          <ac:grpSpMkLst>
            <pc:docMk/>
            <pc:sldMk cId="3733227749" sldId="2147479650"/>
            <ac:grpSpMk id="145" creationId="{08A3291C-93D5-E8E8-8872-F7FE8FCE635E}"/>
          </ac:grpSpMkLst>
        </pc:grpChg>
        <pc:grpChg chg="mod">
          <ac:chgData name="Plunkett Kelly" userId="cdb012e4-69ac-4954-928c-e33ec36f5eba" providerId="ADAL" clId="{2A079017-6789-4E78-BFB4-5FB800F73343}" dt="2023-07-29T14:42:57.986" v="5108"/>
          <ac:grpSpMkLst>
            <pc:docMk/>
            <pc:sldMk cId="3733227749" sldId="2147479650"/>
            <ac:grpSpMk id="146" creationId="{CD3A6FD8-3E3A-EBC9-65B3-1837D3056302}"/>
          </ac:grpSpMkLst>
        </pc:grpChg>
        <pc:grpChg chg="mod">
          <ac:chgData name="Plunkett Kelly" userId="cdb012e4-69ac-4954-928c-e33ec36f5eba" providerId="ADAL" clId="{2A079017-6789-4E78-BFB4-5FB800F73343}" dt="2023-07-29T14:42:57.986" v="5108"/>
          <ac:grpSpMkLst>
            <pc:docMk/>
            <pc:sldMk cId="3733227749" sldId="2147479650"/>
            <ac:grpSpMk id="148" creationId="{59004831-B3B5-AC18-8884-CC078E80D4E4}"/>
          </ac:grpSpMkLst>
        </pc:grpChg>
        <pc:grpChg chg="mod">
          <ac:chgData name="Plunkett Kelly" userId="cdb012e4-69ac-4954-928c-e33ec36f5eba" providerId="ADAL" clId="{2A079017-6789-4E78-BFB4-5FB800F73343}" dt="2023-07-29T14:42:57.986" v="5108"/>
          <ac:grpSpMkLst>
            <pc:docMk/>
            <pc:sldMk cId="3733227749" sldId="2147479650"/>
            <ac:grpSpMk id="168" creationId="{86CDE817-2DDD-5D22-61CA-3E77DD76D45D}"/>
          </ac:grpSpMkLst>
        </pc:grpChg>
        <pc:grpChg chg="mod">
          <ac:chgData name="Plunkett Kelly" userId="cdb012e4-69ac-4954-928c-e33ec36f5eba" providerId="ADAL" clId="{2A079017-6789-4E78-BFB4-5FB800F73343}" dt="2023-07-29T14:42:57.986" v="5108"/>
          <ac:grpSpMkLst>
            <pc:docMk/>
            <pc:sldMk cId="3733227749" sldId="2147479650"/>
            <ac:grpSpMk id="169" creationId="{305130DD-4AC3-2B24-8AC3-BA64E9D74A05}"/>
          </ac:grpSpMkLst>
        </pc:grpChg>
        <pc:grpChg chg="mod">
          <ac:chgData name="Plunkett Kelly" userId="cdb012e4-69ac-4954-928c-e33ec36f5eba" providerId="ADAL" clId="{2A079017-6789-4E78-BFB4-5FB800F73343}" dt="2023-07-29T14:42:57.986" v="5108"/>
          <ac:grpSpMkLst>
            <pc:docMk/>
            <pc:sldMk cId="3733227749" sldId="2147479650"/>
            <ac:grpSpMk id="170" creationId="{CD938E32-4982-602A-B8A1-22C45D7AF8E9}"/>
          </ac:grpSpMkLst>
        </pc:grpChg>
        <pc:grpChg chg="mod">
          <ac:chgData name="Plunkett Kelly" userId="cdb012e4-69ac-4954-928c-e33ec36f5eba" providerId="ADAL" clId="{2A079017-6789-4E78-BFB4-5FB800F73343}" dt="2023-07-29T14:42:57.986" v="5108"/>
          <ac:grpSpMkLst>
            <pc:docMk/>
            <pc:sldMk cId="3733227749" sldId="2147479650"/>
            <ac:grpSpMk id="171" creationId="{0B99A5E5-B1FC-6AD8-13C8-D715A8181B42}"/>
          </ac:grpSpMkLst>
        </pc:grpChg>
        <pc:grpChg chg="mod">
          <ac:chgData name="Plunkett Kelly" userId="cdb012e4-69ac-4954-928c-e33ec36f5eba" providerId="ADAL" clId="{2A079017-6789-4E78-BFB4-5FB800F73343}" dt="2023-07-29T14:42:57.986" v="5108"/>
          <ac:grpSpMkLst>
            <pc:docMk/>
            <pc:sldMk cId="3733227749" sldId="2147479650"/>
            <ac:grpSpMk id="173" creationId="{C73527D6-3794-FA6B-BA0E-0D2969DFB0FF}"/>
          </ac:grpSpMkLst>
        </pc:grpChg>
        <pc:grpChg chg="mod">
          <ac:chgData name="Plunkett Kelly" userId="cdb012e4-69ac-4954-928c-e33ec36f5eba" providerId="ADAL" clId="{2A079017-6789-4E78-BFB4-5FB800F73343}" dt="2023-07-29T14:42:57.986" v="5108"/>
          <ac:grpSpMkLst>
            <pc:docMk/>
            <pc:sldMk cId="3733227749" sldId="2147479650"/>
            <ac:grpSpMk id="179" creationId="{5FB96679-838A-E077-7093-E4EE245EA0F7}"/>
          </ac:grpSpMkLst>
        </pc:grpChg>
        <pc:grpChg chg="mod">
          <ac:chgData name="Plunkett Kelly" userId="cdb012e4-69ac-4954-928c-e33ec36f5eba" providerId="ADAL" clId="{2A079017-6789-4E78-BFB4-5FB800F73343}" dt="2023-07-29T14:42:57.986" v="5108"/>
          <ac:grpSpMkLst>
            <pc:docMk/>
            <pc:sldMk cId="3733227749" sldId="2147479650"/>
            <ac:grpSpMk id="183" creationId="{E2E7DCB0-87ED-19D7-039F-F53717834C89}"/>
          </ac:grpSpMkLst>
        </pc:grpChg>
        <pc:picChg chg="mod topLvl">
          <ac:chgData name="Plunkett Kelly" userId="cdb012e4-69ac-4954-928c-e33ec36f5eba" providerId="ADAL" clId="{2A079017-6789-4E78-BFB4-5FB800F73343}" dt="2023-07-28T15:48:40.296" v="2239" actId="1037"/>
          <ac:picMkLst>
            <pc:docMk/>
            <pc:sldMk cId="3733227749" sldId="2147479650"/>
            <ac:picMk id="6" creationId="{F8644399-7F34-45B1-970D-95E89F958322}"/>
          </ac:picMkLst>
        </pc:picChg>
        <pc:picChg chg="mod">
          <ac:chgData name="Plunkett Kelly" userId="cdb012e4-69ac-4954-928c-e33ec36f5eba" providerId="ADAL" clId="{2A079017-6789-4E78-BFB4-5FB800F73343}" dt="2023-07-29T14:00:12.039" v="4408"/>
          <ac:picMkLst>
            <pc:docMk/>
            <pc:sldMk cId="3733227749" sldId="2147479650"/>
            <ac:picMk id="14" creationId="{27B6D9F2-3B85-9742-5A14-515FCD3FF932}"/>
          </ac:picMkLst>
        </pc:picChg>
        <pc:picChg chg="mod">
          <ac:chgData name="Plunkett Kelly" userId="cdb012e4-69ac-4954-928c-e33ec36f5eba" providerId="ADAL" clId="{2A079017-6789-4E78-BFB4-5FB800F73343}" dt="2023-07-29T14:00:12.039" v="4408"/>
          <ac:picMkLst>
            <pc:docMk/>
            <pc:sldMk cId="3733227749" sldId="2147479650"/>
            <ac:picMk id="20" creationId="{71EF4479-2649-219D-0F1A-53D6CD4280E1}"/>
          </ac:picMkLst>
        </pc:picChg>
        <pc:picChg chg="mod">
          <ac:chgData name="Plunkett Kelly" userId="cdb012e4-69ac-4954-928c-e33ec36f5eba" providerId="ADAL" clId="{2A079017-6789-4E78-BFB4-5FB800F73343}" dt="2023-07-29T14:01:24.946" v="4414"/>
          <ac:picMkLst>
            <pc:docMk/>
            <pc:sldMk cId="3733227749" sldId="2147479650"/>
            <ac:picMk id="64" creationId="{8595ABE9-5E92-E8D3-510C-CB4ED9C30A40}"/>
          </ac:picMkLst>
        </pc:picChg>
        <pc:picChg chg="mod">
          <ac:chgData name="Plunkett Kelly" userId="cdb012e4-69ac-4954-928c-e33ec36f5eba" providerId="ADAL" clId="{2A079017-6789-4E78-BFB4-5FB800F73343}" dt="2023-07-29T14:01:24.946" v="4414"/>
          <ac:picMkLst>
            <pc:docMk/>
            <pc:sldMk cId="3733227749" sldId="2147479650"/>
            <ac:picMk id="69" creationId="{CF7021CF-1176-C0A5-0A74-E868EFDFC020}"/>
          </ac:picMkLst>
        </pc:picChg>
        <pc:picChg chg="mod">
          <ac:chgData name="Plunkett Kelly" userId="cdb012e4-69ac-4954-928c-e33ec36f5eba" providerId="ADAL" clId="{2A079017-6789-4E78-BFB4-5FB800F73343}" dt="2023-07-29T14:42:57.986" v="5108"/>
          <ac:picMkLst>
            <pc:docMk/>
            <pc:sldMk cId="3733227749" sldId="2147479650"/>
            <ac:picMk id="142" creationId="{5835F426-E3E4-B421-14E8-B65DE0121715}"/>
          </ac:picMkLst>
        </pc:picChg>
        <pc:picChg chg="mod">
          <ac:chgData name="Plunkett Kelly" userId="cdb012e4-69ac-4954-928c-e33ec36f5eba" providerId="ADAL" clId="{2A079017-6789-4E78-BFB4-5FB800F73343}" dt="2023-07-29T14:42:57.986" v="5108"/>
          <ac:picMkLst>
            <pc:docMk/>
            <pc:sldMk cId="3733227749" sldId="2147479650"/>
            <ac:picMk id="147" creationId="{D4E1B4E3-C488-7A9A-0058-096E86582E2B}"/>
          </ac:picMkLst>
        </pc:picChg>
        <pc:cxnChg chg="mod">
          <ac:chgData name="Plunkett Kelly" userId="cdb012e4-69ac-4954-928c-e33ec36f5eba" providerId="ADAL" clId="{2A079017-6789-4E78-BFB4-5FB800F73343}" dt="2023-07-29T14:00:12.039" v="4408"/>
          <ac:cxnSpMkLst>
            <pc:docMk/>
            <pc:sldMk cId="3733227749" sldId="2147479650"/>
            <ac:cxnSpMk id="28" creationId="{190868F8-8931-D48F-9D7D-9AF09A668859}"/>
          </ac:cxnSpMkLst>
        </pc:cxnChg>
        <pc:cxnChg chg="mod">
          <ac:chgData name="Plunkett Kelly" userId="cdb012e4-69ac-4954-928c-e33ec36f5eba" providerId="ADAL" clId="{2A079017-6789-4E78-BFB4-5FB800F73343}" dt="2023-07-29T14:00:12.039" v="4408"/>
          <ac:cxnSpMkLst>
            <pc:docMk/>
            <pc:sldMk cId="3733227749" sldId="2147479650"/>
            <ac:cxnSpMk id="29" creationId="{C5D4FBCE-46A7-3C86-1478-4BD6CFA4A788}"/>
          </ac:cxnSpMkLst>
        </pc:cxnChg>
        <pc:cxnChg chg="mod">
          <ac:chgData name="Plunkett Kelly" userId="cdb012e4-69ac-4954-928c-e33ec36f5eba" providerId="ADAL" clId="{2A079017-6789-4E78-BFB4-5FB800F73343}" dt="2023-07-29T14:00:12.039" v="4408"/>
          <ac:cxnSpMkLst>
            <pc:docMk/>
            <pc:sldMk cId="3733227749" sldId="2147479650"/>
            <ac:cxnSpMk id="36" creationId="{8908F58F-9852-1445-6C2E-2D0281E46384}"/>
          </ac:cxnSpMkLst>
        </pc:cxnChg>
        <pc:cxnChg chg="mod">
          <ac:chgData name="Plunkett Kelly" userId="cdb012e4-69ac-4954-928c-e33ec36f5eba" providerId="ADAL" clId="{2A079017-6789-4E78-BFB4-5FB800F73343}" dt="2023-07-29T14:00:12.039" v="4408"/>
          <ac:cxnSpMkLst>
            <pc:docMk/>
            <pc:sldMk cId="3733227749" sldId="2147479650"/>
            <ac:cxnSpMk id="37" creationId="{186FE587-A1BF-C33F-D6E8-19FFBF8E0A8E}"/>
          </ac:cxnSpMkLst>
        </pc:cxnChg>
        <pc:cxnChg chg="mod">
          <ac:chgData name="Plunkett Kelly" userId="cdb012e4-69ac-4954-928c-e33ec36f5eba" providerId="ADAL" clId="{2A079017-6789-4E78-BFB4-5FB800F73343}" dt="2023-07-29T14:01:24.946" v="4414"/>
          <ac:cxnSpMkLst>
            <pc:docMk/>
            <pc:sldMk cId="3733227749" sldId="2147479650"/>
            <ac:cxnSpMk id="77" creationId="{7259A491-2E43-1F22-2EEB-6CD2A8009347}"/>
          </ac:cxnSpMkLst>
        </pc:cxnChg>
        <pc:cxnChg chg="mod">
          <ac:chgData name="Plunkett Kelly" userId="cdb012e4-69ac-4954-928c-e33ec36f5eba" providerId="ADAL" clId="{2A079017-6789-4E78-BFB4-5FB800F73343}" dt="2023-07-29T14:01:24.946" v="4414"/>
          <ac:cxnSpMkLst>
            <pc:docMk/>
            <pc:sldMk cId="3733227749" sldId="2147479650"/>
            <ac:cxnSpMk id="78" creationId="{8C82A67E-DB5B-BDB2-3BE6-54495E050B33}"/>
          </ac:cxnSpMkLst>
        </pc:cxnChg>
        <pc:cxnChg chg="mod">
          <ac:chgData name="Plunkett Kelly" userId="cdb012e4-69ac-4954-928c-e33ec36f5eba" providerId="ADAL" clId="{2A079017-6789-4E78-BFB4-5FB800F73343}" dt="2023-07-29T14:01:24.946" v="4414"/>
          <ac:cxnSpMkLst>
            <pc:docMk/>
            <pc:sldMk cId="3733227749" sldId="2147479650"/>
            <ac:cxnSpMk id="85" creationId="{CE1899B2-1D7E-E497-A5C5-E128437536D3}"/>
          </ac:cxnSpMkLst>
        </pc:cxnChg>
        <pc:cxnChg chg="mod">
          <ac:chgData name="Plunkett Kelly" userId="cdb012e4-69ac-4954-928c-e33ec36f5eba" providerId="ADAL" clId="{2A079017-6789-4E78-BFB4-5FB800F73343}" dt="2023-07-29T14:01:24.946" v="4414"/>
          <ac:cxnSpMkLst>
            <pc:docMk/>
            <pc:sldMk cId="3733227749" sldId="2147479650"/>
            <ac:cxnSpMk id="86" creationId="{1F9A2C0F-4053-F015-838D-65C1B69F02B7}"/>
          </ac:cxnSpMkLst>
        </pc:cxnChg>
        <pc:cxnChg chg="mod">
          <ac:chgData name="Plunkett Kelly" userId="cdb012e4-69ac-4954-928c-e33ec36f5eba" providerId="ADAL" clId="{2A079017-6789-4E78-BFB4-5FB800F73343}" dt="2023-07-29T14:42:57.986" v="5108"/>
          <ac:cxnSpMkLst>
            <pc:docMk/>
            <pc:sldMk cId="3733227749" sldId="2147479650"/>
            <ac:cxnSpMk id="155" creationId="{2F5EEB3D-49C7-9900-DFC9-21EF3758BFC1}"/>
          </ac:cxnSpMkLst>
        </pc:cxnChg>
        <pc:cxnChg chg="mod">
          <ac:chgData name="Plunkett Kelly" userId="cdb012e4-69ac-4954-928c-e33ec36f5eba" providerId="ADAL" clId="{2A079017-6789-4E78-BFB4-5FB800F73343}" dt="2023-07-29T14:42:57.986" v="5108"/>
          <ac:cxnSpMkLst>
            <pc:docMk/>
            <pc:sldMk cId="3733227749" sldId="2147479650"/>
            <ac:cxnSpMk id="156" creationId="{13CF05F9-95DE-A762-B117-26F723B19F36}"/>
          </ac:cxnSpMkLst>
        </pc:cxnChg>
        <pc:cxnChg chg="mod">
          <ac:chgData name="Plunkett Kelly" userId="cdb012e4-69ac-4954-928c-e33ec36f5eba" providerId="ADAL" clId="{2A079017-6789-4E78-BFB4-5FB800F73343}" dt="2023-07-29T14:42:57.986" v="5108"/>
          <ac:cxnSpMkLst>
            <pc:docMk/>
            <pc:sldMk cId="3733227749" sldId="2147479650"/>
            <ac:cxnSpMk id="163" creationId="{175F4A8A-E7C4-25BC-6779-73DE0EE90D48}"/>
          </ac:cxnSpMkLst>
        </pc:cxnChg>
        <pc:cxnChg chg="mod">
          <ac:chgData name="Plunkett Kelly" userId="cdb012e4-69ac-4954-928c-e33ec36f5eba" providerId="ADAL" clId="{2A079017-6789-4E78-BFB4-5FB800F73343}" dt="2023-07-29T14:42:57.986" v="5108"/>
          <ac:cxnSpMkLst>
            <pc:docMk/>
            <pc:sldMk cId="3733227749" sldId="2147479650"/>
            <ac:cxnSpMk id="164" creationId="{A506C1C8-D934-9082-2FF7-8CD6B8F6C585}"/>
          </ac:cxnSpMkLst>
        </pc:cxnChg>
      </pc:sldChg>
      <pc:sldChg chg="addSp modSp mod ord modCm">
        <pc:chgData name="Plunkett Kelly" userId="cdb012e4-69ac-4954-928c-e33ec36f5eba" providerId="ADAL" clId="{2A079017-6789-4E78-BFB4-5FB800F73343}" dt="2023-08-01T14:18:26.578" v="8994" actId="20577"/>
        <pc:sldMkLst>
          <pc:docMk/>
          <pc:sldMk cId="787045591" sldId="2147479651"/>
        </pc:sldMkLst>
        <pc:spChg chg="mod">
          <ac:chgData name="Plunkett Kelly" userId="cdb012e4-69ac-4954-928c-e33ec36f5eba" providerId="ADAL" clId="{2A079017-6789-4E78-BFB4-5FB800F73343}" dt="2023-08-01T10:11:40.068" v="8796" actId="14100"/>
          <ac:spMkLst>
            <pc:docMk/>
            <pc:sldMk cId="787045591" sldId="2147479651"/>
            <ac:spMk id="2" creationId="{79492056-A46A-C98F-7C19-8A45ECCB4E81}"/>
          </ac:spMkLst>
        </pc:spChg>
        <pc:spChg chg="mod">
          <ac:chgData name="Plunkett Kelly" userId="cdb012e4-69ac-4954-928c-e33ec36f5eba" providerId="ADAL" clId="{2A079017-6789-4E78-BFB4-5FB800F73343}" dt="2023-07-28T15:28:59.055" v="1926" actId="20577"/>
          <ac:spMkLst>
            <pc:docMk/>
            <pc:sldMk cId="787045591" sldId="2147479651"/>
            <ac:spMk id="3" creationId="{A65D76A2-1687-09D7-94ED-DD5722302F9C}"/>
          </ac:spMkLst>
        </pc:spChg>
        <pc:spChg chg="mod">
          <ac:chgData name="Plunkett Kelly" userId="cdb012e4-69ac-4954-928c-e33ec36f5eba" providerId="ADAL" clId="{2A079017-6789-4E78-BFB4-5FB800F73343}" dt="2023-08-01T10:11:56.519" v="8835" actId="14100"/>
          <ac:spMkLst>
            <pc:docMk/>
            <pc:sldMk cId="787045591" sldId="2147479651"/>
            <ac:spMk id="5" creationId="{1962A7BA-9D82-EFAD-8C41-97885E03EC88}"/>
          </ac:spMkLst>
        </pc:spChg>
        <pc:spChg chg="mod">
          <ac:chgData name="Plunkett Kelly" userId="cdb012e4-69ac-4954-928c-e33ec36f5eba" providerId="ADAL" clId="{2A079017-6789-4E78-BFB4-5FB800F73343}" dt="2023-08-01T14:18:26.578" v="8994" actId="20577"/>
          <ac:spMkLst>
            <pc:docMk/>
            <pc:sldMk cId="787045591" sldId="2147479651"/>
            <ac:spMk id="9" creationId="{5778A9EA-DED7-643D-DAF4-5B4D353EF821}"/>
          </ac:spMkLst>
        </pc:spChg>
        <pc:graphicFrameChg chg="mod modGraphic">
          <ac:chgData name="Plunkett Kelly" userId="cdb012e4-69ac-4954-928c-e33ec36f5eba" providerId="ADAL" clId="{2A079017-6789-4E78-BFB4-5FB800F73343}" dt="2023-08-01T10:11:56.519" v="8835" actId="14100"/>
          <ac:graphicFrameMkLst>
            <pc:docMk/>
            <pc:sldMk cId="787045591" sldId="2147479651"/>
            <ac:graphicFrameMk id="4" creationId="{3BFDAA61-F4EC-1EF2-5940-C456B2ADAA64}"/>
          </ac:graphicFrameMkLst>
        </pc:graphicFrameChg>
        <pc:graphicFrameChg chg="add mod modGraphic">
          <ac:chgData name="Plunkett Kelly" userId="cdb012e4-69ac-4954-928c-e33ec36f5eba" providerId="ADAL" clId="{2A079017-6789-4E78-BFB4-5FB800F73343}" dt="2023-07-29T16:47:17.291" v="6747" actId="1076"/>
          <ac:graphicFrameMkLst>
            <pc:docMk/>
            <pc:sldMk cId="787045591" sldId="2147479651"/>
            <ac:graphicFrameMk id="7" creationId="{E031AFBE-A484-1200-8C74-1CD670B7A6A3}"/>
          </ac:graphicFrameMkLst>
        </pc:graphicFrameChg>
        <pc:graphicFrameChg chg="modGraphic">
          <ac:chgData name="Plunkett Kelly" userId="cdb012e4-69ac-4954-928c-e33ec36f5eba" providerId="ADAL" clId="{2A079017-6789-4E78-BFB4-5FB800F73343}" dt="2023-08-01T14:16:05.864" v="8987" actId="122"/>
          <ac:graphicFrameMkLst>
            <pc:docMk/>
            <pc:sldMk cId="787045591" sldId="2147479651"/>
            <ac:graphicFrameMk id="8" creationId="{77162B5C-5A36-131F-94D3-BB8E149532FC}"/>
          </ac:graphicFrameMkLst>
        </pc:graphicFrameChg>
        <pc:picChg chg="add mod">
          <ac:chgData name="Plunkett Kelly" userId="cdb012e4-69ac-4954-928c-e33ec36f5eba" providerId="ADAL" clId="{2A079017-6789-4E78-BFB4-5FB800F73343}" dt="2023-07-28T15:30:26.949" v="1947"/>
          <ac:picMkLst>
            <pc:docMk/>
            <pc:sldMk cId="787045591" sldId="2147479651"/>
            <ac:picMk id="6" creationId="{F5580BC5-771D-84EE-FFA7-579291BB65AB}"/>
          </ac:picMkLst>
        </pc:picChg>
      </pc:sldChg>
      <pc:sldChg chg="addSp modSp mod addCm">
        <pc:chgData name="Plunkett Kelly" userId="cdb012e4-69ac-4954-928c-e33ec36f5eba" providerId="ADAL" clId="{2A079017-6789-4E78-BFB4-5FB800F73343}" dt="2023-08-01T09:51:57.039" v="8667"/>
        <pc:sldMkLst>
          <pc:docMk/>
          <pc:sldMk cId="898990910" sldId="2147479652"/>
        </pc:sldMkLst>
        <pc:spChg chg="add mod">
          <ac:chgData name="Plunkett Kelly" userId="cdb012e4-69ac-4954-928c-e33ec36f5eba" providerId="ADAL" clId="{2A079017-6789-4E78-BFB4-5FB800F73343}" dt="2023-08-01T07:29:19.755" v="7692" actId="20577"/>
          <ac:spMkLst>
            <pc:docMk/>
            <pc:sldMk cId="898990910" sldId="2147479652"/>
            <ac:spMk id="2" creationId="{93D91B78-6FD6-30C4-CC7A-DA7511343E65}"/>
          </ac:spMkLst>
        </pc:spChg>
        <pc:spChg chg="mod">
          <ac:chgData name="Plunkett Kelly" userId="cdb012e4-69ac-4954-928c-e33ec36f5eba" providerId="ADAL" clId="{2A079017-6789-4E78-BFB4-5FB800F73343}" dt="2023-07-29T11:23:07.027" v="4168"/>
          <ac:spMkLst>
            <pc:docMk/>
            <pc:sldMk cId="898990910" sldId="2147479652"/>
            <ac:spMk id="8" creationId="{7824D54C-15D2-467C-A016-166944D0781C}"/>
          </ac:spMkLst>
        </pc:spChg>
        <pc:picChg chg="mod">
          <ac:chgData name="Plunkett Kelly" userId="cdb012e4-69ac-4954-928c-e33ec36f5eba" providerId="ADAL" clId="{2A079017-6789-4E78-BFB4-5FB800F73343}" dt="2023-07-28T15:32:45.429" v="2030" actId="1076"/>
          <ac:picMkLst>
            <pc:docMk/>
            <pc:sldMk cId="898990910" sldId="2147479652"/>
            <ac:picMk id="4" creationId="{38B59777-7711-48CE-82D7-AE9AD7324F10}"/>
          </ac:picMkLst>
        </pc:picChg>
      </pc:sldChg>
      <pc:sldChg chg="modSp add mod addCm">
        <pc:chgData name="Plunkett Kelly" userId="cdb012e4-69ac-4954-928c-e33ec36f5eba" providerId="ADAL" clId="{2A079017-6789-4E78-BFB4-5FB800F73343}" dt="2023-08-01T09:48:45.164" v="8666"/>
        <pc:sldMkLst>
          <pc:docMk/>
          <pc:sldMk cId="1118370846" sldId="2147479653"/>
        </pc:sldMkLst>
        <pc:spChg chg="mod">
          <ac:chgData name="Plunkett Kelly" userId="cdb012e4-69ac-4954-928c-e33ec36f5eba" providerId="ADAL" clId="{2A079017-6789-4E78-BFB4-5FB800F73343}" dt="2023-08-01T07:44:15.219" v="8033" actId="20577"/>
          <ac:spMkLst>
            <pc:docMk/>
            <pc:sldMk cId="1118370846" sldId="2147479653"/>
            <ac:spMk id="2" creationId="{E379AB8B-11E0-7D4C-2445-089F705A017B}"/>
          </ac:spMkLst>
        </pc:spChg>
        <pc:spChg chg="mod">
          <ac:chgData name="Plunkett Kelly" userId="cdb012e4-69ac-4954-928c-e33ec36f5eba" providerId="ADAL" clId="{2A079017-6789-4E78-BFB4-5FB800F73343}" dt="2023-08-01T07:53:28.544" v="8068" actId="1076"/>
          <ac:spMkLst>
            <pc:docMk/>
            <pc:sldMk cId="1118370846" sldId="2147479653"/>
            <ac:spMk id="3" creationId="{C54E5CBB-656D-4D20-EC09-02BFD8042557}"/>
          </ac:spMkLst>
        </pc:spChg>
        <pc:spChg chg="mod">
          <ac:chgData name="Plunkett Kelly" userId="cdb012e4-69ac-4954-928c-e33ec36f5eba" providerId="ADAL" clId="{2A079017-6789-4E78-BFB4-5FB800F73343}" dt="2023-08-01T07:53:44.688" v="8071" actId="1037"/>
          <ac:spMkLst>
            <pc:docMk/>
            <pc:sldMk cId="1118370846" sldId="2147479653"/>
            <ac:spMk id="4" creationId="{FB2A78B8-C45F-C6AA-5767-31B4622DBB3D}"/>
          </ac:spMkLst>
        </pc:spChg>
        <pc:spChg chg="mod">
          <ac:chgData name="Plunkett Kelly" userId="cdb012e4-69ac-4954-928c-e33ec36f5eba" providerId="ADAL" clId="{2A079017-6789-4E78-BFB4-5FB800F73343}" dt="2023-07-29T11:22:58.455" v="4167" actId="20577"/>
          <ac:spMkLst>
            <pc:docMk/>
            <pc:sldMk cId="1118370846" sldId="2147479653"/>
            <ac:spMk id="8" creationId="{7824D54C-15D2-467C-A016-166944D0781C}"/>
          </ac:spMkLst>
        </pc:spChg>
      </pc:sldChg>
      <pc:sldChg chg="addSp delSp modSp add mod">
        <pc:chgData name="Plunkett Kelly" userId="cdb012e4-69ac-4954-928c-e33ec36f5eba" providerId="ADAL" clId="{2A079017-6789-4E78-BFB4-5FB800F73343}" dt="2023-08-03T12:00:58.635" v="11122" actId="20577"/>
        <pc:sldMkLst>
          <pc:docMk/>
          <pc:sldMk cId="3656600548" sldId="2147479654"/>
        </pc:sldMkLst>
        <pc:spChg chg="add del mod">
          <ac:chgData name="Plunkett Kelly" userId="cdb012e4-69ac-4954-928c-e33ec36f5eba" providerId="ADAL" clId="{2A079017-6789-4E78-BFB4-5FB800F73343}" dt="2023-07-29T14:16:26.808" v="4581"/>
          <ac:spMkLst>
            <pc:docMk/>
            <pc:sldMk cId="3656600548" sldId="2147479654"/>
            <ac:spMk id="2" creationId="{87F9758F-B26E-7AD2-F7B8-F590F7265E5E}"/>
          </ac:spMkLst>
        </pc:spChg>
        <pc:spChg chg="add del mod">
          <ac:chgData name="Plunkett Kelly" userId="cdb012e4-69ac-4954-928c-e33ec36f5eba" providerId="ADAL" clId="{2A079017-6789-4E78-BFB4-5FB800F73343}" dt="2023-07-29T14:16:44.681" v="4583"/>
          <ac:spMkLst>
            <pc:docMk/>
            <pc:sldMk cId="3656600548" sldId="2147479654"/>
            <ac:spMk id="3" creationId="{82B12132-23FC-E4F9-2DA9-E9A552B58D76}"/>
          </ac:spMkLst>
        </pc:spChg>
        <pc:spChg chg="add del mod">
          <ac:chgData name="Plunkett Kelly" userId="cdb012e4-69ac-4954-928c-e33ec36f5eba" providerId="ADAL" clId="{2A079017-6789-4E78-BFB4-5FB800F73343}" dt="2023-07-29T14:16:44.681" v="4583"/>
          <ac:spMkLst>
            <pc:docMk/>
            <pc:sldMk cId="3656600548" sldId="2147479654"/>
            <ac:spMk id="4" creationId="{D9CE3A5B-A356-257C-8359-230C52D02FC8}"/>
          </ac:spMkLst>
        </pc:spChg>
        <pc:spChg chg="add del mod">
          <ac:chgData name="Plunkett Kelly" userId="cdb012e4-69ac-4954-928c-e33ec36f5eba" providerId="ADAL" clId="{2A079017-6789-4E78-BFB4-5FB800F73343}" dt="2023-07-29T14:16:44.681" v="4583"/>
          <ac:spMkLst>
            <pc:docMk/>
            <pc:sldMk cId="3656600548" sldId="2147479654"/>
            <ac:spMk id="5" creationId="{86E6BE7A-63D4-2381-50F9-8EE823F34245}"/>
          </ac:spMkLst>
        </pc:spChg>
        <pc:spChg chg="add del mod">
          <ac:chgData name="Plunkett Kelly" userId="cdb012e4-69ac-4954-928c-e33ec36f5eba" providerId="ADAL" clId="{2A079017-6789-4E78-BFB4-5FB800F73343}" dt="2023-07-29T14:16:44.681" v="4583"/>
          <ac:spMkLst>
            <pc:docMk/>
            <pc:sldMk cId="3656600548" sldId="2147479654"/>
            <ac:spMk id="6" creationId="{44044009-B7FF-C3A1-5BBD-871C265CEAD4}"/>
          </ac:spMkLst>
        </pc:spChg>
        <pc:spChg chg="mod">
          <ac:chgData name="Plunkett Kelly" userId="cdb012e4-69ac-4954-928c-e33ec36f5eba" providerId="ADAL" clId="{2A079017-6789-4E78-BFB4-5FB800F73343}" dt="2023-07-29T14:23:44.341" v="4722" actId="1076"/>
          <ac:spMkLst>
            <pc:docMk/>
            <pc:sldMk cId="3656600548" sldId="2147479654"/>
            <ac:spMk id="8" creationId="{7824D54C-15D2-467C-A016-166944D0781C}"/>
          </ac:spMkLst>
        </pc:spChg>
        <pc:spChg chg="mod">
          <ac:chgData name="Plunkett Kelly" userId="cdb012e4-69ac-4954-928c-e33ec36f5eba" providerId="ADAL" clId="{2A079017-6789-4E78-BFB4-5FB800F73343}" dt="2023-07-29T14:16:42.601" v="4582"/>
          <ac:spMkLst>
            <pc:docMk/>
            <pc:sldMk cId="3656600548" sldId="2147479654"/>
            <ac:spMk id="9" creationId="{5615922D-D91F-7276-02C7-2EAA280F9808}"/>
          </ac:spMkLst>
        </pc:spChg>
        <pc:spChg chg="mod">
          <ac:chgData name="Plunkett Kelly" userId="cdb012e4-69ac-4954-928c-e33ec36f5eba" providerId="ADAL" clId="{2A079017-6789-4E78-BFB4-5FB800F73343}" dt="2023-08-03T12:00:58.635" v="11122" actId="20577"/>
          <ac:spMkLst>
            <pc:docMk/>
            <pc:sldMk cId="3656600548" sldId="2147479654"/>
            <ac:spMk id="10" creationId="{AECC769F-BC3C-5CF2-4BF9-72EA6D6FEA0E}"/>
          </ac:spMkLst>
        </pc:spChg>
        <pc:spChg chg="mod">
          <ac:chgData name="Plunkett Kelly" userId="cdb012e4-69ac-4954-928c-e33ec36f5eba" providerId="ADAL" clId="{2A079017-6789-4E78-BFB4-5FB800F73343}" dt="2023-07-29T14:16:42.601" v="4582"/>
          <ac:spMkLst>
            <pc:docMk/>
            <pc:sldMk cId="3656600548" sldId="2147479654"/>
            <ac:spMk id="11" creationId="{52528C1E-4055-BDC4-D35C-DE0EB651F4AA}"/>
          </ac:spMkLst>
        </pc:spChg>
        <pc:spChg chg="mod">
          <ac:chgData name="Plunkett Kelly" userId="cdb012e4-69ac-4954-928c-e33ec36f5eba" providerId="ADAL" clId="{2A079017-6789-4E78-BFB4-5FB800F73343}" dt="2023-07-29T14:16:42.601" v="4582"/>
          <ac:spMkLst>
            <pc:docMk/>
            <pc:sldMk cId="3656600548" sldId="2147479654"/>
            <ac:spMk id="13" creationId="{4A42B6E1-15B0-F824-8EE5-A59AC55F85F1}"/>
          </ac:spMkLst>
        </pc:spChg>
        <pc:spChg chg="mod">
          <ac:chgData name="Plunkett Kelly" userId="cdb012e4-69ac-4954-928c-e33ec36f5eba" providerId="ADAL" clId="{2A079017-6789-4E78-BFB4-5FB800F73343}" dt="2023-07-29T14:16:42.601" v="4582"/>
          <ac:spMkLst>
            <pc:docMk/>
            <pc:sldMk cId="3656600548" sldId="2147479654"/>
            <ac:spMk id="14" creationId="{EA58E99D-1CBF-E1CF-229E-584149167753}"/>
          </ac:spMkLst>
        </pc:spChg>
        <pc:spChg chg="mod">
          <ac:chgData name="Plunkett Kelly" userId="cdb012e4-69ac-4954-928c-e33ec36f5eba" providerId="ADAL" clId="{2A079017-6789-4E78-BFB4-5FB800F73343}" dt="2023-07-29T14:16:42.601" v="4582"/>
          <ac:spMkLst>
            <pc:docMk/>
            <pc:sldMk cId="3656600548" sldId="2147479654"/>
            <ac:spMk id="16" creationId="{0F1249F8-C7C1-90FD-7F93-A305D43A83FD}"/>
          </ac:spMkLst>
        </pc:spChg>
        <pc:spChg chg="mod">
          <ac:chgData name="Plunkett Kelly" userId="cdb012e4-69ac-4954-928c-e33ec36f5eba" providerId="ADAL" clId="{2A079017-6789-4E78-BFB4-5FB800F73343}" dt="2023-07-29T14:16:42.601" v="4582"/>
          <ac:spMkLst>
            <pc:docMk/>
            <pc:sldMk cId="3656600548" sldId="2147479654"/>
            <ac:spMk id="17" creationId="{3FE53431-67A6-70E3-C0A2-C8F1AFAC55BC}"/>
          </ac:spMkLst>
        </pc:spChg>
        <pc:spChg chg="add del mod">
          <ac:chgData name="Plunkett Kelly" userId="cdb012e4-69ac-4954-928c-e33ec36f5eba" providerId="ADAL" clId="{2A079017-6789-4E78-BFB4-5FB800F73343}" dt="2023-07-29T14:16:44.681" v="4583"/>
          <ac:spMkLst>
            <pc:docMk/>
            <pc:sldMk cId="3656600548" sldId="2147479654"/>
            <ac:spMk id="18" creationId="{31CCE018-BF0F-77A1-AE2A-3EEE1FC656A7}"/>
          </ac:spMkLst>
        </pc:spChg>
        <pc:spChg chg="add del mod">
          <ac:chgData name="Plunkett Kelly" userId="cdb012e4-69ac-4954-928c-e33ec36f5eba" providerId="ADAL" clId="{2A079017-6789-4E78-BFB4-5FB800F73343}" dt="2023-07-29T14:16:44.681" v="4583"/>
          <ac:spMkLst>
            <pc:docMk/>
            <pc:sldMk cId="3656600548" sldId="2147479654"/>
            <ac:spMk id="19" creationId="{6078C2B3-4168-5561-B5ED-0AC9BB9BA2FA}"/>
          </ac:spMkLst>
        </pc:spChg>
        <pc:spChg chg="add del mod">
          <ac:chgData name="Plunkett Kelly" userId="cdb012e4-69ac-4954-928c-e33ec36f5eba" providerId="ADAL" clId="{2A079017-6789-4E78-BFB4-5FB800F73343}" dt="2023-07-29T14:16:44.681" v="4583"/>
          <ac:spMkLst>
            <pc:docMk/>
            <pc:sldMk cId="3656600548" sldId="2147479654"/>
            <ac:spMk id="20" creationId="{60314270-5901-AF00-1030-F9963D11BE3F}"/>
          </ac:spMkLst>
        </pc:spChg>
        <pc:spChg chg="mod">
          <ac:chgData name="Plunkett Kelly" userId="cdb012e4-69ac-4954-928c-e33ec36f5eba" providerId="ADAL" clId="{2A079017-6789-4E78-BFB4-5FB800F73343}" dt="2023-07-29T14:16:42.601" v="4582"/>
          <ac:spMkLst>
            <pc:docMk/>
            <pc:sldMk cId="3656600548" sldId="2147479654"/>
            <ac:spMk id="22" creationId="{94B0DF26-BF11-66DA-5B8B-436C665F0D7A}"/>
          </ac:spMkLst>
        </pc:spChg>
        <pc:spChg chg="mod">
          <ac:chgData name="Plunkett Kelly" userId="cdb012e4-69ac-4954-928c-e33ec36f5eba" providerId="ADAL" clId="{2A079017-6789-4E78-BFB4-5FB800F73343}" dt="2023-07-29T14:16:42.601" v="4582"/>
          <ac:spMkLst>
            <pc:docMk/>
            <pc:sldMk cId="3656600548" sldId="2147479654"/>
            <ac:spMk id="23" creationId="{5D51734D-F404-635C-F2A0-108880B5766F}"/>
          </ac:spMkLst>
        </pc:spChg>
        <pc:spChg chg="add del mod">
          <ac:chgData name="Plunkett Kelly" userId="cdb012e4-69ac-4954-928c-e33ec36f5eba" providerId="ADAL" clId="{2A079017-6789-4E78-BFB4-5FB800F73343}" dt="2023-07-29T14:16:44.681" v="4583"/>
          <ac:spMkLst>
            <pc:docMk/>
            <pc:sldMk cId="3656600548" sldId="2147479654"/>
            <ac:spMk id="24" creationId="{BF103DDA-799C-68DF-A6C5-4DE841E510C5}"/>
          </ac:spMkLst>
        </pc:spChg>
        <pc:spChg chg="add del mod">
          <ac:chgData name="Plunkett Kelly" userId="cdb012e4-69ac-4954-928c-e33ec36f5eba" providerId="ADAL" clId="{2A079017-6789-4E78-BFB4-5FB800F73343}" dt="2023-07-29T14:40:41.766" v="5096" actId="21"/>
          <ac:spMkLst>
            <pc:docMk/>
            <pc:sldMk cId="3656600548" sldId="2147479654"/>
            <ac:spMk id="25" creationId="{1D25EA44-7837-DFC5-4FC5-DD6CF9293DAB}"/>
          </ac:spMkLst>
        </pc:spChg>
        <pc:spChg chg="add del mod ord">
          <ac:chgData name="Plunkett Kelly" userId="cdb012e4-69ac-4954-928c-e33ec36f5eba" providerId="ADAL" clId="{2A079017-6789-4E78-BFB4-5FB800F73343}" dt="2023-07-29T14:40:41.766" v="5096" actId="21"/>
          <ac:spMkLst>
            <pc:docMk/>
            <pc:sldMk cId="3656600548" sldId="2147479654"/>
            <ac:spMk id="26" creationId="{8701D813-3975-DB4B-3DE9-ACEE17E34CCE}"/>
          </ac:spMkLst>
        </pc:spChg>
        <pc:spChg chg="add del mod">
          <ac:chgData name="Plunkett Kelly" userId="cdb012e4-69ac-4954-928c-e33ec36f5eba" providerId="ADAL" clId="{2A079017-6789-4E78-BFB4-5FB800F73343}" dt="2023-07-29T14:40:41.766" v="5096" actId="21"/>
          <ac:spMkLst>
            <pc:docMk/>
            <pc:sldMk cId="3656600548" sldId="2147479654"/>
            <ac:spMk id="27" creationId="{5988E34C-5E9E-D00D-444C-82C6824AC520}"/>
          </ac:spMkLst>
        </pc:spChg>
        <pc:spChg chg="add del mod">
          <ac:chgData name="Plunkett Kelly" userId="cdb012e4-69ac-4954-928c-e33ec36f5eba" providerId="ADAL" clId="{2A079017-6789-4E78-BFB4-5FB800F73343}" dt="2023-07-29T14:40:41.766" v="5096" actId="21"/>
          <ac:spMkLst>
            <pc:docMk/>
            <pc:sldMk cId="3656600548" sldId="2147479654"/>
            <ac:spMk id="28" creationId="{02DF6C87-FE04-6E1E-A39D-8CD7A4026E13}"/>
          </ac:spMkLst>
        </pc:spChg>
        <pc:spChg chg="add del mod">
          <ac:chgData name="Plunkett Kelly" userId="cdb012e4-69ac-4954-928c-e33ec36f5eba" providerId="ADAL" clId="{2A079017-6789-4E78-BFB4-5FB800F73343}" dt="2023-07-29T14:40:41.766" v="5096" actId="21"/>
          <ac:spMkLst>
            <pc:docMk/>
            <pc:sldMk cId="3656600548" sldId="2147479654"/>
            <ac:spMk id="29" creationId="{C2BD8261-DEDA-8BB5-843C-EEFF417F37F1}"/>
          </ac:spMkLst>
        </pc:spChg>
        <pc:spChg chg="add del mod">
          <ac:chgData name="Plunkett Kelly" userId="cdb012e4-69ac-4954-928c-e33ec36f5eba" providerId="ADAL" clId="{2A079017-6789-4E78-BFB4-5FB800F73343}" dt="2023-07-29T14:40:41.766" v="5096" actId="21"/>
          <ac:spMkLst>
            <pc:docMk/>
            <pc:sldMk cId="3656600548" sldId="2147479654"/>
            <ac:spMk id="30" creationId="{5B080DB4-4453-97E3-B40D-18EC0775C499}"/>
          </ac:spMkLst>
        </pc:spChg>
        <pc:spChg chg="add del mod">
          <ac:chgData name="Plunkett Kelly" userId="cdb012e4-69ac-4954-928c-e33ec36f5eba" providerId="ADAL" clId="{2A079017-6789-4E78-BFB4-5FB800F73343}" dt="2023-07-29T14:40:41.766" v="5096" actId="21"/>
          <ac:spMkLst>
            <pc:docMk/>
            <pc:sldMk cId="3656600548" sldId="2147479654"/>
            <ac:spMk id="31" creationId="{43BD7995-3CBE-6AFA-EB66-746613820A50}"/>
          </ac:spMkLst>
        </pc:spChg>
        <pc:spChg chg="mod">
          <ac:chgData name="Plunkett Kelly" userId="cdb012e4-69ac-4954-928c-e33ec36f5eba" providerId="ADAL" clId="{2A079017-6789-4E78-BFB4-5FB800F73343}" dt="2023-07-29T14:17:39.118" v="4584"/>
          <ac:spMkLst>
            <pc:docMk/>
            <pc:sldMk cId="3656600548" sldId="2147479654"/>
            <ac:spMk id="33" creationId="{73EC7250-C18C-56C4-BC70-20C6F015631F}"/>
          </ac:spMkLst>
        </pc:spChg>
        <pc:spChg chg="mod">
          <ac:chgData name="Plunkett Kelly" userId="cdb012e4-69ac-4954-928c-e33ec36f5eba" providerId="ADAL" clId="{2A079017-6789-4E78-BFB4-5FB800F73343}" dt="2023-07-29T14:18:47.153" v="4594" actId="207"/>
          <ac:spMkLst>
            <pc:docMk/>
            <pc:sldMk cId="3656600548" sldId="2147479654"/>
            <ac:spMk id="34" creationId="{1F3E7F7C-D24F-F2FF-2B08-83EED8623EE6}"/>
          </ac:spMkLst>
        </pc:spChg>
        <pc:spChg chg="mod">
          <ac:chgData name="Plunkett Kelly" userId="cdb012e4-69ac-4954-928c-e33ec36f5eba" providerId="ADAL" clId="{2A079017-6789-4E78-BFB4-5FB800F73343}" dt="2023-07-29T14:17:39.118" v="4584"/>
          <ac:spMkLst>
            <pc:docMk/>
            <pc:sldMk cId="3656600548" sldId="2147479654"/>
            <ac:spMk id="36" creationId="{773B0174-6D8B-9C6D-C4F8-02B34FA09AD3}"/>
          </ac:spMkLst>
        </pc:spChg>
        <pc:spChg chg="mod">
          <ac:chgData name="Plunkett Kelly" userId="cdb012e4-69ac-4954-928c-e33ec36f5eba" providerId="ADAL" clId="{2A079017-6789-4E78-BFB4-5FB800F73343}" dt="2023-07-29T14:18:55.011" v="4596" actId="207"/>
          <ac:spMkLst>
            <pc:docMk/>
            <pc:sldMk cId="3656600548" sldId="2147479654"/>
            <ac:spMk id="37" creationId="{30694ADD-EB93-0D7C-47D0-4650DBE0C05A}"/>
          </ac:spMkLst>
        </pc:spChg>
        <pc:spChg chg="mod">
          <ac:chgData name="Plunkett Kelly" userId="cdb012e4-69ac-4954-928c-e33ec36f5eba" providerId="ADAL" clId="{2A079017-6789-4E78-BFB4-5FB800F73343}" dt="2023-07-29T14:17:39.118" v="4584"/>
          <ac:spMkLst>
            <pc:docMk/>
            <pc:sldMk cId="3656600548" sldId="2147479654"/>
            <ac:spMk id="39" creationId="{DFFB0EF6-F02F-239B-491E-8CDB819E6B50}"/>
          </ac:spMkLst>
        </pc:spChg>
        <pc:spChg chg="mod">
          <ac:chgData name="Plunkett Kelly" userId="cdb012e4-69ac-4954-928c-e33ec36f5eba" providerId="ADAL" clId="{2A079017-6789-4E78-BFB4-5FB800F73343}" dt="2023-07-29T14:18:42.826" v="4593" actId="207"/>
          <ac:spMkLst>
            <pc:docMk/>
            <pc:sldMk cId="3656600548" sldId="2147479654"/>
            <ac:spMk id="40" creationId="{08CA92BF-6471-7C22-95A3-66131AF89A46}"/>
          </ac:spMkLst>
        </pc:spChg>
        <pc:spChg chg="add del mod">
          <ac:chgData name="Plunkett Kelly" userId="cdb012e4-69ac-4954-928c-e33ec36f5eba" providerId="ADAL" clId="{2A079017-6789-4E78-BFB4-5FB800F73343}" dt="2023-07-29T14:40:41.766" v="5096" actId="21"/>
          <ac:spMkLst>
            <pc:docMk/>
            <pc:sldMk cId="3656600548" sldId="2147479654"/>
            <ac:spMk id="41" creationId="{6A733D95-4D99-3CA7-BC5F-CA3D10B609FE}"/>
          </ac:spMkLst>
        </pc:spChg>
        <pc:spChg chg="add del mod">
          <ac:chgData name="Plunkett Kelly" userId="cdb012e4-69ac-4954-928c-e33ec36f5eba" providerId="ADAL" clId="{2A079017-6789-4E78-BFB4-5FB800F73343}" dt="2023-07-29T14:40:41.766" v="5096" actId="21"/>
          <ac:spMkLst>
            <pc:docMk/>
            <pc:sldMk cId="3656600548" sldId="2147479654"/>
            <ac:spMk id="42" creationId="{F4D251D4-A5B0-C34A-060F-0C1BB266D64B}"/>
          </ac:spMkLst>
        </pc:spChg>
        <pc:spChg chg="add del mod">
          <ac:chgData name="Plunkett Kelly" userId="cdb012e4-69ac-4954-928c-e33ec36f5eba" providerId="ADAL" clId="{2A079017-6789-4E78-BFB4-5FB800F73343}" dt="2023-07-29T14:40:41.766" v="5096" actId="21"/>
          <ac:spMkLst>
            <pc:docMk/>
            <pc:sldMk cId="3656600548" sldId="2147479654"/>
            <ac:spMk id="43" creationId="{DC21BDAC-80C6-A2E2-6B58-20EDB4EEFC47}"/>
          </ac:spMkLst>
        </pc:spChg>
        <pc:spChg chg="add del mod">
          <ac:chgData name="Plunkett Kelly" userId="cdb012e4-69ac-4954-928c-e33ec36f5eba" providerId="ADAL" clId="{2A079017-6789-4E78-BFB4-5FB800F73343}" dt="2023-07-29T14:40:41.766" v="5096" actId="21"/>
          <ac:spMkLst>
            <pc:docMk/>
            <pc:sldMk cId="3656600548" sldId="2147479654"/>
            <ac:spMk id="44" creationId="{9440E80B-60D5-69A1-60DD-7710DA4E4247}"/>
          </ac:spMkLst>
        </pc:spChg>
        <pc:spChg chg="mod">
          <ac:chgData name="Plunkett Kelly" userId="cdb012e4-69ac-4954-928c-e33ec36f5eba" providerId="ADAL" clId="{2A079017-6789-4E78-BFB4-5FB800F73343}" dt="2023-07-29T14:17:39.118" v="4584"/>
          <ac:spMkLst>
            <pc:docMk/>
            <pc:sldMk cId="3656600548" sldId="2147479654"/>
            <ac:spMk id="46" creationId="{C94D1C95-CA8C-2158-76FF-B784D7EE0638}"/>
          </ac:spMkLst>
        </pc:spChg>
        <pc:spChg chg="mod">
          <ac:chgData name="Plunkett Kelly" userId="cdb012e4-69ac-4954-928c-e33ec36f5eba" providerId="ADAL" clId="{2A079017-6789-4E78-BFB4-5FB800F73343}" dt="2023-07-29T14:18:50.833" v="4595" actId="207"/>
          <ac:spMkLst>
            <pc:docMk/>
            <pc:sldMk cId="3656600548" sldId="2147479654"/>
            <ac:spMk id="47" creationId="{E18DAB3D-BF27-9BDE-8B69-19DF576351FD}"/>
          </ac:spMkLst>
        </pc:spChg>
        <pc:spChg chg="add del mod">
          <ac:chgData name="Plunkett Kelly" userId="cdb012e4-69ac-4954-928c-e33ec36f5eba" providerId="ADAL" clId="{2A079017-6789-4E78-BFB4-5FB800F73343}" dt="2023-07-29T14:40:41.766" v="5096" actId="21"/>
          <ac:spMkLst>
            <pc:docMk/>
            <pc:sldMk cId="3656600548" sldId="2147479654"/>
            <ac:spMk id="48" creationId="{5D092CF6-AAC9-46C5-1C2D-4722A630E05A}"/>
          </ac:spMkLst>
        </pc:spChg>
        <pc:spChg chg="add del mod">
          <ac:chgData name="Plunkett Kelly" userId="cdb012e4-69ac-4954-928c-e33ec36f5eba" providerId="ADAL" clId="{2A079017-6789-4E78-BFB4-5FB800F73343}" dt="2023-07-29T14:17:56.594" v="4586"/>
          <ac:spMkLst>
            <pc:docMk/>
            <pc:sldMk cId="3656600548" sldId="2147479654"/>
            <ac:spMk id="49" creationId="{5CBC5D80-E20E-A9BE-A670-FBEC4C5CFEB4}"/>
          </ac:spMkLst>
        </pc:spChg>
        <pc:spChg chg="add del mod">
          <ac:chgData name="Plunkett Kelly" userId="cdb012e4-69ac-4954-928c-e33ec36f5eba" providerId="ADAL" clId="{2A079017-6789-4E78-BFB4-5FB800F73343}" dt="2023-07-29T14:17:56.594" v="4586"/>
          <ac:spMkLst>
            <pc:docMk/>
            <pc:sldMk cId="3656600548" sldId="2147479654"/>
            <ac:spMk id="50" creationId="{350906C4-1B10-2F2F-6F9E-8ED7673EC7CC}"/>
          </ac:spMkLst>
        </pc:spChg>
        <pc:spChg chg="add del mod">
          <ac:chgData name="Plunkett Kelly" userId="cdb012e4-69ac-4954-928c-e33ec36f5eba" providerId="ADAL" clId="{2A079017-6789-4E78-BFB4-5FB800F73343}" dt="2023-07-29T14:17:56.594" v="4586"/>
          <ac:spMkLst>
            <pc:docMk/>
            <pc:sldMk cId="3656600548" sldId="2147479654"/>
            <ac:spMk id="51" creationId="{29D09991-295E-1C02-C337-32DF9F309738}"/>
          </ac:spMkLst>
        </pc:spChg>
        <pc:spChg chg="add del mod">
          <ac:chgData name="Plunkett Kelly" userId="cdb012e4-69ac-4954-928c-e33ec36f5eba" providerId="ADAL" clId="{2A079017-6789-4E78-BFB4-5FB800F73343}" dt="2023-07-29T14:17:56.594" v="4586"/>
          <ac:spMkLst>
            <pc:docMk/>
            <pc:sldMk cId="3656600548" sldId="2147479654"/>
            <ac:spMk id="52" creationId="{F2A8DEF4-EFB9-F783-BC4D-65C8F78AA693}"/>
          </ac:spMkLst>
        </pc:spChg>
        <pc:spChg chg="add del mod">
          <ac:chgData name="Plunkett Kelly" userId="cdb012e4-69ac-4954-928c-e33ec36f5eba" providerId="ADAL" clId="{2A079017-6789-4E78-BFB4-5FB800F73343}" dt="2023-07-29T14:17:56.594" v="4586"/>
          <ac:spMkLst>
            <pc:docMk/>
            <pc:sldMk cId="3656600548" sldId="2147479654"/>
            <ac:spMk id="53" creationId="{A3C39769-C3B5-9DA9-0BA5-EDED3D256253}"/>
          </ac:spMkLst>
        </pc:spChg>
        <pc:spChg chg="add del mod">
          <ac:chgData name="Plunkett Kelly" userId="cdb012e4-69ac-4954-928c-e33ec36f5eba" providerId="ADAL" clId="{2A079017-6789-4E78-BFB4-5FB800F73343}" dt="2023-07-29T14:17:56.594" v="4586"/>
          <ac:spMkLst>
            <pc:docMk/>
            <pc:sldMk cId="3656600548" sldId="2147479654"/>
            <ac:spMk id="54" creationId="{10D573F7-A917-0D95-9ED6-7EE45E9E51F1}"/>
          </ac:spMkLst>
        </pc:spChg>
        <pc:spChg chg="add del mod">
          <ac:chgData name="Plunkett Kelly" userId="cdb012e4-69ac-4954-928c-e33ec36f5eba" providerId="ADAL" clId="{2A079017-6789-4E78-BFB4-5FB800F73343}" dt="2023-07-29T14:17:56.594" v="4586"/>
          <ac:spMkLst>
            <pc:docMk/>
            <pc:sldMk cId="3656600548" sldId="2147479654"/>
            <ac:spMk id="55" creationId="{68015D72-A148-8CEC-B459-3C8D2A0E49B9}"/>
          </ac:spMkLst>
        </pc:spChg>
        <pc:spChg chg="mod">
          <ac:chgData name="Plunkett Kelly" userId="cdb012e4-69ac-4954-928c-e33ec36f5eba" providerId="ADAL" clId="{2A079017-6789-4E78-BFB4-5FB800F73343}" dt="2023-07-29T14:17:54.904" v="4585"/>
          <ac:spMkLst>
            <pc:docMk/>
            <pc:sldMk cId="3656600548" sldId="2147479654"/>
            <ac:spMk id="57" creationId="{46C56AA8-214E-5C5B-F5C3-04CD89669D74}"/>
          </ac:spMkLst>
        </pc:spChg>
        <pc:spChg chg="mod">
          <ac:chgData name="Plunkett Kelly" userId="cdb012e4-69ac-4954-928c-e33ec36f5eba" providerId="ADAL" clId="{2A079017-6789-4E78-BFB4-5FB800F73343}" dt="2023-07-29T14:17:54.904" v="4585"/>
          <ac:spMkLst>
            <pc:docMk/>
            <pc:sldMk cId="3656600548" sldId="2147479654"/>
            <ac:spMk id="58" creationId="{1FF84BFF-2C94-2998-4A09-78222F51B68D}"/>
          </ac:spMkLst>
        </pc:spChg>
        <pc:spChg chg="mod">
          <ac:chgData name="Plunkett Kelly" userId="cdb012e4-69ac-4954-928c-e33ec36f5eba" providerId="ADAL" clId="{2A079017-6789-4E78-BFB4-5FB800F73343}" dt="2023-07-29T14:17:54.904" v="4585"/>
          <ac:spMkLst>
            <pc:docMk/>
            <pc:sldMk cId="3656600548" sldId="2147479654"/>
            <ac:spMk id="60" creationId="{5F0C70CF-60A3-0393-F3F6-62AEAB03EEEE}"/>
          </ac:spMkLst>
        </pc:spChg>
        <pc:spChg chg="mod">
          <ac:chgData name="Plunkett Kelly" userId="cdb012e4-69ac-4954-928c-e33ec36f5eba" providerId="ADAL" clId="{2A079017-6789-4E78-BFB4-5FB800F73343}" dt="2023-07-29T14:17:54.904" v="4585"/>
          <ac:spMkLst>
            <pc:docMk/>
            <pc:sldMk cId="3656600548" sldId="2147479654"/>
            <ac:spMk id="61" creationId="{746DDDB6-8358-823B-9319-F941A82D3FE0}"/>
          </ac:spMkLst>
        </pc:spChg>
        <pc:spChg chg="mod">
          <ac:chgData name="Plunkett Kelly" userId="cdb012e4-69ac-4954-928c-e33ec36f5eba" providerId="ADAL" clId="{2A079017-6789-4E78-BFB4-5FB800F73343}" dt="2023-07-29T14:17:54.904" v="4585"/>
          <ac:spMkLst>
            <pc:docMk/>
            <pc:sldMk cId="3656600548" sldId="2147479654"/>
            <ac:spMk id="63" creationId="{11AAA82C-63EA-6BCF-F42B-BE041811CD4A}"/>
          </ac:spMkLst>
        </pc:spChg>
        <pc:spChg chg="mod">
          <ac:chgData name="Plunkett Kelly" userId="cdb012e4-69ac-4954-928c-e33ec36f5eba" providerId="ADAL" clId="{2A079017-6789-4E78-BFB4-5FB800F73343}" dt="2023-07-29T14:17:54.904" v="4585"/>
          <ac:spMkLst>
            <pc:docMk/>
            <pc:sldMk cId="3656600548" sldId="2147479654"/>
            <ac:spMk id="64" creationId="{781EDBAC-5219-331E-9775-169E4074CE6A}"/>
          </ac:spMkLst>
        </pc:spChg>
        <pc:spChg chg="add del mod">
          <ac:chgData name="Plunkett Kelly" userId="cdb012e4-69ac-4954-928c-e33ec36f5eba" providerId="ADAL" clId="{2A079017-6789-4E78-BFB4-5FB800F73343}" dt="2023-07-29T14:17:56.594" v="4586"/>
          <ac:spMkLst>
            <pc:docMk/>
            <pc:sldMk cId="3656600548" sldId="2147479654"/>
            <ac:spMk id="65" creationId="{751D9FF9-487C-FEE8-FE97-78EE15203E03}"/>
          </ac:spMkLst>
        </pc:spChg>
        <pc:spChg chg="add del mod">
          <ac:chgData name="Plunkett Kelly" userId="cdb012e4-69ac-4954-928c-e33ec36f5eba" providerId="ADAL" clId="{2A079017-6789-4E78-BFB4-5FB800F73343}" dt="2023-07-29T14:17:56.594" v="4586"/>
          <ac:spMkLst>
            <pc:docMk/>
            <pc:sldMk cId="3656600548" sldId="2147479654"/>
            <ac:spMk id="66" creationId="{AD1E6FCE-BC7C-9520-E91D-B0DC65CB1E5C}"/>
          </ac:spMkLst>
        </pc:spChg>
        <pc:spChg chg="add del mod">
          <ac:chgData name="Plunkett Kelly" userId="cdb012e4-69ac-4954-928c-e33ec36f5eba" providerId="ADAL" clId="{2A079017-6789-4E78-BFB4-5FB800F73343}" dt="2023-07-29T14:17:56.594" v="4586"/>
          <ac:spMkLst>
            <pc:docMk/>
            <pc:sldMk cId="3656600548" sldId="2147479654"/>
            <ac:spMk id="67" creationId="{E5E6AE9E-F6EC-DDB0-5801-ED63DB727622}"/>
          </ac:spMkLst>
        </pc:spChg>
        <pc:spChg chg="add del mod">
          <ac:chgData name="Plunkett Kelly" userId="cdb012e4-69ac-4954-928c-e33ec36f5eba" providerId="ADAL" clId="{2A079017-6789-4E78-BFB4-5FB800F73343}" dt="2023-07-29T14:17:56.594" v="4586"/>
          <ac:spMkLst>
            <pc:docMk/>
            <pc:sldMk cId="3656600548" sldId="2147479654"/>
            <ac:spMk id="68" creationId="{A3273CDB-0859-3D90-83DB-E40B7FF2845F}"/>
          </ac:spMkLst>
        </pc:spChg>
        <pc:spChg chg="mod">
          <ac:chgData name="Plunkett Kelly" userId="cdb012e4-69ac-4954-928c-e33ec36f5eba" providerId="ADAL" clId="{2A079017-6789-4E78-BFB4-5FB800F73343}" dt="2023-07-29T14:17:54.904" v="4585"/>
          <ac:spMkLst>
            <pc:docMk/>
            <pc:sldMk cId="3656600548" sldId="2147479654"/>
            <ac:spMk id="70" creationId="{1105BD02-266A-2B14-5AD1-5B723D31D9C4}"/>
          </ac:spMkLst>
        </pc:spChg>
        <pc:spChg chg="mod">
          <ac:chgData name="Plunkett Kelly" userId="cdb012e4-69ac-4954-928c-e33ec36f5eba" providerId="ADAL" clId="{2A079017-6789-4E78-BFB4-5FB800F73343}" dt="2023-07-29T14:17:54.904" v="4585"/>
          <ac:spMkLst>
            <pc:docMk/>
            <pc:sldMk cId="3656600548" sldId="2147479654"/>
            <ac:spMk id="71" creationId="{E253A4B4-D19B-2ED5-EFDF-32F05F733E0D}"/>
          </ac:spMkLst>
        </pc:spChg>
        <pc:spChg chg="add del mod">
          <ac:chgData name="Plunkett Kelly" userId="cdb012e4-69ac-4954-928c-e33ec36f5eba" providerId="ADAL" clId="{2A079017-6789-4E78-BFB4-5FB800F73343}" dt="2023-07-29T14:17:56.594" v="4586"/>
          <ac:spMkLst>
            <pc:docMk/>
            <pc:sldMk cId="3656600548" sldId="2147479654"/>
            <ac:spMk id="72" creationId="{2F44F63D-A185-EADF-A1CF-D99A1FB4D5DA}"/>
          </ac:spMkLst>
        </pc:spChg>
        <pc:spChg chg="mod">
          <ac:chgData name="Plunkett Kelly" userId="cdb012e4-69ac-4954-928c-e33ec36f5eba" providerId="ADAL" clId="{2A079017-6789-4E78-BFB4-5FB800F73343}" dt="2023-07-29T14:18:14.021" v="4587"/>
          <ac:spMkLst>
            <pc:docMk/>
            <pc:sldMk cId="3656600548" sldId="2147479654"/>
            <ac:spMk id="74" creationId="{4CED19E4-EEA6-7864-720A-AD1FC543D722}"/>
          </ac:spMkLst>
        </pc:spChg>
        <pc:spChg chg="mod">
          <ac:chgData name="Plunkett Kelly" userId="cdb012e4-69ac-4954-928c-e33ec36f5eba" providerId="ADAL" clId="{2A079017-6789-4E78-BFB4-5FB800F73343}" dt="2023-07-29T14:18:14.021" v="4587"/>
          <ac:spMkLst>
            <pc:docMk/>
            <pc:sldMk cId="3656600548" sldId="2147479654"/>
            <ac:spMk id="75" creationId="{28C974AE-C736-3D17-39FF-B3656AAA4CD4}"/>
          </ac:spMkLst>
        </pc:spChg>
        <pc:spChg chg="add del mod">
          <ac:chgData name="Plunkett Kelly" userId="cdb012e4-69ac-4954-928c-e33ec36f5eba" providerId="ADAL" clId="{2A079017-6789-4E78-BFB4-5FB800F73343}" dt="2023-07-29T14:18:28.468" v="4590"/>
          <ac:spMkLst>
            <pc:docMk/>
            <pc:sldMk cId="3656600548" sldId="2147479654"/>
            <ac:spMk id="76" creationId="{C48EB7C1-C9CB-39F4-3A99-AE68AC06F8AB}"/>
          </ac:spMkLst>
        </pc:spChg>
        <pc:spChg chg="add del mod">
          <ac:chgData name="Plunkett Kelly" userId="cdb012e4-69ac-4954-928c-e33ec36f5eba" providerId="ADAL" clId="{2A079017-6789-4E78-BFB4-5FB800F73343}" dt="2023-07-29T14:19:32.985" v="4603"/>
          <ac:spMkLst>
            <pc:docMk/>
            <pc:sldMk cId="3656600548" sldId="2147479654"/>
            <ac:spMk id="77" creationId="{3AB2E47B-F558-253E-1064-81AD872FCCF4}"/>
          </ac:spMkLst>
        </pc:spChg>
        <pc:spChg chg="add del mod">
          <ac:chgData name="Plunkett Kelly" userId="cdb012e4-69ac-4954-928c-e33ec36f5eba" providerId="ADAL" clId="{2A079017-6789-4E78-BFB4-5FB800F73343}" dt="2023-07-29T14:40:41.766" v="5096" actId="21"/>
          <ac:spMkLst>
            <pc:docMk/>
            <pc:sldMk cId="3656600548" sldId="2147479654"/>
            <ac:spMk id="78" creationId="{C26B27A3-7A9A-966A-3B15-E79408ED32E8}"/>
          </ac:spMkLst>
        </pc:spChg>
        <pc:spChg chg="add del mod ord">
          <ac:chgData name="Plunkett Kelly" userId="cdb012e4-69ac-4954-928c-e33ec36f5eba" providerId="ADAL" clId="{2A079017-6789-4E78-BFB4-5FB800F73343}" dt="2023-07-29T14:40:41.766" v="5096" actId="21"/>
          <ac:spMkLst>
            <pc:docMk/>
            <pc:sldMk cId="3656600548" sldId="2147479654"/>
            <ac:spMk id="79" creationId="{944FF337-620E-EA15-2E39-7C6755627B3A}"/>
          </ac:spMkLst>
        </pc:spChg>
        <pc:spChg chg="add del mod">
          <ac:chgData name="Plunkett Kelly" userId="cdb012e4-69ac-4954-928c-e33ec36f5eba" providerId="ADAL" clId="{2A079017-6789-4E78-BFB4-5FB800F73343}" dt="2023-07-29T14:40:41.766" v="5096" actId="21"/>
          <ac:spMkLst>
            <pc:docMk/>
            <pc:sldMk cId="3656600548" sldId="2147479654"/>
            <ac:spMk id="80" creationId="{A0782186-3B28-08DD-31F4-789A5340D78A}"/>
          </ac:spMkLst>
        </pc:spChg>
        <pc:spChg chg="add del mod">
          <ac:chgData name="Plunkett Kelly" userId="cdb012e4-69ac-4954-928c-e33ec36f5eba" providerId="ADAL" clId="{2A079017-6789-4E78-BFB4-5FB800F73343}" dt="2023-07-29T14:33:20.376" v="4993" actId="478"/>
          <ac:spMkLst>
            <pc:docMk/>
            <pc:sldMk cId="3656600548" sldId="2147479654"/>
            <ac:spMk id="81" creationId="{9141DF9E-DEB7-3C0D-3CE4-1E500CD97139}"/>
          </ac:spMkLst>
        </pc:spChg>
        <pc:spChg chg="add del mod">
          <ac:chgData name="Plunkett Kelly" userId="cdb012e4-69ac-4954-928c-e33ec36f5eba" providerId="ADAL" clId="{2A079017-6789-4E78-BFB4-5FB800F73343}" dt="2023-07-29T14:40:41.766" v="5096" actId="21"/>
          <ac:spMkLst>
            <pc:docMk/>
            <pc:sldMk cId="3656600548" sldId="2147479654"/>
            <ac:spMk id="82" creationId="{2DBFC856-4B6F-7992-7B4E-A3E06B49929E}"/>
          </ac:spMkLst>
        </pc:spChg>
        <pc:spChg chg="add del mod">
          <ac:chgData name="Plunkett Kelly" userId="cdb012e4-69ac-4954-928c-e33ec36f5eba" providerId="ADAL" clId="{2A079017-6789-4E78-BFB4-5FB800F73343}" dt="2023-07-29T14:42:55.818" v="5107" actId="21"/>
          <ac:spMkLst>
            <pc:docMk/>
            <pc:sldMk cId="3656600548" sldId="2147479654"/>
            <ac:spMk id="83" creationId="{7CD77934-E671-D3F3-5537-53F31E61DAD4}"/>
          </ac:spMkLst>
        </pc:spChg>
        <pc:spChg chg="mod">
          <ac:chgData name="Plunkett Kelly" userId="cdb012e4-69ac-4954-928c-e33ec36f5eba" providerId="ADAL" clId="{2A079017-6789-4E78-BFB4-5FB800F73343}" dt="2023-07-29T14:40:27.276" v="5094"/>
          <ac:spMkLst>
            <pc:docMk/>
            <pc:sldMk cId="3656600548" sldId="2147479654"/>
            <ac:spMk id="85" creationId="{33D9BB80-EDC3-F5EF-F656-F5DF0B369A77}"/>
          </ac:spMkLst>
        </pc:spChg>
        <pc:spChg chg="mod">
          <ac:chgData name="Plunkett Kelly" userId="cdb012e4-69ac-4954-928c-e33ec36f5eba" providerId="ADAL" clId="{2A079017-6789-4E78-BFB4-5FB800F73343}" dt="2023-07-29T14:40:27.276" v="5094"/>
          <ac:spMkLst>
            <pc:docMk/>
            <pc:sldMk cId="3656600548" sldId="2147479654"/>
            <ac:spMk id="86" creationId="{9BB75195-FB06-3F40-C6E2-A38B145FC22A}"/>
          </ac:spMkLst>
        </pc:spChg>
        <pc:spChg chg="mod">
          <ac:chgData name="Plunkett Kelly" userId="cdb012e4-69ac-4954-928c-e33ec36f5eba" providerId="ADAL" clId="{2A079017-6789-4E78-BFB4-5FB800F73343}" dt="2023-07-29T14:40:27.276" v="5094"/>
          <ac:spMkLst>
            <pc:docMk/>
            <pc:sldMk cId="3656600548" sldId="2147479654"/>
            <ac:spMk id="88" creationId="{27AB22A7-9B5B-B73A-B5DC-67A2BCBE489D}"/>
          </ac:spMkLst>
        </pc:spChg>
        <pc:spChg chg="mod">
          <ac:chgData name="Plunkett Kelly" userId="cdb012e4-69ac-4954-928c-e33ec36f5eba" providerId="ADAL" clId="{2A079017-6789-4E78-BFB4-5FB800F73343}" dt="2023-07-29T14:40:27.276" v="5094"/>
          <ac:spMkLst>
            <pc:docMk/>
            <pc:sldMk cId="3656600548" sldId="2147479654"/>
            <ac:spMk id="89" creationId="{AFB0FA6D-3977-0259-BF89-EF0BBFFA9F91}"/>
          </ac:spMkLst>
        </pc:spChg>
        <pc:spChg chg="mod">
          <ac:chgData name="Plunkett Kelly" userId="cdb012e4-69ac-4954-928c-e33ec36f5eba" providerId="ADAL" clId="{2A079017-6789-4E78-BFB4-5FB800F73343}" dt="2023-07-29T14:40:27.276" v="5094"/>
          <ac:spMkLst>
            <pc:docMk/>
            <pc:sldMk cId="3656600548" sldId="2147479654"/>
            <ac:spMk id="94" creationId="{AC65D499-DC94-AADE-0320-7CB7FEE41979}"/>
          </ac:spMkLst>
        </pc:spChg>
        <pc:spChg chg="mod">
          <ac:chgData name="Plunkett Kelly" userId="cdb012e4-69ac-4954-928c-e33ec36f5eba" providerId="ADAL" clId="{2A079017-6789-4E78-BFB4-5FB800F73343}" dt="2023-07-29T14:40:27.276" v="5094"/>
          <ac:spMkLst>
            <pc:docMk/>
            <pc:sldMk cId="3656600548" sldId="2147479654"/>
            <ac:spMk id="95" creationId="{A6ED8DE4-4842-88A6-7538-C8B4724D3541}"/>
          </ac:spMkLst>
        </pc:spChg>
        <pc:spChg chg="mod">
          <ac:chgData name="Plunkett Kelly" userId="cdb012e4-69ac-4954-928c-e33ec36f5eba" providerId="ADAL" clId="{2A079017-6789-4E78-BFB4-5FB800F73343}" dt="2023-07-29T14:40:27.276" v="5094"/>
          <ac:spMkLst>
            <pc:docMk/>
            <pc:sldMk cId="3656600548" sldId="2147479654"/>
            <ac:spMk id="96" creationId="{88E6A4F7-C2D8-ECF5-B8EC-D22660AE62B9}"/>
          </ac:spMkLst>
        </pc:spChg>
        <pc:spChg chg="mod">
          <ac:chgData name="Plunkett Kelly" userId="cdb012e4-69ac-4954-928c-e33ec36f5eba" providerId="ADAL" clId="{2A079017-6789-4E78-BFB4-5FB800F73343}" dt="2023-07-29T14:40:27.276" v="5094"/>
          <ac:spMkLst>
            <pc:docMk/>
            <pc:sldMk cId="3656600548" sldId="2147479654"/>
            <ac:spMk id="97" creationId="{51E1EEE1-B7A9-4ECB-9B6B-0B85BCB5D2BC}"/>
          </ac:spMkLst>
        </pc:spChg>
        <pc:spChg chg="mod">
          <ac:chgData name="Plunkett Kelly" userId="cdb012e4-69ac-4954-928c-e33ec36f5eba" providerId="ADAL" clId="{2A079017-6789-4E78-BFB4-5FB800F73343}" dt="2023-07-29T14:40:27.276" v="5094"/>
          <ac:spMkLst>
            <pc:docMk/>
            <pc:sldMk cId="3656600548" sldId="2147479654"/>
            <ac:spMk id="98" creationId="{73CF037F-825B-4A1B-0009-F7F68554DA2A}"/>
          </ac:spMkLst>
        </pc:spChg>
        <pc:spChg chg="mod">
          <ac:chgData name="Plunkett Kelly" userId="cdb012e4-69ac-4954-928c-e33ec36f5eba" providerId="ADAL" clId="{2A079017-6789-4E78-BFB4-5FB800F73343}" dt="2023-07-29T14:40:27.276" v="5094"/>
          <ac:spMkLst>
            <pc:docMk/>
            <pc:sldMk cId="3656600548" sldId="2147479654"/>
            <ac:spMk id="99" creationId="{E317C929-2F84-2328-6953-1341E98A185E}"/>
          </ac:spMkLst>
        </pc:spChg>
        <pc:spChg chg="mod">
          <ac:chgData name="Plunkett Kelly" userId="cdb012e4-69ac-4954-928c-e33ec36f5eba" providerId="ADAL" clId="{2A079017-6789-4E78-BFB4-5FB800F73343}" dt="2023-07-29T14:40:27.276" v="5094"/>
          <ac:spMkLst>
            <pc:docMk/>
            <pc:sldMk cId="3656600548" sldId="2147479654"/>
            <ac:spMk id="102" creationId="{9CEA9831-24A8-CC4F-8C0E-94A681BDC1B5}"/>
          </ac:spMkLst>
        </pc:spChg>
        <pc:spChg chg="mod">
          <ac:chgData name="Plunkett Kelly" userId="cdb012e4-69ac-4954-928c-e33ec36f5eba" providerId="ADAL" clId="{2A079017-6789-4E78-BFB4-5FB800F73343}" dt="2023-07-29T14:40:27.276" v="5094"/>
          <ac:spMkLst>
            <pc:docMk/>
            <pc:sldMk cId="3656600548" sldId="2147479654"/>
            <ac:spMk id="103" creationId="{6539E2DE-2DAB-985D-A400-11A1DF09AACE}"/>
          </ac:spMkLst>
        </pc:spChg>
        <pc:spChg chg="mod">
          <ac:chgData name="Plunkett Kelly" userId="cdb012e4-69ac-4954-928c-e33ec36f5eba" providerId="ADAL" clId="{2A079017-6789-4E78-BFB4-5FB800F73343}" dt="2023-07-29T14:40:27.276" v="5094"/>
          <ac:spMkLst>
            <pc:docMk/>
            <pc:sldMk cId="3656600548" sldId="2147479654"/>
            <ac:spMk id="104" creationId="{1D4D8648-68DB-C5DE-DBAE-2F919DF77EB8}"/>
          </ac:spMkLst>
        </pc:spChg>
        <pc:spChg chg="mod">
          <ac:chgData name="Plunkett Kelly" userId="cdb012e4-69ac-4954-928c-e33ec36f5eba" providerId="ADAL" clId="{2A079017-6789-4E78-BFB4-5FB800F73343}" dt="2023-07-29T14:40:27.276" v="5094"/>
          <ac:spMkLst>
            <pc:docMk/>
            <pc:sldMk cId="3656600548" sldId="2147479654"/>
            <ac:spMk id="105" creationId="{BCBDB336-70BB-CF68-C482-379D01C9E30E}"/>
          </ac:spMkLst>
        </pc:spChg>
        <pc:spChg chg="mod">
          <ac:chgData name="Plunkett Kelly" userId="cdb012e4-69ac-4954-928c-e33ec36f5eba" providerId="ADAL" clId="{2A079017-6789-4E78-BFB4-5FB800F73343}" dt="2023-07-29T14:40:27.276" v="5094"/>
          <ac:spMkLst>
            <pc:docMk/>
            <pc:sldMk cId="3656600548" sldId="2147479654"/>
            <ac:spMk id="106" creationId="{9F57F7E7-55C7-0FC3-06E9-79FC69FD05AC}"/>
          </ac:spMkLst>
        </pc:spChg>
        <pc:spChg chg="mod">
          <ac:chgData name="Plunkett Kelly" userId="cdb012e4-69ac-4954-928c-e33ec36f5eba" providerId="ADAL" clId="{2A079017-6789-4E78-BFB4-5FB800F73343}" dt="2023-07-29T14:40:27.276" v="5094"/>
          <ac:spMkLst>
            <pc:docMk/>
            <pc:sldMk cId="3656600548" sldId="2147479654"/>
            <ac:spMk id="107" creationId="{5F77D9FF-CD09-C513-0732-625A37CDD023}"/>
          </ac:spMkLst>
        </pc:spChg>
        <pc:spChg chg="mod">
          <ac:chgData name="Plunkett Kelly" userId="cdb012e4-69ac-4954-928c-e33ec36f5eba" providerId="ADAL" clId="{2A079017-6789-4E78-BFB4-5FB800F73343}" dt="2023-07-29T14:40:27.276" v="5094"/>
          <ac:spMkLst>
            <pc:docMk/>
            <pc:sldMk cId="3656600548" sldId="2147479654"/>
            <ac:spMk id="110" creationId="{BCA7BA32-FDC6-2DEC-F03E-E579AB3885BD}"/>
          </ac:spMkLst>
        </pc:spChg>
        <pc:spChg chg="mod">
          <ac:chgData name="Plunkett Kelly" userId="cdb012e4-69ac-4954-928c-e33ec36f5eba" providerId="ADAL" clId="{2A079017-6789-4E78-BFB4-5FB800F73343}" dt="2023-07-29T14:40:27.276" v="5094"/>
          <ac:spMkLst>
            <pc:docMk/>
            <pc:sldMk cId="3656600548" sldId="2147479654"/>
            <ac:spMk id="111" creationId="{3ECEEC26-E304-054A-8FBB-FCDA630EBB4C}"/>
          </ac:spMkLst>
        </pc:spChg>
        <pc:spChg chg="mod">
          <ac:chgData name="Plunkett Kelly" userId="cdb012e4-69ac-4954-928c-e33ec36f5eba" providerId="ADAL" clId="{2A079017-6789-4E78-BFB4-5FB800F73343}" dt="2023-07-29T14:40:27.276" v="5094"/>
          <ac:spMkLst>
            <pc:docMk/>
            <pc:sldMk cId="3656600548" sldId="2147479654"/>
            <ac:spMk id="112" creationId="{01ED93AA-6FC2-5F2D-424F-8DCD61FB7DD5}"/>
          </ac:spMkLst>
        </pc:spChg>
        <pc:spChg chg="mod">
          <ac:chgData name="Plunkett Kelly" userId="cdb012e4-69ac-4954-928c-e33ec36f5eba" providerId="ADAL" clId="{2A079017-6789-4E78-BFB4-5FB800F73343}" dt="2023-07-29T14:40:27.276" v="5094"/>
          <ac:spMkLst>
            <pc:docMk/>
            <pc:sldMk cId="3656600548" sldId="2147479654"/>
            <ac:spMk id="117" creationId="{F27CFB85-2055-7A8A-EC16-96245550609B}"/>
          </ac:spMkLst>
        </pc:spChg>
        <pc:spChg chg="mod">
          <ac:chgData name="Plunkett Kelly" userId="cdb012e4-69ac-4954-928c-e33ec36f5eba" providerId="ADAL" clId="{2A079017-6789-4E78-BFB4-5FB800F73343}" dt="2023-07-29T14:40:27.276" v="5094"/>
          <ac:spMkLst>
            <pc:docMk/>
            <pc:sldMk cId="3656600548" sldId="2147479654"/>
            <ac:spMk id="119" creationId="{89242595-7D30-81E4-8D88-EE37CAA95A93}"/>
          </ac:spMkLst>
        </pc:spChg>
        <pc:spChg chg="mod">
          <ac:chgData name="Plunkett Kelly" userId="cdb012e4-69ac-4954-928c-e33ec36f5eba" providerId="ADAL" clId="{2A079017-6789-4E78-BFB4-5FB800F73343}" dt="2023-07-29T14:40:27.276" v="5094"/>
          <ac:spMkLst>
            <pc:docMk/>
            <pc:sldMk cId="3656600548" sldId="2147479654"/>
            <ac:spMk id="120" creationId="{3DC59C5A-B888-6909-D7D7-CBFC4624DDCB}"/>
          </ac:spMkLst>
        </pc:spChg>
        <pc:spChg chg="mod">
          <ac:chgData name="Plunkett Kelly" userId="cdb012e4-69ac-4954-928c-e33ec36f5eba" providerId="ADAL" clId="{2A079017-6789-4E78-BFB4-5FB800F73343}" dt="2023-07-29T14:40:27.276" v="5094"/>
          <ac:spMkLst>
            <pc:docMk/>
            <pc:sldMk cId="3656600548" sldId="2147479654"/>
            <ac:spMk id="121" creationId="{498A4617-F65C-2F6B-EAEE-C910E6B64B40}"/>
          </ac:spMkLst>
        </pc:spChg>
        <pc:spChg chg="mod">
          <ac:chgData name="Plunkett Kelly" userId="cdb012e4-69ac-4954-928c-e33ec36f5eba" providerId="ADAL" clId="{2A079017-6789-4E78-BFB4-5FB800F73343}" dt="2023-07-29T14:40:27.276" v="5094"/>
          <ac:spMkLst>
            <pc:docMk/>
            <pc:sldMk cId="3656600548" sldId="2147479654"/>
            <ac:spMk id="122" creationId="{A5E828F0-1204-6D1F-4FA6-C9CF9998B814}"/>
          </ac:spMkLst>
        </pc:spChg>
        <pc:spChg chg="mod">
          <ac:chgData name="Plunkett Kelly" userId="cdb012e4-69ac-4954-928c-e33ec36f5eba" providerId="ADAL" clId="{2A079017-6789-4E78-BFB4-5FB800F73343}" dt="2023-07-29T14:40:27.276" v="5094"/>
          <ac:spMkLst>
            <pc:docMk/>
            <pc:sldMk cId="3656600548" sldId="2147479654"/>
            <ac:spMk id="123" creationId="{A182423D-1809-6A0E-271C-1A6AF2438058}"/>
          </ac:spMkLst>
        </pc:spChg>
        <pc:spChg chg="mod">
          <ac:chgData name="Plunkett Kelly" userId="cdb012e4-69ac-4954-928c-e33ec36f5eba" providerId="ADAL" clId="{2A079017-6789-4E78-BFB4-5FB800F73343}" dt="2023-07-29T14:40:27.276" v="5094"/>
          <ac:spMkLst>
            <pc:docMk/>
            <pc:sldMk cId="3656600548" sldId="2147479654"/>
            <ac:spMk id="125" creationId="{6ACBA924-8B24-E356-4161-629DD914F40E}"/>
          </ac:spMkLst>
        </pc:spChg>
        <pc:spChg chg="mod">
          <ac:chgData name="Plunkett Kelly" userId="cdb012e4-69ac-4954-928c-e33ec36f5eba" providerId="ADAL" clId="{2A079017-6789-4E78-BFB4-5FB800F73343}" dt="2023-07-29T14:40:27.276" v="5094"/>
          <ac:spMkLst>
            <pc:docMk/>
            <pc:sldMk cId="3656600548" sldId="2147479654"/>
            <ac:spMk id="126" creationId="{B1B2C203-FCB0-AD7C-AF55-5769C3DCB6F7}"/>
          </ac:spMkLst>
        </pc:spChg>
        <pc:spChg chg="mod">
          <ac:chgData name="Plunkett Kelly" userId="cdb012e4-69ac-4954-928c-e33ec36f5eba" providerId="ADAL" clId="{2A079017-6789-4E78-BFB4-5FB800F73343}" dt="2023-07-29T14:40:27.276" v="5094"/>
          <ac:spMkLst>
            <pc:docMk/>
            <pc:sldMk cId="3656600548" sldId="2147479654"/>
            <ac:spMk id="127" creationId="{E27E05FA-A72B-46BB-8624-80983013A9A3}"/>
          </ac:spMkLst>
        </pc:spChg>
        <pc:spChg chg="mod">
          <ac:chgData name="Plunkett Kelly" userId="cdb012e4-69ac-4954-928c-e33ec36f5eba" providerId="ADAL" clId="{2A079017-6789-4E78-BFB4-5FB800F73343}" dt="2023-07-29T14:40:27.276" v="5094"/>
          <ac:spMkLst>
            <pc:docMk/>
            <pc:sldMk cId="3656600548" sldId="2147479654"/>
            <ac:spMk id="129" creationId="{7B543822-03E6-8E6E-381B-89277CBE71BF}"/>
          </ac:spMkLst>
        </pc:spChg>
        <pc:spChg chg="mod">
          <ac:chgData name="Plunkett Kelly" userId="cdb012e4-69ac-4954-928c-e33ec36f5eba" providerId="ADAL" clId="{2A079017-6789-4E78-BFB4-5FB800F73343}" dt="2023-07-29T14:40:27.276" v="5094"/>
          <ac:spMkLst>
            <pc:docMk/>
            <pc:sldMk cId="3656600548" sldId="2147479654"/>
            <ac:spMk id="130" creationId="{3E286BB3-3D9F-7114-8A0A-940AF96F9946}"/>
          </ac:spMkLst>
        </pc:spChg>
        <pc:spChg chg="mod">
          <ac:chgData name="Plunkett Kelly" userId="cdb012e4-69ac-4954-928c-e33ec36f5eba" providerId="ADAL" clId="{2A079017-6789-4E78-BFB4-5FB800F73343}" dt="2023-07-29T14:40:27.276" v="5094"/>
          <ac:spMkLst>
            <pc:docMk/>
            <pc:sldMk cId="3656600548" sldId="2147479654"/>
            <ac:spMk id="131" creationId="{ECFA429C-410B-9995-3FCE-AA8489006074}"/>
          </ac:spMkLst>
        </pc:spChg>
        <pc:spChg chg="add del mod">
          <ac:chgData name="Plunkett Kelly" userId="cdb012e4-69ac-4954-928c-e33ec36f5eba" providerId="ADAL" clId="{2A079017-6789-4E78-BFB4-5FB800F73343}" dt="2023-07-29T14:42:55.818" v="5107" actId="21"/>
          <ac:spMkLst>
            <pc:docMk/>
            <pc:sldMk cId="3656600548" sldId="2147479654"/>
            <ac:spMk id="132" creationId="{308C3185-6F4F-917F-C3F4-078AA791AF48}"/>
          </ac:spMkLst>
        </pc:spChg>
        <pc:spChg chg="add mod">
          <ac:chgData name="Plunkett Kelly" userId="cdb012e4-69ac-4954-928c-e33ec36f5eba" providerId="ADAL" clId="{2A079017-6789-4E78-BFB4-5FB800F73343}" dt="2023-08-03T11:58:55.142" v="11083" actId="6549"/>
          <ac:spMkLst>
            <pc:docMk/>
            <pc:sldMk cId="3656600548" sldId="2147479654"/>
            <ac:spMk id="133" creationId="{590A35AF-D334-6DA1-9B69-24A0FD6D2883}"/>
          </ac:spMkLst>
        </pc:spChg>
        <pc:spChg chg="add mod">
          <ac:chgData name="Plunkett Kelly" userId="cdb012e4-69ac-4954-928c-e33ec36f5eba" providerId="ADAL" clId="{2A079017-6789-4E78-BFB4-5FB800F73343}" dt="2023-08-03T11:53:36.123" v="11027" actId="20577"/>
          <ac:spMkLst>
            <pc:docMk/>
            <pc:sldMk cId="3656600548" sldId="2147479654"/>
            <ac:spMk id="134" creationId="{18E877D6-E49E-DFEA-F0B5-BB1AC0F95365}"/>
          </ac:spMkLst>
        </pc:spChg>
        <pc:grpChg chg="add del mod">
          <ac:chgData name="Plunkett Kelly" userId="cdb012e4-69ac-4954-928c-e33ec36f5eba" providerId="ADAL" clId="{2A079017-6789-4E78-BFB4-5FB800F73343}" dt="2023-07-29T14:16:44.681" v="4583"/>
          <ac:grpSpMkLst>
            <pc:docMk/>
            <pc:sldMk cId="3656600548" sldId="2147479654"/>
            <ac:grpSpMk id="7" creationId="{6D135EA0-0550-8754-D5BB-27B1F9C9D9DA}"/>
          </ac:grpSpMkLst>
        </pc:grpChg>
        <pc:grpChg chg="add del mod">
          <ac:chgData name="Plunkett Kelly" userId="cdb012e4-69ac-4954-928c-e33ec36f5eba" providerId="ADAL" clId="{2A079017-6789-4E78-BFB4-5FB800F73343}" dt="2023-07-29T14:16:44.681" v="4583"/>
          <ac:grpSpMkLst>
            <pc:docMk/>
            <pc:sldMk cId="3656600548" sldId="2147479654"/>
            <ac:grpSpMk id="12" creationId="{A1A69100-56C2-AC25-DD35-86405B6A977B}"/>
          </ac:grpSpMkLst>
        </pc:grpChg>
        <pc:grpChg chg="add del mod">
          <ac:chgData name="Plunkett Kelly" userId="cdb012e4-69ac-4954-928c-e33ec36f5eba" providerId="ADAL" clId="{2A079017-6789-4E78-BFB4-5FB800F73343}" dt="2023-07-29T14:16:44.681" v="4583"/>
          <ac:grpSpMkLst>
            <pc:docMk/>
            <pc:sldMk cId="3656600548" sldId="2147479654"/>
            <ac:grpSpMk id="15" creationId="{2AD47D60-D013-84F7-F543-7017E7E5B3A1}"/>
          </ac:grpSpMkLst>
        </pc:grpChg>
        <pc:grpChg chg="add del mod">
          <ac:chgData name="Plunkett Kelly" userId="cdb012e4-69ac-4954-928c-e33ec36f5eba" providerId="ADAL" clId="{2A079017-6789-4E78-BFB4-5FB800F73343}" dt="2023-07-29T14:16:44.681" v="4583"/>
          <ac:grpSpMkLst>
            <pc:docMk/>
            <pc:sldMk cId="3656600548" sldId="2147479654"/>
            <ac:grpSpMk id="21" creationId="{BF8614BC-24C4-86F8-3F12-5C2093D1B7C4}"/>
          </ac:grpSpMkLst>
        </pc:grpChg>
        <pc:grpChg chg="add del mod">
          <ac:chgData name="Plunkett Kelly" userId="cdb012e4-69ac-4954-928c-e33ec36f5eba" providerId="ADAL" clId="{2A079017-6789-4E78-BFB4-5FB800F73343}" dt="2023-07-29T14:40:41.766" v="5096" actId="21"/>
          <ac:grpSpMkLst>
            <pc:docMk/>
            <pc:sldMk cId="3656600548" sldId="2147479654"/>
            <ac:grpSpMk id="32" creationId="{7CD2C3DE-D4EA-1328-4C07-CDF55D1F219C}"/>
          </ac:grpSpMkLst>
        </pc:grpChg>
        <pc:grpChg chg="add del mod">
          <ac:chgData name="Plunkett Kelly" userId="cdb012e4-69ac-4954-928c-e33ec36f5eba" providerId="ADAL" clId="{2A079017-6789-4E78-BFB4-5FB800F73343}" dt="2023-07-29T14:40:41.766" v="5096" actId="21"/>
          <ac:grpSpMkLst>
            <pc:docMk/>
            <pc:sldMk cId="3656600548" sldId="2147479654"/>
            <ac:grpSpMk id="35" creationId="{A088C2A0-F477-2E6F-9001-46BEE4A69251}"/>
          </ac:grpSpMkLst>
        </pc:grpChg>
        <pc:grpChg chg="add del mod">
          <ac:chgData name="Plunkett Kelly" userId="cdb012e4-69ac-4954-928c-e33ec36f5eba" providerId="ADAL" clId="{2A079017-6789-4E78-BFB4-5FB800F73343}" dt="2023-07-29T14:40:41.766" v="5096" actId="21"/>
          <ac:grpSpMkLst>
            <pc:docMk/>
            <pc:sldMk cId="3656600548" sldId="2147479654"/>
            <ac:grpSpMk id="38" creationId="{4F1F50AD-EAD8-1AAF-072C-8CAC3C82D900}"/>
          </ac:grpSpMkLst>
        </pc:grpChg>
        <pc:grpChg chg="add del mod">
          <ac:chgData name="Plunkett Kelly" userId="cdb012e4-69ac-4954-928c-e33ec36f5eba" providerId="ADAL" clId="{2A079017-6789-4E78-BFB4-5FB800F73343}" dt="2023-07-29T14:40:41.766" v="5096" actId="21"/>
          <ac:grpSpMkLst>
            <pc:docMk/>
            <pc:sldMk cId="3656600548" sldId="2147479654"/>
            <ac:grpSpMk id="45" creationId="{B9982BD2-3281-E83B-38E0-D314B35C311C}"/>
          </ac:grpSpMkLst>
        </pc:grpChg>
        <pc:grpChg chg="add del mod">
          <ac:chgData name="Plunkett Kelly" userId="cdb012e4-69ac-4954-928c-e33ec36f5eba" providerId="ADAL" clId="{2A079017-6789-4E78-BFB4-5FB800F73343}" dt="2023-07-29T14:17:56.594" v="4586"/>
          <ac:grpSpMkLst>
            <pc:docMk/>
            <pc:sldMk cId="3656600548" sldId="2147479654"/>
            <ac:grpSpMk id="56" creationId="{BE4DA7B1-AF45-48B7-6440-7C899F9B295E}"/>
          </ac:grpSpMkLst>
        </pc:grpChg>
        <pc:grpChg chg="add del mod">
          <ac:chgData name="Plunkett Kelly" userId="cdb012e4-69ac-4954-928c-e33ec36f5eba" providerId="ADAL" clId="{2A079017-6789-4E78-BFB4-5FB800F73343}" dt="2023-07-29T14:17:56.594" v="4586"/>
          <ac:grpSpMkLst>
            <pc:docMk/>
            <pc:sldMk cId="3656600548" sldId="2147479654"/>
            <ac:grpSpMk id="59" creationId="{250AB76C-36C9-6083-83D7-CD083652D37C}"/>
          </ac:grpSpMkLst>
        </pc:grpChg>
        <pc:grpChg chg="add del mod">
          <ac:chgData name="Plunkett Kelly" userId="cdb012e4-69ac-4954-928c-e33ec36f5eba" providerId="ADAL" clId="{2A079017-6789-4E78-BFB4-5FB800F73343}" dt="2023-07-29T14:17:56.594" v="4586"/>
          <ac:grpSpMkLst>
            <pc:docMk/>
            <pc:sldMk cId="3656600548" sldId="2147479654"/>
            <ac:grpSpMk id="62" creationId="{E3CB8450-56A7-0969-DC1E-0C2A836BA12E}"/>
          </ac:grpSpMkLst>
        </pc:grpChg>
        <pc:grpChg chg="add del mod">
          <ac:chgData name="Plunkett Kelly" userId="cdb012e4-69ac-4954-928c-e33ec36f5eba" providerId="ADAL" clId="{2A079017-6789-4E78-BFB4-5FB800F73343}" dt="2023-07-29T14:17:56.594" v="4586"/>
          <ac:grpSpMkLst>
            <pc:docMk/>
            <pc:sldMk cId="3656600548" sldId="2147479654"/>
            <ac:grpSpMk id="69" creationId="{923A9E91-D7BE-2278-FEA1-99E8327EAA07}"/>
          </ac:grpSpMkLst>
        </pc:grpChg>
        <pc:grpChg chg="add del mod">
          <ac:chgData name="Plunkett Kelly" userId="cdb012e4-69ac-4954-928c-e33ec36f5eba" providerId="ADAL" clId="{2A079017-6789-4E78-BFB4-5FB800F73343}" dt="2023-07-29T14:18:16.175" v="4588"/>
          <ac:grpSpMkLst>
            <pc:docMk/>
            <pc:sldMk cId="3656600548" sldId="2147479654"/>
            <ac:grpSpMk id="73" creationId="{F8F183F6-E7E8-3D8B-BBF0-C99C52641699}"/>
          </ac:grpSpMkLst>
        </pc:grpChg>
        <pc:grpChg chg="add del mod">
          <ac:chgData name="Plunkett Kelly" userId="cdb012e4-69ac-4954-928c-e33ec36f5eba" providerId="ADAL" clId="{2A079017-6789-4E78-BFB4-5FB800F73343}" dt="2023-07-29T14:42:55.818" v="5107" actId="21"/>
          <ac:grpSpMkLst>
            <pc:docMk/>
            <pc:sldMk cId="3656600548" sldId="2147479654"/>
            <ac:grpSpMk id="84" creationId="{681D7D39-BC98-8FDA-8201-3E65D7D8CB89}"/>
          </ac:grpSpMkLst>
        </pc:grpChg>
        <pc:grpChg chg="mod">
          <ac:chgData name="Plunkett Kelly" userId="cdb012e4-69ac-4954-928c-e33ec36f5eba" providerId="ADAL" clId="{2A079017-6789-4E78-BFB4-5FB800F73343}" dt="2023-07-29T14:40:27.276" v="5094"/>
          <ac:grpSpMkLst>
            <pc:docMk/>
            <pc:sldMk cId="3656600548" sldId="2147479654"/>
            <ac:grpSpMk id="90" creationId="{140A5EB6-D11F-7FD9-B959-EE4F0B98B77F}"/>
          </ac:grpSpMkLst>
        </pc:grpChg>
        <pc:grpChg chg="mod">
          <ac:chgData name="Plunkett Kelly" userId="cdb012e4-69ac-4954-928c-e33ec36f5eba" providerId="ADAL" clId="{2A079017-6789-4E78-BFB4-5FB800F73343}" dt="2023-07-29T14:40:27.276" v="5094"/>
          <ac:grpSpMkLst>
            <pc:docMk/>
            <pc:sldMk cId="3656600548" sldId="2147479654"/>
            <ac:grpSpMk id="91" creationId="{E21CFE98-61B3-7908-E746-16820CC9D135}"/>
          </ac:grpSpMkLst>
        </pc:grpChg>
        <pc:grpChg chg="mod">
          <ac:chgData name="Plunkett Kelly" userId="cdb012e4-69ac-4954-928c-e33ec36f5eba" providerId="ADAL" clId="{2A079017-6789-4E78-BFB4-5FB800F73343}" dt="2023-07-29T14:40:27.276" v="5094"/>
          <ac:grpSpMkLst>
            <pc:docMk/>
            <pc:sldMk cId="3656600548" sldId="2147479654"/>
            <ac:grpSpMk id="93" creationId="{399E21C0-5C75-1218-43F4-52D2F869AF75}"/>
          </ac:grpSpMkLst>
        </pc:grpChg>
        <pc:grpChg chg="mod">
          <ac:chgData name="Plunkett Kelly" userId="cdb012e4-69ac-4954-928c-e33ec36f5eba" providerId="ADAL" clId="{2A079017-6789-4E78-BFB4-5FB800F73343}" dt="2023-07-29T14:40:27.276" v="5094"/>
          <ac:grpSpMkLst>
            <pc:docMk/>
            <pc:sldMk cId="3656600548" sldId="2147479654"/>
            <ac:grpSpMk id="113" creationId="{27A3E724-4247-43F6-62A7-0DF5F8961D74}"/>
          </ac:grpSpMkLst>
        </pc:grpChg>
        <pc:grpChg chg="mod">
          <ac:chgData name="Plunkett Kelly" userId="cdb012e4-69ac-4954-928c-e33ec36f5eba" providerId="ADAL" clId="{2A079017-6789-4E78-BFB4-5FB800F73343}" dt="2023-07-29T14:40:27.276" v="5094"/>
          <ac:grpSpMkLst>
            <pc:docMk/>
            <pc:sldMk cId="3656600548" sldId="2147479654"/>
            <ac:grpSpMk id="114" creationId="{B2C580FA-CEAD-E5D2-2FF4-8B854C51E66F}"/>
          </ac:grpSpMkLst>
        </pc:grpChg>
        <pc:grpChg chg="mod">
          <ac:chgData name="Plunkett Kelly" userId="cdb012e4-69ac-4954-928c-e33ec36f5eba" providerId="ADAL" clId="{2A079017-6789-4E78-BFB4-5FB800F73343}" dt="2023-07-29T14:40:27.276" v="5094"/>
          <ac:grpSpMkLst>
            <pc:docMk/>
            <pc:sldMk cId="3656600548" sldId="2147479654"/>
            <ac:grpSpMk id="115" creationId="{6871581B-3062-3F0F-9E44-CC23F6CDB026}"/>
          </ac:grpSpMkLst>
        </pc:grpChg>
        <pc:grpChg chg="mod">
          <ac:chgData name="Plunkett Kelly" userId="cdb012e4-69ac-4954-928c-e33ec36f5eba" providerId="ADAL" clId="{2A079017-6789-4E78-BFB4-5FB800F73343}" dt="2023-07-29T14:40:27.276" v="5094"/>
          <ac:grpSpMkLst>
            <pc:docMk/>
            <pc:sldMk cId="3656600548" sldId="2147479654"/>
            <ac:grpSpMk id="116" creationId="{F9CC325C-C12F-FE6B-D014-4FD3A0868012}"/>
          </ac:grpSpMkLst>
        </pc:grpChg>
        <pc:grpChg chg="mod">
          <ac:chgData name="Plunkett Kelly" userId="cdb012e4-69ac-4954-928c-e33ec36f5eba" providerId="ADAL" clId="{2A079017-6789-4E78-BFB4-5FB800F73343}" dt="2023-07-29T14:40:27.276" v="5094"/>
          <ac:grpSpMkLst>
            <pc:docMk/>
            <pc:sldMk cId="3656600548" sldId="2147479654"/>
            <ac:grpSpMk id="118" creationId="{089AE8D4-1E1A-DCE0-4595-B97DE3A9B41B}"/>
          </ac:grpSpMkLst>
        </pc:grpChg>
        <pc:grpChg chg="mod">
          <ac:chgData name="Plunkett Kelly" userId="cdb012e4-69ac-4954-928c-e33ec36f5eba" providerId="ADAL" clId="{2A079017-6789-4E78-BFB4-5FB800F73343}" dt="2023-07-29T14:40:27.276" v="5094"/>
          <ac:grpSpMkLst>
            <pc:docMk/>
            <pc:sldMk cId="3656600548" sldId="2147479654"/>
            <ac:grpSpMk id="124" creationId="{8273EEFA-B63C-16AF-6DF8-680D03BC75F1}"/>
          </ac:grpSpMkLst>
        </pc:grpChg>
        <pc:grpChg chg="mod">
          <ac:chgData name="Plunkett Kelly" userId="cdb012e4-69ac-4954-928c-e33ec36f5eba" providerId="ADAL" clId="{2A079017-6789-4E78-BFB4-5FB800F73343}" dt="2023-07-29T14:40:27.276" v="5094"/>
          <ac:grpSpMkLst>
            <pc:docMk/>
            <pc:sldMk cId="3656600548" sldId="2147479654"/>
            <ac:grpSpMk id="128" creationId="{CCE38DF8-C108-29BC-5B4C-E3E416C84387}"/>
          </ac:grpSpMkLst>
        </pc:grpChg>
        <pc:picChg chg="mod">
          <ac:chgData name="Plunkett Kelly" userId="cdb012e4-69ac-4954-928c-e33ec36f5eba" providerId="ADAL" clId="{2A079017-6789-4E78-BFB4-5FB800F73343}" dt="2023-07-29T14:40:27.276" v="5094"/>
          <ac:picMkLst>
            <pc:docMk/>
            <pc:sldMk cId="3656600548" sldId="2147479654"/>
            <ac:picMk id="87" creationId="{C584866C-0403-8DF1-8403-5B67F575C0A8}"/>
          </ac:picMkLst>
        </pc:picChg>
        <pc:picChg chg="mod">
          <ac:chgData name="Plunkett Kelly" userId="cdb012e4-69ac-4954-928c-e33ec36f5eba" providerId="ADAL" clId="{2A079017-6789-4E78-BFB4-5FB800F73343}" dt="2023-07-29T14:40:27.276" v="5094"/>
          <ac:picMkLst>
            <pc:docMk/>
            <pc:sldMk cId="3656600548" sldId="2147479654"/>
            <ac:picMk id="92" creationId="{AD7C62E6-E130-62DC-5ADE-C408CAAE336A}"/>
          </ac:picMkLst>
        </pc:picChg>
        <pc:cxnChg chg="mod">
          <ac:chgData name="Plunkett Kelly" userId="cdb012e4-69ac-4954-928c-e33ec36f5eba" providerId="ADAL" clId="{2A079017-6789-4E78-BFB4-5FB800F73343}" dt="2023-07-29T14:40:27.276" v="5094"/>
          <ac:cxnSpMkLst>
            <pc:docMk/>
            <pc:sldMk cId="3656600548" sldId="2147479654"/>
            <ac:cxnSpMk id="100" creationId="{E7A215EA-C31A-F44D-0584-03A3C1A703DB}"/>
          </ac:cxnSpMkLst>
        </pc:cxnChg>
        <pc:cxnChg chg="mod">
          <ac:chgData name="Plunkett Kelly" userId="cdb012e4-69ac-4954-928c-e33ec36f5eba" providerId="ADAL" clId="{2A079017-6789-4E78-BFB4-5FB800F73343}" dt="2023-07-29T14:40:27.276" v="5094"/>
          <ac:cxnSpMkLst>
            <pc:docMk/>
            <pc:sldMk cId="3656600548" sldId="2147479654"/>
            <ac:cxnSpMk id="101" creationId="{AB6CC0EE-159C-5B0A-B830-AC3EF93AA26D}"/>
          </ac:cxnSpMkLst>
        </pc:cxnChg>
        <pc:cxnChg chg="mod">
          <ac:chgData name="Plunkett Kelly" userId="cdb012e4-69ac-4954-928c-e33ec36f5eba" providerId="ADAL" clId="{2A079017-6789-4E78-BFB4-5FB800F73343}" dt="2023-07-29T14:40:27.276" v="5094"/>
          <ac:cxnSpMkLst>
            <pc:docMk/>
            <pc:sldMk cId="3656600548" sldId="2147479654"/>
            <ac:cxnSpMk id="108" creationId="{1EFA5C49-75D3-7F1A-B8D9-4A3B1AC860DA}"/>
          </ac:cxnSpMkLst>
        </pc:cxnChg>
        <pc:cxnChg chg="mod">
          <ac:chgData name="Plunkett Kelly" userId="cdb012e4-69ac-4954-928c-e33ec36f5eba" providerId="ADAL" clId="{2A079017-6789-4E78-BFB4-5FB800F73343}" dt="2023-07-29T14:40:27.276" v="5094"/>
          <ac:cxnSpMkLst>
            <pc:docMk/>
            <pc:sldMk cId="3656600548" sldId="2147479654"/>
            <ac:cxnSpMk id="109" creationId="{D34829BF-5FEC-4D8C-920B-D8A4DE6C1FEC}"/>
          </ac:cxnSpMkLst>
        </pc:cxnChg>
      </pc:sldChg>
      <pc:sldChg chg="addSp delSp modSp add mod ord">
        <pc:chgData name="Plunkett Kelly" userId="cdb012e4-69ac-4954-928c-e33ec36f5eba" providerId="ADAL" clId="{2A079017-6789-4E78-BFB4-5FB800F73343}" dt="2023-08-01T12:19:09.402" v="8958" actId="14100"/>
        <pc:sldMkLst>
          <pc:docMk/>
          <pc:sldMk cId="3258489592" sldId="2147479655"/>
        </pc:sldMkLst>
        <pc:spChg chg="add del mod">
          <ac:chgData name="Plunkett Kelly" userId="cdb012e4-69ac-4954-928c-e33ec36f5eba" providerId="ADAL" clId="{2A079017-6789-4E78-BFB4-5FB800F73343}" dt="2023-08-01T08:53:55.491" v="8507" actId="478"/>
          <ac:spMkLst>
            <pc:docMk/>
            <pc:sldMk cId="3258489592" sldId="2147479655"/>
            <ac:spMk id="5" creationId="{21654268-9AAE-9EA5-53C1-B25FA72969B3}"/>
          </ac:spMkLst>
        </pc:spChg>
        <pc:spChg chg="mod">
          <ac:chgData name="Plunkett Kelly" userId="cdb012e4-69ac-4954-928c-e33ec36f5eba" providerId="ADAL" clId="{2A079017-6789-4E78-BFB4-5FB800F73343}" dt="2023-08-01T12:19:09.402" v="8958" actId="14100"/>
          <ac:spMkLst>
            <pc:docMk/>
            <pc:sldMk cId="3258489592" sldId="2147479655"/>
            <ac:spMk id="17" creationId="{8C9460DB-676C-4AF1-BB43-13950E17CBA7}"/>
          </ac:spMkLst>
        </pc:spChg>
        <pc:picChg chg="add del mod">
          <ac:chgData name="Plunkett Kelly" userId="cdb012e4-69ac-4954-928c-e33ec36f5eba" providerId="ADAL" clId="{2A079017-6789-4E78-BFB4-5FB800F73343}" dt="2023-08-01T08:54:04.141" v="8509" actId="478"/>
          <ac:picMkLst>
            <pc:docMk/>
            <pc:sldMk cId="3258489592" sldId="2147479655"/>
            <ac:picMk id="3" creationId="{63E5852A-BFA5-95F3-0284-53BF79D2CE74}"/>
          </ac:picMkLst>
        </pc:picChg>
        <pc:picChg chg="del">
          <ac:chgData name="Plunkett Kelly" userId="cdb012e4-69ac-4954-928c-e33ec36f5eba" providerId="ADAL" clId="{2A079017-6789-4E78-BFB4-5FB800F73343}" dt="2023-07-29T16:28:22.492" v="6252" actId="478"/>
          <ac:picMkLst>
            <pc:docMk/>
            <pc:sldMk cId="3258489592" sldId="2147479655"/>
            <ac:picMk id="4" creationId="{1AA9E0EE-B671-4BAA-9478-C9937E34B4A7}"/>
          </ac:picMkLst>
        </pc:picChg>
        <pc:picChg chg="add mod">
          <ac:chgData name="Plunkett Kelly" userId="cdb012e4-69ac-4954-928c-e33ec36f5eba" providerId="ADAL" clId="{2A079017-6789-4E78-BFB4-5FB800F73343}" dt="2023-08-01T08:58:49.924" v="8559" actId="1076"/>
          <ac:picMkLst>
            <pc:docMk/>
            <pc:sldMk cId="3258489592" sldId="2147479655"/>
            <ac:picMk id="7" creationId="{54403831-2DFF-6998-F5CC-8B86CD9BE04B}"/>
          </ac:picMkLst>
        </pc:picChg>
      </pc:sldChg>
      <pc:sldChg chg="addSp delSp modSp add mod">
        <pc:chgData name="Plunkett Kelly" userId="cdb012e4-69ac-4954-928c-e33ec36f5eba" providerId="ADAL" clId="{2A079017-6789-4E78-BFB4-5FB800F73343}" dt="2023-08-01T12:19:13.709" v="8959" actId="14100"/>
        <pc:sldMkLst>
          <pc:docMk/>
          <pc:sldMk cId="531447485" sldId="2147479659"/>
        </pc:sldMkLst>
        <pc:spChg chg="del">
          <ac:chgData name="Plunkett Kelly" userId="cdb012e4-69ac-4954-928c-e33ec36f5eba" providerId="ADAL" clId="{2A079017-6789-4E78-BFB4-5FB800F73343}" dt="2023-08-01T08:54:12.764" v="8512" actId="478"/>
          <ac:spMkLst>
            <pc:docMk/>
            <pc:sldMk cId="531447485" sldId="2147479659"/>
            <ac:spMk id="5" creationId="{21654268-9AAE-9EA5-53C1-B25FA72969B3}"/>
          </ac:spMkLst>
        </pc:spChg>
        <pc:spChg chg="mod">
          <ac:chgData name="Plunkett Kelly" userId="cdb012e4-69ac-4954-928c-e33ec36f5eba" providerId="ADAL" clId="{2A079017-6789-4E78-BFB4-5FB800F73343}" dt="2023-08-01T12:19:13.709" v="8959" actId="14100"/>
          <ac:spMkLst>
            <pc:docMk/>
            <pc:sldMk cId="531447485" sldId="2147479659"/>
            <ac:spMk id="17" creationId="{8C9460DB-676C-4AF1-BB43-13950E17CBA7}"/>
          </ac:spMkLst>
        </pc:spChg>
        <pc:picChg chg="del">
          <ac:chgData name="Plunkett Kelly" userId="cdb012e4-69ac-4954-928c-e33ec36f5eba" providerId="ADAL" clId="{2A079017-6789-4E78-BFB4-5FB800F73343}" dt="2023-08-01T08:54:10.974" v="8511" actId="478"/>
          <ac:picMkLst>
            <pc:docMk/>
            <pc:sldMk cId="531447485" sldId="2147479659"/>
            <ac:picMk id="3" creationId="{63E5852A-BFA5-95F3-0284-53BF79D2CE74}"/>
          </ac:picMkLst>
        </pc:picChg>
        <pc:picChg chg="add mod">
          <ac:chgData name="Plunkett Kelly" userId="cdb012e4-69ac-4954-928c-e33ec36f5eba" providerId="ADAL" clId="{2A079017-6789-4E78-BFB4-5FB800F73343}" dt="2023-08-01T08:57:57.020" v="8556" actId="14100"/>
          <ac:picMkLst>
            <pc:docMk/>
            <pc:sldMk cId="531447485" sldId="2147479659"/>
            <ac:picMk id="4" creationId="{235E5A93-2046-DE85-9018-1CCAFB4E4AF2}"/>
          </ac:picMkLst>
        </pc:picChg>
      </pc:sldChg>
      <pc:sldChg chg="addSp delSp modSp add mod ord">
        <pc:chgData name="Plunkett Kelly" userId="cdb012e4-69ac-4954-928c-e33ec36f5eba" providerId="ADAL" clId="{2A079017-6789-4E78-BFB4-5FB800F73343}" dt="2023-08-01T10:03:44.067" v="8795" actId="14100"/>
        <pc:sldMkLst>
          <pc:docMk/>
          <pc:sldMk cId="309813952" sldId="2147479660"/>
        </pc:sldMkLst>
        <pc:spChg chg="del mod">
          <ac:chgData name="Plunkett Kelly" userId="cdb012e4-69ac-4954-928c-e33ec36f5eba" providerId="ADAL" clId="{2A079017-6789-4E78-BFB4-5FB800F73343}" dt="2023-08-01T08:54:19.465" v="8515" actId="478"/>
          <ac:spMkLst>
            <pc:docMk/>
            <pc:sldMk cId="309813952" sldId="2147479660"/>
            <ac:spMk id="5" creationId="{21654268-9AAE-9EA5-53C1-B25FA72969B3}"/>
          </ac:spMkLst>
        </pc:spChg>
        <pc:spChg chg="add mod">
          <ac:chgData name="Plunkett Kelly" userId="cdb012e4-69ac-4954-928c-e33ec36f5eba" providerId="ADAL" clId="{2A079017-6789-4E78-BFB4-5FB800F73343}" dt="2023-08-01T10:03:44.067" v="8795" actId="14100"/>
          <ac:spMkLst>
            <pc:docMk/>
            <pc:sldMk cId="309813952" sldId="2147479660"/>
            <ac:spMk id="6" creationId="{52A4B426-6362-801D-C554-36B8220328AE}"/>
          </ac:spMkLst>
        </pc:spChg>
        <pc:spChg chg="del mod">
          <ac:chgData name="Plunkett Kelly" userId="cdb012e4-69ac-4954-928c-e33ec36f5eba" providerId="ADAL" clId="{2A079017-6789-4E78-BFB4-5FB800F73343}" dt="2023-08-01T08:57:37.160" v="8552" actId="478"/>
          <ac:spMkLst>
            <pc:docMk/>
            <pc:sldMk cId="309813952" sldId="2147479660"/>
            <ac:spMk id="17" creationId="{8C9460DB-676C-4AF1-BB43-13950E17CBA7}"/>
          </ac:spMkLst>
        </pc:spChg>
        <pc:picChg chg="del">
          <ac:chgData name="Plunkett Kelly" userId="cdb012e4-69ac-4954-928c-e33ec36f5eba" providerId="ADAL" clId="{2A079017-6789-4E78-BFB4-5FB800F73343}" dt="2023-08-01T08:54:20.091" v="8516" actId="478"/>
          <ac:picMkLst>
            <pc:docMk/>
            <pc:sldMk cId="309813952" sldId="2147479660"/>
            <ac:picMk id="3" creationId="{63E5852A-BFA5-95F3-0284-53BF79D2CE74}"/>
          </ac:picMkLst>
        </pc:picChg>
        <pc:picChg chg="add mod">
          <ac:chgData name="Plunkett Kelly" userId="cdb012e4-69ac-4954-928c-e33ec36f5eba" providerId="ADAL" clId="{2A079017-6789-4E78-BFB4-5FB800F73343}" dt="2023-08-01T10:03:06.917" v="8709" actId="1076"/>
          <ac:picMkLst>
            <pc:docMk/>
            <pc:sldMk cId="309813952" sldId="2147479660"/>
            <ac:picMk id="4" creationId="{C167C5D6-35A2-F453-F6CC-9ADF8288C429}"/>
          </ac:picMkLst>
        </pc:picChg>
      </pc:sldChg>
      <pc:sldChg chg="addSp delSp modSp add mod">
        <pc:chgData name="Plunkett Kelly" userId="cdb012e4-69ac-4954-928c-e33ec36f5eba" providerId="ADAL" clId="{2A079017-6789-4E78-BFB4-5FB800F73343}" dt="2023-08-01T12:19:04.738" v="8957" actId="14100"/>
        <pc:sldMkLst>
          <pc:docMk/>
          <pc:sldMk cId="3049243147" sldId="2147479661"/>
        </pc:sldMkLst>
        <pc:spChg chg="del mod">
          <ac:chgData name="Plunkett Kelly" userId="cdb012e4-69ac-4954-928c-e33ec36f5eba" providerId="ADAL" clId="{2A079017-6789-4E78-BFB4-5FB800F73343}" dt="2023-08-01T08:54:26.831" v="8519" actId="478"/>
          <ac:spMkLst>
            <pc:docMk/>
            <pc:sldMk cId="3049243147" sldId="2147479661"/>
            <ac:spMk id="5" creationId="{21654268-9AAE-9EA5-53C1-B25FA72969B3}"/>
          </ac:spMkLst>
        </pc:spChg>
        <pc:spChg chg="mod">
          <ac:chgData name="Plunkett Kelly" userId="cdb012e4-69ac-4954-928c-e33ec36f5eba" providerId="ADAL" clId="{2A079017-6789-4E78-BFB4-5FB800F73343}" dt="2023-08-01T12:19:04.738" v="8957" actId="14100"/>
          <ac:spMkLst>
            <pc:docMk/>
            <pc:sldMk cId="3049243147" sldId="2147479661"/>
            <ac:spMk id="17" creationId="{8C9460DB-676C-4AF1-BB43-13950E17CBA7}"/>
          </ac:spMkLst>
        </pc:spChg>
        <pc:picChg chg="del">
          <ac:chgData name="Plunkett Kelly" userId="cdb012e4-69ac-4954-928c-e33ec36f5eba" providerId="ADAL" clId="{2A079017-6789-4E78-BFB4-5FB800F73343}" dt="2023-08-01T08:54:27.435" v="8520" actId="478"/>
          <ac:picMkLst>
            <pc:docMk/>
            <pc:sldMk cId="3049243147" sldId="2147479661"/>
            <ac:picMk id="3" creationId="{63E5852A-BFA5-95F3-0284-53BF79D2CE74}"/>
          </ac:picMkLst>
        </pc:picChg>
        <pc:picChg chg="add del mod">
          <ac:chgData name="Plunkett Kelly" userId="cdb012e4-69ac-4954-928c-e33ec36f5eba" providerId="ADAL" clId="{2A079017-6789-4E78-BFB4-5FB800F73343}" dt="2023-08-01T09:11:45.402" v="8657" actId="478"/>
          <ac:picMkLst>
            <pc:docMk/>
            <pc:sldMk cId="3049243147" sldId="2147479661"/>
            <ac:picMk id="4" creationId="{190E2806-4A88-D5DD-6F65-84CA3C83E966}"/>
          </ac:picMkLst>
        </pc:picChg>
        <pc:picChg chg="add mod">
          <ac:chgData name="Plunkett Kelly" userId="cdb012e4-69ac-4954-928c-e33ec36f5eba" providerId="ADAL" clId="{2A079017-6789-4E78-BFB4-5FB800F73343}" dt="2023-08-01T09:12:06.175" v="8660" actId="1076"/>
          <ac:picMkLst>
            <pc:docMk/>
            <pc:sldMk cId="3049243147" sldId="2147479661"/>
            <ac:picMk id="7" creationId="{4EC4272E-5A74-0BE8-5D76-693E532623E6}"/>
          </ac:picMkLst>
        </pc:picChg>
      </pc:sldChg>
      <pc:sldChg chg="addSp delSp modSp add mod">
        <pc:chgData name="Plunkett Kelly" userId="cdb012e4-69ac-4954-928c-e33ec36f5eba" providerId="ADAL" clId="{2A079017-6789-4E78-BFB4-5FB800F73343}" dt="2023-08-01T12:19:00.599" v="8956" actId="14100"/>
        <pc:sldMkLst>
          <pc:docMk/>
          <pc:sldMk cId="2143741187" sldId="2147479662"/>
        </pc:sldMkLst>
        <pc:spChg chg="del">
          <ac:chgData name="Plunkett Kelly" userId="cdb012e4-69ac-4954-928c-e33ec36f5eba" providerId="ADAL" clId="{2A079017-6789-4E78-BFB4-5FB800F73343}" dt="2023-08-01T08:54:42.668" v="8526" actId="478"/>
          <ac:spMkLst>
            <pc:docMk/>
            <pc:sldMk cId="2143741187" sldId="2147479662"/>
            <ac:spMk id="5" creationId="{21654268-9AAE-9EA5-53C1-B25FA72969B3}"/>
          </ac:spMkLst>
        </pc:spChg>
        <pc:spChg chg="mod">
          <ac:chgData name="Plunkett Kelly" userId="cdb012e4-69ac-4954-928c-e33ec36f5eba" providerId="ADAL" clId="{2A079017-6789-4E78-BFB4-5FB800F73343}" dt="2023-08-01T12:19:00.599" v="8956" actId="14100"/>
          <ac:spMkLst>
            <pc:docMk/>
            <pc:sldMk cId="2143741187" sldId="2147479662"/>
            <ac:spMk id="17" creationId="{8C9460DB-676C-4AF1-BB43-13950E17CBA7}"/>
          </ac:spMkLst>
        </pc:spChg>
        <pc:picChg chg="del">
          <ac:chgData name="Plunkett Kelly" userId="cdb012e4-69ac-4954-928c-e33ec36f5eba" providerId="ADAL" clId="{2A079017-6789-4E78-BFB4-5FB800F73343}" dt="2023-08-01T08:54:43.254" v="8527" actId="478"/>
          <ac:picMkLst>
            <pc:docMk/>
            <pc:sldMk cId="2143741187" sldId="2147479662"/>
            <ac:picMk id="3" creationId="{63E5852A-BFA5-95F3-0284-53BF79D2CE74}"/>
          </ac:picMkLst>
        </pc:picChg>
        <pc:picChg chg="add del mod">
          <ac:chgData name="Plunkett Kelly" userId="cdb012e4-69ac-4954-928c-e33ec36f5eba" providerId="ADAL" clId="{2A079017-6789-4E78-BFB4-5FB800F73343}" dt="2023-08-01T09:01:21.330" v="8584" actId="478"/>
          <ac:picMkLst>
            <pc:docMk/>
            <pc:sldMk cId="2143741187" sldId="2147479662"/>
            <ac:picMk id="4" creationId="{BBA01922-83EA-2EA0-3E71-9F493CACFDFE}"/>
          </ac:picMkLst>
        </pc:picChg>
        <pc:picChg chg="add mod">
          <ac:chgData name="Plunkett Kelly" userId="cdb012e4-69ac-4954-928c-e33ec36f5eba" providerId="ADAL" clId="{2A079017-6789-4E78-BFB4-5FB800F73343}" dt="2023-08-01T09:01:39.316" v="8587" actId="1076"/>
          <ac:picMkLst>
            <pc:docMk/>
            <pc:sldMk cId="2143741187" sldId="2147479662"/>
            <ac:picMk id="7" creationId="{B45919D5-85B2-C38F-15E7-09194E29F84F}"/>
          </ac:picMkLst>
        </pc:picChg>
      </pc:sldChg>
      <pc:sldChg chg="addSp delSp modSp add mod">
        <pc:chgData name="Plunkett Kelly" userId="cdb012e4-69ac-4954-928c-e33ec36f5eba" providerId="ADAL" clId="{2A079017-6789-4E78-BFB4-5FB800F73343}" dt="2023-08-01T12:19:29.749" v="8961" actId="123"/>
        <pc:sldMkLst>
          <pc:docMk/>
          <pc:sldMk cId="3083095690" sldId="2147479663"/>
        </pc:sldMkLst>
        <pc:spChg chg="del">
          <ac:chgData name="Plunkett Kelly" userId="cdb012e4-69ac-4954-928c-e33ec36f5eba" providerId="ADAL" clId="{2A079017-6789-4E78-BFB4-5FB800F73343}" dt="2023-08-01T08:54:34.704" v="8522" actId="478"/>
          <ac:spMkLst>
            <pc:docMk/>
            <pc:sldMk cId="3083095690" sldId="2147479663"/>
            <ac:spMk id="5" creationId="{21654268-9AAE-9EA5-53C1-B25FA72969B3}"/>
          </ac:spMkLst>
        </pc:spChg>
        <pc:spChg chg="mod">
          <ac:chgData name="Plunkett Kelly" userId="cdb012e4-69ac-4954-928c-e33ec36f5eba" providerId="ADAL" clId="{2A079017-6789-4E78-BFB4-5FB800F73343}" dt="2023-08-01T12:18:31.285" v="8949" actId="20577"/>
          <ac:spMkLst>
            <pc:docMk/>
            <pc:sldMk cId="3083095690" sldId="2147479663"/>
            <ac:spMk id="8" creationId="{7824D54C-15D2-467C-A016-166944D0781C}"/>
          </ac:spMkLst>
        </pc:spChg>
        <pc:spChg chg="mod">
          <ac:chgData name="Plunkett Kelly" userId="cdb012e4-69ac-4954-928c-e33ec36f5eba" providerId="ADAL" clId="{2A079017-6789-4E78-BFB4-5FB800F73343}" dt="2023-08-01T12:19:29.749" v="8961" actId="123"/>
          <ac:spMkLst>
            <pc:docMk/>
            <pc:sldMk cId="3083095690" sldId="2147479663"/>
            <ac:spMk id="17" creationId="{8C9460DB-676C-4AF1-BB43-13950E17CBA7}"/>
          </ac:spMkLst>
        </pc:spChg>
        <pc:picChg chg="del">
          <ac:chgData name="Plunkett Kelly" userId="cdb012e4-69ac-4954-928c-e33ec36f5eba" providerId="ADAL" clId="{2A079017-6789-4E78-BFB4-5FB800F73343}" dt="2023-08-01T08:54:35.290" v="8523" actId="478"/>
          <ac:picMkLst>
            <pc:docMk/>
            <pc:sldMk cId="3083095690" sldId="2147479663"/>
            <ac:picMk id="3" creationId="{63E5852A-BFA5-95F3-0284-53BF79D2CE74}"/>
          </ac:picMkLst>
        </pc:picChg>
        <pc:picChg chg="add del mod">
          <ac:chgData name="Plunkett Kelly" userId="cdb012e4-69ac-4954-928c-e33ec36f5eba" providerId="ADAL" clId="{2A079017-6789-4E78-BFB4-5FB800F73343}" dt="2023-08-01T12:11:29.330" v="8838" actId="478"/>
          <ac:picMkLst>
            <pc:docMk/>
            <pc:sldMk cId="3083095690" sldId="2147479663"/>
            <ac:picMk id="4" creationId="{6BE277BD-45E6-CE79-5316-0D3BA41395FB}"/>
          </ac:picMkLst>
        </pc:picChg>
        <pc:picChg chg="add mod">
          <ac:chgData name="Plunkett Kelly" userId="cdb012e4-69ac-4954-928c-e33ec36f5eba" providerId="ADAL" clId="{2A079017-6789-4E78-BFB4-5FB800F73343}" dt="2023-08-01T12:18:38.155" v="8951" actId="1076"/>
          <ac:picMkLst>
            <pc:docMk/>
            <pc:sldMk cId="3083095690" sldId="2147479663"/>
            <ac:picMk id="7" creationId="{9B0CCFEB-E225-5BBE-8C1B-741B495D8CC7}"/>
          </ac:picMkLst>
        </pc:picChg>
        <pc:picChg chg="add del">
          <ac:chgData name="Plunkett Kelly" userId="cdb012e4-69ac-4954-928c-e33ec36f5eba" providerId="ADAL" clId="{2A079017-6789-4E78-BFB4-5FB800F73343}" dt="2023-08-01T12:14:23.794" v="8857" actId="22"/>
          <ac:picMkLst>
            <pc:docMk/>
            <pc:sldMk cId="3083095690" sldId="2147479663"/>
            <ac:picMk id="10" creationId="{2E54D8F7-1424-7400-F4A0-57202FF85ACF}"/>
          </ac:picMkLst>
        </pc:picChg>
      </pc:sldChg>
      <pc:sldChg chg="addSp delSp modSp add mod">
        <pc:chgData name="Plunkett Kelly" userId="cdb012e4-69ac-4954-928c-e33ec36f5eba" providerId="ADAL" clId="{2A079017-6789-4E78-BFB4-5FB800F73343}" dt="2023-08-01T12:19:34.278" v="8962" actId="123"/>
        <pc:sldMkLst>
          <pc:docMk/>
          <pc:sldMk cId="1995074081" sldId="2147479664"/>
        </pc:sldMkLst>
        <pc:spChg chg="del">
          <ac:chgData name="Plunkett Kelly" userId="cdb012e4-69ac-4954-928c-e33ec36f5eba" providerId="ADAL" clId="{2A079017-6789-4E78-BFB4-5FB800F73343}" dt="2023-08-01T08:54:48.147" v="8529" actId="478"/>
          <ac:spMkLst>
            <pc:docMk/>
            <pc:sldMk cId="1995074081" sldId="2147479664"/>
            <ac:spMk id="5" creationId="{21654268-9AAE-9EA5-53C1-B25FA72969B3}"/>
          </ac:spMkLst>
        </pc:spChg>
        <pc:spChg chg="add mod">
          <ac:chgData name="Plunkett Kelly" userId="cdb012e4-69ac-4954-928c-e33ec36f5eba" providerId="ADAL" clId="{2A079017-6789-4E78-BFB4-5FB800F73343}" dt="2023-08-01T12:19:34.278" v="8962" actId="123"/>
          <ac:spMkLst>
            <pc:docMk/>
            <pc:sldMk cId="1995074081" sldId="2147479664"/>
            <ac:spMk id="6" creationId="{F42081A1-9BFA-8D5E-482C-2F7D5FF737DF}"/>
          </ac:spMkLst>
        </pc:spChg>
        <pc:spChg chg="mod">
          <ac:chgData name="Plunkett Kelly" userId="cdb012e4-69ac-4954-928c-e33ec36f5eba" providerId="ADAL" clId="{2A079017-6789-4E78-BFB4-5FB800F73343}" dt="2023-08-01T12:18:14.831" v="8942" actId="20577"/>
          <ac:spMkLst>
            <pc:docMk/>
            <pc:sldMk cId="1995074081" sldId="2147479664"/>
            <ac:spMk id="8" creationId="{7824D54C-15D2-467C-A016-166944D0781C}"/>
          </ac:spMkLst>
        </pc:spChg>
        <pc:spChg chg="del mod">
          <ac:chgData name="Plunkett Kelly" userId="cdb012e4-69ac-4954-928c-e33ec36f5eba" providerId="ADAL" clId="{2A079017-6789-4E78-BFB4-5FB800F73343}" dt="2023-08-01T12:16:29.415" v="8877" actId="478"/>
          <ac:spMkLst>
            <pc:docMk/>
            <pc:sldMk cId="1995074081" sldId="2147479664"/>
            <ac:spMk id="17" creationId="{8C9460DB-676C-4AF1-BB43-13950E17CBA7}"/>
          </ac:spMkLst>
        </pc:spChg>
        <pc:picChg chg="del">
          <ac:chgData name="Plunkett Kelly" userId="cdb012e4-69ac-4954-928c-e33ec36f5eba" providerId="ADAL" clId="{2A079017-6789-4E78-BFB4-5FB800F73343}" dt="2023-08-01T08:54:48.634" v="8530" actId="478"/>
          <ac:picMkLst>
            <pc:docMk/>
            <pc:sldMk cId="1995074081" sldId="2147479664"/>
            <ac:picMk id="3" creationId="{63E5852A-BFA5-95F3-0284-53BF79D2CE74}"/>
          </ac:picMkLst>
        </pc:picChg>
        <pc:picChg chg="add mod">
          <ac:chgData name="Plunkett Kelly" userId="cdb012e4-69ac-4954-928c-e33ec36f5eba" providerId="ADAL" clId="{2A079017-6789-4E78-BFB4-5FB800F73343}" dt="2023-08-01T12:17:20.273" v="8885" actId="1076"/>
          <ac:picMkLst>
            <pc:docMk/>
            <pc:sldMk cId="1995074081" sldId="2147479664"/>
            <ac:picMk id="4" creationId="{17A4C6F3-F8C1-5986-BAEC-4879D61B3DAD}"/>
          </ac:picMkLst>
        </pc:picChg>
      </pc:sldChg>
      <pc:sldChg chg="add del">
        <pc:chgData name="Plunkett Kelly" userId="cdb012e4-69ac-4954-928c-e33ec36f5eba" providerId="ADAL" clId="{2A079017-6789-4E78-BFB4-5FB800F73343}" dt="2023-08-01T08:53:48.247" v="8505" actId="47"/>
        <pc:sldMkLst>
          <pc:docMk/>
          <pc:sldMk cId="2766737286" sldId="2147479665"/>
        </pc:sldMkLst>
      </pc:sldChg>
      <pc:sldChg chg="modSp del mod">
        <pc:chgData name="Plunkett Kelly" userId="cdb012e4-69ac-4954-928c-e33ec36f5eba" providerId="ADAL" clId="{2A079017-6789-4E78-BFB4-5FB800F73343}" dt="2023-08-03T09:09:39.500" v="10164" actId="47"/>
        <pc:sldMkLst>
          <pc:docMk/>
          <pc:sldMk cId="956038462" sldId="2147479666"/>
        </pc:sldMkLst>
        <pc:spChg chg="mod">
          <ac:chgData name="Plunkett Kelly" userId="cdb012e4-69ac-4954-928c-e33ec36f5eba" providerId="ADAL" clId="{2A079017-6789-4E78-BFB4-5FB800F73343}" dt="2023-08-01T14:15:35.231" v="8984" actId="1035"/>
          <ac:spMkLst>
            <pc:docMk/>
            <pc:sldMk cId="956038462" sldId="2147479666"/>
            <ac:spMk id="5" creationId="{1962A7BA-9D82-EFAD-8C41-97885E03EC88}"/>
          </ac:spMkLst>
        </pc:spChg>
        <pc:picChg chg="mod">
          <ac:chgData name="Plunkett Kelly" userId="cdb012e4-69ac-4954-928c-e33ec36f5eba" providerId="ADAL" clId="{2A079017-6789-4E78-BFB4-5FB800F73343}" dt="2023-08-01T14:15:27.394" v="8981" actId="1036"/>
          <ac:picMkLst>
            <pc:docMk/>
            <pc:sldMk cId="956038462" sldId="2147479666"/>
            <ac:picMk id="11" creationId="{08419134-C80E-B0AE-1FE0-1BD4664204E7}"/>
          </ac:picMkLst>
        </pc:picChg>
      </pc:sldChg>
      <pc:sldChg chg="modSp mod">
        <pc:chgData name="Plunkett Kelly" userId="cdb012e4-69ac-4954-928c-e33ec36f5eba" providerId="ADAL" clId="{2A079017-6789-4E78-BFB4-5FB800F73343}" dt="2023-08-02T11:04:17.086" v="9065" actId="255"/>
        <pc:sldMkLst>
          <pc:docMk/>
          <pc:sldMk cId="622934420" sldId="2147479670"/>
        </pc:sldMkLst>
        <pc:graphicFrameChg chg="mod modGraphic">
          <ac:chgData name="Plunkett Kelly" userId="cdb012e4-69ac-4954-928c-e33ec36f5eba" providerId="ADAL" clId="{2A079017-6789-4E78-BFB4-5FB800F73343}" dt="2023-08-02T11:04:17.086" v="9065" actId="255"/>
          <ac:graphicFrameMkLst>
            <pc:docMk/>
            <pc:sldMk cId="622934420" sldId="2147479670"/>
            <ac:graphicFrameMk id="3" creationId="{69DE2E3B-C787-2D9F-DF69-CD0D44EB856A}"/>
          </ac:graphicFrameMkLst>
        </pc:graphicFrameChg>
      </pc:sldChg>
      <pc:sldChg chg="modSp">
        <pc:chgData name="Plunkett Kelly" userId="cdb012e4-69ac-4954-928c-e33ec36f5eba" providerId="ADAL" clId="{2A079017-6789-4E78-BFB4-5FB800F73343}" dt="2023-08-02T11:05:26.807" v="9067"/>
        <pc:sldMkLst>
          <pc:docMk/>
          <pc:sldMk cId="3234471790" sldId="2147479672"/>
        </pc:sldMkLst>
        <pc:graphicFrameChg chg="mod">
          <ac:chgData name="Plunkett Kelly" userId="cdb012e4-69ac-4954-928c-e33ec36f5eba" providerId="ADAL" clId="{2A079017-6789-4E78-BFB4-5FB800F73343}" dt="2023-08-02T11:05:26.807" v="9067"/>
          <ac:graphicFrameMkLst>
            <pc:docMk/>
            <pc:sldMk cId="3234471790" sldId="2147479672"/>
            <ac:graphicFrameMk id="2" creationId="{BCB9DABE-3FFC-537E-54F0-A4BB875559DA}"/>
          </ac:graphicFrameMkLst>
        </pc:graphicFrameChg>
      </pc:sldChg>
      <pc:sldChg chg="addSp delSp modSp add mod">
        <pc:chgData name="Plunkett Kelly" userId="cdb012e4-69ac-4954-928c-e33ec36f5eba" providerId="ADAL" clId="{2A079017-6789-4E78-BFB4-5FB800F73343}" dt="2023-08-02T11:12:50.892" v="9134" actId="122"/>
        <pc:sldMkLst>
          <pc:docMk/>
          <pc:sldMk cId="2550533011" sldId="2147479673"/>
        </pc:sldMkLst>
        <pc:spChg chg="mod">
          <ac:chgData name="Plunkett Kelly" userId="cdb012e4-69ac-4954-928c-e33ec36f5eba" providerId="ADAL" clId="{2A079017-6789-4E78-BFB4-5FB800F73343}" dt="2023-08-02T11:05:12.063" v="9066" actId="6549"/>
          <ac:spMkLst>
            <pc:docMk/>
            <pc:sldMk cId="2550533011" sldId="2147479673"/>
            <ac:spMk id="8" creationId="{7824D54C-15D2-467C-A016-166944D0781C}"/>
          </ac:spMkLst>
        </pc:spChg>
        <pc:graphicFrameChg chg="del modGraphic">
          <ac:chgData name="Plunkett Kelly" userId="cdb012e4-69ac-4954-928c-e33ec36f5eba" providerId="ADAL" clId="{2A079017-6789-4E78-BFB4-5FB800F73343}" dt="2023-08-02T10:56:46.468" v="9004" actId="478"/>
          <ac:graphicFrameMkLst>
            <pc:docMk/>
            <pc:sldMk cId="2550533011" sldId="2147479673"/>
            <ac:graphicFrameMk id="2" creationId="{BCB9DABE-3FFC-537E-54F0-A4BB875559DA}"/>
          </ac:graphicFrameMkLst>
        </pc:graphicFrameChg>
        <pc:graphicFrameChg chg="add del mod">
          <ac:chgData name="Plunkett Kelly" userId="cdb012e4-69ac-4954-928c-e33ec36f5eba" providerId="ADAL" clId="{2A079017-6789-4E78-BFB4-5FB800F73343}" dt="2023-08-02T10:58:58.978" v="9046" actId="478"/>
          <ac:graphicFrameMkLst>
            <pc:docMk/>
            <pc:sldMk cId="2550533011" sldId="2147479673"/>
            <ac:graphicFrameMk id="3" creationId="{58DD6A9F-4D9E-2DA8-EC2A-DC926A3FA56A}"/>
          </ac:graphicFrameMkLst>
        </pc:graphicFrameChg>
        <pc:graphicFrameChg chg="add del mod modGraphic">
          <ac:chgData name="Plunkett Kelly" userId="cdb012e4-69ac-4954-928c-e33ec36f5eba" providerId="ADAL" clId="{2A079017-6789-4E78-BFB4-5FB800F73343}" dt="2023-08-02T11:01:43.781" v="9058" actId="478"/>
          <ac:graphicFrameMkLst>
            <pc:docMk/>
            <pc:sldMk cId="2550533011" sldId="2147479673"/>
            <ac:graphicFrameMk id="4" creationId="{94436F46-8482-4FD4-6726-00986DDB5532}"/>
          </ac:graphicFrameMkLst>
        </pc:graphicFrameChg>
        <pc:graphicFrameChg chg="del">
          <ac:chgData name="Plunkett Kelly" userId="cdb012e4-69ac-4954-928c-e33ec36f5eba" providerId="ADAL" clId="{2A079017-6789-4E78-BFB4-5FB800F73343}" dt="2023-08-02T10:56:51.010" v="9005" actId="478"/>
          <ac:graphicFrameMkLst>
            <pc:docMk/>
            <pc:sldMk cId="2550533011" sldId="2147479673"/>
            <ac:graphicFrameMk id="5" creationId="{02889A8A-1E1A-F5FD-54FD-B57CDC51182A}"/>
          </ac:graphicFrameMkLst>
        </pc:graphicFrameChg>
        <pc:graphicFrameChg chg="add del mod">
          <ac:chgData name="Plunkett Kelly" userId="cdb012e4-69ac-4954-928c-e33ec36f5eba" providerId="ADAL" clId="{2A079017-6789-4E78-BFB4-5FB800F73343}" dt="2023-08-02T11:03:44.180" v="9060"/>
          <ac:graphicFrameMkLst>
            <pc:docMk/>
            <pc:sldMk cId="2550533011" sldId="2147479673"/>
            <ac:graphicFrameMk id="6" creationId="{3A4B90F3-47A2-0986-7AA6-5AFCDB8EB2A5}"/>
          </ac:graphicFrameMkLst>
        </pc:graphicFrameChg>
        <pc:graphicFrameChg chg="add mod modGraphic">
          <ac:chgData name="Plunkett Kelly" userId="cdb012e4-69ac-4954-928c-e33ec36f5eba" providerId="ADAL" clId="{2A079017-6789-4E78-BFB4-5FB800F73343}" dt="2023-08-02T11:12:50.892" v="9134" actId="122"/>
          <ac:graphicFrameMkLst>
            <pc:docMk/>
            <pc:sldMk cId="2550533011" sldId="2147479673"/>
            <ac:graphicFrameMk id="7" creationId="{5DCABCDC-296C-4F88-B983-ADE23267D9A0}"/>
          </ac:graphicFrameMkLst>
        </pc:graphicFrameChg>
      </pc:sldChg>
      <pc:sldChg chg="addSp delSp modSp add mod">
        <pc:chgData name="Plunkett Kelly" userId="cdb012e4-69ac-4954-928c-e33ec36f5eba" providerId="ADAL" clId="{2A079017-6789-4E78-BFB4-5FB800F73343}" dt="2023-08-02T11:17:12.602" v="9177" actId="14734"/>
        <pc:sldMkLst>
          <pc:docMk/>
          <pc:sldMk cId="1379980121" sldId="2147479674"/>
        </pc:sldMkLst>
        <pc:spChg chg="mod">
          <ac:chgData name="Plunkett Kelly" userId="cdb012e4-69ac-4954-928c-e33ec36f5eba" providerId="ADAL" clId="{2A079017-6789-4E78-BFB4-5FB800F73343}" dt="2023-08-02T11:10:45.110" v="9114" actId="20577"/>
          <ac:spMkLst>
            <pc:docMk/>
            <pc:sldMk cId="1379980121" sldId="2147479674"/>
            <ac:spMk id="8" creationId="{7824D54C-15D2-467C-A016-166944D0781C}"/>
          </ac:spMkLst>
        </pc:spChg>
        <pc:graphicFrameChg chg="del modGraphic">
          <ac:chgData name="Plunkett Kelly" userId="cdb012e4-69ac-4954-928c-e33ec36f5eba" providerId="ADAL" clId="{2A079017-6789-4E78-BFB4-5FB800F73343}" dt="2023-08-02T10:57:04.444" v="9007" actId="478"/>
          <ac:graphicFrameMkLst>
            <pc:docMk/>
            <pc:sldMk cId="1379980121" sldId="2147479674"/>
            <ac:graphicFrameMk id="2" creationId="{BCB9DABE-3FFC-537E-54F0-A4BB875559DA}"/>
          </ac:graphicFrameMkLst>
        </pc:graphicFrameChg>
        <pc:graphicFrameChg chg="add mod modGraphic">
          <ac:chgData name="Plunkett Kelly" userId="cdb012e4-69ac-4954-928c-e33ec36f5eba" providerId="ADAL" clId="{2A079017-6789-4E78-BFB4-5FB800F73343}" dt="2023-08-02T11:17:12.602" v="9177" actId="14734"/>
          <ac:graphicFrameMkLst>
            <pc:docMk/>
            <pc:sldMk cId="1379980121" sldId="2147479674"/>
            <ac:graphicFrameMk id="3" creationId="{3451C71F-C329-CFAC-20D5-D224F1EA9CA9}"/>
          </ac:graphicFrameMkLst>
        </pc:graphicFrameChg>
        <pc:graphicFrameChg chg="del">
          <ac:chgData name="Plunkett Kelly" userId="cdb012e4-69ac-4954-928c-e33ec36f5eba" providerId="ADAL" clId="{2A079017-6789-4E78-BFB4-5FB800F73343}" dt="2023-08-02T10:57:05.582" v="9008" actId="478"/>
          <ac:graphicFrameMkLst>
            <pc:docMk/>
            <pc:sldMk cId="1379980121" sldId="2147479674"/>
            <ac:graphicFrameMk id="5" creationId="{02889A8A-1E1A-F5FD-54FD-B57CDC51182A}"/>
          </ac:graphicFrameMkLst>
        </pc:graphicFrameChg>
      </pc:sldChg>
      <pc:sldChg chg="add del">
        <pc:chgData name="Plunkett Kelly" userId="cdb012e4-69ac-4954-928c-e33ec36f5eba" providerId="ADAL" clId="{2A079017-6789-4E78-BFB4-5FB800F73343}" dt="2023-08-02T10:57:15.001" v="9010" actId="47"/>
        <pc:sldMkLst>
          <pc:docMk/>
          <pc:sldMk cId="590943187" sldId="2147479675"/>
        </pc:sldMkLst>
      </pc:sldChg>
      <pc:sldChg chg="addSp delSp modSp add mod">
        <pc:chgData name="Plunkett Kelly" userId="cdb012e4-69ac-4954-928c-e33ec36f5eba" providerId="ADAL" clId="{2A079017-6789-4E78-BFB4-5FB800F73343}" dt="2023-08-02T11:18:50.136" v="9195" actId="207"/>
        <pc:sldMkLst>
          <pc:docMk/>
          <pc:sldMk cId="1504332585" sldId="2147479675"/>
        </pc:sldMkLst>
        <pc:spChg chg="add del">
          <ac:chgData name="Plunkett Kelly" userId="cdb012e4-69ac-4954-928c-e33ec36f5eba" providerId="ADAL" clId="{2A079017-6789-4E78-BFB4-5FB800F73343}" dt="2023-08-02T11:13:23.549" v="9140" actId="22"/>
          <ac:spMkLst>
            <pc:docMk/>
            <pc:sldMk cId="1504332585" sldId="2147479675"/>
            <ac:spMk id="3" creationId="{AE030301-732D-8478-0572-8D039936D7E7}"/>
          </ac:spMkLst>
        </pc:spChg>
        <pc:spChg chg="add del">
          <ac:chgData name="Plunkett Kelly" userId="cdb012e4-69ac-4954-928c-e33ec36f5eba" providerId="ADAL" clId="{2A079017-6789-4E78-BFB4-5FB800F73343}" dt="2023-08-02T11:13:34.284" v="9144" actId="22"/>
          <ac:spMkLst>
            <pc:docMk/>
            <pc:sldMk cId="1504332585" sldId="2147479675"/>
            <ac:spMk id="7" creationId="{C451693D-B1B6-3998-0F33-A0D2803B3E38}"/>
          </ac:spMkLst>
        </pc:spChg>
        <pc:spChg chg="mod">
          <ac:chgData name="Plunkett Kelly" userId="cdb012e4-69ac-4954-928c-e33ec36f5eba" providerId="ADAL" clId="{2A079017-6789-4E78-BFB4-5FB800F73343}" dt="2023-08-02T11:11:03.831" v="9117" actId="20577"/>
          <ac:spMkLst>
            <pc:docMk/>
            <pc:sldMk cId="1504332585" sldId="2147479675"/>
            <ac:spMk id="8" creationId="{7824D54C-15D2-467C-A016-166944D0781C}"/>
          </ac:spMkLst>
        </pc:spChg>
        <pc:graphicFrameChg chg="add mod modGraphic">
          <ac:chgData name="Plunkett Kelly" userId="cdb012e4-69ac-4954-928c-e33ec36f5eba" providerId="ADAL" clId="{2A079017-6789-4E78-BFB4-5FB800F73343}" dt="2023-08-02T11:18:50.136" v="9195" actId="207"/>
          <ac:graphicFrameMkLst>
            <pc:docMk/>
            <pc:sldMk cId="1504332585" sldId="2147479675"/>
            <ac:graphicFrameMk id="9" creationId="{5CA10BEF-2C7E-0F11-441B-CEE30A282CE0}"/>
          </ac:graphicFrameMkLst>
        </pc:graphicFrameChg>
        <pc:picChg chg="add del">
          <ac:chgData name="Plunkett Kelly" userId="cdb012e4-69ac-4954-928c-e33ec36f5eba" providerId="ADAL" clId="{2A079017-6789-4E78-BFB4-5FB800F73343}" dt="2023-08-02T11:13:28.156" v="9142" actId="22"/>
          <ac:picMkLst>
            <pc:docMk/>
            <pc:sldMk cId="1504332585" sldId="2147479675"/>
            <ac:picMk id="5" creationId="{48EFC091-5006-9627-4E01-95E9137EDE92}"/>
          </ac:picMkLst>
        </pc:picChg>
      </pc:sldChg>
      <pc:sldChg chg="add del">
        <pc:chgData name="Plunkett Kelly" userId="cdb012e4-69ac-4954-928c-e33ec36f5eba" providerId="ADAL" clId="{2A079017-6789-4E78-BFB4-5FB800F73343}" dt="2023-08-02T11:27:32.827" v="9325" actId="47"/>
        <pc:sldMkLst>
          <pc:docMk/>
          <pc:sldMk cId="96943544" sldId="2147479676"/>
        </pc:sldMkLst>
      </pc:sldChg>
      <pc:sldChg chg="add del">
        <pc:chgData name="Plunkett Kelly" userId="cdb012e4-69ac-4954-928c-e33ec36f5eba" providerId="ADAL" clId="{2A079017-6789-4E78-BFB4-5FB800F73343}" dt="2023-08-02T10:57:15.856" v="9011" actId="47"/>
        <pc:sldMkLst>
          <pc:docMk/>
          <pc:sldMk cId="4084848289" sldId="2147479676"/>
        </pc:sldMkLst>
      </pc:sldChg>
      <pc:sldChg chg="add del">
        <pc:chgData name="Plunkett Kelly" userId="cdb012e4-69ac-4954-928c-e33ec36f5eba" providerId="ADAL" clId="{2A079017-6789-4E78-BFB4-5FB800F73343}" dt="2023-08-02T10:57:16.602" v="9012" actId="47"/>
        <pc:sldMkLst>
          <pc:docMk/>
          <pc:sldMk cId="926875087" sldId="2147479677"/>
        </pc:sldMkLst>
      </pc:sldChg>
      <pc:sldChg chg="add del">
        <pc:chgData name="Plunkett Kelly" userId="cdb012e4-69ac-4954-928c-e33ec36f5eba" providerId="ADAL" clId="{2A079017-6789-4E78-BFB4-5FB800F73343}" dt="2023-08-02T11:27:31.725" v="9324" actId="47"/>
        <pc:sldMkLst>
          <pc:docMk/>
          <pc:sldMk cId="4194340367" sldId="2147479677"/>
        </pc:sldMkLst>
      </pc:sldChg>
      <pc:sldChg chg="add del">
        <pc:chgData name="Plunkett Kelly" userId="cdb012e4-69ac-4954-928c-e33ec36f5eba" providerId="ADAL" clId="{2A079017-6789-4E78-BFB4-5FB800F73343}" dt="2023-08-02T10:57:22.188" v="9015" actId="47"/>
        <pc:sldMkLst>
          <pc:docMk/>
          <pc:sldMk cId="2896776612" sldId="2147479678"/>
        </pc:sldMkLst>
      </pc:sldChg>
      <pc:sldChg chg="addSp modSp add mod">
        <pc:chgData name="Plunkett Kelly" userId="cdb012e4-69ac-4954-928c-e33ec36f5eba" providerId="ADAL" clId="{2A079017-6789-4E78-BFB4-5FB800F73343}" dt="2023-08-02T11:29:42.726" v="9346" actId="207"/>
        <pc:sldMkLst>
          <pc:docMk/>
          <pc:sldMk cId="2959099894" sldId="2147479678"/>
        </pc:sldMkLst>
        <pc:spChg chg="mod">
          <ac:chgData name="Plunkett Kelly" userId="cdb012e4-69ac-4954-928c-e33ec36f5eba" providerId="ADAL" clId="{2A079017-6789-4E78-BFB4-5FB800F73343}" dt="2023-08-02T11:28:01.692" v="9332" actId="20577"/>
          <ac:spMkLst>
            <pc:docMk/>
            <pc:sldMk cId="2959099894" sldId="2147479678"/>
            <ac:spMk id="8" creationId="{7824D54C-15D2-467C-A016-166944D0781C}"/>
          </ac:spMkLst>
        </pc:spChg>
        <pc:graphicFrameChg chg="add mod modGraphic">
          <ac:chgData name="Plunkett Kelly" userId="cdb012e4-69ac-4954-928c-e33ec36f5eba" providerId="ADAL" clId="{2A079017-6789-4E78-BFB4-5FB800F73343}" dt="2023-08-02T11:29:42.726" v="9346" actId="207"/>
          <ac:graphicFrameMkLst>
            <pc:docMk/>
            <pc:sldMk cId="2959099894" sldId="2147479678"/>
            <ac:graphicFrameMk id="2" creationId="{2C6B1AC5-CB7D-3F99-FD63-71D0D177EF9B}"/>
          </ac:graphicFrameMkLst>
        </pc:graphicFrameChg>
      </pc:sldChg>
      <pc:sldChg chg="addSp delSp modSp add mod">
        <pc:chgData name="Plunkett Kelly" userId="cdb012e4-69ac-4954-928c-e33ec36f5eba" providerId="ADAL" clId="{2A079017-6789-4E78-BFB4-5FB800F73343}" dt="2023-08-02T11:27:25.363" v="9323" actId="2711"/>
        <pc:sldMkLst>
          <pc:docMk/>
          <pc:sldMk cId="2224978157" sldId="2147479679"/>
        </pc:sldMkLst>
        <pc:spChg chg="mod">
          <ac:chgData name="Plunkett Kelly" userId="cdb012e4-69ac-4954-928c-e33ec36f5eba" providerId="ADAL" clId="{2A079017-6789-4E78-BFB4-5FB800F73343}" dt="2023-08-02T11:22:59.009" v="9233" actId="20577"/>
          <ac:spMkLst>
            <pc:docMk/>
            <pc:sldMk cId="2224978157" sldId="2147479679"/>
            <ac:spMk id="8" creationId="{7824D54C-15D2-467C-A016-166944D0781C}"/>
          </ac:spMkLst>
        </pc:spChg>
        <pc:graphicFrameChg chg="add del mod">
          <ac:chgData name="Plunkett Kelly" userId="cdb012e4-69ac-4954-928c-e33ec36f5eba" providerId="ADAL" clId="{2A079017-6789-4E78-BFB4-5FB800F73343}" dt="2023-08-02T11:23:10.811" v="9235"/>
          <ac:graphicFrameMkLst>
            <pc:docMk/>
            <pc:sldMk cId="2224978157" sldId="2147479679"/>
            <ac:graphicFrameMk id="2" creationId="{8BE887AF-1A8E-18DD-A324-930C14959309}"/>
          </ac:graphicFrameMkLst>
        </pc:graphicFrameChg>
        <pc:graphicFrameChg chg="add mod modGraphic">
          <ac:chgData name="Plunkett Kelly" userId="cdb012e4-69ac-4954-928c-e33ec36f5eba" providerId="ADAL" clId="{2A079017-6789-4E78-BFB4-5FB800F73343}" dt="2023-08-02T11:27:25.363" v="9323" actId="2711"/>
          <ac:graphicFrameMkLst>
            <pc:docMk/>
            <pc:sldMk cId="2224978157" sldId="2147479679"/>
            <ac:graphicFrameMk id="3" creationId="{3863B000-22E3-E2ED-9EDB-E203774CC104}"/>
          </ac:graphicFrameMkLst>
        </pc:graphicFrameChg>
      </pc:sldChg>
      <pc:sldChg chg="addSp delSp modSp add mod">
        <pc:chgData name="Plunkett Kelly" userId="cdb012e4-69ac-4954-928c-e33ec36f5eba" providerId="ADAL" clId="{2A079017-6789-4E78-BFB4-5FB800F73343}" dt="2023-08-02T11:22:36.513" v="9221" actId="207"/>
        <pc:sldMkLst>
          <pc:docMk/>
          <pc:sldMk cId="3711356101" sldId="2147479680"/>
        </pc:sldMkLst>
        <pc:spChg chg="mod">
          <ac:chgData name="Plunkett Kelly" userId="cdb012e4-69ac-4954-928c-e33ec36f5eba" providerId="ADAL" clId="{2A079017-6789-4E78-BFB4-5FB800F73343}" dt="2023-08-02T11:18:04.532" v="9190" actId="20577"/>
          <ac:spMkLst>
            <pc:docMk/>
            <pc:sldMk cId="3711356101" sldId="2147479680"/>
            <ac:spMk id="8" creationId="{7824D54C-15D2-467C-A016-166944D0781C}"/>
          </ac:spMkLst>
        </pc:spChg>
        <pc:graphicFrameChg chg="add del mod modGraphic">
          <ac:chgData name="Plunkett Kelly" userId="cdb012e4-69ac-4954-928c-e33ec36f5eba" providerId="ADAL" clId="{2A079017-6789-4E78-BFB4-5FB800F73343}" dt="2023-08-02T11:19:09.210" v="9197" actId="478"/>
          <ac:graphicFrameMkLst>
            <pc:docMk/>
            <pc:sldMk cId="3711356101" sldId="2147479680"/>
            <ac:graphicFrameMk id="2" creationId="{65A4F635-7E98-3104-15BC-785D4CF6CCF1}"/>
          </ac:graphicFrameMkLst>
        </pc:graphicFrameChg>
        <pc:graphicFrameChg chg="add mod modGraphic">
          <ac:chgData name="Plunkett Kelly" userId="cdb012e4-69ac-4954-928c-e33ec36f5eba" providerId="ADAL" clId="{2A079017-6789-4E78-BFB4-5FB800F73343}" dt="2023-08-02T11:22:36.513" v="9221" actId="207"/>
          <ac:graphicFrameMkLst>
            <pc:docMk/>
            <pc:sldMk cId="3711356101" sldId="2147479680"/>
            <ac:graphicFrameMk id="3" creationId="{20E610EF-F192-B8D0-31AC-99AD5AF5A907}"/>
          </ac:graphicFrameMkLst>
        </pc:graphicFrameChg>
      </pc:sldChg>
      <pc:sldChg chg="modSp add mod">
        <pc:chgData name="Plunkett Kelly" userId="cdb012e4-69ac-4954-928c-e33ec36f5eba" providerId="ADAL" clId="{2A079017-6789-4E78-BFB4-5FB800F73343}" dt="2023-08-02T11:29:52.693" v="9349" actId="207"/>
        <pc:sldMkLst>
          <pc:docMk/>
          <pc:sldMk cId="2458956774" sldId="2147479681"/>
        </pc:sldMkLst>
        <pc:spChg chg="mod">
          <ac:chgData name="Plunkett Kelly" userId="cdb012e4-69ac-4954-928c-e33ec36f5eba" providerId="ADAL" clId="{2A079017-6789-4E78-BFB4-5FB800F73343}" dt="2023-08-02T11:28:21.116" v="9335" actId="20577"/>
          <ac:spMkLst>
            <pc:docMk/>
            <pc:sldMk cId="2458956774" sldId="2147479681"/>
            <ac:spMk id="8" creationId="{7824D54C-15D2-467C-A016-166944D0781C}"/>
          </ac:spMkLst>
        </pc:spChg>
        <pc:graphicFrameChg chg="modGraphic">
          <ac:chgData name="Plunkett Kelly" userId="cdb012e4-69ac-4954-928c-e33ec36f5eba" providerId="ADAL" clId="{2A079017-6789-4E78-BFB4-5FB800F73343}" dt="2023-08-02T11:29:52.693" v="9349" actId="207"/>
          <ac:graphicFrameMkLst>
            <pc:docMk/>
            <pc:sldMk cId="2458956774" sldId="2147479681"/>
            <ac:graphicFrameMk id="2" creationId="{2C6B1AC5-CB7D-3F99-FD63-71D0D177EF9B}"/>
          </ac:graphicFrameMkLst>
        </pc:graphicFrameChg>
      </pc:sldChg>
      <pc:sldChg chg="addSp delSp modSp mod">
        <pc:chgData name="Plunkett Kelly" userId="cdb012e4-69ac-4954-928c-e33ec36f5eba" providerId="ADAL" clId="{2A079017-6789-4E78-BFB4-5FB800F73343}" dt="2023-08-03T09:51:07.189" v="10169"/>
        <pc:sldMkLst>
          <pc:docMk/>
          <pc:sldMk cId="2015443442" sldId="2147479683"/>
        </pc:sldMkLst>
        <pc:spChg chg="del mod">
          <ac:chgData name="Plunkett Kelly" userId="cdb012e4-69ac-4954-928c-e33ec36f5eba" providerId="ADAL" clId="{2A079017-6789-4E78-BFB4-5FB800F73343}" dt="2023-08-03T09:51:06.512" v="10168" actId="478"/>
          <ac:spMkLst>
            <pc:docMk/>
            <pc:sldMk cId="2015443442" sldId="2147479683"/>
            <ac:spMk id="3" creationId="{900B9DFE-ACC1-E6AC-C214-5EC13714DA9A}"/>
          </ac:spMkLst>
        </pc:spChg>
        <pc:spChg chg="add mod">
          <ac:chgData name="Plunkett Kelly" userId="cdb012e4-69ac-4954-928c-e33ec36f5eba" providerId="ADAL" clId="{2A079017-6789-4E78-BFB4-5FB800F73343}" dt="2023-08-03T09:51:07.189" v="10169"/>
          <ac:spMkLst>
            <pc:docMk/>
            <pc:sldMk cId="2015443442" sldId="2147479683"/>
            <ac:spMk id="124" creationId="{6654B6A8-EE7F-EFE2-0637-BB1B087B8DCA}"/>
          </ac:spMkLst>
        </pc:spChg>
      </pc:sldChg>
      <pc:sldChg chg="add">
        <pc:chgData name="Plunkett Kelly" userId="cdb012e4-69ac-4954-928c-e33ec36f5eba" providerId="ADAL" clId="{2A079017-6789-4E78-BFB4-5FB800F73343}" dt="2023-08-03T09:50:49.274" v="10165" actId="2890"/>
        <pc:sldMkLst>
          <pc:docMk/>
          <pc:sldMk cId="3541093670" sldId="2147479686"/>
        </pc:sldMkLst>
      </pc:sldChg>
    </pc:docChg>
  </pc:docChgLst>
  <pc:docChgLst>
    <pc:chgData name="Cillian Bissett" userId="18acdefb-dc1c-4c50-939e-318027166849" providerId="ADAL" clId="{15DD1BBB-52BA-4F56-83A6-C14DD5C7258A}"/>
    <pc:docChg chg="undo custSel addSld delSld modSld sldOrd modSection">
      <pc:chgData name="Cillian Bissett" userId="18acdefb-dc1c-4c50-939e-318027166849" providerId="ADAL" clId="{15DD1BBB-52BA-4F56-83A6-C14DD5C7258A}" dt="2023-08-14T08:20:33.263" v="18823" actId="47"/>
      <pc:docMkLst>
        <pc:docMk/>
      </pc:docMkLst>
      <pc:sldChg chg="del mod modShow">
        <pc:chgData name="Cillian Bissett" userId="18acdefb-dc1c-4c50-939e-318027166849" providerId="ADAL" clId="{15DD1BBB-52BA-4F56-83A6-C14DD5C7258A}" dt="2023-08-14T08:20:33.263" v="18823" actId="47"/>
        <pc:sldMkLst>
          <pc:docMk/>
          <pc:sldMk cId="2959984300" sldId="2147479565"/>
        </pc:sldMkLst>
      </pc:sldChg>
      <pc:sldChg chg="addSp delSp modSp mod modShow">
        <pc:chgData name="Cillian Bissett" userId="18acdefb-dc1c-4c50-939e-318027166849" providerId="ADAL" clId="{15DD1BBB-52BA-4F56-83A6-C14DD5C7258A}" dt="2023-07-31T09:55:49.003" v="13895" actId="729"/>
        <pc:sldMkLst>
          <pc:docMk/>
          <pc:sldMk cId="1419354273" sldId="2147479593"/>
        </pc:sldMkLst>
        <pc:spChg chg="add mod">
          <ac:chgData name="Cillian Bissett" userId="18acdefb-dc1c-4c50-939e-318027166849" providerId="ADAL" clId="{15DD1BBB-52BA-4F56-83A6-C14DD5C7258A}" dt="2023-07-25T08:26:49.540" v="5664" actId="20577"/>
          <ac:spMkLst>
            <pc:docMk/>
            <pc:sldMk cId="1419354273" sldId="2147479593"/>
            <ac:spMk id="4" creationId="{B0E11B2D-81E0-94CA-41DF-716B89CA5E95}"/>
          </ac:spMkLst>
        </pc:spChg>
        <pc:spChg chg="add mod">
          <ac:chgData name="Cillian Bissett" userId="18acdefb-dc1c-4c50-939e-318027166849" providerId="ADAL" clId="{15DD1BBB-52BA-4F56-83A6-C14DD5C7258A}" dt="2023-07-27T15:09:06.047" v="13434" actId="14100"/>
          <ac:spMkLst>
            <pc:docMk/>
            <pc:sldMk cId="1419354273" sldId="2147479593"/>
            <ac:spMk id="11" creationId="{116EC54E-1ACB-083D-DFD0-D70D571F01BA}"/>
          </ac:spMkLst>
        </pc:spChg>
        <pc:spChg chg="add mod">
          <ac:chgData name="Cillian Bissett" userId="18acdefb-dc1c-4c50-939e-318027166849" providerId="ADAL" clId="{15DD1BBB-52BA-4F56-83A6-C14DD5C7258A}" dt="2023-07-27T15:09:06.047" v="13434" actId="14100"/>
          <ac:spMkLst>
            <pc:docMk/>
            <pc:sldMk cId="1419354273" sldId="2147479593"/>
            <ac:spMk id="12" creationId="{9551435F-DD0E-C802-8A4D-B5976867C05A}"/>
          </ac:spMkLst>
        </pc:spChg>
        <pc:spChg chg="add mod">
          <ac:chgData name="Cillian Bissett" userId="18acdefb-dc1c-4c50-939e-318027166849" providerId="ADAL" clId="{15DD1BBB-52BA-4F56-83A6-C14DD5C7258A}" dt="2023-07-27T15:09:06.047" v="13434" actId="14100"/>
          <ac:spMkLst>
            <pc:docMk/>
            <pc:sldMk cId="1419354273" sldId="2147479593"/>
            <ac:spMk id="13" creationId="{A45A2CF3-5751-82C9-8F50-60379332510B}"/>
          </ac:spMkLst>
        </pc:spChg>
        <pc:spChg chg="add mod">
          <ac:chgData name="Cillian Bissett" userId="18acdefb-dc1c-4c50-939e-318027166849" providerId="ADAL" clId="{15DD1BBB-52BA-4F56-83A6-C14DD5C7258A}" dt="2023-07-27T15:09:06.047" v="13434" actId="14100"/>
          <ac:spMkLst>
            <pc:docMk/>
            <pc:sldMk cId="1419354273" sldId="2147479593"/>
            <ac:spMk id="14" creationId="{154CFA58-BBA5-ED91-E0FA-C78A991F53CB}"/>
          </ac:spMkLst>
        </pc:spChg>
        <pc:spChg chg="del mod">
          <ac:chgData name="Cillian Bissett" userId="18acdefb-dc1c-4c50-939e-318027166849" providerId="ADAL" clId="{15DD1BBB-52BA-4F56-83A6-C14DD5C7258A}" dt="2023-07-25T10:13:20.398" v="6486" actId="478"/>
          <ac:spMkLst>
            <pc:docMk/>
            <pc:sldMk cId="1419354273" sldId="2147479593"/>
            <ac:spMk id="83" creationId="{38BA1687-496F-4C8F-AF0B-DB160EEA7CE5}"/>
          </ac:spMkLst>
        </pc:spChg>
        <pc:graphicFrameChg chg="add del mod modGraphic">
          <ac:chgData name="Cillian Bissett" userId="18acdefb-dc1c-4c50-939e-318027166849" providerId="ADAL" clId="{15DD1BBB-52BA-4F56-83A6-C14DD5C7258A}" dt="2023-07-27T14:43:43.946" v="13336" actId="478"/>
          <ac:graphicFrameMkLst>
            <pc:docMk/>
            <pc:sldMk cId="1419354273" sldId="2147479593"/>
            <ac:graphicFrameMk id="5" creationId="{683FC6BF-AD30-3FFB-59E5-A1083B3BA67E}"/>
          </ac:graphicFrameMkLst>
        </pc:graphicFrameChg>
        <pc:picChg chg="add mod">
          <ac:chgData name="Cillian Bissett" userId="18acdefb-dc1c-4c50-939e-318027166849" providerId="ADAL" clId="{15DD1BBB-52BA-4F56-83A6-C14DD5C7258A}" dt="2023-07-27T15:08:06.455" v="13413" actId="1076"/>
          <ac:picMkLst>
            <pc:docMk/>
            <pc:sldMk cId="1419354273" sldId="2147479593"/>
            <ac:picMk id="3" creationId="{2ED91E61-049B-C31D-6965-131C2572C961}"/>
          </ac:picMkLst>
        </pc:picChg>
        <pc:picChg chg="add del mod">
          <ac:chgData name="Cillian Bissett" userId="18acdefb-dc1c-4c50-939e-318027166849" providerId="ADAL" clId="{15DD1BBB-52BA-4F56-83A6-C14DD5C7258A}" dt="2023-07-25T07:34:34.037" v="5022" actId="478"/>
          <ac:picMkLst>
            <pc:docMk/>
            <pc:sldMk cId="1419354273" sldId="2147479593"/>
            <ac:picMk id="3" creationId="{9A37C25E-C758-61CE-7A38-956CC9302150}"/>
          </ac:picMkLst>
        </pc:picChg>
        <pc:picChg chg="add mod modCrop">
          <ac:chgData name="Cillian Bissett" userId="18acdefb-dc1c-4c50-939e-318027166849" providerId="ADAL" clId="{15DD1BBB-52BA-4F56-83A6-C14DD5C7258A}" dt="2023-07-27T15:08:08.488" v="13414" actId="1076"/>
          <ac:picMkLst>
            <pc:docMk/>
            <pc:sldMk cId="1419354273" sldId="2147479593"/>
            <ac:picMk id="6" creationId="{5B0A4CAD-85B5-B7C7-6CDC-B35105090F88}"/>
          </ac:picMkLst>
        </pc:picChg>
        <pc:picChg chg="add mod">
          <ac:chgData name="Cillian Bissett" userId="18acdefb-dc1c-4c50-939e-318027166849" providerId="ADAL" clId="{15DD1BBB-52BA-4F56-83A6-C14DD5C7258A}" dt="2023-07-27T15:08:14.749" v="13421" actId="14100"/>
          <ac:picMkLst>
            <pc:docMk/>
            <pc:sldMk cId="1419354273" sldId="2147479593"/>
            <ac:picMk id="9" creationId="{EBC18835-D37A-282A-F015-F4BB8F79F0B0}"/>
          </ac:picMkLst>
        </pc:picChg>
        <pc:picChg chg="add mod">
          <ac:chgData name="Cillian Bissett" userId="18acdefb-dc1c-4c50-939e-318027166849" providerId="ADAL" clId="{15DD1BBB-52BA-4F56-83A6-C14DD5C7258A}" dt="2023-07-27T15:08:14.749" v="13421" actId="14100"/>
          <ac:picMkLst>
            <pc:docMk/>
            <pc:sldMk cId="1419354273" sldId="2147479593"/>
            <ac:picMk id="10" creationId="{69B0291A-2F42-E205-9B24-5272C0EF2679}"/>
          </ac:picMkLst>
        </pc:picChg>
      </pc:sldChg>
      <pc:sldChg chg="addSp delSp modSp mod">
        <pc:chgData name="Cillian Bissett" userId="18acdefb-dc1c-4c50-939e-318027166849" providerId="ADAL" clId="{15DD1BBB-52BA-4F56-83A6-C14DD5C7258A}" dt="2023-07-31T15:47:31.362" v="15088" actId="313"/>
        <pc:sldMkLst>
          <pc:docMk/>
          <pc:sldMk cId="1074638613" sldId="2147479594"/>
        </pc:sldMkLst>
        <pc:spChg chg="add del mod">
          <ac:chgData name="Cillian Bissett" userId="18acdefb-dc1c-4c50-939e-318027166849" providerId="ADAL" clId="{15DD1BBB-52BA-4F56-83A6-C14DD5C7258A}" dt="2023-07-24T13:19:28.611" v="194" actId="478"/>
          <ac:spMkLst>
            <pc:docMk/>
            <pc:sldMk cId="1074638613" sldId="2147479594"/>
            <ac:spMk id="2" creationId="{41340D84-CF0E-E64F-13EC-5510E211C871}"/>
          </ac:spMkLst>
        </pc:spChg>
        <pc:spChg chg="add mod">
          <ac:chgData name="Cillian Bissett" userId="18acdefb-dc1c-4c50-939e-318027166849" providerId="ADAL" clId="{15DD1BBB-52BA-4F56-83A6-C14DD5C7258A}" dt="2023-07-27T12:56:27.526" v="13328" actId="20577"/>
          <ac:spMkLst>
            <pc:docMk/>
            <pc:sldMk cId="1074638613" sldId="2147479594"/>
            <ac:spMk id="3" creationId="{6F0D16CF-750E-2F9A-5647-14AA31FDA09A}"/>
          </ac:spMkLst>
        </pc:spChg>
        <pc:spChg chg="add del mod">
          <ac:chgData name="Cillian Bissett" userId="18acdefb-dc1c-4c50-939e-318027166849" providerId="ADAL" clId="{15DD1BBB-52BA-4F56-83A6-C14DD5C7258A}" dt="2023-07-24T13:20:49.391" v="208" actId="478"/>
          <ac:spMkLst>
            <pc:docMk/>
            <pc:sldMk cId="1074638613" sldId="2147479594"/>
            <ac:spMk id="4" creationId="{D2CF5AB7-40AE-BFF7-EA26-9BE8738BC914}"/>
          </ac:spMkLst>
        </pc:spChg>
        <pc:spChg chg="add del mod">
          <ac:chgData name="Cillian Bissett" userId="18acdefb-dc1c-4c50-939e-318027166849" providerId="ADAL" clId="{15DD1BBB-52BA-4F56-83A6-C14DD5C7258A}" dt="2023-07-24T13:20:49.391" v="208" actId="478"/>
          <ac:spMkLst>
            <pc:docMk/>
            <pc:sldMk cId="1074638613" sldId="2147479594"/>
            <ac:spMk id="5" creationId="{4C507CE0-ADD0-DE56-4656-0037F58648C9}"/>
          </ac:spMkLst>
        </pc:spChg>
        <pc:spChg chg="add del mod">
          <ac:chgData name="Cillian Bissett" userId="18acdefb-dc1c-4c50-939e-318027166849" providerId="ADAL" clId="{15DD1BBB-52BA-4F56-83A6-C14DD5C7258A}" dt="2023-07-24T13:20:49.391" v="208" actId="478"/>
          <ac:spMkLst>
            <pc:docMk/>
            <pc:sldMk cId="1074638613" sldId="2147479594"/>
            <ac:spMk id="6" creationId="{9EB12929-B580-4488-C1BE-74D5D5390176}"/>
          </ac:spMkLst>
        </pc:spChg>
        <pc:spChg chg="add del mod">
          <ac:chgData name="Cillian Bissett" userId="18acdefb-dc1c-4c50-939e-318027166849" providerId="ADAL" clId="{15DD1BBB-52BA-4F56-83A6-C14DD5C7258A}" dt="2023-07-24T13:19:28.611" v="194" actId="478"/>
          <ac:spMkLst>
            <pc:docMk/>
            <pc:sldMk cId="1074638613" sldId="2147479594"/>
            <ac:spMk id="7" creationId="{A196748D-BC50-2200-70E6-7C8E6A8F3016}"/>
          </ac:spMkLst>
        </pc:spChg>
        <pc:spChg chg="add del mod">
          <ac:chgData name="Cillian Bissett" userId="18acdefb-dc1c-4c50-939e-318027166849" providerId="ADAL" clId="{15DD1BBB-52BA-4F56-83A6-C14DD5C7258A}" dt="2023-07-24T13:19:20.646" v="191" actId="478"/>
          <ac:spMkLst>
            <pc:docMk/>
            <pc:sldMk cId="1074638613" sldId="2147479594"/>
            <ac:spMk id="9" creationId="{66E04777-D1DB-4E22-3D73-368D1801DADA}"/>
          </ac:spMkLst>
        </pc:spChg>
        <pc:spChg chg="add del mod">
          <ac:chgData name="Cillian Bissett" userId="18acdefb-dc1c-4c50-939e-318027166849" providerId="ADAL" clId="{15DD1BBB-52BA-4F56-83A6-C14DD5C7258A}" dt="2023-07-24T13:20:24.369" v="205" actId="478"/>
          <ac:spMkLst>
            <pc:docMk/>
            <pc:sldMk cId="1074638613" sldId="2147479594"/>
            <ac:spMk id="10" creationId="{4AAC1B03-046B-2D8A-9836-968B4A1D2608}"/>
          </ac:spMkLst>
        </pc:spChg>
        <pc:spChg chg="add mod ord">
          <ac:chgData name="Cillian Bissett" userId="18acdefb-dc1c-4c50-939e-318027166849" providerId="ADAL" clId="{15DD1BBB-52BA-4F56-83A6-C14DD5C7258A}" dt="2023-07-27T12:49:58.542" v="12812" actId="14100"/>
          <ac:spMkLst>
            <pc:docMk/>
            <pc:sldMk cId="1074638613" sldId="2147479594"/>
            <ac:spMk id="11" creationId="{BE4C13E2-C8CB-6F1F-B220-6EA6BD27AB51}"/>
          </ac:spMkLst>
        </pc:spChg>
        <pc:spChg chg="add mod">
          <ac:chgData name="Cillian Bissett" userId="18acdefb-dc1c-4c50-939e-318027166849" providerId="ADAL" clId="{15DD1BBB-52BA-4F56-83A6-C14DD5C7258A}" dt="2023-07-27T12:49:58.542" v="12812" actId="14100"/>
          <ac:spMkLst>
            <pc:docMk/>
            <pc:sldMk cId="1074638613" sldId="2147479594"/>
            <ac:spMk id="12" creationId="{06D24C6D-8E25-5A2B-6BD3-BCBDB03F142C}"/>
          </ac:spMkLst>
        </pc:spChg>
        <pc:spChg chg="add mod">
          <ac:chgData name="Cillian Bissett" userId="18acdefb-dc1c-4c50-939e-318027166849" providerId="ADAL" clId="{15DD1BBB-52BA-4F56-83A6-C14DD5C7258A}" dt="2023-07-25T12:29:37.719" v="8839" actId="14861"/>
          <ac:spMkLst>
            <pc:docMk/>
            <pc:sldMk cId="1074638613" sldId="2147479594"/>
            <ac:spMk id="13" creationId="{0926BED4-F587-452B-998A-1DE81B198E26}"/>
          </ac:spMkLst>
        </pc:spChg>
        <pc:spChg chg="add mod">
          <ac:chgData name="Cillian Bissett" userId="18acdefb-dc1c-4c50-939e-318027166849" providerId="ADAL" clId="{15DD1BBB-52BA-4F56-83A6-C14DD5C7258A}" dt="2023-07-27T12:49:53.244" v="12811" actId="14100"/>
          <ac:spMkLst>
            <pc:docMk/>
            <pc:sldMk cId="1074638613" sldId="2147479594"/>
            <ac:spMk id="14" creationId="{ABAE14E9-C362-3B1B-87FB-0738255E63D8}"/>
          </ac:spMkLst>
        </pc:spChg>
        <pc:spChg chg="add mod">
          <ac:chgData name="Cillian Bissett" userId="18acdefb-dc1c-4c50-939e-318027166849" providerId="ADAL" clId="{15DD1BBB-52BA-4F56-83A6-C14DD5C7258A}" dt="2023-07-27T12:49:44.148" v="12810" actId="1035"/>
          <ac:spMkLst>
            <pc:docMk/>
            <pc:sldMk cId="1074638613" sldId="2147479594"/>
            <ac:spMk id="15" creationId="{635A08F7-6197-4A44-50B8-CFB68285416E}"/>
          </ac:spMkLst>
        </pc:spChg>
        <pc:spChg chg="add mod">
          <ac:chgData name="Cillian Bissett" userId="18acdefb-dc1c-4c50-939e-318027166849" providerId="ADAL" clId="{15DD1BBB-52BA-4F56-83A6-C14DD5C7258A}" dt="2023-07-31T15:47:31.362" v="15088" actId="313"/>
          <ac:spMkLst>
            <pc:docMk/>
            <pc:sldMk cId="1074638613" sldId="2147479594"/>
            <ac:spMk id="16" creationId="{F14C3BE5-4C89-5ADF-3D39-6B5C58FC690D}"/>
          </ac:spMkLst>
        </pc:spChg>
        <pc:spChg chg="add mod">
          <ac:chgData name="Cillian Bissett" userId="18acdefb-dc1c-4c50-939e-318027166849" providerId="ADAL" clId="{15DD1BBB-52BA-4F56-83A6-C14DD5C7258A}" dt="2023-07-27T12:49:30.618" v="12781" actId="1036"/>
          <ac:spMkLst>
            <pc:docMk/>
            <pc:sldMk cId="1074638613" sldId="2147479594"/>
            <ac:spMk id="17" creationId="{8A558D75-7225-65D5-4300-C608916D75D4}"/>
          </ac:spMkLst>
        </pc:spChg>
        <pc:spChg chg="add mod">
          <ac:chgData name="Cillian Bissett" userId="18acdefb-dc1c-4c50-939e-318027166849" providerId="ADAL" clId="{15DD1BBB-52BA-4F56-83A6-C14DD5C7258A}" dt="2023-07-27T12:55:24.915" v="13322" actId="20577"/>
          <ac:spMkLst>
            <pc:docMk/>
            <pc:sldMk cId="1074638613" sldId="2147479594"/>
            <ac:spMk id="18" creationId="{1E773D05-D9B9-F217-65F9-55949407428A}"/>
          </ac:spMkLst>
        </pc:spChg>
        <pc:spChg chg="del mod">
          <ac:chgData name="Cillian Bissett" userId="18acdefb-dc1c-4c50-939e-318027166849" providerId="ADAL" clId="{15DD1BBB-52BA-4F56-83A6-C14DD5C7258A}" dt="2023-07-24T13:19:38.368" v="196" actId="478"/>
          <ac:spMkLst>
            <pc:docMk/>
            <pc:sldMk cId="1074638613" sldId="2147479594"/>
            <ac:spMk id="83" creationId="{38BA1687-496F-4C8F-AF0B-DB160EEA7CE5}"/>
          </ac:spMkLst>
        </pc:spChg>
        <pc:grpChg chg="mod">
          <ac:chgData name="Cillian Bissett" userId="18acdefb-dc1c-4c50-939e-318027166849" providerId="ADAL" clId="{15DD1BBB-52BA-4F56-83A6-C14DD5C7258A}" dt="2023-07-31T13:33:19.255" v="14785" actId="1035"/>
          <ac:grpSpMkLst>
            <pc:docMk/>
            <pc:sldMk cId="1074638613" sldId="2147479594"/>
            <ac:grpSpMk id="7" creationId="{1696DA49-908B-A9A0-732A-18C3990DF9B0}"/>
          </ac:grpSpMkLst>
        </pc:grpChg>
        <pc:grpChg chg="mod">
          <ac:chgData name="Cillian Bissett" userId="18acdefb-dc1c-4c50-939e-318027166849" providerId="ADAL" clId="{15DD1BBB-52BA-4F56-83A6-C14DD5C7258A}" dt="2023-07-31T13:33:19.255" v="14785" actId="1035"/>
          <ac:grpSpMkLst>
            <pc:docMk/>
            <pc:sldMk cId="1074638613" sldId="2147479594"/>
            <ac:grpSpMk id="20" creationId="{F58457FA-3F74-8475-177F-BCF7DDA35DBD}"/>
          </ac:grpSpMkLst>
        </pc:grpChg>
        <pc:grpChg chg="mod">
          <ac:chgData name="Cillian Bissett" userId="18acdefb-dc1c-4c50-939e-318027166849" providerId="ADAL" clId="{15DD1BBB-52BA-4F56-83A6-C14DD5C7258A}" dt="2023-07-31T13:33:19.255" v="14785" actId="1035"/>
          <ac:grpSpMkLst>
            <pc:docMk/>
            <pc:sldMk cId="1074638613" sldId="2147479594"/>
            <ac:grpSpMk id="24" creationId="{A0DDAF2E-BD82-5658-AFE6-D947680706CC}"/>
          </ac:grpSpMkLst>
        </pc:grpChg>
      </pc:sldChg>
      <pc:sldChg chg="delSp modSp add mod">
        <pc:chgData name="Cillian Bissett" userId="18acdefb-dc1c-4c50-939e-318027166849" providerId="ADAL" clId="{15DD1BBB-52BA-4F56-83A6-C14DD5C7258A}" dt="2023-07-24T15:44:25.515" v="5018" actId="478"/>
        <pc:sldMkLst>
          <pc:docMk/>
          <pc:sldMk cId="3995252604" sldId="2147479605"/>
        </pc:sldMkLst>
        <pc:spChg chg="del">
          <ac:chgData name="Cillian Bissett" userId="18acdefb-dc1c-4c50-939e-318027166849" providerId="ADAL" clId="{15DD1BBB-52BA-4F56-83A6-C14DD5C7258A}" dt="2023-07-24T15:44:25.515" v="5018" actId="478"/>
          <ac:spMkLst>
            <pc:docMk/>
            <pc:sldMk cId="3995252604" sldId="2147479605"/>
            <ac:spMk id="3" creationId="{6F0D16CF-750E-2F9A-5647-14AA31FDA09A}"/>
          </ac:spMkLst>
        </pc:spChg>
        <pc:spChg chg="del mod">
          <ac:chgData name="Cillian Bissett" userId="18acdefb-dc1c-4c50-939e-318027166849" providerId="ADAL" clId="{15DD1BBB-52BA-4F56-83A6-C14DD5C7258A}" dt="2023-07-24T15:44:25.515" v="5018" actId="478"/>
          <ac:spMkLst>
            <pc:docMk/>
            <pc:sldMk cId="3995252604" sldId="2147479605"/>
            <ac:spMk id="11" creationId="{BE4C13E2-C8CB-6F1F-B220-6EA6BD27AB51}"/>
          </ac:spMkLst>
        </pc:spChg>
        <pc:spChg chg="del mod">
          <ac:chgData name="Cillian Bissett" userId="18acdefb-dc1c-4c50-939e-318027166849" providerId="ADAL" clId="{15DD1BBB-52BA-4F56-83A6-C14DD5C7258A}" dt="2023-07-24T15:44:25.515" v="5018" actId="478"/>
          <ac:spMkLst>
            <pc:docMk/>
            <pc:sldMk cId="3995252604" sldId="2147479605"/>
            <ac:spMk id="12" creationId="{06D24C6D-8E25-5A2B-6BD3-BCBDB03F142C}"/>
          </ac:spMkLst>
        </pc:spChg>
        <pc:spChg chg="del mod">
          <ac:chgData name="Cillian Bissett" userId="18acdefb-dc1c-4c50-939e-318027166849" providerId="ADAL" clId="{15DD1BBB-52BA-4F56-83A6-C14DD5C7258A}" dt="2023-07-24T15:44:25.515" v="5018" actId="478"/>
          <ac:spMkLst>
            <pc:docMk/>
            <pc:sldMk cId="3995252604" sldId="2147479605"/>
            <ac:spMk id="13" creationId="{0926BED4-F587-452B-998A-1DE81B198E26}"/>
          </ac:spMkLst>
        </pc:spChg>
        <pc:spChg chg="del mod">
          <ac:chgData name="Cillian Bissett" userId="18acdefb-dc1c-4c50-939e-318027166849" providerId="ADAL" clId="{15DD1BBB-52BA-4F56-83A6-C14DD5C7258A}" dt="2023-07-24T15:44:25.515" v="5018" actId="478"/>
          <ac:spMkLst>
            <pc:docMk/>
            <pc:sldMk cId="3995252604" sldId="2147479605"/>
            <ac:spMk id="14" creationId="{ABAE14E9-C362-3B1B-87FB-0738255E63D8}"/>
          </ac:spMkLst>
        </pc:spChg>
        <pc:spChg chg="del mod">
          <ac:chgData name="Cillian Bissett" userId="18acdefb-dc1c-4c50-939e-318027166849" providerId="ADAL" clId="{15DD1BBB-52BA-4F56-83A6-C14DD5C7258A}" dt="2023-07-24T15:44:25.515" v="5018" actId="478"/>
          <ac:spMkLst>
            <pc:docMk/>
            <pc:sldMk cId="3995252604" sldId="2147479605"/>
            <ac:spMk id="15" creationId="{635A08F7-6197-4A44-50B8-CFB68285416E}"/>
          </ac:spMkLst>
        </pc:spChg>
        <pc:spChg chg="del mod">
          <ac:chgData name="Cillian Bissett" userId="18acdefb-dc1c-4c50-939e-318027166849" providerId="ADAL" clId="{15DD1BBB-52BA-4F56-83A6-C14DD5C7258A}" dt="2023-07-24T15:44:25.515" v="5018" actId="478"/>
          <ac:spMkLst>
            <pc:docMk/>
            <pc:sldMk cId="3995252604" sldId="2147479605"/>
            <ac:spMk id="16" creationId="{F14C3BE5-4C89-5ADF-3D39-6B5C58FC690D}"/>
          </ac:spMkLst>
        </pc:spChg>
        <pc:spChg chg="del mod">
          <ac:chgData name="Cillian Bissett" userId="18acdefb-dc1c-4c50-939e-318027166849" providerId="ADAL" clId="{15DD1BBB-52BA-4F56-83A6-C14DD5C7258A}" dt="2023-07-24T15:44:25.515" v="5018" actId="478"/>
          <ac:spMkLst>
            <pc:docMk/>
            <pc:sldMk cId="3995252604" sldId="2147479605"/>
            <ac:spMk id="17" creationId="{8A558D75-7225-65D5-4300-C608916D75D4}"/>
          </ac:spMkLst>
        </pc:spChg>
        <pc:spChg chg="del mod ord">
          <ac:chgData name="Cillian Bissett" userId="18acdefb-dc1c-4c50-939e-318027166849" providerId="ADAL" clId="{15DD1BBB-52BA-4F56-83A6-C14DD5C7258A}" dt="2023-07-24T15:44:25.515" v="5018" actId="478"/>
          <ac:spMkLst>
            <pc:docMk/>
            <pc:sldMk cId="3995252604" sldId="2147479605"/>
            <ac:spMk id="18" creationId="{1E773D05-D9B9-F217-65F9-55949407428A}"/>
          </ac:spMkLst>
        </pc:spChg>
      </pc:sldChg>
      <pc:sldChg chg="addSp delSp modSp add mod modShow">
        <pc:chgData name="Cillian Bissett" userId="18acdefb-dc1c-4c50-939e-318027166849" providerId="ADAL" clId="{15DD1BBB-52BA-4F56-83A6-C14DD5C7258A}" dt="2023-07-31T10:03:56.399" v="13988" actId="729"/>
        <pc:sldMkLst>
          <pc:docMk/>
          <pc:sldMk cId="1254315988" sldId="2147479612"/>
        </pc:sldMkLst>
        <pc:spChg chg="add mod">
          <ac:chgData name="Cillian Bissett" userId="18acdefb-dc1c-4c50-939e-318027166849" providerId="ADAL" clId="{15DD1BBB-52BA-4F56-83A6-C14DD5C7258A}" dt="2023-07-31T08:25:30.387" v="13523" actId="1036"/>
          <ac:spMkLst>
            <pc:docMk/>
            <pc:sldMk cId="1254315988" sldId="2147479612"/>
            <ac:spMk id="2" creationId="{F8F4807C-A721-8AA3-D6A0-13746C99CB55}"/>
          </ac:spMkLst>
        </pc:spChg>
        <pc:spChg chg="add mod">
          <ac:chgData name="Cillian Bissett" userId="18acdefb-dc1c-4c50-939e-318027166849" providerId="ADAL" clId="{15DD1BBB-52BA-4F56-83A6-C14DD5C7258A}" dt="2023-07-31T09:42:07.517" v="13894" actId="20577"/>
          <ac:spMkLst>
            <pc:docMk/>
            <pc:sldMk cId="1254315988" sldId="2147479612"/>
            <ac:spMk id="3" creationId="{11530716-23C3-C058-B6E0-21ED257F9047}"/>
          </ac:spMkLst>
        </pc:spChg>
        <pc:spChg chg="del">
          <ac:chgData name="Cillian Bissett" userId="18acdefb-dc1c-4c50-939e-318027166849" providerId="ADAL" clId="{15DD1BBB-52BA-4F56-83A6-C14DD5C7258A}" dt="2023-07-25T10:52:19.007" v="6662" actId="478"/>
          <ac:spMkLst>
            <pc:docMk/>
            <pc:sldMk cId="1254315988" sldId="2147479612"/>
            <ac:spMk id="4" creationId="{B0E11B2D-81E0-94CA-41DF-716B89CA5E95}"/>
          </ac:spMkLst>
        </pc:spChg>
        <pc:spChg chg="add del mod">
          <ac:chgData name="Cillian Bissett" userId="18acdefb-dc1c-4c50-939e-318027166849" providerId="ADAL" clId="{15DD1BBB-52BA-4F56-83A6-C14DD5C7258A}" dt="2023-07-25T10:58:17.313" v="7206" actId="478"/>
          <ac:spMkLst>
            <pc:docMk/>
            <pc:sldMk cId="1254315988" sldId="2147479612"/>
            <ac:spMk id="6" creationId="{86E30F5C-1CBC-4D58-746C-5AE2398A1899}"/>
          </ac:spMkLst>
        </pc:spChg>
        <pc:spChg chg="add del mod">
          <ac:chgData name="Cillian Bissett" userId="18acdefb-dc1c-4c50-939e-318027166849" providerId="ADAL" clId="{15DD1BBB-52BA-4F56-83A6-C14DD5C7258A}" dt="2023-07-25T10:59:48.094" v="7382" actId="478"/>
          <ac:spMkLst>
            <pc:docMk/>
            <pc:sldMk cId="1254315988" sldId="2147479612"/>
            <ac:spMk id="7" creationId="{8DC3D56F-0481-B4DB-00E3-D42E7C0F86EB}"/>
          </ac:spMkLst>
        </pc:spChg>
        <pc:spChg chg="add mod">
          <ac:chgData name="Cillian Bissett" userId="18acdefb-dc1c-4c50-939e-318027166849" providerId="ADAL" clId="{15DD1BBB-52BA-4F56-83A6-C14DD5C7258A}" dt="2023-07-31T08:25:30.387" v="13523" actId="1036"/>
          <ac:spMkLst>
            <pc:docMk/>
            <pc:sldMk cId="1254315988" sldId="2147479612"/>
            <ac:spMk id="9" creationId="{71A14029-BABA-B099-0193-50E67263EAE8}"/>
          </ac:spMkLst>
        </pc:spChg>
        <pc:spChg chg="add mod">
          <ac:chgData name="Cillian Bissett" userId="18acdefb-dc1c-4c50-939e-318027166849" providerId="ADAL" clId="{15DD1BBB-52BA-4F56-83A6-C14DD5C7258A}" dt="2023-07-31T08:25:30.387" v="13523" actId="1036"/>
          <ac:spMkLst>
            <pc:docMk/>
            <pc:sldMk cId="1254315988" sldId="2147479612"/>
            <ac:spMk id="10" creationId="{117F1344-4369-FE50-0E7A-A8A89D7EA364}"/>
          </ac:spMkLst>
        </pc:spChg>
        <pc:spChg chg="add mod ord">
          <ac:chgData name="Cillian Bissett" userId="18acdefb-dc1c-4c50-939e-318027166849" providerId="ADAL" clId="{15DD1BBB-52BA-4F56-83A6-C14DD5C7258A}" dt="2023-07-31T08:25:30.387" v="13523" actId="1036"/>
          <ac:spMkLst>
            <pc:docMk/>
            <pc:sldMk cId="1254315988" sldId="2147479612"/>
            <ac:spMk id="11" creationId="{48582D0B-C293-30DA-64AF-23763FE96D27}"/>
          </ac:spMkLst>
        </pc:spChg>
        <pc:spChg chg="add mod">
          <ac:chgData name="Cillian Bissett" userId="18acdefb-dc1c-4c50-939e-318027166849" providerId="ADAL" clId="{15DD1BBB-52BA-4F56-83A6-C14DD5C7258A}" dt="2023-07-31T08:25:30.387" v="13523" actId="1036"/>
          <ac:spMkLst>
            <pc:docMk/>
            <pc:sldMk cId="1254315988" sldId="2147479612"/>
            <ac:spMk id="12" creationId="{9097BE4E-54DF-B302-C8D7-C61B16CE3E03}"/>
          </ac:spMkLst>
        </pc:spChg>
        <pc:spChg chg="add mod">
          <ac:chgData name="Cillian Bissett" userId="18acdefb-dc1c-4c50-939e-318027166849" providerId="ADAL" clId="{15DD1BBB-52BA-4F56-83A6-C14DD5C7258A}" dt="2023-07-31T08:25:30.387" v="13523" actId="1036"/>
          <ac:spMkLst>
            <pc:docMk/>
            <pc:sldMk cId="1254315988" sldId="2147479612"/>
            <ac:spMk id="13" creationId="{070EA595-0183-5872-F57F-CBE95BA3F6BF}"/>
          </ac:spMkLst>
        </pc:spChg>
        <pc:spChg chg="add mod">
          <ac:chgData name="Cillian Bissett" userId="18acdefb-dc1c-4c50-939e-318027166849" providerId="ADAL" clId="{15DD1BBB-52BA-4F56-83A6-C14DD5C7258A}" dt="2023-07-31T08:25:30.387" v="13523" actId="1036"/>
          <ac:spMkLst>
            <pc:docMk/>
            <pc:sldMk cId="1254315988" sldId="2147479612"/>
            <ac:spMk id="14" creationId="{8AC524B4-A583-53CD-EDB2-CD9BEA22E7A0}"/>
          </ac:spMkLst>
        </pc:spChg>
        <pc:spChg chg="add del mod">
          <ac:chgData name="Cillian Bissett" userId="18acdefb-dc1c-4c50-939e-318027166849" providerId="ADAL" clId="{15DD1BBB-52BA-4F56-83A6-C14DD5C7258A}" dt="2023-07-31T08:25:30.387" v="13523" actId="1036"/>
          <ac:spMkLst>
            <pc:docMk/>
            <pc:sldMk cId="1254315988" sldId="2147479612"/>
            <ac:spMk id="15" creationId="{5B240A68-A6C5-92F8-5A67-B4ED35EFF2C4}"/>
          </ac:spMkLst>
        </pc:spChg>
        <pc:graphicFrameChg chg="del">
          <ac:chgData name="Cillian Bissett" userId="18acdefb-dc1c-4c50-939e-318027166849" providerId="ADAL" clId="{15DD1BBB-52BA-4F56-83A6-C14DD5C7258A}" dt="2023-07-25T10:29:59.679" v="6651" actId="478"/>
          <ac:graphicFrameMkLst>
            <pc:docMk/>
            <pc:sldMk cId="1254315988" sldId="2147479612"/>
            <ac:graphicFrameMk id="5" creationId="{683FC6BF-AD30-3FFB-59E5-A1083B3BA67E}"/>
          </ac:graphicFrameMkLst>
        </pc:graphicFrameChg>
        <pc:picChg chg="add del mod">
          <ac:chgData name="Cillian Bissett" userId="18acdefb-dc1c-4c50-939e-318027166849" providerId="ADAL" clId="{15DD1BBB-52BA-4F56-83A6-C14DD5C7258A}" dt="2023-07-25T10:59:48.094" v="7382" actId="478"/>
          <ac:picMkLst>
            <pc:docMk/>
            <pc:sldMk cId="1254315988" sldId="2147479612"/>
            <ac:picMk id="3" creationId="{23EC420B-8A09-937C-E0E6-DDC0554808C6}"/>
          </ac:picMkLst>
        </pc:picChg>
        <pc:picChg chg="add mod">
          <ac:chgData name="Cillian Bissett" userId="18acdefb-dc1c-4c50-939e-318027166849" providerId="ADAL" clId="{15DD1BBB-52BA-4F56-83A6-C14DD5C7258A}" dt="2023-07-31T08:25:30.387" v="13523" actId="1036"/>
          <ac:picMkLst>
            <pc:docMk/>
            <pc:sldMk cId="1254315988" sldId="2147479612"/>
            <ac:picMk id="4" creationId="{FE2E712B-BDCA-4205-6814-746266B523A3}"/>
          </ac:picMkLst>
        </pc:picChg>
      </pc:sldChg>
      <pc:sldChg chg="addSp delSp modSp add mod modShow">
        <pc:chgData name="Cillian Bissett" userId="18acdefb-dc1c-4c50-939e-318027166849" providerId="ADAL" clId="{15DD1BBB-52BA-4F56-83A6-C14DD5C7258A}" dt="2023-07-31T08:22:42.427" v="13436" actId="478"/>
        <pc:sldMkLst>
          <pc:docMk/>
          <pc:sldMk cId="1589809623" sldId="2147479635"/>
        </pc:sldMkLst>
        <pc:spChg chg="del mod">
          <ac:chgData name="Cillian Bissett" userId="18acdefb-dc1c-4c50-939e-318027166849" providerId="ADAL" clId="{15DD1BBB-52BA-4F56-83A6-C14DD5C7258A}" dt="2023-07-26T10:40:39.064" v="10449" actId="478"/>
          <ac:spMkLst>
            <pc:docMk/>
            <pc:sldMk cId="1589809623" sldId="2147479635"/>
            <ac:spMk id="3" creationId="{6F0D16CF-750E-2F9A-5647-14AA31FDA09A}"/>
          </ac:spMkLst>
        </pc:spChg>
        <pc:spChg chg="add mod">
          <ac:chgData name="Cillian Bissett" userId="18acdefb-dc1c-4c50-939e-318027166849" providerId="ADAL" clId="{15DD1BBB-52BA-4F56-83A6-C14DD5C7258A}" dt="2023-07-27T08:25:15.111" v="12219" actId="164"/>
          <ac:spMkLst>
            <pc:docMk/>
            <pc:sldMk cId="1589809623" sldId="2147479635"/>
            <ac:spMk id="4" creationId="{462594B4-B2E0-BDA2-9692-D55B0832D8AE}"/>
          </ac:spMkLst>
        </pc:spChg>
        <pc:spChg chg="add mod">
          <ac:chgData name="Cillian Bissett" userId="18acdefb-dc1c-4c50-939e-318027166849" providerId="ADAL" clId="{15DD1BBB-52BA-4F56-83A6-C14DD5C7258A}" dt="2023-07-27T08:25:15.111" v="12219" actId="164"/>
          <ac:spMkLst>
            <pc:docMk/>
            <pc:sldMk cId="1589809623" sldId="2147479635"/>
            <ac:spMk id="5" creationId="{A9A30C74-C736-0B13-FD13-F4BFC44A82F7}"/>
          </ac:spMkLst>
        </pc:spChg>
        <pc:spChg chg="add mod">
          <ac:chgData name="Cillian Bissett" userId="18acdefb-dc1c-4c50-939e-318027166849" providerId="ADAL" clId="{15DD1BBB-52BA-4F56-83A6-C14DD5C7258A}" dt="2023-07-27T08:25:19.776" v="12220" actId="164"/>
          <ac:spMkLst>
            <pc:docMk/>
            <pc:sldMk cId="1589809623" sldId="2147479635"/>
            <ac:spMk id="6" creationId="{4AFE2752-386A-3552-C559-8B60A9AE6B46}"/>
          </ac:spMkLst>
        </pc:spChg>
        <pc:spChg chg="add mod">
          <ac:chgData name="Cillian Bissett" userId="18acdefb-dc1c-4c50-939e-318027166849" providerId="ADAL" clId="{15DD1BBB-52BA-4F56-83A6-C14DD5C7258A}" dt="2023-07-27T08:25:19.776" v="12220" actId="164"/>
          <ac:spMkLst>
            <pc:docMk/>
            <pc:sldMk cId="1589809623" sldId="2147479635"/>
            <ac:spMk id="7" creationId="{9CFBD4A5-4AE2-8163-175E-64C3747F1823}"/>
          </ac:spMkLst>
        </pc:spChg>
        <pc:spChg chg="mod">
          <ac:chgData name="Cillian Bissett" userId="18acdefb-dc1c-4c50-939e-318027166849" providerId="ADAL" clId="{15DD1BBB-52BA-4F56-83A6-C14DD5C7258A}" dt="2023-07-26T13:32:44.669" v="10923" actId="20577"/>
          <ac:spMkLst>
            <pc:docMk/>
            <pc:sldMk cId="1589809623" sldId="2147479635"/>
            <ac:spMk id="8" creationId="{7824D54C-15D2-467C-A016-166944D0781C}"/>
          </ac:spMkLst>
        </pc:spChg>
        <pc:spChg chg="del mod">
          <ac:chgData name="Cillian Bissett" userId="18acdefb-dc1c-4c50-939e-318027166849" providerId="ADAL" clId="{15DD1BBB-52BA-4F56-83A6-C14DD5C7258A}" dt="2023-07-26T10:40:39.064" v="10449" actId="478"/>
          <ac:spMkLst>
            <pc:docMk/>
            <pc:sldMk cId="1589809623" sldId="2147479635"/>
            <ac:spMk id="11" creationId="{BE4C13E2-C8CB-6F1F-B220-6EA6BD27AB51}"/>
          </ac:spMkLst>
        </pc:spChg>
        <pc:spChg chg="del">
          <ac:chgData name="Cillian Bissett" userId="18acdefb-dc1c-4c50-939e-318027166849" providerId="ADAL" clId="{15DD1BBB-52BA-4F56-83A6-C14DD5C7258A}" dt="2023-07-26T10:08:36.265" v="9656" actId="478"/>
          <ac:spMkLst>
            <pc:docMk/>
            <pc:sldMk cId="1589809623" sldId="2147479635"/>
            <ac:spMk id="12" creationId="{06D24C6D-8E25-5A2B-6BD3-BCBDB03F142C}"/>
          </ac:spMkLst>
        </pc:spChg>
        <pc:spChg chg="add mod">
          <ac:chgData name="Cillian Bissett" userId="18acdefb-dc1c-4c50-939e-318027166849" providerId="ADAL" clId="{15DD1BBB-52BA-4F56-83A6-C14DD5C7258A}" dt="2023-07-27T08:28:16.093" v="12759" actId="1035"/>
          <ac:spMkLst>
            <pc:docMk/>
            <pc:sldMk cId="1589809623" sldId="2147479635"/>
            <ac:spMk id="12" creationId="{2587D7D9-D8E2-CB96-44C2-2631761A43FF}"/>
          </ac:spMkLst>
        </pc:spChg>
        <pc:spChg chg="del">
          <ac:chgData name="Cillian Bissett" userId="18acdefb-dc1c-4c50-939e-318027166849" providerId="ADAL" clId="{15DD1BBB-52BA-4F56-83A6-C14DD5C7258A}" dt="2023-07-26T10:08:36.265" v="9656" actId="478"/>
          <ac:spMkLst>
            <pc:docMk/>
            <pc:sldMk cId="1589809623" sldId="2147479635"/>
            <ac:spMk id="13" creationId="{0926BED4-F587-452B-998A-1DE81B198E26}"/>
          </ac:spMkLst>
        </pc:spChg>
        <pc:spChg chg="del">
          <ac:chgData name="Cillian Bissett" userId="18acdefb-dc1c-4c50-939e-318027166849" providerId="ADAL" clId="{15DD1BBB-52BA-4F56-83A6-C14DD5C7258A}" dt="2023-07-26T10:08:36.265" v="9656" actId="478"/>
          <ac:spMkLst>
            <pc:docMk/>
            <pc:sldMk cId="1589809623" sldId="2147479635"/>
            <ac:spMk id="14" creationId="{ABAE14E9-C362-3B1B-87FB-0738255E63D8}"/>
          </ac:spMkLst>
        </pc:spChg>
        <pc:spChg chg="del">
          <ac:chgData name="Cillian Bissett" userId="18acdefb-dc1c-4c50-939e-318027166849" providerId="ADAL" clId="{15DD1BBB-52BA-4F56-83A6-C14DD5C7258A}" dt="2023-07-26T10:08:36.265" v="9656" actId="478"/>
          <ac:spMkLst>
            <pc:docMk/>
            <pc:sldMk cId="1589809623" sldId="2147479635"/>
            <ac:spMk id="15" creationId="{635A08F7-6197-4A44-50B8-CFB68285416E}"/>
          </ac:spMkLst>
        </pc:spChg>
        <pc:spChg chg="del mod">
          <ac:chgData name="Cillian Bissett" userId="18acdefb-dc1c-4c50-939e-318027166849" providerId="ADAL" clId="{15DD1BBB-52BA-4F56-83A6-C14DD5C7258A}" dt="2023-07-26T10:40:39.064" v="10449" actId="478"/>
          <ac:spMkLst>
            <pc:docMk/>
            <pc:sldMk cId="1589809623" sldId="2147479635"/>
            <ac:spMk id="16" creationId="{F14C3BE5-4C89-5ADF-3D39-6B5C58FC690D}"/>
          </ac:spMkLst>
        </pc:spChg>
        <pc:spChg chg="del">
          <ac:chgData name="Cillian Bissett" userId="18acdefb-dc1c-4c50-939e-318027166849" providerId="ADAL" clId="{15DD1BBB-52BA-4F56-83A6-C14DD5C7258A}" dt="2023-07-26T10:08:36.265" v="9656" actId="478"/>
          <ac:spMkLst>
            <pc:docMk/>
            <pc:sldMk cId="1589809623" sldId="2147479635"/>
            <ac:spMk id="17" creationId="{8A558D75-7225-65D5-4300-C608916D75D4}"/>
          </ac:spMkLst>
        </pc:spChg>
        <pc:spChg chg="del">
          <ac:chgData name="Cillian Bissett" userId="18acdefb-dc1c-4c50-939e-318027166849" providerId="ADAL" clId="{15DD1BBB-52BA-4F56-83A6-C14DD5C7258A}" dt="2023-07-26T10:08:36.265" v="9656" actId="478"/>
          <ac:spMkLst>
            <pc:docMk/>
            <pc:sldMk cId="1589809623" sldId="2147479635"/>
            <ac:spMk id="18" creationId="{1E773D05-D9B9-F217-65F9-55949407428A}"/>
          </ac:spMkLst>
        </pc:spChg>
        <pc:spChg chg="add mod">
          <ac:chgData name="Cillian Bissett" userId="18acdefb-dc1c-4c50-939e-318027166849" providerId="ADAL" clId="{15DD1BBB-52BA-4F56-83A6-C14DD5C7258A}" dt="2023-07-27T08:25:23.155" v="12221" actId="164"/>
          <ac:spMkLst>
            <pc:docMk/>
            <pc:sldMk cId="1589809623" sldId="2147479635"/>
            <ac:spMk id="19" creationId="{0402A804-6776-1525-0790-BF6CCE9EE275}"/>
          </ac:spMkLst>
        </pc:spChg>
        <pc:spChg chg="add mod">
          <ac:chgData name="Cillian Bissett" userId="18acdefb-dc1c-4c50-939e-318027166849" providerId="ADAL" clId="{15DD1BBB-52BA-4F56-83A6-C14DD5C7258A}" dt="2023-07-27T08:25:23.155" v="12221" actId="164"/>
          <ac:spMkLst>
            <pc:docMk/>
            <pc:sldMk cId="1589809623" sldId="2147479635"/>
            <ac:spMk id="20" creationId="{C6F78C86-1415-B3EB-31C6-560F641479D8}"/>
          </ac:spMkLst>
        </pc:spChg>
        <pc:spChg chg="add del mod">
          <ac:chgData name="Cillian Bissett" userId="18acdefb-dc1c-4c50-939e-318027166849" providerId="ADAL" clId="{15DD1BBB-52BA-4F56-83A6-C14DD5C7258A}" dt="2023-07-31T08:22:42.427" v="13436" actId="478"/>
          <ac:spMkLst>
            <pc:docMk/>
            <pc:sldMk cId="1589809623" sldId="2147479635"/>
            <ac:spMk id="22" creationId="{31549C89-D9DD-C3BB-0BC8-08DD301D7CC5}"/>
          </ac:spMkLst>
        </pc:spChg>
        <pc:grpChg chg="add mod">
          <ac:chgData name="Cillian Bissett" userId="18acdefb-dc1c-4c50-939e-318027166849" providerId="ADAL" clId="{15DD1BBB-52BA-4F56-83A6-C14DD5C7258A}" dt="2023-07-27T08:25:51.761" v="12296" actId="1036"/>
          <ac:grpSpMkLst>
            <pc:docMk/>
            <pc:sldMk cId="1589809623" sldId="2147479635"/>
            <ac:grpSpMk id="3" creationId="{C5C1ADC7-D601-DDA2-4E63-F5437BCE6883}"/>
          </ac:grpSpMkLst>
        </pc:grpChg>
        <pc:grpChg chg="add mod">
          <ac:chgData name="Cillian Bissett" userId="18acdefb-dc1c-4c50-939e-318027166849" providerId="ADAL" clId="{15DD1BBB-52BA-4F56-83A6-C14DD5C7258A}" dt="2023-07-27T08:26:07.809" v="12297" actId="465"/>
          <ac:grpSpMkLst>
            <pc:docMk/>
            <pc:sldMk cId="1589809623" sldId="2147479635"/>
            <ac:grpSpMk id="9" creationId="{EA576DF5-AF60-21EC-804E-76D551BA0E28}"/>
          </ac:grpSpMkLst>
        </pc:grpChg>
        <pc:grpChg chg="add mod">
          <ac:chgData name="Cillian Bissett" userId="18acdefb-dc1c-4c50-939e-318027166849" providerId="ADAL" clId="{15DD1BBB-52BA-4F56-83A6-C14DD5C7258A}" dt="2023-07-27T08:25:41.678" v="12271" actId="1035"/>
          <ac:grpSpMkLst>
            <pc:docMk/>
            <pc:sldMk cId="1589809623" sldId="2147479635"/>
            <ac:grpSpMk id="11" creationId="{38D7487B-CA3D-DF62-6F0B-E1D0537203EE}"/>
          </ac:grpSpMkLst>
        </pc:grpChg>
        <pc:graphicFrameChg chg="add mod modGraphic">
          <ac:chgData name="Cillian Bissett" userId="18acdefb-dc1c-4c50-939e-318027166849" providerId="ADAL" clId="{15DD1BBB-52BA-4F56-83A6-C14DD5C7258A}" dt="2023-07-27T08:25:15.111" v="12219" actId="164"/>
          <ac:graphicFrameMkLst>
            <pc:docMk/>
            <pc:sldMk cId="1589809623" sldId="2147479635"/>
            <ac:graphicFrameMk id="2" creationId="{1F5D11B8-653F-D081-DA58-D774F4CA5EAC}"/>
          </ac:graphicFrameMkLst>
        </pc:graphicFrameChg>
        <pc:graphicFrameChg chg="add del mod">
          <ac:chgData name="Cillian Bissett" userId="18acdefb-dc1c-4c50-939e-318027166849" providerId="ADAL" clId="{15DD1BBB-52BA-4F56-83A6-C14DD5C7258A}" dt="2023-07-26T10:40:39.064" v="10449" actId="478"/>
          <ac:graphicFrameMkLst>
            <pc:docMk/>
            <pc:sldMk cId="1589809623" sldId="2147479635"/>
            <ac:graphicFrameMk id="9" creationId="{C06DAE62-F5BC-254C-3D9A-E9F374D828A8}"/>
          </ac:graphicFrameMkLst>
        </pc:graphicFrameChg>
        <pc:graphicFrameChg chg="add mod">
          <ac:chgData name="Cillian Bissett" userId="18acdefb-dc1c-4c50-939e-318027166849" providerId="ADAL" clId="{15DD1BBB-52BA-4F56-83A6-C14DD5C7258A}" dt="2023-07-27T08:25:19.776" v="12220" actId="164"/>
          <ac:graphicFrameMkLst>
            <pc:docMk/>
            <pc:sldMk cId="1589809623" sldId="2147479635"/>
            <ac:graphicFrameMk id="10" creationId="{C1DB1D42-F0E9-2987-E3C6-B233926A2174}"/>
          </ac:graphicFrameMkLst>
        </pc:graphicFrameChg>
        <pc:graphicFrameChg chg="add mod">
          <ac:chgData name="Cillian Bissett" userId="18acdefb-dc1c-4c50-939e-318027166849" providerId="ADAL" clId="{15DD1BBB-52BA-4F56-83A6-C14DD5C7258A}" dt="2023-07-27T08:25:23.155" v="12221" actId="164"/>
          <ac:graphicFrameMkLst>
            <pc:docMk/>
            <pc:sldMk cId="1589809623" sldId="2147479635"/>
            <ac:graphicFrameMk id="21" creationId="{1A27AEE9-0335-2951-B4A4-3A926F5C507A}"/>
          </ac:graphicFrameMkLst>
        </pc:graphicFrameChg>
      </pc:sldChg>
      <pc:sldChg chg="addSp delSp modSp add del mod ord">
        <pc:chgData name="Cillian Bissett" userId="18acdefb-dc1c-4c50-939e-318027166849" providerId="ADAL" clId="{15DD1BBB-52BA-4F56-83A6-C14DD5C7258A}" dt="2023-07-26T15:48:58.065" v="11856" actId="2696"/>
        <pc:sldMkLst>
          <pc:docMk/>
          <pc:sldMk cId="123952647" sldId="2147479639"/>
        </pc:sldMkLst>
        <pc:spChg chg="add mod">
          <ac:chgData name="Cillian Bissett" userId="18acdefb-dc1c-4c50-939e-318027166849" providerId="ADAL" clId="{15DD1BBB-52BA-4F56-83A6-C14DD5C7258A}" dt="2023-07-26T14:23:05.940" v="11674" actId="14100"/>
          <ac:spMkLst>
            <pc:docMk/>
            <pc:sldMk cId="123952647" sldId="2147479639"/>
            <ac:spMk id="3" creationId="{20E2FD83-C9C3-1A3F-B76F-B124AEDDDB67}"/>
          </ac:spMkLst>
        </pc:spChg>
        <pc:spChg chg="del">
          <ac:chgData name="Cillian Bissett" userId="18acdefb-dc1c-4c50-939e-318027166849" providerId="ADAL" clId="{15DD1BBB-52BA-4F56-83A6-C14DD5C7258A}" dt="2023-07-26T14:16:47.757" v="10927" actId="478"/>
          <ac:spMkLst>
            <pc:docMk/>
            <pc:sldMk cId="123952647" sldId="2147479639"/>
            <ac:spMk id="4" creationId="{462594B4-B2E0-BDA2-9692-D55B0832D8AE}"/>
          </ac:spMkLst>
        </pc:spChg>
        <pc:spChg chg="del">
          <ac:chgData name="Cillian Bissett" userId="18acdefb-dc1c-4c50-939e-318027166849" providerId="ADAL" clId="{15DD1BBB-52BA-4F56-83A6-C14DD5C7258A}" dt="2023-07-26T14:16:47.757" v="10927" actId="478"/>
          <ac:spMkLst>
            <pc:docMk/>
            <pc:sldMk cId="123952647" sldId="2147479639"/>
            <ac:spMk id="5" creationId="{A9A30C74-C736-0B13-FD13-F4BFC44A82F7}"/>
          </ac:spMkLst>
        </pc:spChg>
        <pc:spChg chg="del">
          <ac:chgData name="Cillian Bissett" userId="18acdefb-dc1c-4c50-939e-318027166849" providerId="ADAL" clId="{15DD1BBB-52BA-4F56-83A6-C14DD5C7258A}" dt="2023-07-26T14:16:47.757" v="10927" actId="478"/>
          <ac:spMkLst>
            <pc:docMk/>
            <pc:sldMk cId="123952647" sldId="2147479639"/>
            <ac:spMk id="6" creationId="{4AFE2752-386A-3552-C559-8B60A9AE6B46}"/>
          </ac:spMkLst>
        </pc:spChg>
        <pc:spChg chg="del">
          <ac:chgData name="Cillian Bissett" userId="18acdefb-dc1c-4c50-939e-318027166849" providerId="ADAL" clId="{15DD1BBB-52BA-4F56-83A6-C14DD5C7258A}" dt="2023-07-26T14:16:47.757" v="10927" actId="478"/>
          <ac:spMkLst>
            <pc:docMk/>
            <pc:sldMk cId="123952647" sldId="2147479639"/>
            <ac:spMk id="7" creationId="{9CFBD4A5-4AE2-8163-175E-64C3747F1823}"/>
          </ac:spMkLst>
        </pc:spChg>
        <pc:spChg chg="add mod">
          <ac:chgData name="Cillian Bissett" userId="18acdefb-dc1c-4c50-939e-318027166849" providerId="ADAL" clId="{15DD1BBB-52BA-4F56-83A6-C14DD5C7258A}" dt="2023-07-26T14:17:18.705" v="10955" actId="20577"/>
          <ac:spMkLst>
            <pc:docMk/>
            <pc:sldMk cId="123952647" sldId="2147479639"/>
            <ac:spMk id="9" creationId="{5DCF6535-F1DB-634B-D531-9F924495E286}"/>
          </ac:spMkLst>
        </pc:spChg>
        <pc:spChg chg="add mod">
          <ac:chgData name="Cillian Bissett" userId="18acdefb-dc1c-4c50-939e-318027166849" providerId="ADAL" clId="{15DD1BBB-52BA-4F56-83A6-C14DD5C7258A}" dt="2023-07-26T14:25:22.759" v="11719" actId="20577"/>
          <ac:spMkLst>
            <pc:docMk/>
            <pc:sldMk cId="123952647" sldId="2147479639"/>
            <ac:spMk id="11" creationId="{DD3BD1C6-5F0C-9C80-CD74-CC148473A945}"/>
          </ac:spMkLst>
        </pc:spChg>
        <pc:spChg chg="add mod">
          <ac:chgData name="Cillian Bissett" userId="18acdefb-dc1c-4c50-939e-318027166849" providerId="ADAL" clId="{15DD1BBB-52BA-4F56-83A6-C14DD5C7258A}" dt="2023-07-26T14:23:15.707" v="11716" actId="1036"/>
          <ac:spMkLst>
            <pc:docMk/>
            <pc:sldMk cId="123952647" sldId="2147479639"/>
            <ac:spMk id="12" creationId="{1B0C9015-8D37-99DB-F62F-E3D713DB2BB0}"/>
          </ac:spMkLst>
        </pc:spChg>
        <pc:spChg chg="add mod ord">
          <ac:chgData name="Cillian Bissett" userId="18acdefb-dc1c-4c50-939e-318027166849" providerId="ADAL" clId="{15DD1BBB-52BA-4F56-83A6-C14DD5C7258A}" dt="2023-07-26T14:23:15.707" v="11716" actId="1036"/>
          <ac:spMkLst>
            <pc:docMk/>
            <pc:sldMk cId="123952647" sldId="2147479639"/>
            <ac:spMk id="14" creationId="{D211D260-E38B-217D-35E4-CD2ACD3E520F}"/>
          </ac:spMkLst>
        </pc:spChg>
        <pc:spChg chg="del">
          <ac:chgData name="Cillian Bissett" userId="18acdefb-dc1c-4c50-939e-318027166849" providerId="ADAL" clId="{15DD1BBB-52BA-4F56-83A6-C14DD5C7258A}" dt="2023-07-26T14:16:47.757" v="10927" actId="478"/>
          <ac:spMkLst>
            <pc:docMk/>
            <pc:sldMk cId="123952647" sldId="2147479639"/>
            <ac:spMk id="19" creationId="{0402A804-6776-1525-0790-BF6CCE9EE275}"/>
          </ac:spMkLst>
        </pc:spChg>
        <pc:spChg chg="del">
          <ac:chgData name="Cillian Bissett" userId="18acdefb-dc1c-4c50-939e-318027166849" providerId="ADAL" clId="{15DD1BBB-52BA-4F56-83A6-C14DD5C7258A}" dt="2023-07-26T14:16:47.757" v="10927" actId="478"/>
          <ac:spMkLst>
            <pc:docMk/>
            <pc:sldMk cId="123952647" sldId="2147479639"/>
            <ac:spMk id="20" creationId="{C6F78C86-1415-B3EB-31C6-560F641479D8}"/>
          </ac:spMkLst>
        </pc:spChg>
        <pc:spChg chg="del">
          <ac:chgData name="Cillian Bissett" userId="18acdefb-dc1c-4c50-939e-318027166849" providerId="ADAL" clId="{15DD1BBB-52BA-4F56-83A6-C14DD5C7258A}" dt="2023-07-26T14:16:47.757" v="10927" actId="478"/>
          <ac:spMkLst>
            <pc:docMk/>
            <pc:sldMk cId="123952647" sldId="2147479639"/>
            <ac:spMk id="22" creationId="{31549C89-D9DD-C3BB-0BC8-08DD301D7CC5}"/>
          </ac:spMkLst>
        </pc:spChg>
        <pc:graphicFrameChg chg="del">
          <ac:chgData name="Cillian Bissett" userId="18acdefb-dc1c-4c50-939e-318027166849" providerId="ADAL" clId="{15DD1BBB-52BA-4F56-83A6-C14DD5C7258A}" dt="2023-07-26T14:16:47.757" v="10927" actId="478"/>
          <ac:graphicFrameMkLst>
            <pc:docMk/>
            <pc:sldMk cId="123952647" sldId="2147479639"/>
            <ac:graphicFrameMk id="2" creationId="{1F5D11B8-653F-D081-DA58-D774F4CA5EAC}"/>
          </ac:graphicFrameMkLst>
        </pc:graphicFrameChg>
        <pc:graphicFrameChg chg="del">
          <ac:chgData name="Cillian Bissett" userId="18acdefb-dc1c-4c50-939e-318027166849" providerId="ADAL" clId="{15DD1BBB-52BA-4F56-83A6-C14DD5C7258A}" dt="2023-07-26T14:16:47.757" v="10927" actId="478"/>
          <ac:graphicFrameMkLst>
            <pc:docMk/>
            <pc:sldMk cId="123952647" sldId="2147479639"/>
            <ac:graphicFrameMk id="10" creationId="{C1DB1D42-F0E9-2987-E3C6-B233926A2174}"/>
          </ac:graphicFrameMkLst>
        </pc:graphicFrameChg>
        <pc:graphicFrameChg chg="add mod">
          <ac:chgData name="Cillian Bissett" userId="18acdefb-dc1c-4c50-939e-318027166849" providerId="ADAL" clId="{15DD1BBB-52BA-4F56-83A6-C14DD5C7258A}" dt="2023-07-26T14:23:15.707" v="11716" actId="1036"/>
          <ac:graphicFrameMkLst>
            <pc:docMk/>
            <pc:sldMk cId="123952647" sldId="2147479639"/>
            <ac:graphicFrameMk id="13" creationId="{70412B38-DB73-4567-9161-C2365BAC1B80}"/>
          </ac:graphicFrameMkLst>
        </pc:graphicFrameChg>
        <pc:graphicFrameChg chg="del">
          <ac:chgData name="Cillian Bissett" userId="18acdefb-dc1c-4c50-939e-318027166849" providerId="ADAL" clId="{15DD1BBB-52BA-4F56-83A6-C14DD5C7258A}" dt="2023-07-26T14:16:47.757" v="10927" actId="478"/>
          <ac:graphicFrameMkLst>
            <pc:docMk/>
            <pc:sldMk cId="123952647" sldId="2147479639"/>
            <ac:graphicFrameMk id="21" creationId="{1A27AEE9-0335-2951-B4A4-3A926F5C507A}"/>
          </ac:graphicFrameMkLst>
        </pc:graphicFrameChg>
      </pc:sldChg>
      <pc:sldChg chg="addSp modSp add mod modShow">
        <pc:chgData name="Cillian Bissett" userId="18acdefb-dc1c-4c50-939e-318027166849" providerId="ADAL" clId="{15DD1BBB-52BA-4F56-83A6-C14DD5C7258A}" dt="2023-07-31T08:23:49.418" v="13476" actId="404"/>
        <pc:sldMkLst>
          <pc:docMk/>
          <pc:sldMk cId="1364223608" sldId="2147479647"/>
        </pc:sldMkLst>
        <pc:spChg chg="add mod">
          <ac:chgData name="Cillian Bissett" userId="18acdefb-dc1c-4c50-939e-318027166849" providerId="ADAL" clId="{15DD1BBB-52BA-4F56-83A6-C14DD5C7258A}" dt="2023-07-31T08:23:49.418" v="13476" actId="404"/>
          <ac:spMkLst>
            <pc:docMk/>
            <pc:sldMk cId="1364223608" sldId="2147479647"/>
            <ac:spMk id="2" creationId="{83F35AF8-374F-9074-BDAD-724A502CDC67}"/>
          </ac:spMkLst>
        </pc:spChg>
        <pc:graphicFrameChg chg="mod">
          <ac:chgData name="Cillian Bissett" userId="18acdefb-dc1c-4c50-939e-318027166849" providerId="ADAL" clId="{15DD1BBB-52BA-4F56-83A6-C14DD5C7258A}" dt="2023-07-31T08:23:02.889" v="13438" actId="1076"/>
          <ac:graphicFrameMkLst>
            <pc:docMk/>
            <pc:sldMk cId="1364223608" sldId="2147479647"/>
            <ac:graphicFrameMk id="5" creationId="{683FC6BF-AD30-3FFB-59E5-A1083B3BA67E}"/>
          </ac:graphicFrameMkLst>
        </pc:graphicFrameChg>
      </pc:sldChg>
      <pc:sldChg chg="addSp modSp add mod">
        <pc:chgData name="Cillian Bissett" userId="18acdefb-dc1c-4c50-939e-318027166849" providerId="ADAL" clId="{15DD1BBB-52BA-4F56-83A6-C14DD5C7258A}" dt="2023-07-31T11:11:06.072" v="14764" actId="1036"/>
        <pc:sldMkLst>
          <pc:docMk/>
          <pc:sldMk cId="604340155" sldId="2147479656"/>
        </pc:sldMkLst>
        <pc:spChg chg="mod">
          <ac:chgData name="Cillian Bissett" userId="18acdefb-dc1c-4c50-939e-318027166849" providerId="ADAL" clId="{15DD1BBB-52BA-4F56-83A6-C14DD5C7258A}" dt="2023-07-31T09:59:13.089" v="13903" actId="1076"/>
          <ac:spMkLst>
            <pc:docMk/>
            <pc:sldMk cId="604340155" sldId="2147479656"/>
            <ac:spMk id="2" creationId="{F8F4807C-A721-8AA3-D6A0-13746C99CB55}"/>
          </ac:spMkLst>
        </pc:spChg>
        <pc:spChg chg="mod">
          <ac:chgData name="Cillian Bissett" userId="18acdefb-dc1c-4c50-939e-318027166849" providerId="ADAL" clId="{15DD1BBB-52BA-4F56-83A6-C14DD5C7258A}" dt="2023-07-31T10:55:58.376" v="14124" actId="20577"/>
          <ac:spMkLst>
            <pc:docMk/>
            <pc:sldMk cId="604340155" sldId="2147479656"/>
            <ac:spMk id="6" creationId="{CD7AABE2-7EA9-C5AC-E3CC-E77371DCECAA}"/>
          </ac:spMkLst>
        </pc:spChg>
        <pc:spChg chg="mod">
          <ac:chgData name="Cillian Bissett" userId="18acdefb-dc1c-4c50-939e-318027166849" providerId="ADAL" clId="{15DD1BBB-52BA-4F56-83A6-C14DD5C7258A}" dt="2023-07-31T09:59:13.089" v="13903" actId="1076"/>
          <ac:spMkLst>
            <pc:docMk/>
            <pc:sldMk cId="604340155" sldId="2147479656"/>
            <ac:spMk id="12" creationId="{9097BE4E-54DF-B302-C8D7-C61B16CE3E03}"/>
          </ac:spMkLst>
        </pc:spChg>
        <pc:spChg chg="mod">
          <ac:chgData name="Cillian Bissett" userId="18acdefb-dc1c-4c50-939e-318027166849" providerId="ADAL" clId="{15DD1BBB-52BA-4F56-83A6-C14DD5C7258A}" dt="2023-07-31T09:59:13.089" v="13903" actId="1076"/>
          <ac:spMkLst>
            <pc:docMk/>
            <pc:sldMk cId="604340155" sldId="2147479656"/>
            <ac:spMk id="13" creationId="{070EA595-0183-5872-F57F-CBE95BA3F6BF}"/>
          </ac:spMkLst>
        </pc:spChg>
        <pc:spChg chg="mod">
          <ac:chgData name="Cillian Bissett" userId="18acdefb-dc1c-4c50-939e-318027166849" providerId="ADAL" clId="{15DD1BBB-52BA-4F56-83A6-C14DD5C7258A}" dt="2023-07-31T09:59:13.089" v="13903" actId="1076"/>
          <ac:spMkLst>
            <pc:docMk/>
            <pc:sldMk cId="604340155" sldId="2147479656"/>
            <ac:spMk id="14" creationId="{8AC524B4-A583-53CD-EDB2-CD9BEA22E7A0}"/>
          </ac:spMkLst>
        </pc:spChg>
        <pc:spChg chg="mod">
          <ac:chgData name="Cillian Bissett" userId="18acdefb-dc1c-4c50-939e-318027166849" providerId="ADAL" clId="{15DD1BBB-52BA-4F56-83A6-C14DD5C7258A}" dt="2023-07-31T09:59:13.089" v="13903" actId="1076"/>
          <ac:spMkLst>
            <pc:docMk/>
            <pc:sldMk cId="604340155" sldId="2147479656"/>
            <ac:spMk id="15" creationId="{5B240A68-A6C5-92F8-5A67-B4ED35EFF2C4}"/>
          </ac:spMkLst>
        </pc:spChg>
        <pc:spChg chg="mod">
          <ac:chgData name="Cillian Bissett" userId="18acdefb-dc1c-4c50-939e-318027166849" providerId="ADAL" clId="{15DD1BBB-52BA-4F56-83A6-C14DD5C7258A}" dt="2023-07-31T11:11:06.072" v="14764" actId="1036"/>
          <ac:spMkLst>
            <pc:docMk/>
            <pc:sldMk cId="604340155" sldId="2147479656"/>
            <ac:spMk id="17" creationId="{9A825EC2-3B9E-0519-5633-6069BD662543}"/>
          </ac:spMkLst>
        </pc:spChg>
        <pc:spChg chg="add">
          <ac:chgData name="Cillian Bissett" userId="18acdefb-dc1c-4c50-939e-318027166849" providerId="ADAL" clId="{15DD1BBB-52BA-4F56-83A6-C14DD5C7258A}" dt="2023-07-31T10:00:47.171" v="13904" actId="11529"/>
          <ac:spMkLst>
            <pc:docMk/>
            <pc:sldMk cId="604340155" sldId="2147479656"/>
            <ac:spMk id="19" creationId="{A2642889-7394-2D1F-F3CD-8FFDA264930F}"/>
          </ac:spMkLst>
        </pc:spChg>
        <pc:picChg chg="mod">
          <ac:chgData name="Cillian Bissett" userId="18acdefb-dc1c-4c50-939e-318027166849" providerId="ADAL" clId="{15DD1BBB-52BA-4F56-83A6-C14DD5C7258A}" dt="2023-07-31T09:59:13.089" v="13903" actId="1076"/>
          <ac:picMkLst>
            <pc:docMk/>
            <pc:sldMk cId="604340155" sldId="2147479656"/>
            <ac:picMk id="4" creationId="{FE2E712B-BDCA-4205-6814-746266B523A3}"/>
          </ac:picMkLst>
        </pc:picChg>
      </pc:sldChg>
      <pc:sldChg chg="addSp modSp mod">
        <pc:chgData name="Cillian Bissett" userId="18acdefb-dc1c-4c50-939e-318027166849" providerId="ADAL" clId="{15DD1BBB-52BA-4F56-83A6-C14DD5C7258A}" dt="2023-08-11T10:31:39.957" v="18822" actId="20577"/>
        <pc:sldMkLst>
          <pc:docMk/>
          <pc:sldMk cId="3132739966" sldId="2147479658"/>
        </pc:sldMkLst>
        <pc:spChg chg="add mod">
          <ac:chgData name="Cillian Bissett" userId="18acdefb-dc1c-4c50-939e-318027166849" providerId="ADAL" clId="{15DD1BBB-52BA-4F56-83A6-C14DD5C7258A}" dt="2023-08-11T10:31:39.957" v="18822" actId="20577"/>
          <ac:spMkLst>
            <pc:docMk/>
            <pc:sldMk cId="3132739966" sldId="2147479658"/>
            <ac:spMk id="2" creationId="{12640639-FDB4-D3B8-052E-0F584FC0D671}"/>
          </ac:spMkLst>
        </pc:spChg>
      </pc:sldChg>
      <pc:sldChg chg="addSp delSp modSp add mod">
        <pc:chgData name="Cillian Bissett" userId="18acdefb-dc1c-4c50-939e-318027166849" providerId="ADAL" clId="{15DD1BBB-52BA-4F56-83A6-C14DD5C7258A}" dt="2023-08-01T08:57:12.390" v="15603" actId="20577"/>
        <pc:sldMkLst>
          <pc:docMk/>
          <pc:sldMk cId="532855713" sldId="2147479659"/>
        </pc:sldMkLst>
        <pc:spChg chg="add mod">
          <ac:chgData name="Cillian Bissett" userId="18acdefb-dc1c-4c50-939e-318027166849" providerId="ADAL" clId="{15DD1BBB-52BA-4F56-83A6-C14DD5C7258A}" dt="2023-08-01T08:39:59.277" v="15297" actId="554"/>
          <ac:spMkLst>
            <pc:docMk/>
            <pc:sldMk cId="532855713" sldId="2147479659"/>
            <ac:spMk id="3" creationId="{EA7D8998-97E7-70E5-7E30-6E8686E34BAA}"/>
          </ac:spMkLst>
        </pc:spChg>
        <pc:spChg chg="add mod">
          <ac:chgData name="Cillian Bissett" userId="18acdefb-dc1c-4c50-939e-318027166849" providerId="ADAL" clId="{15DD1BBB-52BA-4F56-83A6-C14DD5C7258A}" dt="2023-08-01T08:41:45.150" v="15351" actId="242"/>
          <ac:spMkLst>
            <pc:docMk/>
            <pc:sldMk cId="532855713" sldId="2147479659"/>
            <ac:spMk id="4" creationId="{43C322FB-7FF0-1ED1-516D-D9BB8E39563A}"/>
          </ac:spMkLst>
        </pc:spChg>
        <pc:spChg chg="add mod">
          <ac:chgData name="Cillian Bissett" userId="18acdefb-dc1c-4c50-939e-318027166849" providerId="ADAL" clId="{15DD1BBB-52BA-4F56-83A6-C14DD5C7258A}" dt="2023-08-01T08:57:12.390" v="15603" actId="20577"/>
          <ac:spMkLst>
            <pc:docMk/>
            <pc:sldMk cId="532855713" sldId="2147479659"/>
            <ac:spMk id="5" creationId="{EA600897-9610-3AA6-513F-7531B84DB427}"/>
          </ac:spMkLst>
        </pc:spChg>
        <pc:spChg chg="del">
          <ac:chgData name="Cillian Bissett" userId="18acdefb-dc1c-4c50-939e-318027166849" providerId="ADAL" clId="{15DD1BBB-52BA-4F56-83A6-C14DD5C7258A}" dt="2023-08-01T08:35:05.943" v="15090" actId="478"/>
          <ac:spMkLst>
            <pc:docMk/>
            <pc:sldMk cId="532855713" sldId="2147479659"/>
            <ac:spMk id="60" creationId="{5FD4F996-4703-4807-A196-8EBEFF0E4D0C}"/>
          </ac:spMkLst>
        </pc:spChg>
        <pc:spChg chg="mod">
          <ac:chgData name="Cillian Bissett" userId="18acdefb-dc1c-4c50-939e-318027166849" providerId="ADAL" clId="{15DD1BBB-52BA-4F56-83A6-C14DD5C7258A}" dt="2023-08-01T08:39:59.277" v="15297" actId="554"/>
          <ac:spMkLst>
            <pc:docMk/>
            <pc:sldMk cId="532855713" sldId="2147479659"/>
            <ac:spMk id="61" creationId="{EDB73CF0-76C8-46A5-9C74-DEB0D40A6862}"/>
          </ac:spMkLst>
        </pc:spChg>
        <pc:spChg chg="mod">
          <ac:chgData name="Cillian Bissett" userId="18acdefb-dc1c-4c50-939e-318027166849" providerId="ADAL" clId="{15DD1BBB-52BA-4F56-83A6-C14DD5C7258A}" dt="2023-08-01T08:39:59.277" v="15297" actId="554"/>
          <ac:spMkLst>
            <pc:docMk/>
            <pc:sldMk cId="532855713" sldId="2147479659"/>
            <ac:spMk id="62" creationId="{9FD7B515-9120-4FE1-8FBD-FD06C848CBD3}"/>
          </ac:spMkLst>
        </pc:spChg>
        <pc:spChg chg="mod">
          <ac:chgData name="Cillian Bissett" userId="18acdefb-dc1c-4c50-939e-318027166849" providerId="ADAL" clId="{15DD1BBB-52BA-4F56-83A6-C14DD5C7258A}" dt="2023-08-01T08:39:59.277" v="15297" actId="554"/>
          <ac:spMkLst>
            <pc:docMk/>
            <pc:sldMk cId="532855713" sldId="2147479659"/>
            <ac:spMk id="63" creationId="{003679B0-78D6-4A30-B9A8-E729D83ECDDE}"/>
          </ac:spMkLst>
        </pc:spChg>
        <pc:spChg chg="mod">
          <ac:chgData name="Cillian Bissett" userId="18acdefb-dc1c-4c50-939e-318027166849" providerId="ADAL" clId="{15DD1BBB-52BA-4F56-83A6-C14DD5C7258A}" dt="2023-08-01T08:39:59.277" v="15297" actId="554"/>
          <ac:spMkLst>
            <pc:docMk/>
            <pc:sldMk cId="532855713" sldId="2147479659"/>
            <ac:spMk id="64" creationId="{86C52E4F-D068-4CAE-A8C2-EB5B3530F5B9}"/>
          </ac:spMkLst>
        </pc:spChg>
        <pc:spChg chg="mod">
          <ac:chgData name="Cillian Bissett" userId="18acdefb-dc1c-4c50-939e-318027166849" providerId="ADAL" clId="{15DD1BBB-52BA-4F56-83A6-C14DD5C7258A}" dt="2023-08-01T08:39:59.277" v="15297" actId="554"/>
          <ac:spMkLst>
            <pc:docMk/>
            <pc:sldMk cId="532855713" sldId="2147479659"/>
            <ac:spMk id="65" creationId="{B8BE428C-8AE7-49FC-9BA6-AE88B8D3E047}"/>
          </ac:spMkLst>
        </pc:spChg>
        <pc:spChg chg="mod">
          <ac:chgData name="Cillian Bissett" userId="18acdefb-dc1c-4c50-939e-318027166849" providerId="ADAL" clId="{15DD1BBB-52BA-4F56-83A6-C14DD5C7258A}" dt="2023-08-01T08:39:59.277" v="15297" actId="554"/>
          <ac:spMkLst>
            <pc:docMk/>
            <pc:sldMk cId="532855713" sldId="2147479659"/>
            <ac:spMk id="66" creationId="{F3F742D9-31EA-4812-A9F9-B29EDD285C41}"/>
          </ac:spMkLst>
        </pc:spChg>
        <pc:spChg chg="mod">
          <ac:chgData name="Cillian Bissett" userId="18acdefb-dc1c-4c50-939e-318027166849" providerId="ADAL" clId="{15DD1BBB-52BA-4F56-83A6-C14DD5C7258A}" dt="2023-08-01T08:39:59.277" v="15297" actId="554"/>
          <ac:spMkLst>
            <pc:docMk/>
            <pc:sldMk cId="532855713" sldId="2147479659"/>
            <ac:spMk id="67" creationId="{59E59BA5-80D7-44D7-92F5-BEAB931D9B2A}"/>
          </ac:spMkLst>
        </pc:spChg>
        <pc:spChg chg="mod">
          <ac:chgData name="Cillian Bissett" userId="18acdefb-dc1c-4c50-939e-318027166849" providerId="ADAL" clId="{15DD1BBB-52BA-4F56-83A6-C14DD5C7258A}" dt="2023-08-01T08:41:36.770" v="15327" actId="14100"/>
          <ac:spMkLst>
            <pc:docMk/>
            <pc:sldMk cId="532855713" sldId="2147479659"/>
            <ac:spMk id="84" creationId="{094A912F-3988-493B-9CFE-4A527FF2B477}"/>
          </ac:spMkLst>
        </pc:spChg>
        <pc:spChg chg="del">
          <ac:chgData name="Cillian Bissett" userId="18acdefb-dc1c-4c50-939e-318027166849" providerId="ADAL" clId="{15DD1BBB-52BA-4F56-83A6-C14DD5C7258A}" dt="2023-08-01T08:35:30.966" v="15091" actId="478"/>
          <ac:spMkLst>
            <pc:docMk/>
            <pc:sldMk cId="532855713" sldId="2147479659"/>
            <ac:spMk id="88" creationId="{3857E352-AB34-4911-9D69-FFC304B6BFE9}"/>
          </ac:spMkLst>
        </pc:spChg>
        <pc:spChg chg="del">
          <ac:chgData name="Cillian Bissett" userId="18acdefb-dc1c-4c50-939e-318027166849" providerId="ADAL" clId="{15DD1BBB-52BA-4F56-83A6-C14DD5C7258A}" dt="2023-08-01T08:35:30.966" v="15091" actId="478"/>
          <ac:spMkLst>
            <pc:docMk/>
            <pc:sldMk cId="532855713" sldId="2147479659"/>
            <ac:spMk id="90" creationId="{F5FC7FBE-957D-4346-A0FB-8F87229435F5}"/>
          </ac:spMkLst>
        </pc:spChg>
        <pc:spChg chg="del">
          <ac:chgData name="Cillian Bissett" userId="18acdefb-dc1c-4c50-939e-318027166849" providerId="ADAL" clId="{15DD1BBB-52BA-4F56-83A6-C14DD5C7258A}" dt="2023-08-01T08:35:30.966" v="15091" actId="478"/>
          <ac:spMkLst>
            <pc:docMk/>
            <pc:sldMk cId="532855713" sldId="2147479659"/>
            <ac:spMk id="91" creationId="{B6E9A45A-AFFA-4D5F-A356-8F1E9A376A91}"/>
          </ac:spMkLst>
        </pc:spChg>
        <pc:spChg chg="del">
          <ac:chgData name="Cillian Bissett" userId="18acdefb-dc1c-4c50-939e-318027166849" providerId="ADAL" clId="{15DD1BBB-52BA-4F56-83A6-C14DD5C7258A}" dt="2023-08-01T08:35:30.966" v="15091" actId="478"/>
          <ac:spMkLst>
            <pc:docMk/>
            <pc:sldMk cId="532855713" sldId="2147479659"/>
            <ac:spMk id="92" creationId="{28B8F3E6-1F4F-4601-811E-A8976D0E3205}"/>
          </ac:spMkLst>
        </pc:spChg>
        <pc:spChg chg="del">
          <ac:chgData name="Cillian Bissett" userId="18acdefb-dc1c-4c50-939e-318027166849" providerId="ADAL" clId="{15DD1BBB-52BA-4F56-83A6-C14DD5C7258A}" dt="2023-08-01T08:35:30.966" v="15091" actId="478"/>
          <ac:spMkLst>
            <pc:docMk/>
            <pc:sldMk cId="532855713" sldId="2147479659"/>
            <ac:spMk id="93" creationId="{6242D831-100C-4C6A-8F9F-036B76FF1D3C}"/>
          </ac:spMkLst>
        </pc:spChg>
        <pc:spChg chg="del">
          <ac:chgData name="Cillian Bissett" userId="18acdefb-dc1c-4c50-939e-318027166849" providerId="ADAL" clId="{15DD1BBB-52BA-4F56-83A6-C14DD5C7258A}" dt="2023-08-01T08:35:30.966" v="15091" actId="478"/>
          <ac:spMkLst>
            <pc:docMk/>
            <pc:sldMk cId="532855713" sldId="2147479659"/>
            <ac:spMk id="94" creationId="{3358724F-B3F0-41E2-8FF6-2D5283516B42}"/>
          </ac:spMkLst>
        </pc:spChg>
        <pc:spChg chg="del">
          <ac:chgData name="Cillian Bissett" userId="18acdefb-dc1c-4c50-939e-318027166849" providerId="ADAL" clId="{15DD1BBB-52BA-4F56-83A6-C14DD5C7258A}" dt="2023-08-01T08:35:54.683" v="15092" actId="478"/>
          <ac:spMkLst>
            <pc:docMk/>
            <pc:sldMk cId="532855713" sldId="2147479659"/>
            <ac:spMk id="97" creationId="{BA01E847-D613-46E2-B8A3-D411479FAAD2}"/>
          </ac:spMkLst>
        </pc:spChg>
        <pc:spChg chg="del">
          <ac:chgData name="Cillian Bissett" userId="18acdefb-dc1c-4c50-939e-318027166849" providerId="ADAL" clId="{15DD1BBB-52BA-4F56-83A6-C14DD5C7258A}" dt="2023-08-01T08:35:54.683" v="15092" actId="478"/>
          <ac:spMkLst>
            <pc:docMk/>
            <pc:sldMk cId="532855713" sldId="2147479659"/>
            <ac:spMk id="105" creationId="{0CED134C-6575-4DCA-8DCE-C1561F52147F}"/>
          </ac:spMkLst>
        </pc:spChg>
        <pc:spChg chg="del">
          <ac:chgData name="Cillian Bissett" userId="18acdefb-dc1c-4c50-939e-318027166849" providerId="ADAL" clId="{15DD1BBB-52BA-4F56-83A6-C14DD5C7258A}" dt="2023-08-01T08:36:23.259" v="15093" actId="478"/>
          <ac:spMkLst>
            <pc:docMk/>
            <pc:sldMk cId="532855713" sldId="2147479659"/>
            <ac:spMk id="108" creationId="{13119B0A-23B2-4509-B567-CF853EE48676}"/>
          </ac:spMkLst>
        </pc:spChg>
        <pc:spChg chg="del">
          <ac:chgData name="Cillian Bissett" userId="18acdefb-dc1c-4c50-939e-318027166849" providerId="ADAL" clId="{15DD1BBB-52BA-4F56-83A6-C14DD5C7258A}" dt="2023-08-01T08:35:54.683" v="15092" actId="478"/>
          <ac:spMkLst>
            <pc:docMk/>
            <pc:sldMk cId="532855713" sldId="2147479659"/>
            <ac:spMk id="110" creationId="{A7700A3E-BF72-48EF-9769-3AE84CDF1B40}"/>
          </ac:spMkLst>
        </pc:spChg>
        <pc:spChg chg="del">
          <ac:chgData name="Cillian Bissett" userId="18acdefb-dc1c-4c50-939e-318027166849" providerId="ADAL" clId="{15DD1BBB-52BA-4F56-83A6-C14DD5C7258A}" dt="2023-08-01T08:35:54.683" v="15092" actId="478"/>
          <ac:spMkLst>
            <pc:docMk/>
            <pc:sldMk cId="532855713" sldId="2147479659"/>
            <ac:spMk id="112" creationId="{6B019F97-CBDD-4D7F-AC48-DF72E88D1B2A}"/>
          </ac:spMkLst>
        </pc:spChg>
        <pc:spChg chg="del">
          <ac:chgData name="Cillian Bissett" userId="18acdefb-dc1c-4c50-939e-318027166849" providerId="ADAL" clId="{15DD1BBB-52BA-4F56-83A6-C14DD5C7258A}" dt="2023-08-01T08:35:54.683" v="15092" actId="478"/>
          <ac:spMkLst>
            <pc:docMk/>
            <pc:sldMk cId="532855713" sldId="2147479659"/>
            <ac:spMk id="121" creationId="{052E49FB-C0EB-4DBF-8E36-E2ED55BCCF23}"/>
          </ac:spMkLst>
        </pc:spChg>
        <pc:spChg chg="del">
          <ac:chgData name="Cillian Bissett" userId="18acdefb-dc1c-4c50-939e-318027166849" providerId="ADAL" clId="{15DD1BBB-52BA-4F56-83A6-C14DD5C7258A}" dt="2023-08-01T08:35:54.683" v="15092" actId="478"/>
          <ac:spMkLst>
            <pc:docMk/>
            <pc:sldMk cId="532855713" sldId="2147479659"/>
            <ac:spMk id="123" creationId="{0CE06CC6-8E78-4AFA-971D-550C384DE12E}"/>
          </ac:spMkLst>
        </pc:spChg>
        <pc:spChg chg="del">
          <ac:chgData name="Cillian Bissett" userId="18acdefb-dc1c-4c50-939e-318027166849" providerId="ADAL" clId="{15DD1BBB-52BA-4F56-83A6-C14DD5C7258A}" dt="2023-08-01T08:35:54.683" v="15092" actId="478"/>
          <ac:spMkLst>
            <pc:docMk/>
            <pc:sldMk cId="532855713" sldId="2147479659"/>
            <ac:spMk id="130" creationId="{F6C5E84F-1D93-4E0A-9561-5147873FBA86}"/>
          </ac:spMkLst>
        </pc:spChg>
        <pc:spChg chg="del">
          <ac:chgData name="Cillian Bissett" userId="18acdefb-dc1c-4c50-939e-318027166849" providerId="ADAL" clId="{15DD1BBB-52BA-4F56-83A6-C14DD5C7258A}" dt="2023-08-01T08:35:54.683" v="15092" actId="478"/>
          <ac:spMkLst>
            <pc:docMk/>
            <pc:sldMk cId="532855713" sldId="2147479659"/>
            <ac:spMk id="131" creationId="{123F31FC-7D6A-4BA5-BBDB-0C8D04DB3BE1}"/>
          </ac:spMkLst>
        </pc:spChg>
        <pc:spChg chg="del">
          <ac:chgData name="Cillian Bissett" userId="18acdefb-dc1c-4c50-939e-318027166849" providerId="ADAL" clId="{15DD1BBB-52BA-4F56-83A6-C14DD5C7258A}" dt="2023-08-01T08:35:54.683" v="15092" actId="478"/>
          <ac:spMkLst>
            <pc:docMk/>
            <pc:sldMk cId="532855713" sldId="2147479659"/>
            <ac:spMk id="134" creationId="{AC154E72-4C7E-4C1F-8DD6-11E698C9FC3A}"/>
          </ac:spMkLst>
        </pc:spChg>
        <pc:spChg chg="del">
          <ac:chgData name="Cillian Bissett" userId="18acdefb-dc1c-4c50-939e-318027166849" providerId="ADAL" clId="{15DD1BBB-52BA-4F56-83A6-C14DD5C7258A}" dt="2023-08-01T08:35:54.683" v="15092" actId="478"/>
          <ac:spMkLst>
            <pc:docMk/>
            <pc:sldMk cId="532855713" sldId="2147479659"/>
            <ac:spMk id="135" creationId="{2913E483-5549-4749-B46E-9C4F9CC03AFE}"/>
          </ac:spMkLst>
        </pc:spChg>
        <pc:spChg chg="del">
          <ac:chgData name="Cillian Bissett" userId="18acdefb-dc1c-4c50-939e-318027166849" providerId="ADAL" clId="{15DD1BBB-52BA-4F56-83A6-C14DD5C7258A}" dt="2023-08-01T08:35:54.683" v="15092" actId="478"/>
          <ac:spMkLst>
            <pc:docMk/>
            <pc:sldMk cId="532855713" sldId="2147479659"/>
            <ac:spMk id="137" creationId="{425CA407-33AE-4F04-A646-BB0143FE2022}"/>
          </ac:spMkLst>
        </pc:spChg>
        <pc:spChg chg="del">
          <ac:chgData name="Cillian Bissett" userId="18acdefb-dc1c-4c50-939e-318027166849" providerId="ADAL" clId="{15DD1BBB-52BA-4F56-83A6-C14DD5C7258A}" dt="2023-08-01T08:35:54.683" v="15092" actId="478"/>
          <ac:spMkLst>
            <pc:docMk/>
            <pc:sldMk cId="532855713" sldId="2147479659"/>
            <ac:spMk id="142" creationId="{04F8AD1E-A019-409C-8941-6E5D79D5E58F}"/>
          </ac:spMkLst>
        </pc:spChg>
        <pc:spChg chg="del">
          <ac:chgData name="Cillian Bissett" userId="18acdefb-dc1c-4c50-939e-318027166849" providerId="ADAL" clId="{15DD1BBB-52BA-4F56-83A6-C14DD5C7258A}" dt="2023-08-01T08:35:54.683" v="15092" actId="478"/>
          <ac:spMkLst>
            <pc:docMk/>
            <pc:sldMk cId="532855713" sldId="2147479659"/>
            <ac:spMk id="143" creationId="{2EF5E136-AF9C-4128-84A7-E037B511E7AA}"/>
          </ac:spMkLst>
        </pc:spChg>
        <pc:spChg chg="del">
          <ac:chgData name="Cillian Bissett" userId="18acdefb-dc1c-4c50-939e-318027166849" providerId="ADAL" clId="{15DD1BBB-52BA-4F56-83A6-C14DD5C7258A}" dt="2023-08-01T08:35:54.683" v="15092" actId="478"/>
          <ac:spMkLst>
            <pc:docMk/>
            <pc:sldMk cId="532855713" sldId="2147479659"/>
            <ac:spMk id="155" creationId="{AB97A74F-155C-48D9-98EE-C134164A7F1F}"/>
          </ac:spMkLst>
        </pc:spChg>
        <pc:spChg chg="mod">
          <ac:chgData name="Cillian Bissett" userId="18acdefb-dc1c-4c50-939e-318027166849" providerId="ADAL" clId="{15DD1BBB-52BA-4F56-83A6-C14DD5C7258A}" dt="2023-08-01T08:55:45.127" v="15583" actId="14100"/>
          <ac:spMkLst>
            <pc:docMk/>
            <pc:sldMk cId="532855713" sldId="2147479659"/>
            <ac:spMk id="223" creationId="{287652C3-6059-44C4-BE74-3C4FF31F9BA8}"/>
          </ac:spMkLst>
        </pc:spChg>
        <pc:spChg chg="del">
          <ac:chgData name="Cillian Bissett" userId="18acdefb-dc1c-4c50-939e-318027166849" providerId="ADAL" clId="{15DD1BBB-52BA-4F56-83A6-C14DD5C7258A}" dt="2023-08-01T08:35:30.966" v="15091" actId="478"/>
          <ac:spMkLst>
            <pc:docMk/>
            <pc:sldMk cId="532855713" sldId="2147479659"/>
            <ac:spMk id="224" creationId="{3FAC2BDB-FA0E-4A96-B629-576F46461868}"/>
          </ac:spMkLst>
        </pc:spChg>
        <pc:spChg chg="del">
          <ac:chgData name="Cillian Bissett" userId="18acdefb-dc1c-4c50-939e-318027166849" providerId="ADAL" clId="{15DD1BBB-52BA-4F56-83A6-C14DD5C7258A}" dt="2023-08-01T08:35:30.966" v="15091" actId="478"/>
          <ac:spMkLst>
            <pc:docMk/>
            <pc:sldMk cId="532855713" sldId="2147479659"/>
            <ac:spMk id="226" creationId="{EA56E630-39BE-4D2B-A424-142DDA1FD13F}"/>
          </ac:spMkLst>
        </pc:spChg>
        <pc:spChg chg="del">
          <ac:chgData name="Cillian Bissett" userId="18acdefb-dc1c-4c50-939e-318027166849" providerId="ADAL" clId="{15DD1BBB-52BA-4F56-83A6-C14DD5C7258A}" dt="2023-08-01T08:35:30.966" v="15091" actId="478"/>
          <ac:spMkLst>
            <pc:docMk/>
            <pc:sldMk cId="532855713" sldId="2147479659"/>
            <ac:spMk id="228" creationId="{D4E21489-DA04-4628-8AF4-7DE409E5BB61}"/>
          </ac:spMkLst>
        </pc:spChg>
        <pc:picChg chg="del">
          <ac:chgData name="Cillian Bissett" userId="18acdefb-dc1c-4c50-939e-318027166849" providerId="ADAL" clId="{15DD1BBB-52BA-4F56-83A6-C14DD5C7258A}" dt="2023-08-01T08:35:54.683" v="15092" actId="478"/>
          <ac:picMkLst>
            <pc:docMk/>
            <pc:sldMk cId="532855713" sldId="2147479659"/>
            <ac:picMk id="87" creationId="{F057686A-24CC-4044-BBCF-2DABC8B39781}"/>
          </ac:picMkLst>
        </pc:picChg>
        <pc:picChg chg="del">
          <ac:chgData name="Cillian Bissett" userId="18acdefb-dc1c-4c50-939e-318027166849" providerId="ADAL" clId="{15DD1BBB-52BA-4F56-83A6-C14DD5C7258A}" dt="2023-08-01T08:36:23.259" v="15093" actId="478"/>
          <ac:picMkLst>
            <pc:docMk/>
            <pc:sldMk cId="532855713" sldId="2147479659"/>
            <ac:picMk id="111" creationId="{3617674C-DAAF-4E30-AB15-E0CD621B0E1D}"/>
          </ac:picMkLst>
        </pc:picChg>
        <pc:picChg chg="del">
          <ac:chgData name="Cillian Bissett" userId="18acdefb-dc1c-4c50-939e-318027166849" providerId="ADAL" clId="{15DD1BBB-52BA-4F56-83A6-C14DD5C7258A}" dt="2023-08-01T08:36:23.259" v="15093" actId="478"/>
          <ac:picMkLst>
            <pc:docMk/>
            <pc:sldMk cId="532855713" sldId="2147479659"/>
            <ac:picMk id="128" creationId="{D35D6FDB-E014-49C4-8BFD-B1212B40FE4C}"/>
          </ac:picMkLst>
        </pc:picChg>
        <pc:picChg chg="del">
          <ac:chgData name="Cillian Bissett" userId="18acdefb-dc1c-4c50-939e-318027166849" providerId="ADAL" clId="{15DD1BBB-52BA-4F56-83A6-C14DD5C7258A}" dt="2023-08-01T08:36:23.259" v="15093" actId="478"/>
          <ac:picMkLst>
            <pc:docMk/>
            <pc:sldMk cId="532855713" sldId="2147479659"/>
            <ac:picMk id="129" creationId="{19486F5A-734A-4708-94EF-F5C70E8CAF3B}"/>
          </ac:picMkLst>
        </pc:picChg>
        <pc:picChg chg="del">
          <ac:chgData name="Cillian Bissett" userId="18acdefb-dc1c-4c50-939e-318027166849" providerId="ADAL" clId="{15DD1BBB-52BA-4F56-83A6-C14DD5C7258A}" dt="2023-08-01T08:36:23.259" v="15093" actId="478"/>
          <ac:picMkLst>
            <pc:docMk/>
            <pc:sldMk cId="532855713" sldId="2147479659"/>
            <ac:picMk id="132" creationId="{FF161414-1E45-4763-927E-E707A2D02F9D}"/>
          </ac:picMkLst>
        </pc:picChg>
        <pc:picChg chg="del">
          <ac:chgData name="Cillian Bissett" userId="18acdefb-dc1c-4c50-939e-318027166849" providerId="ADAL" clId="{15DD1BBB-52BA-4F56-83A6-C14DD5C7258A}" dt="2023-08-01T08:36:23.259" v="15093" actId="478"/>
          <ac:picMkLst>
            <pc:docMk/>
            <pc:sldMk cId="532855713" sldId="2147479659"/>
            <ac:picMk id="138" creationId="{DB999D5D-9CFB-43A1-94A9-BAB0E60EF7CE}"/>
          </ac:picMkLst>
        </pc:picChg>
        <pc:picChg chg="del">
          <ac:chgData name="Cillian Bissett" userId="18acdefb-dc1c-4c50-939e-318027166849" providerId="ADAL" clId="{15DD1BBB-52BA-4F56-83A6-C14DD5C7258A}" dt="2023-08-01T08:36:23.259" v="15093" actId="478"/>
          <ac:picMkLst>
            <pc:docMk/>
            <pc:sldMk cId="532855713" sldId="2147479659"/>
            <ac:picMk id="239" creationId="{B31D954F-8D93-4B4E-88B7-DDAF5E079BD7}"/>
          </ac:picMkLst>
        </pc:picChg>
        <pc:cxnChg chg="add mod">
          <ac:chgData name="Cillian Bissett" userId="18acdefb-dc1c-4c50-939e-318027166849" providerId="ADAL" clId="{15DD1BBB-52BA-4F56-83A6-C14DD5C7258A}" dt="2023-08-01T08:40:13.134" v="15298" actId="554"/>
          <ac:cxnSpMkLst>
            <pc:docMk/>
            <pc:sldMk cId="532855713" sldId="2147479659"/>
            <ac:cxnSpMk id="2" creationId="{217BD3EE-CDA0-6072-46C7-4D811DB272D8}"/>
          </ac:cxnSpMkLst>
        </pc:cxnChg>
        <pc:cxnChg chg="del">
          <ac:chgData name="Cillian Bissett" userId="18acdefb-dc1c-4c50-939e-318027166849" providerId="ADAL" clId="{15DD1BBB-52BA-4F56-83A6-C14DD5C7258A}" dt="2023-08-01T08:36:28.470" v="15094" actId="478"/>
          <ac:cxnSpMkLst>
            <pc:docMk/>
            <pc:sldMk cId="532855713" sldId="2147479659"/>
            <ac:cxnSpMk id="204" creationId="{CE5774F5-4E62-408D-AA8F-2561852DAE70}"/>
          </ac:cxnSpMkLst>
        </pc:cxnChg>
        <pc:cxnChg chg="mod">
          <ac:chgData name="Cillian Bissett" userId="18acdefb-dc1c-4c50-939e-318027166849" providerId="ADAL" clId="{15DD1BBB-52BA-4F56-83A6-C14DD5C7258A}" dt="2023-08-01T08:40:13.134" v="15298" actId="554"/>
          <ac:cxnSpMkLst>
            <pc:docMk/>
            <pc:sldMk cId="532855713" sldId="2147479659"/>
            <ac:cxnSpMk id="205" creationId="{1D41C442-5090-4E54-864C-A68217E213FC}"/>
          </ac:cxnSpMkLst>
        </pc:cxnChg>
        <pc:cxnChg chg="mod">
          <ac:chgData name="Cillian Bissett" userId="18acdefb-dc1c-4c50-939e-318027166849" providerId="ADAL" clId="{15DD1BBB-52BA-4F56-83A6-C14DD5C7258A}" dt="2023-08-01T08:40:13.134" v="15298" actId="554"/>
          <ac:cxnSpMkLst>
            <pc:docMk/>
            <pc:sldMk cId="532855713" sldId="2147479659"/>
            <ac:cxnSpMk id="206" creationId="{B605AD6B-1677-49A7-8F77-FE6D0A7C6542}"/>
          </ac:cxnSpMkLst>
        </pc:cxnChg>
        <pc:cxnChg chg="mod">
          <ac:chgData name="Cillian Bissett" userId="18acdefb-dc1c-4c50-939e-318027166849" providerId="ADAL" clId="{15DD1BBB-52BA-4F56-83A6-C14DD5C7258A}" dt="2023-08-01T08:40:13.134" v="15298" actId="554"/>
          <ac:cxnSpMkLst>
            <pc:docMk/>
            <pc:sldMk cId="532855713" sldId="2147479659"/>
            <ac:cxnSpMk id="207" creationId="{1630885F-F664-4090-97B1-56C116B70F3E}"/>
          </ac:cxnSpMkLst>
        </pc:cxnChg>
        <pc:cxnChg chg="mod">
          <ac:chgData name="Cillian Bissett" userId="18acdefb-dc1c-4c50-939e-318027166849" providerId="ADAL" clId="{15DD1BBB-52BA-4F56-83A6-C14DD5C7258A}" dt="2023-08-01T08:40:13.134" v="15298" actId="554"/>
          <ac:cxnSpMkLst>
            <pc:docMk/>
            <pc:sldMk cId="532855713" sldId="2147479659"/>
            <ac:cxnSpMk id="208" creationId="{AA28490A-8139-41CC-B49F-98C4B84F4E20}"/>
          </ac:cxnSpMkLst>
        </pc:cxnChg>
        <pc:cxnChg chg="mod">
          <ac:chgData name="Cillian Bissett" userId="18acdefb-dc1c-4c50-939e-318027166849" providerId="ADAL" clId="{15DD1BBB-52BA-4F56-83A6-C14DD5C7258A}" dt="2023-08-01T08:40:13.134" v="15298" actId="554"/>
          <ac:cxnSpMkLst>
            <pc:docMk/>
            <pc:sldMk cId="532855713" sldId="2147479659"/>
            <ac:cxnSpMk id="209" creationId="{994E2C7A-CD5D-44E8-A70F-51D544CB1041}"/>
          </ac:cxnSpMkLst>
        </pc:cxnChg>
        <pc:cxnChg chg="mod">
          <ac:chgData name="Cillian Bissett" userId="18acdefb-dc1c-4c50-939e-318027166849" providerId="ADAL" clId="{15DD1BBB-52BA-4F56-83A6-C14DD5C7258A}" dt="2023-08-01T08:40:13.134" v="15298" actId="554"/>
          <ac:cxnSpMkLst>
            <pc:docMk/>
            <pc:sldMk cId="532855713" sldId="2147479659"/>
            <ac:cxnSpMk id="210" creationId="{263E4BF2-DC1E-4467-AEE0-3B272701DCF0}"/>
          </ac:cxnSpMkLst>
        </pc:cxnChg>
      </pc:sldChg>
      <pc:sldChg chg="addSp delSp modSp mod">
        <pc:chgData name="Cillian Bissett" userId="18acdefb-dc1c-4c50-939e-318027166849" providerId="ADAL" clId="{15DD1BBB-52BA-4F56-83A6-C14DD5C7258A}" dt="2023-08-08T08:34:23.726" v="18056" actId="1076"/>
        <pc:sldMkLst>
          <pc:docMk/>
          <pc:sldMk cId="532855713" sldId="2147479665"/>
        </pc:sldMkLst>
        <pc:spChg chg="mod">
          <ac:chgData name="Cillian Bissett" userId="18acdefb-dc1c-4c50-939e-318027166849" providerId="ADAL" clId="{15DD1BBB-52BA-4F56-83A6-C14DD5C7258A}" dt="2023-08-01T14:11:29.400" v="17577" actId="1038"/>
          <ac:spMkLst>
            <pc:docMk/>
            <pc:sldMk cId="532855713" sldId="2147479665"/>
            <ac:spMk id="4" creationId="{43C322FB-7FF0-1ED1-516D-D9BB8E39563A}"/>
          </ac:spMkLst>
        </pc:spChg>
        <pc:spChg chg="mod">
          <ac:chgData name="Cillian Bissett" userId="18acdefb-dc1c-4c50-939e-318027166849" providerId="ADAL" clId="{15DD1BBB-52BA-4F56-83A6-C14DD5C7258A}" dt="2023-08-01T14:53:58.401" v="18015" actId="1037"/>
          <ac:spMkLst>
            <pc:docMk/>
            <pc:sldMk cId="532855713" sldId="2147479665"/>
            <ac:spMk id="5" creationId="{EA600897-9610-3AA6-513F-7531B84DB427}"/>
          </ac:spMkLst>
        </pc:spChg>
        <pc:spChg chg="add mod">
          <ac:chgData name="Cillian Bissett" userId="18acdefb-dc1c-4c50-939e-318027166849" providerId="ADAL" clId="{15DD1BBB-52BA-4F56-83A6-C14DD5C7258A}" dt="2023-08-01T09:37:03.809" v="15730" actId="1038"/>
          <ac:spMkLst>
            <pc:docMk/>
            <pc:sldMk cId="532855713" sldId="2147479665"/>
            <ac:spMk id="6" creationId="{64BF4290-C472-054B-2417-1F5663593DC0}"/>
          </ac:spMkLst>
        </pc:spChg>
        <pc:spChg chg="add mod">
          <ac:chgData name="Cillian Bissett" userId="18acdefb-dc1c-4c50-939e-318027166849" providerId="ADAL" clId="{15DD1BBB-52BA-4F56-83A6-C14DD5C7258A}" dt="2023-08-01T14:18:50.423" v="17773" actId="1035"/>
          <ac:spMkLst>
            <pc:docMk/>
            <pc:sldMk cId="532855713" sldId="2147479665"/>
            <ac:spMk id="7" creationId="{C4A45B85-093A-7C64-E401-12953359A53D}"/>
          </ac:spMkLst>
        </pc:spChg>
        <pc:spChg chg="add mod">
          <ac:chgData name="Cillian Bissett" userId="18acdefb-dc1c-4c50-939e-318027166849" providerId="ADAL" clId="{15DD1BBB-52BA-4F56-83A6-C14DD5C7258A}" dt="2023-08-01T14:18:50.423" v="17773" actId="1035"/>
          <ac:spMkLst>
            <pc:docMk/>
            <pc:sldMk cId="532855713" sldId="2147479665"/>
            <ac:spMk id="9" creationId="{4A4ED8D4-E749-1272-CD38-F50EFD6BD847}"/>
          </ac:spMkLst>
        </pc:spChg>
        <pc:spChg chg="add mod">
          <ac:chgData name="Cillian Bissett" userId="18acdefb-dc1c-4c50-939e-318027166849" providerId="ADAL" clId="{15DD1BBB-52BA-4F56-83A6-C14DD5C7258A}" dt="2023-08-01T14:18:50.423" v="17773" actId="1035"/>
          <ac:spMkLst>
            <pc:docMk/>
            <pc:sldMk cId="532855713" sldId="2147479665"/>
            <ac:spMk id="10" creationId="{037EFACB-2860-AD37-A974-AF1F60EC74FD}"/>
          </ac:spMkLst>
        </pc:spChg>
        <pc:spChg chg="mod">
          <ac:chgData name="Cillian Bissett" userId="18acdefb-dc1c-4c50-939e-318027166849" providerId="ADAL" clId="{15DD1BBB-52BA-4F56-83A6-C14DD5C7258A}" dt="2023-08-01T14:25:40.467" v="17898" actId="1036"/>
          <ac:spMkLst>
            <pc:docMk/>
            <pc:sldMk cId="532855713" sldId="2147479665"/>
            <ac:spMk id="15" creationId="{38F5E1B3-DD85-45D2-A9CB-9203B84D1955}"/>
          </ac:spMkLst>
        </pc:spChg>
        <pc:spChg chg="add mod">
          <ac:chgData name="Cillian Bissett" userId="18acdefb-dc1c-4c50-939e-318027166849" providerId="ADAL" clId="{15DD1BBB-52BA-4F56-83A6-C14DD5C7258A}" dt="2023-08-01T14:19:49.165" v="17826" actId="1035"/>
          <ac:spMkLst>
            <pc:docMk/>
            <pc:sldMk cId="532855713" sldId="2147479665"/>
            <ac:spMk id="18" creationId="{8122A967-FA5C-0C9D-6011-F6231AFFFE40}"/>
          </ac:spMkLst>
        </pc:spChg>
        <pc:spChg chg="add mod">
          <ac:chgData name="Cillian Bissett" userId="18acdefb-dc1c-4c50-939e-318027166849" providerId="ADAL" clId="{15DD1BBB-52BA-4F56-83A6-C14DD5C7258A}" dt="2023-08-01T14:19:49.165" v="17826" actId="1035"/>
          <ac:spMkLst>
            <pc:docMk/>
            <pc:sldMk cId="532855713" sldId="2147479665"/>
            <ac:spMk id="19" creationId="{A1D77A46-457D-7F2D-E491-31FD9C77E058}"/>
          </ac:spMkLst>
        </pc:spChg>
        <pc:spChg chg="add mod">
          <ac:chgData name="Cillian Bissett" userId="18acdefb-dc1c-4c50-939e-318027166849" providerId="ADAL" clId="{15DD1BBB-52BA-4F56-83A6-C14DD5C7258A}" dt="2023-08-01T14:19:49.165" v="17826" actId="1035"/>
          <ac:spMkLst>
            <pc:docMk/>
            <pc:sldMk cId="532855713" sldId="2147479665"/>
            <ac:spMk id="24" creationId="{0CB2B9CB-4E90-2688-8079-0A1B87BB8ED3}"/>
          </ac:spMkLst>
        </pc:spChg>
        <pc:spChg chg="add mod">
          <ac:chgData name="Cillian Bissett" userId="18acdefb-dc1c-4c50-939e-318027166849" providerId="ADAL" clId="{15DD1BBB-52BA-4F56-83A6-C14DD5C7258A}" dt="2023-08-01T14:19:49.165" v="17826" actId="1035"/>
          <ac:spMkLst>
            <pc:docMk/>
            <pc:sldMk cId="532855713" sldId="2147479665"/>
            <ac:spMk id="25" creationId="{AD205B8B-2BBF-32EE-9DC9-2525516E364E}"/>
          </ac:spMkLst>
        </pc:spChg>
        <pc:spChg chg="add mod">
          <ac:chgData name="Cillian Bissett" userId="18acdefb-dc1c-4c50-939e-318027166849" providerId="ADAL" clId="{15DD1BBB-52BA-4F56-83A6-C14DD5C7258A}" dt="2023-08-01T14:31:16.874" v="17975" actId="1037"/>
          <ac:spMkLst>
            <pc:docMk/>
            <pc:sldMk cId="532855713" sldId="2147479665"/>
            <ac:spMk id="26" creationId="{7345DDE4-F2D8-2106-51F1-AF8F64F43F2A}"/>
          </ac:spMkLst>
        </pc:spChg>
        <pc:spChg chg="add mod">
          <ac:chgData name="Cillian Bissett" userId="18acdefb-dc1c-4c50-939e-318027166849" providerId="ADAL" clId="{15DD1BBB-52BA-4F56-83A6-C14DD5C7258A}" dt="2023-08-01T14:30:28.287" v="17963" actId="1076"/>
          <ac:spMkLst>
            <pc:docMk/>
            <pc:sldMk cId="532855713" sldId="2147479665"/>
            <ac:spMk id="27" creationId="{4BD255F5-AE1E-C1EB-AC0D-6FEC2D99C2A9}"/>
          </ac:spMkLst>
        </pc:spChg>
        <pc:spChg chg="add mod">
          <ac:chgData name="Cillian Bissett" userId="18acdefb-dc1c-4c50-939e-318027166849" providerId="ADAL" clId="{15DD1BBB-52BA-4F56-83A6-C14DD5C7258A}" dt="2023-08-01T14:30:07.068" v="17958" actId="207"/>
          <ac:spMkLst>
            <pc:docMk/>
            <pc:sldMk cId="532855713" sldId="2147479665"/>
            <ac:spMk id="28" creationId="{85CE4D4C-A0A3-7230-34A3-3D2854C14C40}"/>
          </ac:spMkLst>
        </pc:spChg>
        <pc:spChg chg="add mod">
          <ac:chgData name="Cillian Bissett" userId="18acdefb-dc1c-4c50-939e-318027166849" providerId="ADAL" clId="{15DD1BBB-52BA-4F56-83A6-C14DD5C7258A}" dt="2023-08-01T14:30:32.415" v="17964" actId="1076"/>
          <ac:spMkLst>
            <pc:docMk/>
            <pc:sldMk cId="532855713" sldId="2147479665"/>
            <ac:spMk id="29" creationId="{FE31ABAC-4F4B-5B11-E26A-4C67215AE5B5}"/>
          </ac:spMkLst>
        </pc:spChg>
        <pc:spChg chg="add mod">
          <ac:chgData name="Cillian Bissett" userId="18acdefb-dc1c-4c50-939e-318027166849" providerId="ADAL" clId="{15DD1BBB-52BA-4F56-83A6-C14DD5C7258A}" dt="2023-08-01T14:24:58.775" v="17879" actId="1035"/>
          <ac:spMkLst>
            <pc:docMk/>
            <pc:sldMk cId="532855713" sldId="2147479665"/>
            <ac:spMk id="30" creationId="{53FA0C03-33F6-304D-8822-FBBC01546B40}"/>
          </ac:spMkLst>
        </pc:spChg>
        <pc:spChg chg="add mod">
          <ac:chgData name="Cillian Bissett" userId="18acdefb-dc1c-4c50-939e-318027166849" providerId="ADAL" clId="{15DD1BBB-52BA-4F56-83A6-C14DD5C7258A}" dt="2023-08-08T08:34:23.726" v="18056" actId="1076"/>
          <ac:spMkLst>
            <pc:docMk/>
            <pc:sldMk cId="532855713" sldId="2147479665"/>
            <ac:spMk id="31" creationId="{36F478BE-2803-2994-0F45-1D6980266800}"/>
          </ac:spMkLst>
        </pc:spChg>
        <pc:spChg chg="mod">
          <ac:chgData name="Cillian Bissett" userId="18acdefb-dc1c-4c50-939e-318027166849" providerId="ADAL" clId="{15DD1BBB-52BA-4F56-83A6-C14DD5C7258A}" dt="2023-08-01T14:14:36.291" v="17595" actId="14100"/>
          <ac:spMkLst>
            <pc:docMk/>
            <pc:sldMk cId="532855713" sldId="2147479665"/>
            <ac:spMk id="75" creationId="{EE3B33AF-CA93-425A-9AB8-62D698B412C9}"/>
          </ac:spMkLst>
        </pc:spChg>
        <pc:spChg chg="mod">
          <ac:chgData name="Cillian Bissett" userId="18acdefb-dc1c-4c50-939e-318027166849" providerId="ADAL" clId="{15DD1BBB-52BA-4F56-83A6-C14DD5C7258A}" dt="2023-08-01T14:50:47.280" v="18009" actId="1036"/>
          <ac:spMkLst>
            <pc:docMk/>
            <pc:sldMk cId="532855713" sldId="2147479665"/>
            <ac:spMk id="77" creationId="{8CD2B851-E12A-40D3-81C4-81685BDB50D2}"/>
          </ac:spMkLst>
        </pc:spChg>
        <pc:spChg chg="mod">
          <ac:chgData name="Cillian Bissett" userId="18acdefb-dc1c-4c50-939e-318027166849" providerId="ADAL" clId="{15DD1BBB-52BA-4F56-83A6-C14DD5C7258A}" dt="2023-08-01T14:18:50.423" v="17773" actId="1035"/>
          <ac:spMkLst>
            <pc:docMk/>
            <pc:sldMk cId="532855713" sldId="2147479665"/>
            <ac:spMk id="82" creationId="{857976EF-AB3E-4B76-A483-6AC2CFD736FA}"/>
          </ac:spMkLst>
        </pc:spChg>
        <pc:spChg chg="mod">
          <ac:chgData name="Cillian Bissett" userId="18acdefb-dc1c-4c50-939e-318027166849" providerId="ADAL" clId="{15DD1BBB-52BA-4F56-83A6-C14DD5C7258A}" dt="2023-08-01T14:18:50.423" v="17773" actId="1035"/>
          <ac:spMkLst>
            <pc:docMk/>
            <pc:sldMk cId="532855713" sldId="2147479665"/>
            <ac:spMk id="83" creationId="{B24CAAA0-182B-4AFB-AB85-B40272070A7F}"/>
          </ac:spMkLst>
        </pc:spChg>
        <pc:spChg chg="mod">
          <ac:chgData name="Cillian Bissett" userId="18acdefb-dc1c-4c50-939e-318027166849" providerId="ADAL" clId="{15DD1BBB-52BA-4F56-83A6-C14DD5C7258A}" dt="2023-08-01T14:14:17.815" v="17594" actId="14100"/>
          <ac:spMkLst>
            <pc:docMk/>
            <pc:sldMk cId="532855713" sldId="2147479665"/>
            <ac:spMk id="84" creationId="{094A912F-3988-493B-9CFE-4A527FF2B477}"/>
          </ac:spMkLst>
        </pc:spChg>
        <pc:spChg chg="mod">
          <ac:chgData name="Cillian Bissett" userId="18acdefb-dc1c-4c50-939e-318027166849" providerId="ADAL" clId="{15DD1BBB-52BA-4F56-83A6-C14DD5C7258A}" dt="2023-08-01T14:18:50.423" v="17773" actId="1035"/>
          <ac:spMkLst>
            <pc:docMk/>
            <pc:sldMk cId="532855713" sldId="2147479665"/>
            <ac:spMk id="85" creationId="{B95A80EE-9582-4EA3-B099-0224DDA9650D}"/>
          </ac:spMkLst>
        </pc:spChg>
        <pc:spChg chg="del">
          <ac:chgData name="Cillian Bissett" userId="18acdefb-dc1c-4c50-939e-318027166849" providerId="ADAL" clId="{15DD1BBB-52BA-4F56-83A6-C14DD5C7258A}" dt="2023-08-01T09:39:45.343" v="16032" actId="478"/>
          <ac:spMkLst>
            <pc:docMk/>
            <pc:sldMk cId="532855713" sldId="2147479665"/>
            <ac:spMk id="86" creationId="{D965D798-928F-476C-A47C-0A84BF4C44FC}"/>
          </ac:spMkLst>
        </pc:spChg>
        <pc:spChg chg="mod">
          <ac:chgData name="Cillian Bissett" userId="18acdefb-dc1c-4c50-939e-318027166849" providerId="ADAL" clId="{15DD1BBB-52BA-4F56-83A6-C14DD5C7258A}" dt="2023-08-01T14:19:49.165" v="17826" actId="1035"/>
          <ac:spMkLst>
            <pc:docMk/>
            <pc:sldMk cId="532855713" sldId="2147479665"/>
            <ac:spMk id="96" creationId="{AC9CD18C-9FED-4E75-97ED-E3FA886A6051}"/>
          </ac:spMkLst>
        </pc:spChg>
        <pc:spChg chg="del mod">
          <ac:chgData name="Cillian Bissett" userId="18acdefb-dc1c-4c50-939e-318027166849" providerId="ADAL" clId="{15DD1BBB-52BA-4F56-83A6-C14DD5C7258A}" dt="2023-08-01T14:08:08.883" v="17251" actId="478"/>
          <ac:spMkLst>
            <pc:docMk/>
            <pc:sldMk cId="532855713" sldId="2147479665"/>
            <ac:spMk id="98" creationId="{A095FA9D-8950-481B-A4E3-3DD237F5DAEC}"/>
          </ac:spMkLst>
        </pc:spChg>
        <pc:spChg chg="mod">
          <ac:chgData name="Cillian Bissett" userId="18acdefb-dc1c-4c50-939e-318027166849" providerId="ADAL" clId="{15DD1BBB-52BA-4F56-83A6-C14DD5C7258A}" dt="2023-08-01T14:19:49.165" v="17826" actId="1035"/>
          <ac:spMkLst>
            <pc:docMk/>
            <pc:sldMk cId="532855713" sldId="2147479665"/>
            <ac:spMk id="106" creationId="{F8065D0F-A83E-4972-B609-81DA3F9F5DC2}"/>
          </ac:spMkLst>
        </pc:spChg>
        <pc:spChg chg="mod">
          <ac:chgData name="Cillian Bissett" userId="18acdefb-dc1c-4c50-939e-318027166849" providerId="ADAL" clId="{15DD1BBB-52BA-4F56-83A6-C14DD5C7258A}" dt="2023-08-01T14:37:04.430" v="17986" actId="1036"/>
          <ac:spMkLst>
            <pc:docMk/>
            <pc:sldMk cId="532855713" sldId="2147479665"/>
            <ac:spMk id="107" creationId="{F09A7671-556C-48FB-BDD3-91F0E4A914EC}"/>
          </ac:spMkLst>
        </pc:spChg>
        <pc:spChg chg="mod">
          <ac:chgData name="Cillian Bissett" userId="18acdefb-dc1c-4c50-939e-318027166849" providerId="ADAL" clId="{15DD1BBB-52BA-4F56-83A6-C14DD5C7258A}" dt="2023-08-01T14:25:40.467" v="17898" actId="1036"/>
          <ac:spMkLst>
            <pc:docMk/>
            <pc:sldMk cId="532855713" sldId="2147479665"/>
            <ac:spMk id="115" creationId="{D76F56BD-F9A2-4E24-9AA5-FFE0C200B6E3}"/>
          </ac:spMkLst>
        </pc:spChg>
        <pc:spChg chg="mod">
          <ac:chgData name="Cillian Bissett" userId="18acdefb-dc1c-4c50-939e-318027166849" providerId="ADAL" clId="{15DD1BBB-52BA-4F56-83A6-C14DD5C7258A}" dt="2023-08-01T14:21:53.499" v="17847" actId="1035"/>
          <ac:spMkLst>
            <pc:docMk/>
            <pc:sldMk cId="532855713" sldId="2147479665"/>
            <ac:spMk id="116" creationId="{F4321F32-9C7D-42D1-8F87-18195F7FA551}"/>
          </ac:spMkLst>
        </pc:spChg>
        <pc:spChg chg="del">
          <ac:chgData name="Cillian Bissett" userId="18acdefb-dc1c-4c50-939e-318027166849" providerId="ADAL" clId="{15DD1BBB-52BA-4F56-83A6-C14DD5C7258A}" dt="2023-08-01T14:02:27.287" v="17067" actId="478"/>
          <ac:spMkLst>
            <pc:docMk/>
            <pc:sldMk cId="532855713" sldId="2147479665"/>
            <ac:spMk id="119" creationId="{D8AD85E2-55E3-4F56-816C-16FB42BB34C6}"/>
          </ac:spMkLst>
        </pc:spChg>
        <pc:spChg chg="del">
          <ac:chgData name="Cillian Bissett" userId="18acdefb-dc1c-4c50-939e-318027166849" providerId="ADAL" clId="{15DD1BBB-52BA-4F56-83A6-C14DD5C7258A}" dt="2023-08-01T14:02:27.287" v="17067" actId="478"/>
          <ac:spMkLst>
            <pc:docMk/>
            <pc:sldMk cId="532855713" sldId="2147479665"/>
            <ac:spMk id="120" creationId="{DB6C45EC-B8F6-4A0A-B3BE-7450396303E7}"/>
          </ac:spMkLst>
        </pc:spChg>
        <pc:spChg chg="del">
          <ac:chgData name="Cillian Bissett" userId="18acdefb-dc1c-4c50-939e-318027166849" providerId="ADAL" clId="{15DD1BBB-52BA-4F56-83A6-C14DD5C7258A}" dt="2023-08-01T14:02:27.287" v="17067" actId="478"/>
          <ac:spMkLst>
            <pc:docMk/>
            <pc:sldMk cId="532855713" sldId="2147479665"/>
            <ac:spMk id="122" creationId="{AA4EDDA0-50B4-4160-82E6-552BF2E12649}"/>
          </ac:spMkLst>
        </pc:spChg>
        <pc:spChg chg="del">
          <ac:chgData name="Cillian Bissett" userId="18acdefb-dc1c-4c50-939e-318027166849" providerId="ADAL" clId="{15DD1BBB-52BA-4F56-83A6-C14DD5C7258A}" dt="2023-08-01T14:11:04.105" v="17570" actId="478"/>
          <ac:spMkLst>
            <pc:docMk/>
            <pc:sldMk cId="532855713" sldId="2147479665"/>
            <ac:spMk id="125" creationId="{A7B673BE-94F1-43BF-BDE1-FFD65B92C5C5}"/>
          </ac:spMkLst>
        </pc:spChg>
        <pc:spChg chg="mod">
          <ac:chgData name="Cillian Bissett" userId="18acdefb-dc1c-4c50-939e-318027166849" providerId="ADAL" clId="{15DD1BBB-52BA-4F56-83A6-C14DD5C7258A}" dt="2023-08-01T14:24:58.775" v="17879" actId="1035"/>
          <ac:spMkLst>
            <pc:docMk/>
            <pc:sldMk cId="532855713" sldId="2147479665"/>
            <ac:spMk id="136" creationId="{C59A6CF4-A67B-4D80-B9F5-2B6703CD8EDB}"/>
          </ac:spMkLst>
        </pc:spChg>
        <pc:spChg chg="del">
          <ac:chgData name="Cillian Bissett" userId="18acdefb-dc1c-4c50-939e-318027166849" providerId="ADAL" clId="{15DD1BBB-52BA-4F56-83A6-C14DD5C7258A}" dt="2023-08-01T14:10:58.904" v="17569" actId="478"/>
          <ac:spMkLst>
            <pc:docMk/>
            <pc:sldMk cId="532855713" sldId="2147479665"/>
            <ac:spMk id="144" creationId="{D9280D99-FEF2-4B87-AA1F-DAB483433F70}"/>
          </ac:spMkLst>
        </pc:spChg>
        <pc:spChg chg="del">
          <ac:chgData name="Cillian Bissett" userId="18acdefb-dc1c-4c50-939e-318027166849" providerId="ADAL" clId="{15DD1BBB-52BA-4F56-83A6-C14DD5C7258A}" dt="2023-08-01T14:10:58.904" v="17569" actId="478"/>
          <ac:spMkLst>
            <pc:docMk/>
            <pc:sldMk cId="532855713" sldId="2147479665"/>
            <ac:spMk id="145" creationId="{A94D9D5F-9198-4F86-9F42-7A9AFABA67F2}"/>
          </ac:spMkLst>
        </pc:spChg>
        <pc:spChg chg="mod">
          <ac:chgData name="Cillian Bissett" userId="18acdefb-dc1c-4c50-939e-318027166849" providerId="ADAL" clId="{15DD1BBB-52BA-4F56-83A6-C14DD5C7258A}" dt="2023-08-01T14:41:17.298" v="17988" actId="1037"/>
          <ac:spMkLst>
            <pc:docMk/>
            <pc:sldMk cId="532855713" sldId="2147479665"/>
            <ac:spMk id="148" creationId="{CE3F4FEE-7695-4629-ABE2-B54473C11F94}"/>
          </ac:spMkLst>
        </pc:spChg>
        <pc:spChg chg="mod">
          <ac:chgData name="Cillian Bissett" userId="18acdefb-dc1c-4c50-939e-318027166849" providerId="ADAL" clId="{15DD1BBB-52BA-4F56-83A6-C14DD5C7258A}" dt="2023-08-01T14:41:17.298" v="17988" actId="1037"/>
          <ac:spMkLst>
            <pc:docMk/>
            <pc:sldMk cId="532855713" sldId="2147479665"/>
            <ac:spMk id="149" creationId="{D194A499-DFF7-4A14-ABAF-08B54C7A62B0}"/>
          </ac:spMkLst>
        </pc:spChg>
        <pc:spChg chg="del">
          <ac:chgData name="Cillian Bissett" userId="18acdefb-dc1c-4c50-939e-318027166849" providerId="ADAL" clId="{15DD1BBB-52BA-4F56-83A6-C14DD5C7258A}" dt="2023-08-01T09:39:42.238" v="16031" actId="478"/>
          <ac:spMkLst>
            <pc:docMk/>
            <pc:sldMk cId="532855713" sldId="2147479665"/>
            <ac:spMk id="150" creationId="{5E28980D-37A7-4296-9364-DC0F7378910E}"/>
          </ac:spMkLst>
        </pc:spChg>
        <pc:spChg chg="del">
          <ac:chgData name="Cillian Bissett" userId="18acdefb-dc1c-4c50-939e-318027166849" providerId="ADAL" clId="{15DD1BBB-52BA-4F56-83A6-C14DD5C7258A}" dt="2023-08-01T09:39:39.978" v="16030" actId="478"/>
          <ac:spMkLst>
            <pc:docMk/>
            <pc:sldMk cId="532855713" sldId="2147479665"/>
            <ac:spMk id="152" creationId="{EFBC7371-9476-4A98-AD35-DB0385D258D5}"/>
          </ac:spMkLst>
        </pc:spChg>
        <pc:spChg chg="del">
          <ac:chgData name="Cillian Bissett" userId="18acdefb-dc1c-4c50-939e-318027166849" providerId="ADAL" clId="{15DD1BBB-52BA-4F56-83A6-C14DD5C7258A}" dt="2023-08-01T14:11:04.105" v="17570" actId="478"/>
          <ac:spMkLst>
            <pc:docMk/>
            <pc:sldMk cId="532855713" sldId="2147479665"/>
            <ac:spMk id="154" creationId="{7729B5F0-AB8D-4247-9733-60C39C6D9272}"/>
          </ac:spMkLst>
        </pc:spChg>
        <pc:spChg chg="mod">
          <ac:chgData name="Cillian Bissett" userId="18acdefb-dc1c-4c50-939e-318027166849" providerId="ADAL" clId="{15DD1BBB-52BA-4F56-83A6-C14DD5C7258A}" dt="2023-08-01T14:41:17.298" v="17988" actId="1037"/>
          <ac:spMkLst>
            <pc:docMk/>
            <pc:sldMk cId="532855713" sldId="2147479665"/>
            <ac:spMk id="156" creationId="{49480E3F-C72F-4CF2-AE93-768826D154E2}"/>
          </ac:spMkLst>
        </pc:spChg>
        <pc:spChg chg="mod">
          <ac:chgData name="Cillian Bissett" userId="18acdefb-dc1c-4c50-939e-318027166849" providerId="ADAL" clId="{15DD1BBB-52BA-4F56-83A6-C14DD5C7258A}" dt="2023-08-01T14:41:17.298" v="17988" actId="1037"/>
          <ac:spMkLst>
            <pc:docMk/>
            <pc:sldMk cId="532855713" sldId="2147479665"/>
            <ac:spMk id="157" creationId="{1A2FB8C4-5BEA-405B-BFFE-8B65C0BA244D}"/>
          </ac:spMkLst>
        </pc:spChg>
        <pc:spChg chg="mod">
          <ac:chgData name="Cillian Bissett" userId="18acdefb-dc1c-4c50-939e-318027166849" providerId="ADAL" clId="{15DD1BBB-52BA-4F56-83A6-C14DD5C7258A}" dt="2023-08-01T14:41:17.298" v="17988" actId="1037"/>
          <ac:spMkLst>
            <pc:docMk/>
            <pc:sldMk cId="532855713" sldId="2147479665"/>
            <ac:spMk id="158" creationId="{3232C906-214F-4637-B5C2-4A40E4E67E99}"/>
          </ac:spMkLst>
        </pc:spChg>
        <pc:spChg chg="mod">
          <ac:chgData name="Cillian Bissett" userId="18acdefb-dc1c-4c50-939e-318027166849" providerId="ADAL" clId="{15DD1BBB-52BA-4F56-83A6-C14DD5C7258A}" dt="2023-08-01T14:14:17.815" v="17594" actId="14100"/>
          <ac:spMkLst>
            <pc:docMk/>
            <pc:sldMk cId="532855713" sldId="2147479665"/>
            <ac:spMk id="223" creationId="{287652C3-6059-44C4-BE74-3C4FF31F9BA8}"/>
          </ac:spMkLst>
        </pc:spChg>
        <pc:spChg chg="mod">
          <ac:chgData name="Cillian Bissett" userId="18acdefb-dc1c-4c50-939e-318027166849" providerId="ADAL" clId="{15DD1BBB-52BA-4F56-83A6-C14DD5C7258A}" dt="2023-08-01T14:14:17.815" v="17594" actId="14100"/>
          <ac:spMkLst>
            <pc:docMk/>
            <pc:sldMk cId="532855713" sldId="2147479665"/>
            <ac:spMk id="225" creationId="{03D91CB3-7E0F-4EDA-BBC9-690B3ADB29BA}"/>
          </ac:spMkLst>
        </pc:spChg>
        <pc:spChg chg="del">
          <ac:chgData name="Cillian Bissett" userId="18acdefb-dc1c-4c50-939e-318027166849" providerId="ADAL" clId="{15DD1BBB-52BA-4F56-83A6-C14DD5C7258A}" dt="2023-08-01T09:04:40.164" v="15646" actId="478"/>
          <ac:spMkLst>
            <pc:docMk/>
            <pc:sldMk cId="532855713" sldId="2147479665"/>
            <ac:spMk id="227" creationId="{75A59357-C9FC-4262-A199-A76F67210559}"/>
          </ac:spMkLst>
        </pc:spChg>
        <pc:spChg chg="mod">
          <ac:chgData name="Cillian Bissett" userId="18acdefb-dc1c-4c50-939e-318027166849" providerId="ADAL" clId="{15DD1BBB-52BA-4F56-83A6-C14DD5C7258A}" dt="2023-08-01T14:18:50.423" v="17773" actId="1035"/>
          <ac:spMkLst>
            <pc:docMk/>
            <pc:sldMk cId="532855713" sldId="2147479665"/>
            <ac:spMk id="229" creationId="{ABD33973-2BD4-4D88-8134-31E5BC587885}"/>
          </ac:spMkLst>
        </pc:spChg>
        <pc:spChg chg="mod">
          <ac:chgData name="Cillian Bissett" userId="18acdefb-dc1c-4c50-939e-318027166849" providerId="ADAL" clId="{15DD1BBB-52BA-4F56-83A6-C14DD5C7258A}" dt="2023-08-01T14:50:53.678" v="18012" actId="1036"/>
          <ac:spMkLst>
            <pc:docMk/>
            <pc:sldMk cId="532855713" sldId="2147479665"/>
            <ac:spMk id="230" creationId="{7CB98892-B8ED-45A8-96F7-46FD01A11B76}"/>
          </ac:spMkLst>
        </pc:spChg>
        <pc:spChg chg="mod">
          <ac:chgData name="Cillian Bissett" userId="18acdefb-dc1c-4c50-939e-318027166849" providerId="ADAL" clId="{15DD1BBB-52BA-4F56-83A6-C14DD5C7258A}" dt="2023-08-01T14:19:49.165" v="17826" actId="1035"/>
          <ac:spMkLst>
            <pc:docMk/>
            <pc:sldMk cId="532855713" sldId="2147479665"/>
            <ac:spMk id="231" creationId="{19580012-46A2-48F2-A530-63BF6C314EE3}"/>
          </ac:spMkLst>
        </pc:spChg>
        <pc:spChg chg="mod">
          <ac:chgData name="Cillian Bissett" userId="18acdefb-dc1c-4c50-939e-318027166849" providerId="ADAL" clId="{15DD1BBB-52BA-4F56-83A6-C14DD5C7258A}" dt="2023-08-01T14:19:49.165" v="17826" actId="1035"/>
          <ac:spMkLst>
            <pc:docMk/>
            <pc:sldMk cId="532855713" sldId="2147479665"/>
            <ac:spMk id="232" creationId="{37B30702-606C-4020-A71E-0B7F57A7202F}"/>
          </ac:spMkLst>
        </pc:spChg>
        <pc:spChg chg="mod">
          <ac:chgData name="Cillian Bissett" userId="18acdefb-dc1c-4c50-939e-318027166849" providerId="ADAL" clId="{15DD1BBB-52BA-4F56-83A6-C14DD5C7258A}" dt="2023-08-01T14:21:53.499" v="17847" actId="1035"/>
          <ac:spMkLst>
            <pc:docMk/>
            <pc:sldMk cId="532855713" sldId="2147479665"/>
            <ac:spMk id="233" creationId="{E31CD129-283A-453B-86E8-847A409B7725}"/>
          </ac:spMkLst>
        </pc:spChg>
        <pc:spChg chg="mod">
          <ac:chgData name="Cillian Bissett" userId="18acdefb-dc1c-4c50-939e-318027166849" providerId="ADAL" clId="{15DD1BBB-52BA-4F56-83A6-C14DD5C7258A}" dt="2023-08-01T14:21:53.499" v="17847" actId="1035"/>
          <ac:spMkLst>
            <pc:docMk/>
            <pc:sldMk cId="532855713" sldId="2147479665"/>
            <ac:spMk id="234" creationId="{E23601C6-8873-4D1E-B057-1760F9F988F4}"/>
          </ac:spMkLst>
        </pc:spChg>
        <pc:spChg chg="mod">
          <ac:chgData name="Cillian Bissett" userId="18acdefb-dc1c-4c50-939e-318027166849" providerId="ADAL" clId="{15DD1BBB-52BA-4F56-83A6-C14DD5C7258A}" dt="2023-08-01T14:24:58.775" v="17879" actId="1035"/>
          <ac:spMkLst>
            <pc:docMk/>
            <pc:sldMk cId="532855713" sldId="2147479665"/>
            <ac:spMk id="235" creationId="{858D0BDB-ED29-42B1-A0CB-89F691D64982}"/>
          </ac:spMkLst>
        </pc:spChg>
        <pc:spChg chg="mod">
          <ac:chgData name="Cillian Bissett" userId="18acdefb-dc1c-4c50-939e-318027166849" providerId="ADAL" clId="{15DD1BBB-52BA-4F56-83A6-C14DD5C7258A}" dt="2023-08-01T14:24:58.775" v="17879" actId="1035"/>
          <ac:spMkLst>
            <pc:docMk/>
            <pc:sldMk cId="532855713" sldId="2147479665"/>
            <ac:spMk id="236" creationId="{D5D8CF76-E86E-4D7C-BF4D-C2ADCF117DF0}"/>
          </ac:spMkLst>
        </pc:spChg>
        <pc:picChg chg="add mod">
          <ac:chgData name="Cillian Bissett" userId="18acdefb-dc1c-4c50-939e-318027166849" providerId="ADAL" clId="{15DD1BBB-52BA-4F56-83A6-C14DD5C7258A}" dt="2023-08-01T14:19:49.165" v="17826" actId="1035"/>
          <ac:picMkLst>
            <pc:docMk/>
            <pc:sldMk cId="532855713" sldId="2147479665"/>
            <ac:picMk id="11" creationId="{627F591A-991F-11FE-A9B6-3E417A9E5070}"/>
          </ac:picMkLst>
        </pc:picChg>
        <pc:picChg chg="add mod">
          <ac:chgData name="Cillian Bissett" userId="18acdefb-dc1c-4c50-939e-318027166849" providerId="ADAL" clId="{15DD1BBB-52BA-4F56-83A6-C14DD5C7258A}" dt="2023-08-01T14:19:49.165" v="17826" actId="1035"/>
          <ac:picMkLst>
            <pc:docMk/>
            <pc:sldMk cId="532855713" sldId="2147479665"/>
            <ac:picMk id="12" creationId="{4D78EA84-B4A4-2D81-5BC9-15AB32B94CE1}"/>
          </ac:picMkLst>
        </pc:picChg>
        <pc:picChg chg="add mod">
          <ac:chgData name="Cillian Bissett" userId="18acdefb-dc1c-4c50-939e-318027166849" providerId="ADAL" clId="{15DD1BBB-52BA-4F56-83A6-C14DD5C7258A}" dt="2023-08-01T14:19:49.165" v="17826" actId="1035"/>
          <ac:picMkLst>
            <pc:docMk/>
            <pc:sldMk cId="532855713" sldId="2147479665"/>
            <ac:picMk id="13" creationId="{797455B1-C468-36FB-5BA9-0FF4D3D848ED}"/>
          </ac:picMkLst>
        </pc:picChg>
        <pc:picChg chg="add mod">
          <ac:chgData name="Cillian Bissett" userId="18acdefb-dc1c-4c50-939e-318027166849" providerId="ADAL" clId="{15DD1BBB-52BA-4F56-83A6-C14DD5C7258A}" dt="2023-08-01T14:19:49.165" v="17826" actId="1035"/>
          <ac:picMkLst>
            <pc:docMk/>
            <pc:sldMk cId="532855713" sldId="2147479665"/>
            <ac:picMk id="14" creationId="{B8E04391-B613-AC7C-0BC5-87D8F2A815E0}"/>
          </ac:picMkLst>
        </pc:picChg>
        <pc:picChg chg="add mod">
          <ac:chgData name="Cillian Bissett" userId="18acdefb-dc1c-4c50-939e-318027166849" providerId="ADAL" clId="{15DD1BBB-52BA-4F56-83A6-C14DD5C7258A}" dt="2023-08-01T14:19:49.165" v="17826" actId="1035"/>
          <ac:picMkLst>
            <pc:docMk/>
            <pc:sldMk cId="532855713" sldId="2147479665"/>
            <ac:picMk id="16" creationId="{DB3E0CED-8F32-EF45-FA91-51F5E722037F}"/>
          </ac:picMkLst>
        </pc:picChg>
        <pc:picChg chg="add mod">
          <ac:chgData name="Cillian Bissett" userId="18acdefb-dc1c-4c50-939e-318027166849" providerId="ADAL" clId="{15DD1BBB-52BA-4F56-83A6-C14DD5C7258A}" dt="2023-08-01T14:19:49.165" v="17826" actId="1035"/>
          <ac:picMkLst>
            <pc:docMk/>
            <pc:sldMk cId="532855713" sldId="2147479665"/>
            <ac:picMk id="17" creationId="{B8D1FDC0-2660-3AB5-348D-35E209CCF6B1}"/>
          </ac:picMkLst>
        </pc:picChg>
        <pc:picChg chg="add mod">
          <ac:chgData name="Cillian Bissett" userId="18acdefb-dc1c-4c50-939e-318027166849" providerId="ADAL" clId="{15DD1BBB-52BA-4F56-83A6-C14DD5C7258A}" dt="2023-08-01T14:19:49.165" v="17826" actId="1035"/>
          <ac:picMkLst>
            <pc:docMk/>
            <pc:sldMk cId="532855713" sldId="2147479665"/>
            <ac:picMk id="22" creationId="{256135E4-B008-9119-290B-AD0735EAD9EE}"/>
          </ac:picMkLst>
        </pc:picChg>
        <pc:picChg chg="add mod">
          <ac:chgData name="Cillian Bissett" userId="18acdefb-dc1c-4c50-939e-318027166849" providerId="ADAL" clId="{15DD1BBB-52BA-4F56-83A6-C14DD5C7258A}" dt="2023-08-01T14:19:49.165" v="17826" actId="1035"/>
          <ac:picMkLst>
            <pc:docMk/>
            <pc:sldMk cId="532855713" sldId="2147479665"/>
            <ac:picMk id="23" creationId="{412C4CEC-61ED-C608-151D-7AAC46A7CBE9}"/>
          </ac:picMkLst>
        </pc:picChg>
        <pc:picChg chg="mod">
          <ac:chgData name="Cillian Bissett" userId="18acdefb-dc1c-4c50-939e-318027166849" providerId="ADAL" clId="{15DD1BBB-52BA-4F56-83A6-C14DD5C7258A}" dt="2023-08-01T14:19:49.165" v="17826" actId="1035"/>
          <ac:picMkLst>
            <pc:docMk/>
            <pc:sldMk cId="532855713" sldId="2147479665"/>
            <ac:picMk id="102" creationId="{4D61CE64-4634-4FF6-97A8-01C268980DC0}"/>
          </ac:picMkLst>
        </pc:picChg>
        <pc:picChg chg="mod">
          <ac:chgData name="Cillian Bissett" userId="18acdefb-dc1c-4c50-939e-318027166849" providerId="ADAL" clId="{15DD1BBB-52BA-4F56-83A6-C14DD5C7258A}" dt="2023-08-01T14:19:49.165" v="17826" actId="1035"/>
          <ac:picMkLst>
            <pc:docMk/>
            <pc:sldMk cId="532855713" sldId="2147479665"/>
            <ac:picMk id="103" creationId="{9CAB2CC5-E366-41A9-9DF0-95DAA577F2E0}"/>
          </ac:picMkLst>
        </pc:picChg>
        <pc:picChg chg="mod">
          <ac:chgData name="Cillian Bissett" userId="18acdefb-dc1c-4c50-939e-318027166849" providerId="ADAL" clId="{15DD1BBB-52BA-4F56-83A6-C14DD5C7258A}" dt="2023-08-01T14:19:49.165" v="17826" actId="1035"/>
          <ac:picMkLst>
            <pc:docMk/>
            <pc:sldMk cId="532855713" sldId="2147479665"/>
            <ac:picMk id="104" creationId="{73312242-8242-4636-AA35-402D3E8CF3A9}"/>
          </ac:picMkLst>
        </pc:picChg>
        <pc:picChg chg="mod">
          <ac:chgData name="Cillian Bissett" userId="18acdefb-dc1c-4c50-939e-318027166849" providerId="ADAL" clId="{15DD1BBB-52BA-4F56-83A6-C14DD5C7258A}" dt="2023-08-01T14:19:49.165" v="17826" actId="1035"/>
          <ac:picMkLst>
            <pc:docMk/>
            <pc:sldMk cId="532855713" sldId="2147479665"/>
            <ac:picMk id="109" creationId="{0CA1B9DF-7146-46AA-A3DA-5064EB296989}"/>
          </ac:picMkLst>
        </pc:picChg>
        <pc:cxnChg chg="mod">
          <ac:chgData name="Cillian Bissett" userId="18acdefb-dc1c-4c50-939e-318027166849" providerId="ADAL" clId="{15DD1BBB-52BA-4F56-83A6-C14DD5C7258A}" dt="2023-08-01T14:25:40.467" v="17898" actId="1036"/>
          <ac:cxnSpMkLst>
            <pc:docMk/>
            <pc:sldMk cId="532855713" sldId="2147479665"/>
            <ac:cxnSpMk id="2" creationId="{217BD3EE-CDA0-6072-46C7-4D811DB272D8}"/>
          </ac:cxnSpMkLst>
        </pc:cxnChg>
        <pc:cxnChg chg="mod">
          <ac:chgData name="Cillian Bissett" userId="18acdefb-dc1c-4c50-939e-318027166849" providerId="ADAL" clId="{15DD1BBB-52BA-4F56-83A6-C14DD5C7258A}" dt="2023-08-01T14:25:40.467" v="17898" actId="1036"/>
          <ac:cxnSpMkLst>
            <pc:docMk/>
            <pc:sldMk cId="532855713" sldId="2147479665"/>
            <ac:cxnSpMk id="20" creationId="{15BB86BA-40A2-40F4-9BC5-67D779A80232}"/>
          </ac:cxnSpMkLst>
        </pc:cxnChg>
        <pc:cxnChg chg="mod">
          <ac:chgData name="Cillian Bissett" userId="18acdefb-dc1c-4c50-939e-318027166849" providerId="ADAL" clId="{15DD1BBB-52BA-4F56-83A6-C14DD5C7258A}" dt="2023-08-01T14:18:38.179" v="17763" actId="1035"/>
          <ac:cxnSpMkLst>
            <pc:docMk/>
            <pc:sldMk cId="532855713" sldId="2147479665"/>
            <ac:cxnSpMk id="81" creationId="{D564B4DB-50B0-4614-8986-8E45437D8607}"/>
          </ac:cxnSpMkLst>
        </pc:cxnChg>
        <pc:cxnChg chg="mod">
          <ac:chgData name="Cillian Bissett" userId="18acdefb-dc1c-4c50-939e-318027166849" providerId="ADAL" clId="{15DD1BBB-52BA-4F56-83A6-C14DD5C7258A}" dt="2023-08-01T14:19:20.046" v="17795" actId="1035"/>
          <ac:cxnSpMkLst>
            <pc:docMk/>
            <pc:sldMk cId="532855713" sldId="2147479665"/>
            <ac:cxnSpMk id="95" creationId="{D6F7CF6D-773A-49A5-B33F-A1D02248A6B4}"/>
          </ac:cxnSpMkLst>
        </pc:cxnChg>
        <pc:cxnChg chg="mod">
          <ac:chgData name="Cillian Bissett" userId="18acdefb-dc1c-4c50-939e-318027166849" providerId="ADAL" clId="{15DD1BBB-52BA-4F56-83A6-C14DD5C7258A}" dt="2023-08-01T14:21:59.337" v="17853" actId="1036"/>
          <ac:cxnSpMkLst>
            <pc:docMk/>
            <pc:sldMk cId="532855713" sldId="2147479665"/>
            <ac:cxnSpMk id="113" creationId="{FCE86C2C-DD2A-46A5-BADF-343EB4045293}"/>
          </ac:cxnSpMkLst>
        </pc:cxnChg>
        <pc:cxnChg chg="mod">
          <ac:chgData name="Cillian Bissett" userId="18acdefb-dc1c-4c50-939e-318027166849" providerId="ADAL" clId="{15DD1BBB-52BA-4F56-83A6-C14DD5C7258A}" dt="2023-08-01T14:24:58.775" v="17879" actId="1035"/>
          <ac:cxnSpMkLst>
            <pc:docMk/>
            <pc:sldMk cId="532855713" sldId="2147479665"/>
            <ac:cxnSpMk id="146" creationId="{ECF46D0F-F63F-4FBA-9D75-42D06E1D1AC0}"/>
          </ac:cxnSpMkLst>
        </pc:cxnChg>
        <pc:cxnChg chg="del">
          <ac:chgData name="Cillian Bissett" userId="18acdefb-dc1c-4c50-939e-318027166849" providerId="ADAL" clId="{15DD1BBB-52BA-4F56-83A6-C14DD5C7258A}" dt="2023-08-01T14:25:53.264" v="17900" actId="478"/>
          <ac:cxnSpMkLst>
            <pc:docMk/>
            <pc:sldMk cId="532855713" sldId="2147479665"/>
            <ac:cxnSpMk id="199" creationId="{D30EB107-77E1-4F76-BBAC-ADC96D0EEB3F}"/>
          </ac:cxnSpMkLst>
        </pc:cxnChg>
        <pc:cxnChg chg="del">
          <ac:chgData name="Cillian Bissett" userId="18acdefb-dc1c-4c50-939e-318027166849" providerId="ADAL" clId="{15DD1BBB-52BA-4F56-83A6-C14DD5C7258A}" dt="2023-08-01T14:25:46.911" v="17899" actId="478"/>
          <ac:cxnSpMkLst>
            <pc:docMk/>
            <pc:sldMk cId="532855713" sldId="2147479665"/>
            <ac:cxnSpMk id="200" creationId="{3447CE90-5A10-450F-A33A-BD15216472D2}"/>
          </ac:cxnSpMkLst>
        </pc:cxnChg>
        <pc:cxnChg chg="mod">
          <ac:chgData name="Cillian Bissett" userId="18acdefb-dc1c-4c50-939e-318027166849" providerId="ADAL" clId="{15DD1BBB-52BA-4F56-83A6-C14DD5C7258A}" dt="2023-08-01T14:25:40.467" v="17898" actId="1036"/>
          <ac:cxnSpMkLst>
            <pc:docMk/>
            <pc:sldMk cId="532855713" sldId="2147479665"/>
            <ac:cxnSpMk id="205" creationId="{1D41C442-5090-4E54-864C-A68217E213FC}"/>
          </ac:cxnSpMkLst>
        </pc:cxnChg>
        <pc:cxnChg chg="mod">
          <ac:chgData name="Cillian Bissett" userId="18acdefb-dc1c-4c50-939e-318027166849" providerId="ADAL" clId="{15DD1BBB-52BA-4F56-83A6-C14DD5C7258A}" dt="2023-08-01T14:25:40.467" v="17898" actId="1036"/>
          <ac:cxnSpMkLst>
            <pc:docMk/>
            <pc:sldMk cId="532855713" sldId="2147479665"/>
            <ac:cxnSpMk id="206" creationId="{B605AD6B-1677-49A7-8F77-FE6D0A7C6542}"/>
          </ac:cxnSpMkLst>
        </pc:cxnChg>
        <pc:cxnChg chg="mod">
          <ac:chgData name="Cillian Bissett" userId="18acdefb-dc1c-4c50-939e-318027166849" providerId="ADAL" clId="{15DD1BBB-52BA-4F56-83A6-C14DD5C7258A}" dt="2023-08-01T14:25:40.467" v="17898" actId="1036"/>
          <ac:cxnSpMkLst>
            <pc:docMk/>
            <pc:sldMk cId="532855713" sldId="2147479665"/>
            <ac:cxnSpMk id="207" creationId="{1630885F-F664-4090-97B1-56C116B70F3E}"/>
          </ac:cxnSpMkLst>
        </pc:cxnChg>
        <pc:cxnChg chg="mod">
          <ac:chgData name="Cillian Bissett" userId="18acdefb-dc1c-4c50-939e-318027166849" providerId="ADAL" clId="{15DD1BBB-52BA-4F56-83A6-C14DD5C7258A}" dt="2023-08-01T14:25:40.467" v="17898" actId="1036"/>
          <ac:cxnSpMkLst>
            <pc:docMk/>
            <pc:sldMk cId="532855713" sldId="2147479665"/>
            <ac:cxnSpMk id="208" creationId="{AA28490A-8139-41CC-B49F-98C4B84F4E20}"/>
          </ac:cxnSpMkLst>
        </pc:cxnChg>
        <pc:cxnChg chg="mod">
          <ac:chgData name="Cillian Bissett" userId="18acdefb-dc1c-4c50-939e-318027166849" providerId="ADAL" clId="{15DD1BBB-52BA-4F56-83A6-C14DD5C7258A}" dt="2023-08-01T14:25:40.467" v="17898" actId="1036"/>
          <ac:cxnSpMkLst>
            <pc:docMk/>
            <pc:sldMk cId="532855713" sldId="2147479665"/>
            <ac:cxnSpMk id="209" creationId="{994E2C7A-CD5D-44E8-A70F-51D544CB1041}"/>
          </ac:cxnSpMkLst>
        </pc:cxnChg>
        <pc:cxnChg chg="mod">
          <ac:chgData name="Cillian Bissett" userId="18acdefb-dc1c-4c50-939e-318027166849" providerId="ADAL" clId="{15DD1BBB-52BA-4F56-83A6-C14DD5C7258A}" dt="2023-08-01T14:25:40.467" v="17898" actId="1036"/>
          <ac:cxnSpMkLst>
            <pc:docMk/>
            <pc:sldMk cId="532855713" sldId="2147479665"/>
            <ac:cxnSpMk id="210" creationId="{263E4BF2-DC1E-4467-AEE0-3B272701DCF0}"/>
          </ac:cxnSpMkLst>
        </pc:cxnChg>
      </pc:sldChg>
      <pc:sldChg chg="addSp delSp modSp add del mod">
        <pc:chgData name="Cillian Bissett" userId="18acdefb-dc1c-4c50-939e-318027166849" providerId="ADAL" clId="{15DD1BBB-52BA-4F56-83A6-C14DD5C7258A}" dt="2023-08-01T14:44:32.535" v="18002" actId="47"/>
        <pc:sldMkLst>
          <pc:docMk/>
          <pc:sldMk cId="105314447" sldId="2147479667"/>
        </pc:sldMkLst>
        <pc:spChg chg="mod">
          <ac:chgData name="Cillian Bissett" userId="18acdefb-dc1c-4c50-939e-318027166849" providerId="ADAL" clId="{15DD1BBB-52BA-4F56-83A6-C14DD5C7258A}" dt="2023-08-01T14:43:14.640" v="17989" actId="1076"/>
          <ac:spMkLst>
            <pc:docMk/>
            <pc:sldMk cId="105314447" sldId="2147479667"/>
            <ac:spMk id="29" creationId="{FE31ABAC-4F4B-5B11-E26A-4C67215AE5B5}"/>
          </ac:spMkLst>
        </pc:spChg>
        <pc:cxnChg chg="add del mod">
          <ac:chgData name="Cillian Bissett" userId="18acdefb-dc1c-4c50-939e-318027166849" providerId="ADAL" clId="{15DD1BBB-52BA-4F56-83A6-C14DD5C7258A}" dt="2023-08-01T14:43:36.225" v="18001"/>
          <ac:cxnSpMkLst>
            <pc:docMk/>
            <pc:sldMk cId="105314447" sldId="2147479667"/>
            <ac:cxnSpMk id="31" creationId="{12EC6B05-63D8-D55A-1853-2EAD42D999D0}"/>
          </ac:cxnSpMkLst>
        </pc:cxnChg>
      </pc:sldChg>
      <pc:sldChg chg="add">
        <pc:chgData name="Cillian Bissett" userId="18acdefb-dc1c-4c50-939e-318027166849" providerId="ADAL" clId="{15DD1BBB-52BA-4F56-83A6-C14DD5C7258A}" dt="2023-08-01T14:54:27.125" v="18017"/>
        <pc:sldMkLst>
          <pc:docMk/>
          <pc:sldMk cId="2422494689" sldId="2147479667"/>
        </pc:sldMkLst>
      </pc:sldChg>
      <pc:sldChg chg="addSp modSp add del mod">
        <pc:chgData name="Cillian Bissett" userId="18acdefb-dc1c-4c50-939e-318027166849" providerId="ADAL" clId="{15DD1BBB-52BA-4F56-83A6-C14DD5C7258A}" dt="2023-08-01T14:54:24.435" v="18016" actId="47"/>
        <pc:sldMkLst>
          <pc:docMk/>
          <pc:sldMk cId="4292590496" sldId="2147479667"/>
        </pc:sldMkLst>
        <pc:cxnChg chg="add mod">
          <ac:chgData name="Cillian Bissett" userId="18acdefb-dc1c-4c50-939e-318027166849" providerId="ADAL" clId="{15DD1BBB-52BA-4F56-83A6-C14DD5C7258A}" dt="2023-08-01T14:47:10.209" v="18005" actId="1076"/>
          <ac:cxnSpMkLst>
            <pc:docMk/>
            <pc:sldMk cId="4292590496" sldId="2147479667"/>
            <ac:cxnSpMk id="31" creationId="{131F326E-D5E5-3043-0ED4-2C7C3E53FD11}"/>
          </ac:cxnSpMkLst>
        </pc:cxnChg>
      </pc:sldChg>
      <pc:sldChg chg="addSp delSp modSp add mod">
        <pc:chgData name="Cillian Bissett" userId="18acdefb-dc1c-4c50-939e-318027166849" providerId="ADAL" clId="{15DD1BBB-52BA-4F56-83A6-C14DD5C7258A}" dt="2023-08-11T10:31:21.975" v="18802" actId="478"/>
        <pc:sldMkLst>
          <pc:docMk/>
          <pc:sldMk cId="1992674941" sldId="2147479691"/>
        </pc:sldMkLst>
        <pc:spChg chg="mod">
          <ac:chgData name="Cillian Bissett" userId="18acdefb-dc1c-4c50-939e-318027166849" providerId="ADAL" clId="{15DD1BBB-52BA-4F56-83A6-C14DD5C7258A}" dt="2023-08-10T13:45:33.832" v="18473" actId="20577"/>
          <ac:spMkLst>
            <pc:docMk/>
            <pc:sldMk cId="1992674941" sldId="2147479691"/>
            <ac:spMk id="4" creationId="{43C322FB-7FF0-1ED1-516D-D9BB8E39563A}"/>
          </ac:spMkLst>
        </pc:spChg>
        <pc:spChg chg="mod">
          <ac:chgData name="Cillian Bissett" userId="18acdefb-dc1c-4c50-939e-318027166849" providerId="ADAL" clId="{15DD1BBB-52BA-4F56-83A6-C14DD5C7258A}" dt="2023-08-10T09:52:05.782" v="18464" actId="1037"/>
          <ac:spMkLst>
            <pc:docMk/>
            <pc:sldMk cId="1992674941" sldId="2147479691"/>
            <ac:spMk id="5" creationId="{EA600897-9610-3AA6-513F-7531B84DB427}"/>
          </ac:spMkLst>
        </pc:spChg>
        <pc:spChg chg="mod">
          <ac:chgData name="Cillian Bissett" userId="18acdefb-dc1c-4c50-939e-318027166849" providerId="ADAL" clId="{15DD1BBB-52BA-4F56-83A6-C14DD5C7258A}" dt="2023-08-10T09:25:40.544" v="18157" actId="1036"/>
          <ac:spMkLst>
            <pc:docMk/>
            <pc:sldMk cId="1992674941" sldId="2147479691"/>
            <ac:spMk id="6" creationId="{64BF4290-C472-054B-2417-1F5663593DC0}"/>
          </ac:spMkLst>
        </pc:spChg>
        <pc:spChg chg="mod">
          <ac:chgData name="Cillian Bissett" userId="18acdefb-dc1c-4c50-939e-318027166849" providerId="ADAL" clId="{15DD1BBB-52BA-4F56-83A6-C14DD5C7258A}" dt="2023-08-10T09:49:21.959" v="18310" actId="1035"/>
          <ac:spMkLst>
            <pc:docMk/>
            <pc:sldMk cId="1992674941" sldId="2147479691"/>
            <ac:spMk id="7" creationId="{C4A45B85-093A-7C64-E401-12953359A53D}"/>
          </ac:spMkLst>
        </pc:spChg>
        <pc:spChg chg="mod">
          <ac:chgData name="Cillian Bissett" userId="18acdefb-dc1c-4c50-939e-318027166849" providerId="ADAL" clId="{15DD1BBB-52BA-4F56-83A6-C14DD5C7258A}" dt="2023-08-10T09:49:21.959" v="18310" actId="1035"/>
          <ac:spMkLst>
            <pc:docMk/>
            <pc:sldMk cId="1992674941" sldId="2147479691"/>
            <ac:spMk id="9" creationId="{4A4ED8D4-E749-1272-CD38-F50EFD6BD847}"/>
          </ac:spMkLst>
        </pc:spChg>
        <pc:spChg chg="mod">
          <ac:chgData name="Cillian Bissett" userId="18acdefb-dc1c-4c50-939e-318027166849" providerId="ADAL" clId="{15DD1BBB-52BA-4F56-83A6-C14DD5C7258A}" dt="2023-08-10T09:49:21.959" v="18310" actId="1035"/>
          <ac:spMkLst>
            <pc:docMk/>
            <pc:sldMk cId="1992674941" sldId="2147479691"/>
            <ac:spMk id="10" creationId="{037EFACB-2860-AD37-A974-AF1F60EC74FD}"/>
          </ac:spMkLst>
        </pc:spChg>
        <pc:spChg chg="mod">
          <ac:chgData name="Cillian Bissett" userId="18acdefb-dc1c-4c50-939e-318027166849" providerId="ADAL" clId="{15DD1BBB-52BA-4F56-83A6-C14DD5C7258A}" dt="2023-08-10T13:47:20.854" v="18512" actId="1037"/>
          <ac:spMkLst>
            <pc:docMk/>
            <pc:sldMk cId="1992674941" sldId="2147479691"/>
            <ac:spMk id="18" creationId="{8122A967-FA5C-0C9D-6011-F6231AFFFE40}"/>
          </ac:spMkLst>
        </pc:spChg>
        <pc:spChg chg="mod">
          <ac:chgData name="Cillian Bissett" userId="18acdefb-dc1c-4c50-939e-318027166849" providerId="ADAL" clId="{15DD1BBB-52BA-4F56-83A6-C14DD5C7258A}" dt="2023-08-10T13:46:14.872" v="18474" actId="14100"/>
          <ac:spMkLst>
            <pc:docMk/>
            <pc:sldMk cId="1992674941" sldId="2147479691"/>
            <ac:spMk id="19" creationId="{A1D77A46-457D-7F2D-E491-31FD9C77E058}"/>
          </ac:spMkLst>
        </pc:spChg>
        <pc:spChg chg="mod">
          <ac:chgData name="Cillian Bissett" userId="18acdefb-dc1c-4c50-939e-318027166849" providerId="ADAL" clId="{15DD1BBB-52BA-4F56-83A6-C14DD5C7258A}" dt="2023-08-10T13:48:20.480" v="18594" actId="20577"/>
          <ac:spMkLst>
            <pc:docMk/>
            <pc:sldMk cId="1992674941" sldId="2147479691"/>
            <ac:spMk id="24" creationId="{0CB2B9CB-4E90-2688-8079-0A1B87BB8ED3}"/>
          </ac:spMkLst>
        </pc:spChg>
        <pc:spChg chg="mod">
          <ac:chgData name="Cillian Bissett" userId="18acdefb-dc1c-4c50-939e-318027166849" providerId="ADAL" clId="{15DD1BBB-52BA-4F56-83A6-C14DD5C7258A}" dt="2023-08-10T13:48:07.817" v="18591" actId="207"/>
          <ac:spMkLst>
            <pc:docMk/>
            <pc:sldMk cId="1992674941" sldId="2147479691"/>
            <ac:spMk id="25" creationId="{AD205B8B-2BBF-32EE-9DC9-2525516E364E}"/>
          </ac:spMkLst>
        </pc:spChg>
        <pc:spChg chg="mod">
          <ac:chgData name="Cillian Bissett" userId="18acdefb-dc1c-4c50-939e-318027166849" providerId="ADAL" clId="{15DD1BBB-52BA-4F56-83A6-C14DD5C7258A}" dt="2023-08-10T13:52:07.992" v="18738" actId="1036"/>
          <ac:spMkLst>
            <pc:docMk/>
            <pc:sldMk cId="1992674941" sldId="2147479691"/>
            <ac:spMk id="27" creationId="{4BD255F5-AE1E-C1EB-AC0D-6FEC2D99C2A9}"/>
          </ac:spMkLst>
        </pc:spChg>
        <pc:spChg chg="mod">
          <ac:chgData name="Cillian Bissett" userId="18acdefb-dc1c-4c50-939e-318027166849" providerId="ADAL" clId="{15DD1BBB-52BA-4F56-83A6-C14DD5C7258A}" dt="2023-08-10T13:49:19.707" v="18632" actId="1035"/>
          <ac:spMkLst>
            <pc:docMk/>
            <pc:sldMk cId="1992674941" sldId="2147479691"/>
            <ac:spMk id="28" creationId="{85CE4D4C-A0A3-7230-34A3-3D2854C14C40}"/>
          </ac:spMkLst>
        </pc:spChg>
        <pc:spChg chg="mod">
          <ac:chgData name="Cillian Bissett" userId="18acdefb-dc1c-4c50-939e-318027166849" providerId="ADAL" clId="{15DD1BBB-52BA-4F56-83A6-C14DD5C7258A}" dt="2023-08-10T13:49:24.457" v="18645" actId="1036"/>
          <ac:spMkLst>
            <pc:docMk/>
            <pc:sldMk cId="1992674941" sldId="2147479691"/>
            <ac:spMk id="29" creationId="{FE31ABAC-4F4B-5B11-E26A-4C67215AE5B5}"/>
          </ac:spMkLst>
        </pc:spChg>
        <pc:spChg chg="mod">
          <ac:chgData name="Cillian Bissett" userId="18acdefb-dc1c-4c50-939e-318027166849" providerId="ADAL" clId="{15DD1BBB-52BA-4F56-83A6-C14DD5C7258A}" dt="2023-08-10T13:51:35.024" v="18701" actId="20577"/>
          <ac:spMkLst>
            <pc:docMk/>
            <pc:sldMk cId="1992674941" sldId="2147479691"/>
            <ac:spMk id="30" creationId="{53FA0C03-33F6-304D-8822-FBBC01546B40}"/>
          </ac:spMkLst>
        </pc:spChg>
        <pc:spChg chg="del mod">
          <ac:chgData name="Cillian Bissett" userId="18acdefb-dc1c-4c50-939e-318027166849" providerId="ADAL" clId="{15DD1BBB-52BA-4F56-83A6-C14DD5C7258A}" dt="2023-08-11T10:31:21.975" v="18802" actId="478"/>
          <ac:spMkLst>
            <pc:docMk/>
            <pc:sldMk cId="1992674941" sldId="2147479691"/>
            <ac:spMk id="31" creationId="{36F478BE-2803-2994-0F45-1D6980266800}"/>
          </ac:spMkLst>
        </pc:spChg>
        <pc:spChg chg="add mod">
          <ac:chgData name="Cillian Bissett" userId="18acdefb-dc1c-4c50-939e-318027166849" providerId="ADAL" clId="{15DD1BBB-52BA-4F56-83A6-C14DD5C7258A}" dt="2023-08-10T09:26:33.111" v="18168" actId="553"/>
          <ac:spMkLst>
            <pc:docMk/>
            <pc:sldMk cId="1992674941" sldId="2147479691"/>
            <ac:spMk id="32" creationId="{65E7D23E-8F7E-6330-3CC8-AF5AE6D42BEF}"/>
          </ac:spMkLst>
        </pc:spChg>
        <pc:spChg chg="add mod">
          <ac:chgData name="Cillian Bissett" userId="18acdefb-dc1c-4c50-939e-318027166849" providerId="ADAL" clId="{15DD1BBB-52BA-4F56-83A6-C14DD5C7258A}" dt="2023-08-10T13:45:28.156" v="18471" actId="20577"/>
          <ac:spMkLst>
            <pc:docMk/>
            <pc:sldMk cId="1992674941" sldId="2147479691"/>
            <ac:spMk id="33" creationId="{A38B36BD-12C5-4FD2-CAB4-DACFF83B5B00}"/>
          </ac:spMkLst>
        </pc:spChg>
        <pc:spChg chg="add mod">
          <ac:chgData name="Cillian Bissett" userId="18acdefb-dc1c-4c50-939e-318027166849" providerId="ADAL" clId="{15DD1BBB-52BA-4F56-83A6-C14DD5C7258A}" dt="2023-08-10T09:49:39.232" v="18352" actId="1036"/>
          <ac:spMkLst>
            <pc:docMk/>
            <pc:sldMk cId="1992674941" sldId="2147479691"/>
            <ac:spMk id="34" creationId="{CD04F63A-5801-F20A-7CCA-D6C92A7D3369}"/>
          </ac:spMkLst>
        </pc:spChg>
        <pc:spChg chg="add mod">
          <ac:chgData name="Cillian Bissett" userId="18acdefb-dc1c-4c50-939e-318027166849" providerId="ADAL" clId="{15DD1BBB-52BA-4F56-83A6-C14DD5C7258A}" dt="2023-08-10T09:50:01.222" v="18372" actId="120"/>
          <ac:spMkLst>
            <pc:docMk/>
            <pc:sldMk cId="1992674941" sldId="2147479691"/>
            <ac:spMk id="35" creationId="{35AF2539-77D5-8B6E-A112-2DE8AF89DABB}"/>
          </ac:spMkLst>
        </pc:spChg>
        <pc:spChg chg="add mod">
          <ac:chgData name="Cillian Bissett" userId="18acdefb-dc1c-4c50-939e-318027166849" providerId="ADAL" clId="{15DD1BBB-52BA-4F56-83A6-C14DD5C7258A}" dt="2023-08-10T13:47:20.854" v="18512" actId="1037"/>
          <ac:spMkLst>
            <pc:docMk/>
            <pc:sldMk cId="1992674941" sldId="2147479691"/>
            <ac:spMk id="36" creationId="{6005D52F-F745-4430-C32D-36EBC2FEE6F8}"/>
          </ac:spMkLst>
        </pc:spChg>
        <pc:spChg chg="add mod">
          <ac:chgData name="Cillian Bissett" userId="18acdefb-dc1c-4c50-939e-318027166849" providerId="ADAL" clId="{15DD1BBB-52BA-4F56-83A6-C14DD5C7258A}" dt="2023-08-10T13:48:07.817" v="18591" actId="207"/>
          <ac:spMkLst>
            <pc:docMk/>
            <pc:sldMk cId="1992674941" sldId="2147479691"/>
            <ac:spMk id="37" creationId="{F88A0AF3-2CA3-ADF4-C27A-7E8F90BF2EB8}"/>
          </ac:spMkLst>
        </pc:spChg>
        <pc:spChg chg="add mod">
          <ac:chgData name="Cillian Bissett" userId="18acdefb-dc1c-4c50-939e-318027166849" providerId="ADAL" clId="{15DD1BBB-52BA-4F56-83A6-C14DD5C7258A}" dt="2023-08-10T13:49:44.376" v="18654" actId="1035"/>
          <ac:spMkLst>
            <pc:docMk/>
            <pc:sldMk cId="1992674941" sldId="2147479691"/>
            <ac:spMk id="38" creationId="{A7F9792D-5199-8065-B3F9-6863CB493B40}"/>
          </ac:spMkLst>
        </pc:spChg>
        <pc:spChg chg="add mod">
          <ac:chgData name="Cillian Bissett" userId="18acdefb-dc1c-4c50-939e-318027166849" providerId="ADAL" clId="{15DD1BBB-52BA-4F56-83A6-C14DD5C7258A}" dt="2023-08-10T13:49:56.690" v="18657" actId="20577"/>
          <ac:spMkLst>
            <pc:docMk/>
            <pc:sldMk cId="1992674941" sldId="2147479691"/>
            <ac:spMk id="39" creationId="{40A6AF49-A422-82C8-2AE6-7619021B23B6}"/>
          </ac:spMkLst>
        </pc:spChg>
        <pc:spChg chg="add mod">
          <ac:chgData name="Cillian Bissett" userId="18acdefb-dc1c-4c50-939e-318027166849" providerId="ADAL" clId="{15DD1BBB-52BA-4F56-83A6-C14DD5C7258A}" dt="2023-08-10T13:50:15.087" v="18659" actId="1076"/>
          <ac:spMkLst>
            <pc:docMk/>
            <pc:sldMk cId="1992674941" sldId="2147479691"/>
            <ac:spMk id="40" creationId="{9D62B9F2-3A9D-A354-8384-94B890C647AC}"/>
          </ac:spMkLst>
        </pc:spChg>
        <pc:spChg chg="add mod">
          <ac:chgData name="Cillian Bissett" userId="18acdefb-dc1c-4c50-939e-318027166849" providerId="ADAL" clId="{15DD1BBB-52BA-4F56-83A6-C14DD5C7258A}" dt="2023-08-10T13:50:41.590" v="18678" actId="1036"/>
          <ac:spMkLst>
            <pc:docMk/>
            <pc:sldMk cId="1992674941" sldId="2147479691"/>
            <ac:spMk id="41" creationId="{704E9A83-B964-D3A8-895B-E42760266194}"/>
          </ac:spMkLst>
        </pc:spChg>
        <pc:spChg chg="add mod">
          <ac:chgData name="Cillian Bissett" userId="18acdefb-dc1c-4c50-939e-318027166849" providerId="ADAL" clId="{15DD1BBB-52BA-4F56-83A6-C14DD5C7258A}" dt="2023-08-10T13:52:14.042" v="18743" actId="1035"/>
          <ac:spMkLst>
            <pc:docMk/>
            <pc:sldMk cId="1992674941" sldId="2147479691"/>
            <ac:spMk id="42" creationId="{C0CECF00-EB98-7F87-CCE3-9D753059DD61}"/>
          </ac:spMkLst>
        </pc:spChg>
        <pc:spChg chg="add mod">
          <ac:chgData name="Cillian Bissett" userId="18acdefb-dc1c-4c50-939e-318027166849" providerId="ADAL" clId="{15DD1BBB-52BA-4F56-83A6-C14DD5C7258A}" dt="2023-08-10T13:52:14.042" v="18743" actId="1035"/>
          <ac:spMkLst>
            <pc:docMk/>
            <pc:sldMk cId="1992674941" sldId="2147479691"/>
            <ac:spMk id="43" creationId="{A55A517B-EB38-072F-98A7-FE73984B2BA9}"/>
          </ac:spMkLst>
        </pc:spChg>
        <pc:spChg chg="add mod">
          <ac:chgData name="Cillian Bissett" userId="18acdefb-dc1c-4c50-939e-318027166849" providerId="ADAL" clId="{15DD1BBB-52BA-4F56-83A6-C14DD5C7258A}" dt="2023-08-10T13:52:44.489" v="18745" actId="1076"/>
          <ac:spMkLst>
            <pc:docMk/>
            <pc:sldMk cId="1992674941" sldId="2147479691"/>
            <ac:spMk id="44" creationId="{1BBD224B-D0E4-F02A-788F-AD61F70978E6}"/>
          </ac:spMkLst>
        </pc:spChg>
        <pc:spChg chg="add mod">
          <ac:chgData name="Cillian Bissett" userId="18acdefb-dc1c-4c50-939e-318027166849" providerId="ADAL" clId="{15DD1BBB-52BA-4F56-83A6-C14DD5C7258A}" dt="2023-08-10T13:52:54.210" v="18780" actId="20577"/>
          <ac:spMkLst>
            <pc:docMk/>
            <pc:sldMk cId="1992674941" sldId="2147479691"/>
            <ac:spMk id="45" creationId="{C1224C22-CB50-5071-56CE-C7A769DBE5ED}"/>
          </ac:spMkLst>
        </pc:spChg>
        <pc:spChg chg="add mod">
          <ac:chgData name="Cillian Bissett" userId="18acdefb-dc1c-4c50-939e-318027166849" providerId="ADAL" clId="{15DD1BBB-52BA-4F56-83A6-C14DD5C7258A}" dt="2023-08-10T13:53:00.265" v="18782" actId="1076"/>
          <ac:spMkLst>
            <pc:docMk/>
            <pc:sldMk cId="1992674941" sldId="2147479691"/>
            <ac:spMk id="46" creationId="{60CDED0E-154B-CEA8-A8D1-926559581947}"/>
          </ac:spMkLst>
        </pc:spChg>
        <pc:spChg chg="add mod">
          <ac:chgData name="Cillian Bissett" userId="18acdefb-dc1c-4c50-939e-318027166849" providerId="ADAL" clId="{15DD1BBB-52BA-4F56-83A6-C14DD5C7258A}" dt="2023-08-10T13:53:06.927" v="18800" actId="20577"/>
          <ac:spMkLst>
            <pc:docMk/>
            <pc:sldMk cId="1992674941" sldId="2147479691"/>
            <ac:spMk id="47" creationId="{CC083A01-1B7B-34EA-0952-11B67D4723EA}"/>
          </ac:spMkLst>
        </pc:spChg>
        <pc:spChg chg="mod">
          <ac:chgData name="Cillian Bissett" userId="18acdefb-dc1c-4c50-939e-318027166849" providerId="ADAL" clId="{15DD1BBB-52BA-4F56-83A6-C14DD5C7258A}" dt="2023-08-10T09:49:21.959" v="18310" actId="1035"/>
          <ac:spMkLst>
            <pc:docMk/>
            <pc:sldMk cId="1992674941" sldId="2147479691"/>
            <ac:spMk id="82" creationId="{857976EF-AB3E-4B76-A483-6AC2CFD736FA}"/>
          </ac:spMkLst>
        </pc:spChg>
        <pc:spChg chg="mod">
          <ac:chgData name="Cillian Bissett" userId="18acdefb-dc1c-4c50-939e-318027166849" providerId="ADAL" clId="{15DD1BBB-52BA-4F56-83A6-C14DD5C7258A}" dt="2023-08-10T09:49:21.959" v="18310" actId="1035"/>
          <ac:spMkLst>
            <pc:docMk/>
            <pc:sldMk cId="1992674941" sldId="2147479691"/>
            <ac:spMk id="83" creationId="{B24CAAA0-182B-4AFB-AB85-B40272070A7F}"/>
          </ac:spMkLst>
        </pc:spChg>
        <pc:spChg chg="mod">
          <ac:chgData name="Cillian Bissett" userId="18acdefb-dc1c-4c50-939e-318027166849" providerId="ADAL" clId="{15DD1BBB-52BA-4F56-83A6-C14DD5C7258A}" dt="2023-08-10T09:26:14.923" v="18159" actId="14100"/>
          <ac:spMkLst>
            <pc:docMk/>
            <pc:sldMk cId="1992674941" sldId="2147479691"/>
            <ac:spMk id="84" creationId="{094A912F-3988-493B-9CFE-4A527FF2B477}"/>
          </ac:spMkLst>
        </pc:spChg>
        <pc:spChg chg="mod">
          <ac:chgData name="Cillian Bissett" userId="18acdefb-dc1c-4c50-939e-318027166849" providerId="ADAL" clId="{15DD1BBB-52BA-4F56-83A6-C14DD5C7258A}" dt="2023-08-10T09:49:21.959" v="18310" actId="1035"/>
          <ac:spMkLst>
            <pc:docMk/>
            <pc:sldMk cId="1992674941" sldId="2147479691"/>
            <ac:spMk id="85" creationId="{B95A80EE-9582-4EA3-B099-0224DDA9650D}"/>
          </ac:spMkLst>
        </pc:spChg>
        <pc:spChg chg="mod">
          <ac:chgData name="Cillian Bissett" userId="18acdefb-dc1c-4c50-939e-318027166849" providerId="ADAL" clId="{15DD1BBB-52BA-4F56-83A6-C14DD5C7258A}" dt="2023-08-10T13:47:20.854" v="18512" actId="1037"/>
          <ac:spMkLst>
            <pc:docMk/>
            <pc:sldMk cId="1992674941" sldId="2147479691"/>
            <ac:spMk id="96" creationId="{AC9CD18C-9FED-4E75-97ED-E3FA886A6051}"/>
          </ac:spMkLst>
        </pc:spChg>
        <pc:spChg chg="mod">
          <ac:chgData name="Cillian Bissett" userId="18acdefb-dc1c-4c50-939e-318027166849" providerId="ADAL" clId="{15DD1BBB-52BA-4F56-83A6-C14DD5C7258A}" dt="2023-08-10T13:49:40.362" v="18649" actId="552"/>
          <ac:spMkLst>
            <pc:docMk/>
            <pc:sldMk cId="1992674941" sldId="2147479691"/>
            <ac:spMk id="116" creationId="{F4321F32-9C7D-42D1-8F87-18195F7FA551}"/>
          </ac:spMkLst>
        </pc:spChg>
        <pc:spChg chg="mod">
          <ac:chgData name="Cillian Bissett" userId="18acdefb-dc1c-4c50-939e-318027166849" providerId="ADAL" clId="{15DD1BBB-52BA-4F56-83A6-C14DD5C7258A}" dt="2023-08-10T13:52:04.208" v="18735" actId="14100"/>
          <ac:spMkLst>
            <pc:docMk/>
            <pc:sldMk cId="1992674941" sldId="2147479691"/>
            <ac:spMk id="136" creationId="{C59A6CF4-A67B-4D80-B9F5-2B6703CD8EDB}"/>
          </ac:spMkLst>
        </pc:spChg>
        <pc:spChg chg="mod">
          <ac:chgData name="Cillian Bissett" userId="18acdefb-dc1c-4c50-939e-318027166849" providerId="ADAL" clId="{15DD1BBB-52BA-4F56-83A6-C14DD5C7258A}" dt="2023-08-10T09:51:53.927" v="18423" actId="14100"/>
          <ac:spMkLst>
            <pc:docMk/>
            <pc:sldMk cId="1992674941" sldId="2147479691"/>
            <ac:spMk id="223" creationId="{287652C3-6059-44C4-BE74-3C4FF31F9BA8}"/>
          </ac:spMkLst>
        </pc:spChg>
        <pc:spChg chg="mod">
          <ac:chgData name="Cillian Bissett" userId="18acdefb-dc1c-4c50-939e-318027166849" providerId="ADAL" clId="{15DD1BBB-52BA-4F56-83A6-C14DD5C7258A}" dt="2023-08-10T09:51:46.162" v="18413" actId="552"/>
          <ac:spMkLst>
            <pc:docMk/>
            <pc:sldMk cId="1992674941" sldId="2147479691"/>
            <ac:spMk id="225" creationId="{03D91CB3-7E0F-4EDA-BBC9-690B3ADB29BA}"/>
          </ac:spMkLst>
        </pc:spChg>
      </pc:sldChg>
    </pc:docChg>
  </pc:docChgLst>
  <pc:docChgLst>
    <pc:chgData name="Ahmed Helmy" userId="S::ahmed.helmy@ie.ey.com::00ab2dc9-190a-451b-8f35-a658adf790b2" providerId="AD" clId="Web-{38AE8E40-7192-3D00-F741-4992C289CCBC}"/>
    <pc:docChg chg="sldOrd">
      <pc:chgData name="Ahmed Helmy" userId="S::ahmed.helmy@ie.ey.com::00ab2dc9-190a-451b-8f35-a658adf790b2" providerId="AD" clId="Web-{38AE8E40-7192-3D00-F741-4992C289CCBC}" dt="2023-07-28T14:27:05.250" v="0"/>
      <pc:docMkLst>
        <pc:docMk/>
      </pc:docMkLst>
      <pc:sldChg chg="ord">
        <pc:chgData name="Ahmed Helmy" userId="S::ahmed.helmy@ie.ey.com::00ab2dc9-190a-451b-8f35-a658adf790b2" providerId="AD" clId="Web-{38AE8E40-7192-3D00-F741-4992C289CCBC}" dt="2023-07-28T14:27:05.250" v="0"/>
        <pc:sldMkLst>
          <pc:docMk/>
          <pc:sldMk cId="2703490332" sldId="2147473150"/>
        </pc:sldMkLst>
      </pc:sldChg>
    </pc:docChg>
  </pc:docChgLst>
  <pc:docChgLst>
    <pc:chgData name="Ahmed Helmy" userId="S::ahmed.helmy@ie.ey.com::00ab2dc9-190a-451b-8f35-a658adf790b2" providerId="AD" clId="Web-{44D71A12-BDDE-CAE0-E1D0-74F9B7439CA1}"/>
    <pc:docChg chg="modSld">
      <pc:chgData name="Ahmed Helmy" userId="S::ahmed.helmy@ie.ey.com::00ab2dc9-190a-451b-8f35-a658adf790b2" providerId="AD" clId="Web-{44D71A12-BDDE-CAE0-E1D0-74F9B7439CA1}" dt="2023-08-01T13:27:41.717" v="0" actId="1076"/>
      <pc:docMkLst>
        <pc:docMk/>
      </pc:docMkLst>
      <pc:sldChg chg="modSp">
        <pc:chgData name="Ahmed Helmy" userId="S::ahmed.helmy@ie.ey.com::00ab2dc9-190a-451b-8f35-a658adf790b2" providerId="AD" clId="Web-{44D71A12-BDDE-CAE0-E1D0-74F9B7439CA1}" dt="2023-08-01T13:27:41.717" v="0" actId="1076"/>
        <pc:sldMkLst>
          <pc:docMk/>
          <pc:sldMk cId="2395506064" sldId="2147479599"/>
        </pc:sldMkLst>
        <pc:spChg chg="mod">
          <ac:chgData name="Ahmed Helmy" userId="S::ahmed.helmy@ie.ey.com::00ab2dc9-190a-451b-8f35-a658adf790b2" providerId="AD" clId="Web-{44D71A12-BDDE-CAE0-E1D0-74F9B7439CA1}" dt="2023-08-01T13:27:41.717" v="0" actId="1076"/>
          <ac:spMkLst>
            <pc:docMk/>
            <pc:sldMk cId="2395506064" sldId="2147479599"/>
            <ac:spMk id="6" creationId="{DB57BDEC-391C-BDCB-C111-D57C96DB51A4}"/>
          </ac:spMkLst>
        </pc:spChg>
      </pc:sldChg>
    </pc:docChg>
  </pc:docChgLst>
  <pc:docChgLst>
    <pc:chgData name="Jeffrey Obi" userId="S::jeffrey.obi@ie.ey.com::488f269d-1fa2-455e-bf95-7695136a100d" providerId="AD" clId="Web-{92E2FC87-133E-FAA0-5558-7C00B7D65F93}"/>
    <pc:docChg chg="addSld delSld modSld modSection">
      <pc:chgData name="Jeffrey Obi" userId="S::jeffrey.obi@ie.ey.com::488f269d-1fa2-455e-bf95-7695136a100d" providerId="AD" clId="Web-{92E2FC87-133E-FAA0-5558-7C00B7D65F93}" dt="2023-07-27T15:08:48.030" v="700" actId="20577"/>
      <pc:docMkLst>
        <pc:docMk/>
      </pc:docMkLst>
      <pc:sldChg chg="modSp del">
        <pc:chgData name="Jeffrey Obi" userId="S::jeffrey.obi@ie.ey.com::488f269d-1fa2-455e-bf95-7695136a100d" providerId="AD" clId="Web-{92E2FC87-133E-FAA0-5558-7C00B7D65F93}" dt="2023-07-27T11:50:05.233" v="656"/>
        <pc:sldMkLst>
          <pc:docMk/>
          <pc:sldMk cId="4048977282" sldId="2147473169"/>
        </pc:sldMkLst>
        <pc:spChg chg="mod">
          <ac:chgData name="Jeffrey Obi" userId="S::jeffrey.obi@ie.ey.com::488f269d-1fa2-455e-bf95-7695136a100d" providerId="AD" clId="Web-{92E2FC87-133E-FAA0-5558-7C00B7D65F93}" dt="2023-07-27T11:43:29.114" v="601" actId="1076"/>
          <ac:spMkLst>
            <pc:docMk/>
            <pc:sldMk cId="4048977282" sldId="2147473169"/>
            <ac:spMk id="8" creationId="{7824D54C-15D2-467C-A016-166944D0781C}"/>
          </ac:spMkLst>
        </pc:spChg>
        <pc:spChg chg="mod">
          <ac:chgData name="Jeffrey Obi" userId="S::jeffrey.obi@ie.ey.com::488f269d-1fa2-455e-bf95-7695136a100d" providerId="AD" clId="Web-{92E2FC87-133E-FAA0-5558-7C00B7D65F93}" dt="2023-07-27T09:25:05.559" v="198" actId="20577"/>
          <ac:spMkLst>
            <pc:docMk/>
            <pc:sldMk cId="4048977282" sldId="2147473169"/>
            <ac:spMk id="11" creationId="{9EE04F04-F794-4453-963E-5CFBB6620A43}"/>
          </ac:spMkLst>
        </pc:spChg>
        <pc:spChg chg="mod">
          <ac:chgData name="Jeffrey Obi" userId="S::jeffrey.obi@ie.ey.com::488f269d-1fa2-455e-bf95-7695136a100d" providerId="AD" clId="Web-{92E2FC87-133E-FAA0-5558-7C00B7D65F93}" dt="2023-07-27T08:31:06.982" v="157" actId="20577"/>
          <ac:spMkLst>
            <pc:docMk/>
            <pc:sldMk cId="4048977282" sldId="2147473169"/>
            <ac:spMk id="12" creationId="{FB93CF21-DAD5-4B79-9666-F5B05BE3DD14}"/>
          </ac:spMkLst>
        </pc:spChg>
        <pc:spChg chg="mod">
          <ac:chgData name="Jeffrey Obi" userId="S::jeffrey.obi@ie.ey.com::488f269d-1fa2-455e-bf95-7695136a100d" providerId="AD" clId="Web-{92E2FC87-133E-FAA0-5558-7C00B7D65F93}" dt="2023-07-27T08:30:27.730" v="150" actId="20577"/>
          <ac:spMkLst>
            <pc:docMk/>
            <pc:sldMk cId="4048977282" sldId="2147473169"/>
            <ac:spMk id="13" creationId="{D642F10C-58A5-4B16-A89B-076AEE9416C7}"/>
          </ac:spMkLst>
        </pc:spChg>
      </pc:sldChg>
      <pc:sldChg chg="addSp delSp modSp">
        <pc:chgData name="Jeffrey Obi" userId="S::jeffrey.obi@ie.ey.com::488f269d-1fa2-455e-bf95-7695136a100d" providerId="AD" clId="Web-{92E2FC87-133E-FAA0-5558-7C00B7D65F93}" dt="2023-07-27T11:32:55.226" v="593" actId="1076"/>
        <pc:sldMkLst>
          <pc:docMk/>
          <pc:sldMk cId="3107324555" sldId="2147473173"/>
        </pc:sldMkLst>
        <pc:spChg chg="mod">
          <ac:chgData name="Jeffrey Obi" userId="S::jeffrey.obi@ie.ey.com::488f269d-1fa2-455e-bf95-7695136a100d" providerId="AD" clId="Web-{92E2FC87-133E-FAA0-5558-7C00B7D65F93}" dt="2023-07-27T11:32:55.226" v="591" actId="1076"/>
          <ac:spMkLst>
            <pc:docMk/>
            <pc:sldMk cId="3107324555" sldId="2147473173"/>
            <ac:spMk id="5" creationId="{242793DE-A96D-4BD0-A86A-8082B3CAE589}"/>
          </ac:spMkLst>
        </pc:spChg>
        <pc:spChg chg="mod">
          <ac:chgData name="Jeffrey Obi" userId="S::jeffrey.obi@ie.ey.com::488f269d-1fa2-455e-bf95-7695136a100d" providerId="AD" clId="Web-{92E2FC87-133E-FAA0-5558-7C00B7D65F93}" dt="2023-07-27T11:32:08.662" v="585"/>
          <ac:spMkLst>
            <pc:docMk/>
            <pc:sldMk cId="3107324555" sldId="2147473173"/>
            <ac:spMk id="6" creationId="{FA0200F9-E002-2731-4205-F750ABDCA6F9}"/>
          </ac:spMkLst>
        </pc:spChg>
        <pc:spChg chg="mod">
          <ac:chgData name="Jeffrey Obi" userId="S::jeffrey.obi@ie.ey.com::488f269d-1fa2-455e-bf95-7695136a100d" providerId="AD" clId="Web-{92E2FC87-133E-FAA0-5558-7C00B7D65F93}" dt="2023-07-27T11:32:02.896" v="580" actId="1076"/>
          <ac:spMkLst>
            <pc:docMk/>
            <pc:sldMk cId="3107324555" sldId="2147473173"/>
            <ac:spMk id="7" creationId="{CC82D0FD-5CAF-FDC1-ED30-0C5776218BA5}"/>
          </ac:spMkLst>
        </pc:spChg>
        <pc:spChg chg="mod">
          <ac:chgData name="Jeffrey Obi" userId="S::jeffrey.obi@ie.ey.com::488f269d-1fa2-455e-bf95-7695136a100d" providerId="AD" clId="Web-{92E2FC87-133E-FAA0-5558-7C00B7D65F93}" dt="2023-07-27T11:32:55.226" v="592" actId="1076"/>
          <ac:spMkLst>
            <pc:docMk/>
            <pc:sldMk cId="3107324555" sldId="2147473173"/>
            <ac:spMk id="16" creationId="{99598303-3493-44C8-A697-2DB710DCD143}"/>
          </ac:spMkLst>
        </pc:spChg>
        <pc:spChg chg="mod">
          <ac:chgData name="Jeffrey Obi" userId="S::jeffrey.obi@ie.ey.com::488f269d-1fa2-455e-bf95-7695136a100d" providerId="AD" clId="Web-{92E2FC87-133E-FAA0-5558-7C00B7D65F93}" dt="2023-07-27T11:32:55.226" v="593" actId="1076"/>
          <ac:spMkLst>
            <pc:docMk/>
            <pc:sldMk cId="3107324555" sldId="2147473173"/>
            <ac:spMk id="40" creationId="{D76B222C-769B-43FD-A5BD-1900879116BC}"/>
          </ac:spMkLst>
        </pc:spChg>
        <pc:spChg chg="mod">
          <ac:chgData name="Jeffrey Obi" userId="S::jeffrey.obi@ie.ey.com::488f269d-1fa2-455e-bf95-7695136a100d" providerId="AD" clId="Web-{92E2FC87-133E-FAA0-5558-7C00B7D65F93}" dt="2023-07-27T11:32:02.912" v="582" actId="1076"/>
          <ac:spMkLst>
            <pc:docMk/>
            <pc:sldMk cId="3107324555" sldId="2147473173"/>
            <ac:spMk id="45" creationId="{606070E4-F71A-4A28-BC52-885AC960DA76}"/>
          </ac:spMkLst>
        </pc:spChg>
        <pc:picChg chg="del mod">
          <ac:chgData name="Jeffrey Obi" userId="S::jeffrey.obi@ie.ey.com::488f269d-1fa2-455e-bf95-7695136a100d" providerId="AD" clId="Web-{92E2FC87-133E-FAA0-5558-7C00B7D65F93}" dt="2023-07-27T11:29:39.518" v="559"/>
          <ac:picMkLst>
            <pc:docMk/>
            <pc:sldMk cId="3107324555" sldId="2147473173"/>
            <ac:picMk id="2" creationId="{28C50210-4B13-6C30-EAB8-FDFB9586B8B8}"/>
          </ac:picMkLst>
        </pc:picChg>
        <pc:picChg chg="mod">
          <ac:chgData name="Jeffrey Obi" userId="S::jeffrey.obi@ie.ey.com::488f269d-1fa2-455e-bf95-7695136a100d" providerId="AD" clId="Web-{92E2FC87-133E-FAA0-5558-7C00B7D65F93}" dt="2023-07-27T09:30:02.742" v="530" actId="1076"/>
          <ac:picMkLst>
            <pc:docMk/>
            <pc:sldMk cId="3107324555" sldId="2147473173"/>
            <ac:picMk id="3" creationId="{AA975C4F-840E-49B1-964A-5E55E535E4D7}"/>
          </ac:picMkLst>
        </pc:picChg>
        <pc:picChg chg="add mod">
          <ac:chgData name="Jeffrey Obi" userId="S::jeffrey.obi@ie.ey.com::488f269d-1fa2-455e-bf95-7695136a100d" providerId="AD" clId="Web-{92E2FC87-133E-FAA0-5558-7C00B7D65F93}" dt="2023-07-27T09:30:21.102" v="533" actId="14100"/>
          <ac:picMkLst>
            <pc:docMk/>
            <pc:sldMk cId="3107324555" sldId="2147473173"/>
            <ac:picMk id="9" creationId="{07F1C5B2-08F7-8B7F-2426-6577C3B420C5}"/>
          </ac:picMkLst>
        </pc:picChg>
      </pc:sldChg>
      <pc:sldChg chg="modSp">
        <pc:chgData name="Jeffrey Obi" userId="S::jeffrey.obi@ie.ey.com::488f269d-1fa2-455e-bf95-7695136a100d" providerId="AD" clId="Web-{92E2FC87-133E-FAA0-5558-7C00B7D65F93}" dt="2023-07-27T15:08:48.030" v="700" actId="20577"/>
        <pc:sldMkLst>
          <pc:docMk/>
          <pc:sldMk cId="4281992946" sldId="2147479607"/>
        </pc:sldMkLst>
        <pc:spChg chg="mod">
          <ac:chgData name="Jeffrey Obi" userId="S::jeffrey.obi@ie.ey.com::488f269d-1fa2-455e-bf95-7695136a100d" providerId="AD" clId="Web-{92E2FC87-133E-FAA0-5558-7C00B7D65F93}" dt="2023-07-27T15:08:48.030" v="700" actId="20577"/>
          <ac:spMkLst>
            <pc:docMk/>
            <pc:sldMk cId="4281992946" sldId="2147479607"/>
            <ac:spMk id="13" creationId="{D642F10C-58A5-4B16-A89B-076AEE9416C7}"/>
          </ac:spMkLst>
        </pc:spChg>
      </pc:sldChg>
      <pc:sldChg chg="modSp">
        <pc:chgData name="Jeffrey Obi" userId="S::jeffrey.obi@ie.ey.com::488f269d-1fa2-455e-bf95-7695136a100d" providerId="AD" clId="Web-{92E2FC87-133E-FAA0-5558-7C00B7D65F93}" dt="2023-07-27T11:59:31.166" v="696" actId="20577"/>
        <pc:sldMkLst>
          <pc:docMk/>
          <pc:sldMk cId="2192119907" sldId="2147479608"/>
        </pc:sldMkLst>
        <pc:spChg chg="mod">
          <ac:chgData name="Jeffrey Obi" userId="S::jeffrey.obi@ie.ey.com::488f269d-1fa2-455e-bf95-7695136a100d" providerId="AD" clId="Web-{92E2FC87-133E-FAA0-5558-7C00B7D65F93}" dt="2023-07-27T08:26:49.097" v="111" actId="20577"/>
          <ac:spMkLst>
            <pc:docMk/>
            <pc:sldMk cId="2192119907" sldId="2147479608"/>
            <ac:spMk id="11" creationId="{9EE04F04-F794-4453-963E-5CFBB6620A43}"/>
          </ac:spMkLst>
        </pc:spChg>
        <pc:spChg chg="mod">
          <ac:chgData name="Jeffrey Obi" userId="S::jeffrey.obi@ie.ey.com::488f269d-1fa2-455e-bf95-7695136a100d" providerId="AD" clId="Web-{92E2FC87-133E-FAA0-5558-7C00B7D65F93}" dt="2023-07-27T08:25:23.906" v="81" actId="20577"/>
          <ac:spMkLst>
            <pc:docMk/>
            <pc:sldMk cId="2192119907" sldId="2147479608"/>
            <ac:spMk id="12" creationId="{FB93CF21-DAD5-4B79-9666-F5B05BE3DD14}"/>
          </ac:spMkLst>
        </pc:spChg>
        <pc:spChg chg="mod">
          <ac:chgData name="Jeffrey Obi" userId="S::jeffrey.obi@ie.ey.com::488f269d-1fa2-455e-bf95-7695136a100d" providerId="AD" clId="Web-{92E2FC87-133E-FAA0-5558-7C00B7D65F93}" dt="2023-07-27T11:59:31.166" v="696" actId="20577"/>
          <ac:spMkLst>
            <pc:docMk/>
            <pc:sldMk cId="2192119907" sldId="2147479608"/>
            <ac:spMk id="13" creationId="{D642F10C-58A5-4B16-A89B-076AEE9416C7}"/>
          </ac:spMkLst>
        </pc:spChg>
      </pc:sldChg>
      <pc:sldChg chg="modSp">
        <pc:chgData name="Jeffrey Obi" userId="S::jeffrey.obi@ie.ey.com::488f269d-1fa2-455e-bf95-7695136a100d" providerId="AD" clId="Web-{92E2FC87-133E-FAA0-5558-7C00B7D65F93}" dt="2023-07-27T11:39:46.890" v="595" actId="1076"/>
        <pc:sldMkLst>
          <pc:docMk/>
          <pc:sldMk cId="3831876268" sldId="2147479642"/>
        </pc:sldMkLst>
        <pc:spChg chg="mod">
          <ac:chgData name="Jeffrey Obi" userId="S::jeffrey.obi@ie.ey.com::488f269d-1fa2-455e-bf95-7695136a100d" providerId="AD" clId="Web-{92E2FC87-133E-FAA0-5558-7C00B7D65F93}" dt="2023-07-27T11:39:26.999" v="594" actId="1076"/>
          <ac:spMkLst>
            <pc:docMk/>
            <pc:sldMk cId="3831876268" sldId="2147479642"/>
            <ac:spMk id="6" creationId="{D6B3904C-298A-03C4-17A9-9F7CC2E8F5BA}"/>
          </ac:spMkLst>
        </pc:spChg>
        <pc:picChg chg="mod">
          <ac:chgData name="Jeffrey Obi" userId="S::jeffrey.obi@ie.ey.com::488f269d-1fa2-455e-bf95-7695136a100d" providerId="AD" clId="Web-{92E2FC87-133E-FAA0-5558-7C00B7D65F93}" dt="2023-07-27T11:39:46.890" v="595" actId="1076"/>
          <ac:picMkLst>
            <pc:docMk/>
            <pc:sldMk cId="3831876268" sldId="2147479642"/>
            <ac:picMk id="2" creationId="{256E2374-EF67-F09A-46A7-2CDF0094E05B}"/>
          </ac:picMkLst>
        </pc:picChg>
      </pc:sldChg>
      <pc:sldChg chg="modSp">
        <pc:chgData name="Jeffrey Obi" userId="S::jeffrey.obi@ie.ey.com::488f269d-1fa2-455e-bf95-7695136a100d" providerId="AD" clId="Web-{92E2FC87-133E-FAA0-5558-7C00B7D65F93}" dt="2023-07-27T09:18:42.357" v="178"/>
        <pc:sldMkLst>
          <pc:docMk/>
          <pc:sldMk cId="2915504962" sldId="2147479644"/>
        </pc:sldMkLst>
        <pc:graphicFrameChg chg="mod modGraphic">
          <ac:chgData name="Jeffrey Obi" userId="S::jeffrey.obi@ie.ey.com::488f269d-1fa2-455e-bf95-7695136a100d" providerId="AD" clId="Web-{92E2FC87-133E-FAA0-5558-7C00B7D65F93}" dt="2023-07-27T09:18:42.357" v="178"/>
          <ac:graphicFrameMkLst>
            <pc:docMk/>
            <pc:sldMk cId="2915504962" sldId="2147479644"/>
            <ac:graphicFrameMk id="10" creationId="{C373DE96-CF83-C1C7-EAE3-76F41D608563}"/>
          </ac:graphicFrameMkLst>
        </pc:graphicFrameChg>
      </pc:sldChg>
      <pc:sldChg chg="addSp delSp modSp new">
        <pc:chgData name="Jeffrey Obi" userId="S::jeffrey.obi@ie.ey.com::488f269d-1fa2-455e-bf95-7695136a100d" providerId="AD" clId="Web-{92E2FC87-133E-FAA0-5558-7C00B7D65F93}" dt="2023-07-27T15:07:56.964" v="698"/>
        <pc:sldMkLst>
          <pc:docMk/>
          <pc:sldMk cId="1066138" sldId="2147479646"/>
        </pc:sldMkLst>
        <pc:spChg chg="del">
          <ac:chgData name="Jeffrey Obi" userId="S::jeffrey.obi@ie.ey.com::488f269d-1fa2-455e-bf95-7695136a100d" providerId="AD" clId="Web-{92E2FC87-133E-FAA0-5558-7C00B7D65F93}" dt="2023-07-27T11:43:00.082" v="597"/>
          <ac:spMkLst>
            <pc:docMk/>
            <pc:sldMk cId="1066138" sldId="2147479646"/>
            <ac:spMk id="2" creationId="{8B5ED63E-A5A1-19B4-9EBE-3DD0E76FA5A6}"/>
          </ac:spMkLst>
        </pc:spChg>
        <pc:spChg chg="del">
          <ac:chgData name="Jeffrey Obi" userId="S::jeffrey.obi@ie.ey.com::488f269d-1fa2-455e-bf95-7695136a100d" providerId="AD" clId="Web-{92E2FC87-133E-FAA0-5558-7C00B7D65F93}" dt="2023-07-27T11:43:02.879" v="598"/>
          <ac:spMkLst>
            <pc:docMk/>
            <pc:sldMk cId="1066138" sldId="2147479646"/>
            <ac:spMk id="3" creationId="{AFB2A57A-48AE-25A2-5299-842501252D75}"/>
          </ac:spMkLst>
        </pc:spChg>
        <pc:spChg chg="add del">
          <ac:chgData name="Jeffrey Obi" userId="S::jeffrey.obi@ie.ey.com::488f269d-1fa2-455e-bf95-7695136a100d" providerId="AD" clId="Web-{92E2FC87-133E-FAA0-5558-7C00B7D65F93}" dt="2023-07-27T11:43:39.614" v="603"/>
          <ac:spMkLst>
            <pc:docMk/>
            <pc:sldMk cId="1066138" sldId="2147479646"/>
            <ac:spMk id="4" creationId="{D270E8E5-515D-9DFB-1FED-2CD77F9C51FA}"/>
          </ac:spMkLst>
        </pc:spChg>
        <pc:spChg chg="add del mod">
          <ac:chgData name="Jeffrey Obi" userId="S::jeffrey.obi@ie.ey.com::488f269d-1fa2-455e-bf95-7695136a100d" providerId="AD" clId="Web-{92E2FC87-133E-FAA0-5558-7C00B7D65F93}" dt="2023-07-27T11:44:26.521" v="611" actId="1076"/>
          <ac:spMkLst>
            <pc:docMk/>
            <pc:sldMk cId="1066138" sldId="2147479646"/>
            <ac:spMk id="6" creationId="{375A8375-8BDA-8591-7CD2-CF1F98D8E40F}"/>
          </ac:spMkLst>
        </pc:spChg>
        <pc:spChg chg="add mod">
          <ac:chgData name="Jeffrey Obi" userId="S::jeffrey.obi@ie.ey.com::488f269d-1fa2-455e-bf95-7695136a100d" providerId="AD" clId="Web-{92E2FC87-133E-FAA0-5558-7C00B7D65F93}" dt="2023-07-27T11:45:39.851" v="635" actId="1076"/>
          <ac:spMkLst>
            <pc:docMk/>
            <pc:sldMk cId="1066138" sldId="2147479646"/>
            <ac:spMk id="8" creationId="{B60A0EA7-BFC8-2138-B2E4-1DB2C7A4A750}"/>
          </ac:spMkLst>
        </pc:spChg>
        <pc:spChg chg="add mod">
          <ac:chgData name="Jeffrey Obi" userId="S::jeffrey.obi@ie.ey.com::488f269d-1fa2-455e-bf95-7695136a100d" providerId="AD" clId="Web-{92E2FC87-133E-FAA0-5558-7C00B7D65F93}" dt="2023-07-27T11:45:39.851" v="634" actId="1076"/>
          <ac:spMkLst>
            <pc:docMk/>
            <pc:sldMk cId="1066138" sldId="2147479646"/>
            <ac:spMk id="10" creationId="{94BC6B52-470B-4F59-4E4C-58B5DCC1F763}"/>
          </ac:spMkLst>
        </pc:spChg>
        <pc:spChg chg="add mod">
          <ac:chgData name="Jeffrey Obi" userId="S::jeffrey.obi@ie.ey.com::488f269d-1fa2-455e-bf95-7695136a100d" providerId="AD" clId="Web-{92E2FC87-133E-FAA0-5558-7C00B7D65F93}" dt="2023-07-27T11:45:39.851" v="633" actId="1076"/>
          <ac:spMkLst>
            <pc:docMk/>
            <pc:sldMk cId="1066138" sldId="2147479646"/>
            <ac:spMk id="12" creationId="{255B8FE5-3EF6-EAFF-2ABD-5DC3003D7693}"/>
          </ac:spMkLst>
        </pc:spChg>
        <pc:spChg chg="add mod">
          <ac:chgData name="Jeffrey Obi" userId="S::jeffrey.obi@ie.ey.com::488f269d-1fa2-455e-bf95-7695136a100d" providerId="AD" clId="Web-{92E2FC87-133E-FAA0-5558-7C00B7D65F93}" dt="2023-07-27T11:54:43.176" v="680" actId="20577"/>
          <ac:spMkLst>
            <pc:docMk/>
            <pc:sldMk cId="1066138" sldId="2147479646"/>
            <ac:spMk id="14" creationId="{E8A55644-11AD-FD70-1A30-6A95013BD141}"/>
          </ac:spMkLst>
        </pc:spChg>
        <pc:spChg chg="add mod">
          <ac:chgData name="Jeffrey Obi" userId="S::jeffrey.obi@ie.ey.com::488f269d-1fa2-455e-bf95-7695136a100d" providerId="AD" clId="Web-{92E2FC87-133E-FAA0-5558-7C00B7D65F93}" dt="2023-07-27T11:56:07.631" v="689" actId="20577"/>
          <ac:spMkLst>
            <pc:docMk/>
            <pc:sldMk cId="1066138" sldId="2147479646"/>
            <ac:spMk id="16" creationId="{E1F487BF-2DB8-5EDD-C394-30A9E2FAAF66}"/>
          </ac:spMkLst>
        </pc:spChg>
        <pc:spChg chg="add mod">
          <ac:chgData name="Jeffrey Obi" userId="S::jeffrey.obi@ie.ey.com::488f269d-1fa2-455e-bf95-7695136a100d" providerId="AD" clId="Web-{92E2FC87-133E-FAA0-5558-7C00B7D65F93}" dt="2023-07-27T11:55:45.584" v="687" actId="20577"/>
          <ac:spMkLst>
            <pc:docMk/>
            <pc:sldMk cId="1066138" sldId="2147479646"/>
            <ac:spMk id="18" creationId="{CF0BC8A6-1F16-21B1-A715-9879FE7EE926}"/>
          </ac:spMkLst>
        </pc:spChg>
        <pc:spChg chg="add mod">
          <ac:chgData name="Jeffrey Obi" userId="S::jeffrey.obi@ie.ey.com::488f269d-1fa2-455e-bf95-7695136a100d" providerId="AD" clId="Web-{92E2FC87-133E-FAA0-5558-7C00B7D65F93}" dt="2023-07-27T11:45:39.851" v="628" actId="1076"/>
          <ac:spMkLst>
            <pc:docMk/>
            <pc:sldMk cId="1066138" sldId="2147479646"/>
            <ac:spMk id="22" creationId="{AA265383-9421-C2D4-AA09-19FC73F89E9C}"/>
          </ac:spMkLst>
        </pc:spChg>
        <pc:picChg chg="add del mod">
          <ac:chgData name="Jeffrey Obi" userId="S::jeffrey.obi@ie.ey.com::488f269d-1fa2-455e-bf95-7695136a100d" providerId="AD" clId="Web-{92E2FC87-133E-FAA0-5558-7C00B7D65F93}" dt="2023-07-27T15:07:56.964" v="698"/>
          <ac:picMkLst>
            <pc:docMk/>
            <pc:sldMk cId="1066138" sldId="2147479646"/>
            <ac:picMk id="20" creationId="{3E143DFB-1E19-43CD-A487-E5C5D4F84ACB}"/>
          </ac:picMkLst>
        </pc:picChg>
      </pc:sldChg>
    </pc:docChg>
  </pc:docChgLst>
  <pc:docChgLst>
    <pc:chgData name="Ahmed Helmy" userId="S::ahmed.helmy@ie.ey.com::00ab2dc9-190a-451b-8f35-a658adf790b2" providerId="AD" clId="Web-{A5EF1921-7226-FC9B-EFF8-45C9F8DE90B1}"/>
    <pc:docChg chg="modSld">
      <pc:chgData name="Ahmed Helmy" userId="S::ahmed.helmy@ie.ey.com::00ab2dc9-190a-451b-8f35-a658adf790b2" providerId="AD" clId="Web-{A5EF1921-7226-FC9B-EFF8-45C9F8DE90B1}" dt="2023-08-10T16:33:44.764" v="983"/>
      <pc:docMkLst>
        <pc:docMk/>
      </pc:docMkLst>
      <pc:sldChg chg="modSp">
        <pc:chgData name="Ahmed Helmy" userId="S::ahmed.helmy@ie.ey.com::00ab2dc9-190a-451b-8f35-a658adf790b2" providerId="AD" clId="Web-{A5EF1921-7226-FC9B-EFF8-45C9F8DE90B1}" dt="2023-08-10T16:33:44.764" v="983"/>
        <pc:sldMkLst>
          <pc:docMk/>
          <pc:sldMk cId="653093163" sldId="2147473164"/>
        </pc:sldMkLst>
        <pc:graphicFrameChg chg="mod modGraphic">
          <ac:chgData name="Ahmed Helmy" userId="S::ahmed.helmy@ie.ey.com::00ab2dc9-190a-451b-8f35-a658adf790b2" providerId="AD" clId="Web-{A5EF1921-7226-FC9B-EFF8-45C9F8DE90B1}" dt="2023-08-10T16:33:44.764" v="983"/>
          <ac:graphicFrameMkLst>
            <pc:docMk/>
            <pc:sldMk cId="653093163" sldId="2147473164"/>
            <ac:graphicFrameMk id="10" creationId="{DEF1C875-55F5-40A5-AF79-1EF6B560E6B8}"/>
          </ac:graphicFrameMkLst>
        </pc:graphicFrameChg>
      </pc:sldChg>
    </pc:docChg>
  </pc:docChgLst>
  <pc:docChgLst>
    <pc:chgData name="Jeffrey Obi" userId="S::jeffrey.obi@ie.ey.com::488f269d-1fa2-455e-bf95-7695136a100d" providerId="AD" clId="Web-{CC9FA4A6-D34E-9A90-7311-E9C1BA6D558C}"/>
    <pc:docChg chg="modSld">
      <pc:chgData name="Jeffrey Obi" userId="S::jeffrey.obi@ie.ey.com::488f269d-1fa2-455e-bf95-7695136a100d" providerId="AD" clId="Web-{CC9FA4A6-D34E-9A90-7311-E9C1BA6D558C}" dt="2023-07-31T09:13:14.315" v="119" actId="20577"/>
      <pc:docMkLst>
        <pc:docMk/>
      </pc:docMkLst>
      <pc:sldChg chg="modSp">
        <pc:chgData name="Jeffrey Obi" userId="S::jeffrey.obi@ie.ey.com::488f269d-1fa2-455e-bf95-7695136a100d" providerId="AD" clId="Web-{CC9FA4A6-D34E-9A90-7311-E9C1BA6D558C}" dt="2023-07-31T09:13:14.315" v="119" actId="20577"/>
        <pc:sldMkLst>
          <pc:docMk/>
          <pc:sldMk cId="4281992946" sldId="2147479607"/>
        </pc:sldMkLst>
        <pc:spChg chg="mod">
          <ac:chgData name="Jeffrey Obi" userId="S::jeffrey.obi@ie.ey.com::488f269d-1fa2-455e-bf95-7695136a100d" providerId="AD" clId="Web-{CC9FA4A6-D34E-9A90-7311-E9C1BA6D558C}" dt="2023-07-31T09:13:14.315" v="119" actId="20577"/>
          <ac:spMkLst>
            <pc:docMk/>
            <pc:sldMk cId="4281992946" sldId="2147479607"/>
            <ac:spMk id="11" creationId="{9EE04F04-F794-4453-963E-5CFBB6620A43}"/>
          </ac:spMkLst>
        </pc:spChg>
        <pc:spChg chg="mod">
          <ac:chgData name="Jeffrey Obi" userId="S::jeffrey.obi@ie.ey.com::488f269d-1fa2-455e-bf95-7695136a100d" providerId="AD" clId="Web-{CC9FA4A6-D34E-9A90-7311-E9C1BA6D558C}" dt="2023-07-31T09:00:14.039" v="35" actId="20577"/>
          <ac:spMkLst>
            <pc:docMk/>
            <pc:sldMk cId="4281992946" sldId="2147479607"/>
            <ac:spMk id="12" creationId="{FB93CF21-DAD5-4B79-9666-F5B05BE3DD14}"/>
          </ac:spMkLst>
        </pc:spChg>
        <pc:spChg chg="mod">
          <ac:chgData name="Jeffrey Obi" userId="S::jeffrey.obi@ie.ey.com::488f269d-1fa2-455e-bf95-7695136a100d" providerId="AD" clId="Web-{CC9FA4A6-D34E-9A90-7311-E9C1BA6D558C}" dt="2023-07-31T09:11:11.514" v="97" actId="20577"/>
          <ac:spMkLst>
            <pc:docMk/>
            <pc:sldMk cId="4281992946" sldId="2147479607"/>
            <ac:spMk id="13" creationId="{D642F10C-58A5-4B16-A89B-076AEE9416C7}"/>
          </ac:spMkLst>
        </pc:spChg>
      </pc:sldChg>
      <pc:sldChg chg="modSp">
        <pc:chgData name="Jeffrey Obi" userId="S::jeffrey.obi@ie.ey.com::488f269d-1fa2-455e-bf95-7695136a100d" providerId="AD" clId="Web-{CC9FA4A6-D34E-9A90-7311-E9C1BA6D558C}" dt="2023-07-31T09:11:48.625" v="103" actId="20577"/>
        <pc:sldMkLst>
          <pc:docMk/>
          <pc:sldMk cId="1066138" sldId="2147479646"/>
        </pc:sldMkLst>
        <pc:spChg chg="mod">
          <ac:chgData name="Jeffrey Obi" userId="S::jeffrey.obi@ie.ey.com::488f269d-1fa2-455e-bf95-7695136a100d" providerId="AD" clId="Web-{CC9FA4A6-D34E-9A90-7311-E9C1BA6D558C}" dt="2023-07-31T09:11:33.999" v="99" actId="20577"/>
          <ac:spMkLst>
            <pc:docMk/>
            <pc:sldMk cId="1066138" sldId="2147479646"/>
            <ac:spMk id="14" creationId="{E8A55644-11AD-FD70-1A30-6A95013BD141}"/>
          </ac:spMkLst>
        </pc:spChg>
        <pc:spChg chg="mod">
          <ac:chgData name="Jeffrey Obi" userId="S::jeffrey.obi@ie.ey.com::488f269d-1fa2-455e-bf95-7695136a100d" providerId="AD" clId="Web-{CC9FA4A6-D34E-9A90-7311-E9C1BA6D558C}" dt="2023-07-31T09:11:39.968" v="101" actId="20577"/>
          <ac:spMkLst>
            <pc:docMk/>
            <pc:sldMk cId="1066138" sldId="2147479646"/>
            <ac:spMk id="16" creationId="{E1F487BF-2DB8-5EDD-C394-30A9E2FAAF66}"/>
          </ac:spMkLst>
        </pc:spChg>
        <pc:spChg chg="mod">
          <ac:chgData name="Jeffrey Obi" userId="S::jeffrey.obi@ie.ey.com::488f269d-1fa2-455e-bf95-7695136a100d" providerId="AD" clId="Web-{CC9FA4A6-D34E-9A90-7311-E9C1BA6D558C}" dt="2023-07-31T09:11:48.625" v="103" actId="20577"/>
          <ac:spMkLst>
            <pc:docMk/>
            <pc:sldMk cId="1066138" sldId="2147479646"/>
            <ac:spMk id="18" creationId="{CF0BC8A6-1F16-21B1-A715-9879FE7EE926}"/>
          </ac:spMkLst>
        </pc:spChg>
      </pc:sldChg>
    </pc:docChg>
  </pc:docChgLst>
  <pc:docChgLst>
    <pc:chgData name="Oyinlola Popoola" userId="a37a7fb2-f7f6-4757-8251-1f366d06d62b" providerId="ADAL" clId="{12068727-2694-40B1-8894-C4855D958E1B}"/>
    <pc:docChg chg="undo redo custSel addSld delSld modSld sldOrd addMainMaster modMainMaster modSection">
      <pc:chgData name="Oyinlola Popoola" userId="a37a7fb2-f7f6-4757-8251-1f366d06d62b" providerId="ADAL" clId="{12068727-2694-40B1-8894-C4855D958E1B}" dt="2023-08-15T14:07:13.071" v="6024" actId="14100"/>
      <pc:docMkLst>
        <pc:docMk/>
      </pc:docMkLst>
      <pc:sldChg chg="addSp delSp modSp mod setBg">
        <pc:chgData name="Oyinlola Popoola" userId="a37a7fb2-f7f6-4757-8251-1f366d06d62b" providerId="ADAL" clId="{12068727-2694-40B1-8894-C4855D958E1B}" dt="2023-08-15T10:52:03.322" v="5915" actId="1076"/>
        <pc:sldMkLst>
          <pc:docMk/>
          <pc:sldMk cId="1674630032" sldId="329"/>
        </pc:sldMkLst>
        <pc:spChg chg="add del mod ord">
          <ac:chgData name="Oyinlola Popoola" userId="a37a7fb2-f7f6-4757-8251-1f366d06d62b" providerId="ADAL" clId="{12068727-2694-40B1-8894-C4855D958E1B}" dt="2023-07-31T11:07:13.352" v="5200" actId="11529"/>
          <ac:spMkLst>
            <pc:docMk/>
            <pc:sldMk cId="1674630032" sldId="329"/>
            <ac:spMk id="2" creationId="{3E2A6E7F-96F6-4DFA-A649-6AC72A8CFF36}"/>
          </ac:spMkLst>
        </pc:spChg>
        <pc:spChg chg="mod">
          <ac:chgData name="Oyinlola Popoola" userId="a37a7fb2-f7f6-4757-8251-1f366d06d62b" providerId="ADAL" clId="{12068727-2694-40B1-8894-C4855D958E1B}" dt="2023-08-15T10:52:03.322" v="5915" actId="1076"/>
          <ac:spMkLst>
            <pc:docMk/>
            <pc:sldMk cId="1674630032" sldId="329"/>
            <ac:spMk id="4" creationId="{1A081074-81FC-4714-8D93-75333A22E593}"/>
          </ac:spMkLst>
        </pc:spChg>
        <pc:spChg chg="mod">
          <ac:chgData name="Oyinlola Popoola" userId="a37a7fb2-f7f6-4757-8251-1f366d06d62b" providerId="ADAL" clId="{12068727-2694-40B1-8894-C4855D958E1B}" dt="2023-08-15T10:51:51.711" v="5914" actId="20577"/>
          <ac:spMkLst>
            <pc:docMk/>
            <pc:sldMk cId="1674630032" sldId="329"/>
            <ac:spMk id="5" creationId="{39328D13-F5F8-4305-A1FC-87F650884996}"/>
          </ac:spMkLst>
        </pc:spChg>
      </pc:sldChg>
      <pc:sldChg chg="add del setBg">
        <pc:chgData name="Oyinlola Popoola" userId="a37a7fb2-f7f6-4757-8251-1f366d06d62b" providerId="ADAL" clId="{12068727-2694-40B1-8894-C4855D958E1B}" dt="2023-07-31T10:35:38.180" v="4800"/>
        <pc:sldMkLst>
          <pc:docMk/>
          <pc:sldMk cId="3770532317" sldId="5297"/>
        </pc:sldMkLst>
      </pc:sldChg>
      <pc:sldChg chg="del">
        <pc:chgData name="Oyinlola Popoola" userId="a37a7fb2-f7f6-4757-8251-1f366d06d62b" providerId="ADAL" clId="{12068727-2694-40B1-8894-C4855D958E1B}" dt="2023-07-31T10:50:04.463" v="5053" actId="2696"/>
        <pc:sldMkLst>
          <pc:docMk/>
          <pc:sldMk cId="633734048" sldId="2142535106"/>
        </pc:sldMkLst>
      </pc:sldChg>
      <pc:sldChg chg="modSp mod setBg">
        <pc:chgData name="Oyinlola Popoola" userId="a37a7fb2-f7f6-4757-8251-1f366d06d62b" providerId="ADAL" clId="{12068727-2694-40B1-8894-C4855D958E1B}" dt="2023-08-15T10:57:15.946" v="5923" actId="1076"/>
        <pc:sldMkLst>
          <pc:docMk/>
          <pc:sldMk cId="3505510019" sldId="2142535109"/>
        </pc:sldMkLst>
        <pc:spChg chg="mod">
          <ac:chgData name="Oyinlola Popoola" userId="a37a7fb2-f7f6-4757-8251-1f366d06d62b" providerId="ADAL" clId="{12068727-2694-40B1-8894-C4855D958E1B}" dt="2023-07-31T11:02:14.222" v="5177" actId="207"/>
          <ac:spMkLst>
            <pc:docMk/>
            <pc:sldMk cId="3505510019" sldId="2142535109"/>
            <ac:spMk id="3" creationId="{54653C93-EE7D-BEDF-D2B4-67B3FBB2F9ED}"/>
          </ac:spMkLst>
        </pc:spChg>
        <pc:spChg chg="mod">
          <ac:chgData name="Oyinlola Popoola" userId="a37a7fb2-f7f6-4757-8251-1f366d06d62b" providerId="ADAL" clId="{12068727-2694-40B1-8894-C4855D958E1B}" dt="2023-08-15T10:57:15.946" v="5923" actId="1076"/>
          <ac:spMkLst>
            <pc:docMk/>
            <pc:sldMk cId="3505510019" sldId="2142535109"/>
            <ac:spMk id="4" creationId="{E432C490-8501-4DEB-9800-36DD8F00D9DA}"/>
          </ac:spMkLst>
        </pc:spChg>
        <pc:spChg chg="mod">
          <ac:chgData name="Oyinlola Popoola" userId="a37a7fb2-f7f6-4757-8251-1f366d06d62b" providerId="ADAL" clId="{12068727-2694-40B1-8894-C4855D958E1B}" dt="2023-08-15T10:57:06.620" v="5922" actId="20577"/>
          <ac:spMkLst>
            <pc:docMk/>
            <pc:sldMk cId="3505510019" sldId="2142535109"/>
            <ac:spMk id="5" creationId="{82ACE101-9079-4B28-90D1-41FFC709BAB0}"/>
          </ac:spMkLst>
        </pc:spChg>
      </pc:sldChg>
      <pc:sldChg chg="modSp mod setBg">
        <pc:chgData name="Oyinlola Popoola" userId="a37a7fb2-f7f6-4757-8251-1f366d06d62b" providerId="ADAL" clId="{12068727-2694-40B1-8894-C4855D958E1B}" dt="2023-07-31T11:00:59.301" v="5176"/>
        <pc:sldMkLst>
          <pc:docMk/>
          <pc:sldMk cId="1569982749" sldId="2142535160"/>
        </pc:sldMkLst>
        <pc:spChg chg="mod">
          <ac:chgData name="Oyinlola Popoola" userId="a37a7fb2-f7f6-4757-8251-1f366d06d62b" providerId="ADAL" clId="{12068727-2694-40B1-8894-C4855D958E1B}" dt="2023-07-31T10:51:40.951" v="5103" actId="207"/>
          <ac:spMkLst>
            <pc:docMk/>
            <pc:sldMk cId="1569982749" sldId="2142535160"/>
            <ac:spMk id="2" creationId="{F6509F0A-76E8-327B-FC3F-309E67BA2FF6}"/>
          </ac:spMkLst>
        </pc:spChg>
        <pc:spChg chg="mod">
          <ac:chgData name="Oyinlola Popoola" userId="a37a7fb2-f7f6-4757-8251-1f366d06d62b" providerId="ADAL" clId="{12068727-2694-40B1-8894-C4855D958E1B}" dt="2023-07-31T10:52:30.158" v="5111" actId="207"/>
          <ac:spMkLst>
            <pc:docMk/>
            <pc:sldMk cId="1569982749" sldId="2142535160"/>
            <ac:spMk id="3" creationId="{A8980307-3BD1-45D9-93CC-5318A49838A0}"/>
          </ac:spMkLst>
        </pc:spChg>
        <pc:spChg chg="mod">
          <ac:chgData name="Oyinlola Popoola" userId="a37a7fb2-f7f6-4757-8251-1f366d06d62b" providerId="ADAL" clId="{12068727-2694-40B1-8894-C4855D958E1B}" dt="2023-07-31T10:51:47.244" v="5106" actId="207"/>
          <ac:spMkLst>
            <pc:docMk/>
            <pc:sldMk cId="1569982749" sldId="2142535160"/>
            <ac:spMk id="4" creationId="{000C7826-6AF1-7E39-A47F-526D03FE600C}"/>
          </ac:spMkLst>
        </pc:spChg>
        <pc:spChg chg="mod">
          <ac:chgData name="Oyinlola Popoola" userId="a37a7fb2-f7f6-4757-8251-1f366d06d62b" providerId="ADAL" clId="{12068727-2694-40B1-8894-C4855D958E1B}" dt="2023-07-31T10:51:52.479" v="5109" actId="207"/>
          <ac:spMkLst>
            <pc:docMk/>
            <pc:sldMk cId="1569982749" sldId="2142535160"/>
            <ac:spMk id="5" creationId="{A078B296-1339-EF0E-8B97-0A3F7D290E85}"/>
          </ac:spMkLst>
        </pc:spChg>
        <pc:spChg chg="mod">
          <ac:chgData name="Oyinlola Popoola" userId="a37a7fb2-f7f6-4757-8251-1f366d06d62b" providerId="ADAL" clId="{12068727-2694-40B1-8894-C4855D958E1B}" dt="2023-07-31T10:51:32.615" v="5098" actId="207"/>
          <ac:spMkLst>
            <pc:docMk/>
            <pc:sldMk cId="1569982749" sldId="2142535160"/>
            <ac:spMk id="6" creationId="{EBEE682B-1E19-CF06-7594-CC49321CD03C}"/>
          </ac:spMkLst>
        </pc:spChg>
        <pc:spChg chg="mod">
          <ac:chgData name="Oyinlola Popoola" userId="a37a7fb2-f7f6-4757-8251-1f366d06d62b" providerId="ADAL" clId="{12068727-2694-40B1-8894-C4855D958E1B}" dt="2023-07-31T10:51:03.652" v="5086" actId="207"/>
          <ac:spMkLst>
            <pc:docMk/>
            <pc:sldMk cId="1569982749" sldId="2142535160"/>
            <ac:spMk id="40" creationId="{55B40B82-7AEB-4E80-8EF6-B341CDA3A308}"/>
          </ac:spMkLst>
        </pc:spChg>
        <pc:spChg chg="mod">
          <ac:chgData name="Oyinlola Popoola" userId="a37a7fb2-f7f6-4757-8251-1f366d06d62b" providerId="ADAL" clId="{12068727-2694-40B1-8894-C4855D958E1B}" dt="2023-07-31T10:51:11.209" v="5089" actId="207"/>
          <ac:spMkLst>
            <pc:docMk/>
            <pc:sldMk cId="1569982749" sldId="2142535160"/>
            <ac:spMk id="41" creationId="{B6D55723-E75F-4003-B079-9C36419AD28F}"/>
          </ac:spMkLst>
        </pc:spChg>
        <pc:spChg chg="mod">
          <ac:chgData name="Oyinlola Popoola" userId="a37a7fb2-f7f6-4757-8251-1f366d06d62b" providerId="ADAL" clId="{12068727-2694-40B1-8894-C4855D958E1B}" dt="2023-07-31T10:51:17.567" v="5092" actId="207"/>
          <ac:spMkLst>
            <pc:docMk/>
            <pc:sldMk cId="1569982749" sldId="2142535160"/>
            <ac:spMk id="42" creationId="{6FB47840-2903-46BB-8088-444E1E89EB9B}"/>
          </ac:spMkLst>
        </pc:spChg>
        <pc:spChg chg="mod">
          <ac:chgData name="Oyinlola Popoola" userId="a37a7fb2-f7f6-4757-8251-1f366d06d62b" providerId="ADAL" clId="{12068727-2694-40B1-8894-C4855D958E1B}" dt="2023-07-31T10:51:24.578" v="5095" actId="207"/>
          <ac:spMkLst>
            <pc:docMk/>
            <pc:sldMk cId="1569982749" sldId="2142535160"/>
            <ac:spMk id="43" creationId="{F70A18C1-6F7D-4357-8FFF-E2A5F5CE8D8F}"/>
          </ac:spMkLst>
        </pc:spChg>
      </pc:sldChg>
      <pc:sldChg chg="modSp mod">
        <pc:chgData name="Oyinlola Popoola" userId="a37a7fb2-f7f6-4757-8251-1f366d06d62b" providerId="ADAL" clId="{12068727-2694-40B1-8894-C4855D958E1B}" dt="2023-07-31T11:06:37.398" v="5192" actId="207"/>
        <pc:sldMkLst>
          <pc:docMk/>
          <pc:sldMk cId="1500833212" sldId="2142535223"/>
        </pc:sldMkLst>
        <pc:spChg chg="mod">
          <ac:chgData name="Oyinlola Popoola" userId="a37a7fb2-f7f6-4757-8251-1f366d06d62b" providerId="ADAL" clId="{12068727-2694-40B1-8894-C4855D958E1B}" dt="2023-07-31T11:06:37.398" v="5192" actId="207"/>
          <ac:spMkLst>
            <pc:docMk/>
            <pc:sldMk cId="1500833212" sldId="2142535223"/>
            <ac:spMk id="4" creationId="{DC2C256F-4E7C-8633-B9C3-36E2B29CE1DB}"/>
          </ac:spMkLst>
        </pc:spChg>
      </pc:sldChg>
      <pc:sldChg chg="modSp mod">
        <pc:chgData name="Oyinlola Popoola" userId="a37a7fb2-f7f6-4757-8251-1f366d06d62b" providerId="ADAL" clId="{12068727-2694-40B1-8894-C4855D958E1B}" dt="2023-07-31T14:35:55.593" v="5242" actId="1076"/>
        <pc:sldMkLst>
          <pc:docMk/>
          <pc:sldMk cId="2943416714" sldId="2147473090"/>
        </pc:sldMkLst>
        <pc:spChg chg="mod">
          <ac:chgData name="Oyinlola Popoola" userId="a37a7fb2-f7f6-4757-8251-1f366d06d62b" providerId="ADAL" clId="{12068727-2694-40B1-8894-C4855D958E1B}" dt="2023-07-31T14:35:55.593" v="5242" actId="1076"/>
          <ac:spMkLst>
            <pc:docMk/>
            <pc:sldMk cId="2943416714" sldId="2147473090"/>
            <ac:spMk id="3" creationId="{9951EFB0-7B3D-96BC-83B4-3B960443107D}"/>
          </ac:spMkLst>
        </pc:spChg>
        <pc:spChg chg="mod">
          <ac:chgData name="Oyinlola Popoola" userId="a37a7fb2-f7f6-4757-8251-1f366d06d62b" providerId="ADAL" clId="{12068727-2694-40B1-8894-C4855D958E1B}" dt="2023-07-31T14:35:55.002" v="5241" actId="1076"/>
          <ac:spMkLst>
            <pc:docMk/>
            <pc:sldMk cId="2943416714" sldId="2147473090"/>
            <ac:spMk id="6" creationId="{DF5F0DCD-0A2F-AF21-8964-03873B1C2E9B}"/>
          </ac:spMkLst>
        </pc:spChg>
        <pc:spChg chg="mod">
          <ac:chgData name="Oyinlola Popoola" userId="a37a7fb2-f7f6-4757-8251-1f366d06d62b" providerId="ADAL" clId="{12068727-2694-40B1-8894-C4855D958E1B}" dt="2023-07-31T14:35:54.393" v="5240" actId="1076"/>
          <ac:spMkLst>
            <pc:docMk/>
            <pc:sldMk cId="2943416714" sldId="2147473090"/>
            <ac:spMk id="9" creationId="{1AA8578C-FC01-73BD-A1D1-DA0222EE8BAD}"/>
          </ac:spMkLst>
        </pc:spChg>
      </pc:sldChg>
      <pc:sldChg chg="modSp mod setBg">
        <pc:chgData name="Oyinlola Popoola" userId="a37a7fb2-f7f6-4757-8251-1f366d06d62b" providerId="ADAL" clId="{12068727-2694-40B1-8894-C4855D958E1B}" dt="2023-07-31T11:32:13.042" v="5232" actId="207"/>
        <pc:sldMkLst>
          <pc:docMk/>
          <pc:sldMk cId="2361847867" sldId="2147473099"/>
        </pc:sldMkLst>
        <pc:spChg chg="mod">
          <ac:chgData name="Oyinlola Popoola" userId="a37a7fb2-f7f6-4757-8251-1f366d06d62b" providerId="ADAL" clId="{12068727-2694-40B1-8894-C4855D958E1B}" dt="2023-07-31T11:32:13.042" v="5232" actId="207"/>
          <ac:spMkLst>
            <pc:docMk/>
            <pc:sldMk cId="2361847867" sldId="2147473099"/>
            <ac:spMk id="4" creationId="{E432C490-8501-4DEB-9800-36DD8F00D9DA}"/>
          </ac:spMkLst>
        </pc:spChg>
      </pc:sldChg>
      <pc:sldChg chg="addSp delSp modSp add del mod">
        <pc:chgData name="Oyinlola Popoola" userId="a37a7fb2-f7f6-4757-8251-1f366d06d62b" providerId="ADAL" clId="{12068727-2694-40B1-8894-C4855D958E1B}" dt="2023-07-25T02:11:02.448" v="814" actId="2696"/>
        <pc:sldMkLst>
          <pc:docMk/>
          <pc:sldMk cId="3830057423" sldId="2147473100"/>
        </pc:sldMkLst>
        <pc:spChg chg="add del mod">
          <ac:chgData name="Oyinlola Popoola" userId="a37a7fb2-f7f6-4757-8251-1f366d06d62b" providerId="ADAL" clId="{12068727-2694-40B1-8894-C4855D958E1B}" dt="2023-07-25T01:54:17.121" v="562" actId="767"/>
          <ac:spMkLst>
            <pc:docMk/>
            <pc:sldMk cId="3830057423" sldId="2147473100"/>
            <ac:spMk id="6" creationId="{240267AA-B71E-44F2-B671-CED7433C200F}"/>
          </ac:spMkLst>
        </pc:spChg>
        <pc:graphicFrameChg chg="add del mod">
          <ac:chgData name="Oyinlola Popoola" userId="a37a7fb2-f7f6-4757-8251-1f366d06d62b" providerId="ADAL" clId="{12068727-2694-40B1-8894-C4855D958E1B}" dt="2023-07-25T01:40:23.640" v="316"/>
          <ac:graphicFrameMkLst>
            <pc:docMk/>
            <pc:sldMk cId="3830057423" sldId="2147473100"/>
            <ac:graphicFrameMk id="2" creationId="{91EF63B5-6CBE-43B8-A9D4-674D38134688}"/>
          </ac:graphicFrameMkLst>
        </pc:graphicFrameChg>
        <pc:graphicFrameChg chg="del mod modGraphic">
          <ac:chgData name="Oyinlola Popoola" userId="a37a7fb2-f7f6-4757-8251-1f366d06d62b" providerId="ADAL" clId="{12068727-2694-40B1-8894-C4855D958E1B}" dt="2023-07-25T02:07:28.976" v="800" actId="478"/>
          <ac:graphicFrameMkLst>
            <pc:docMk/>
            <pc:sldMk cId="3830057423" sldId="2147473100"/>
            <ac:graphicFrameMk id="3" creationId="{A8C79D6C-A7C9-DB57-D69D-756EB168AE4F}"/>
          </ac:graphicFrameMkLst>
        </pc:graphicFrameChg>
        <pc:graphicFrameChg chg="add del mod">
          <ac:chgData name="Oyinlola Popoola" userId="a37a7fb2-f7f6-4757-8251-1f366d06d62b" providerId="ADAL" clId="{12068727-2694-40B1-8894-C4855D958E1B}" dt="2023-07-25T01:42:18.379" v="323"/>
          <ac:graphicFrameMkLst>
            <pc:docMk/>
            <pc:sldMk cId="3830057423" sldId="2147473100"/>
            <ac:graphicFrameMk id="4" creationId="{EEA57788-78C6-43BE-89EA-ED2023DBCB94}"/>
          </ac:graphicFrameMkLst>
        </pc:graphicFrameChg>
        <pc:graphicFrameChg chg="add del mod">
          <ac:chgData name="Oyinlola Popoola" userId="a37a7fb2-f7f6-4757-8251-1f366d06d62b" providerId="ADAL" clId="{12068727-2694-40B1-8894-C4855D958E1B}" dt="2023-07-25T01:49:49.951" v="522"/>
          <ac:graphicFrameMkLst>
            <pc:docMk/>
            <pc:sldMk cId="3830057423" sldId="2147473100"/>
            <ac:graphicFrameMk id="5" creationId="{8AB19F04-63A4-45A4-A51B-F6B75D808542}"/>
          </ac:graphicFrameMkLst>
        </pc:graphicFrameChg>
      </pc:sldChg>
      <pc:sldChg chg="modSp mod setBg">
        <pc:chgData name="Oyinlola Popoola" userId="a37a7fb2-f7f6-4757-8251-1f366d06d62b" providerId="ADAL" clId="{12068727-2694-40B1-8894-C4855D958E1B}" dt="2023-07-31T11:32:20.977" v="5233" actId="207"/>
        <pc:sldMkLst>
          <pc:docMk/>
          <pc:sldMk cId="3207142972" sldId="2147473102"/>
        </pc:sldMkLst>
        <pc:spChg chg="mod">
          <ac:chgData name="Oyinlola Popoola" userId="a37a7fb2-f7f6-4757-8251-1f366d06d62b" providerId="ADAL" clId="{12068727-2694-40B1-8894-C4855D958E1B}" dt="2023-07-31T11:32:20.977" v="5233" actId="207"/>
          <ac:spMkLst>
            <pc:docMk/>
            <pc:sldMk cId="3207142972" sldId="2147473102"/>
            <ac:spMk id="4" creationId="{E432C490-8501-4DEB-9800-36DD8F00D9DA}"/>
          </ac:spMkLst>
        </pc:spChg>
      </pc:sldChg>
      <pc:sldChg chg="modSp mod setBg">
        <pc:chgData name="Oyinlola Popoola" userId="a37a7fb2-f7f6-4757-8251-1f366d06d62b" providerId="ADAL" clId="{12068727-2694-40B1-8894-C4855D958E1B}" dt="2023-07-31T11:32:29.660" v="5234" actId="207"/>
        <pc:sldMkLst>
          <pc:docMk/>
          <pc:sldMk cId="555873494" sldId="2147473103"/>
        </pc:sldMkLst>
        <pc:spChg chg="mod">
          <ac:chgData name="Oyinlola Popoola" userId="a37a7fb2-f7f6-4757-8251-1f366d06d62b" providerId="ADAL" clId="{12068727-2694-40B1-8894-C4855D958E1B}" dt="2023-07-31T11:32:29.660" v="5234" actId="207"/>
          <ac:spMkLst>
            <pc:docMk/>
            <pc:sldMk cId="555873494" sldId="2147473103"/>
            <ac:spMk id="4" creationId="{E432C490-8501-4DEB-9800-36DD8F00D9DA}"/>
          </ac:spMkLst>
        </pc:spChg>
      </pc:sldChg>
      <pc:sldChg chg="modSp mod setBg">
        <pc:chgData name="Oyinlola Popoola" userId="a37a7fb2-f7f6-4757-8251-1f366d06d62b" providerId="ADAL" clId="{12068727-2694-40B1-8894-C4855D958E1B}" dt="2023-07-31T11:06:04.690" v="5190" actId="207"/>
        <pc:sldMkLst>
          <pc:docMk/>
          <pc:sldMk cId="349697514" sldId="2147473104"/>
        </pc:sldMkLst>
        <pc:spChg chg="mod">
          <ac:chgData name="Oyinlola Popoola" userId="a37a7fb2-f7f6-4757-8251-1f366d06d62b" providerId="ADAL" clId="{12068727-2694-40B1-8894-C4855D958E1B}" dt="2023-07-31T11:06:04.690" v="5190" actId="207"/>
          <ac:spMkLst>
            <pc:docMk/>
            <pc:sldMk cId="349697514" sldId="2147473104"/>
            <ac:spMk id="4" creationId="{E432C490-8501-4DEB-9800-36DD8F00D9DA}"/>
          </ac:spMkLst>
        </pc:spChg>
      </pc:sldChg>
      <pc:sldChg chg="modSp mod setBg">
        <pc:chgData name="Oyinlola Popoola" userId="a37a7fb2-f7f6-4757-8251-1f366d06d62b" providerId="ADAL" clId="{12068727-2694-40B1-8894-C4855D958E1B}" dt="2023-07-31T14:35:36.257" v="5236" actId="20577"/>
        <pc:sldMkLst>
          <pc:docMk/>
          <pc:sldMk cId="2659308583" sldId="2147473105"/>
        </pc:sldMkLst>
        <pc:spChg chg="mod">
          <ac:chgData name="Oyinlola Popoola" userId="a37a7fb2-f7f6-4757-8251-1f366d06d62b" providerId="ADAL" clId="{12068727-2694-40B1-8894-C4855D958E1B}" dt="2023-07-31T14:35:36.257" v="5236" actId="20577"/>
          <ac:spMkLst>
            <pc:docMk/>
            <pc:sldMk cId="2659308583" sldId="2147473105"/>
            <ac:spMk id="4" creationId="{E432C490-8501-4DEB-9800-36DD8F00D9DA}"/>
          </ac:spMkLst>
        </pc:spChg>
      </pc:sldChg>
      <pc:sldChg chg="modSp mod setBg">
        <pc:chgData name="Oyinlola Popoola" userId="a37a7fb2-f7f6-4757-8251-1f366d06d62b" providerId="ADAL" clId="{12068727-2694-40B1-8894-C4855D958E1B}" dt="2023-08-15T11:06:43.143" v="5928" actId="1076"/>
        <pc:sldMkLst>
          <pc:docMk/>
          <pc:sldMk cId="3781609366" sldId="2147473106"/>
        </pc:sldMkLst>
        <pc:spChg chg="mod">
          <ac:chgData name="Oyinlola Popoola" userId="a37a7fb2-f7f6-4757-8251-1f366d06d62b" providerId="ADAL" clId="{12068727-2694-40B1-8894-C4855D958E1B}" dt="2023-07-31T11:31:37.097" v="5230" actId="207"/>
          <ac:spMkLst>
            <pc:docMk/>
            <pc:sldMk cId="3781609366" sldId="2147473106"/>
            <ac:spMk id="3" creationId="{54653C93-EE7D-BEDF-D2B4-67B3FBB2F9ED}"/>
          </ac:spMkLst>
        </pc:spChg>
        <pc:spChg chg="mod">
          <ac:chgData name="Oyinlola Popoola" userId="a37a7fb2-f7f6-4757-8251-1f366d06d62b" providerId="ADAL" clId="{12068727-2694-40B1-8894-C4855D958E1B}" dt="2023-08-15T11:06:43.143" v="5928" actId="1076"/>
          <ac:spMkLst>
            <pc:docMk/>
            <pc:sldMk cId="3781609366" sldId="2147473106"/>
            <ac:spMk id="4" creationId="{E432C490-8501-4DEB-9800-36DD8F00D9DA}"/>
          </ac:spMkLst>
        </pc:spChg>
        <pc:spChg chg="mod">
          <ac:chgData name="Oyinlola Popoola" userId="a37a7fb2-f7f6-4757-8251-1f366d06d62b" providerId="ADAL" clId="{12068727-2694-40B1-8894-C4855D958E1B}" dt="2023-08-15T10:57:54.683" v="5926" actId="20577"/>
          <ac:spMkLst>
            <pc:docMk/>
            <pc:sldMk cId="3781609366" sldId="2147473106"/>
            <ac:spMk id="5" creationId="{82ACE101-9079-4B28-90D1-41FFC709BAB0}"/>
          </ac:spMkLst>
        </pc:spChg>
      </pc:sldChg>
      <pc:sldChg chg="modSp mod setBg">
        <pc:chgData name="Oyinlola Popoola" userId="a37a7fb2-f7f6-4757-8251-1f366d06d62b" providerId="ADAL" clId="{12068727-2694-40B1-8894-C4855D958E1B}" dt="2023-07-31T11:31:20.364" v="5229" actId="207"/>
        <pc:sldMkLst>
          <pc:docMk/>
          <pc:sldMk cId="3310043290" sldId="2147473113"/>
        </pc:sldMkLst>
        <pc:spChg chg="mod">
          <ac:chgData name="Oyinlola Popoola" userId="a37a7fb2-f7f6-4757-8251-1f366d06d62b" providerId="ADAL" clId="{12068727-2694-40B1-8894-C4855D958E1B}" dt="2023-07-31T11:31:20.364" v="5229" actId="207"/>
          <ac:spMkLst>
            <pc:docMk/>
            <pc:sldMk cId="3310043290" sldId="2147473113"/>
            <ac:spMk id="4" creationId="{E432C490-8501-4DEB-9800-36DD8F00D9DA}"/>
          </ac:spMkLst>
        </pc:spChg>
      </pc:sldChg>
      <pc:sldChg chg="modSp mod setBg">
        <pc:chgData name="Oyinlola Popoola" userId="a37a7fb2-f7f6-4757-8251-1f366d06d62b" providerId="ADAL" clId="{12068727-2694-40B1-8894-C4855D958E1B}" dt="2023-07-31T11:27:46.384" v="5228" actId="207"/>
        <pc:sldMkLst>
          <pc:docMk/>
          <pc:sldMk cId="899793934" sldId="2147473120"/>
        </pc:sldMkLst>
        <pc:spChg chg="mod">
          <ac:chgData name="Oyinlola Popoola" userId="a37a7fb2-f7f6-4757-8251-1f366d06d62b" providerId="ADAL" clId="{12068727-2694-40B1-8894-C4855D958E1B}" dt="2023-07-31T11:27:46.384" v="5228" actId="207"/>
          <ac:spMkLst>
            <pc:docMk/>
            <pc:sldMk cId="899793934" sldId="2147473120"/>
            <ac:spMk id="4" creationId="{E432C490-8501-4DEB-9800-36DD8F00D9DA}"/>
          </ac:spMkLst>
        </pc:spChg>
      </pc:sldChg>
      <pc:sldChg chg="modSp mod setBg">
        <pc:chgData name="Oyinlola Popoola" userId="a37a7fb2-f7f6-4757-8251-1f366d06d62b" providerId="ADAL" clId="{12068727-2694-40B1-8894-C4855D958E1B}" dt="2023-08-15T11:08:35.518" v="5942" actId="1076"/>
        <pc:sldMkLst>
          <pc:docMk/>
          <pc:sldMk cId="2703490332" sldId="2147473150"/>
        </pc:sldMkLst>
        <pc:spChg chg="mod">
          <ac:chgData name="Oyinlola Popoola" userId="a37a7fb2-f7f6-4757-8251-1f366d06d62b" providerId="ADAL" clId="{12068727-2694-40B1-8894-C4855D958E1B}" dt="2023-08-15T11:08:35.518" v="5942" actId="1076"/>
          <ac:spMkLst>
            <pc:docMk/>
            <pc:sldMk cId="2703490332" sldId="2147473150"/>
            <ac:spMk id="12" creationId="{F6E8B279-1398-B4F2-2F45-A63F0E17D8AD}"/>
          </ac:spMkLst>
        </pc:spChg>
        <pc:spChg chg="mod">
          <ac:chgData name="Oyinlola Popoola" userId="a37a7fb2-f7f6-4757-8251-1f366d06d62b" providerId="ADAL" clId="{12068727-2694-40B1-8894-C4855D958E1B}" dt="2023-07-31T11:19:24.558" v="5221" actId="207"/>
          <ac:spMkLst>
            <pc:docMk/>
            <pc:sldMk cId="2703490332" sldId="2147473150"/>
            <ac:spMk id="13" creationId="{520F0468-A3AA-F93D-4825-530FAB52C9CB}"/>
          </ac:spMkLst>
        </pc:spChg>
        <pc:spChg chg="mod">
          <ac:chgData name="Oyinlola Popoola" userId="a37a7fb2-f7f6-4757-8251-1f366d06d62b" providerId="ADAL" clId="{12068727-2694-40B1-8894-C4855D958E1B}" dt="2023-07-31T11:19:15.896" v="5219" actId="207"/>
          <ac:spMkLst>
            <pc:docMk/>
            <pc:sldMk cId="2703490332" sldId="2147473150"/>
            <ac:spMk id="14" creationId="{B4783593-C7C6-BC3F-9B70-D8CAB693396E}"/>
          </ac:spMkLst>
        </pc:spChg>
      </pc:sldChg>
      <pc:sldChg chg="modSp mod setBg">
        <pc:chgData name="Oyinlola Popoola" userId="a37a7fb2-f7f6-4757-8251-1f366d06d62b" providerId="ADAL" clId="{12068727-2694-40B1-8894-C4855D958E1B}" dt="2023-07-31T11:27:38.971" v="5227" actId="207"/>
        <pc:sldMkLst>
          <pc:docMk/>
          <pc:sldMk cId="2959291759" sldId="2147473151"/>
        </pc:sldMkLst>
        <pc:spChg chg="mod">
          <ac:chgData name="Oyinlola Popoola" userId="a37a7fb2-f7f6-4757-8251-1f366d06d62b" providerId="ADAL" clId="{12068727-2694-40B1-8894-C4855D958E1B}" dt="2023-07-31T11:27:38.971" v="5227" actId="207"/>
          <ac:spMkLst>
            <pc:docMk/>
            <pc:sldMk cId="2959291759" sldId="2147473151"/>
            <ac:spMk id="4" creationId="{E432C490-8501-4DEB-9800-36DD8F00D9DA}"/>
          </ac:spMkLst>
        </pc:spChg>
      </pc:sldChg>
      <pc:sldChg chg="delSp modSp add mod">
        <pc:chgData name="Oyinlola Popoola" userId="a37a7fb2-f7f6-4757-8251-1f366d06d62b" providerId="ADAL" clId="{12068727-2694-40B1-8894-C4855D958E1B}" dt="2023-07-27T00:10:18.288" v="4542" actId="20577"/>
        <pc:sldMkLst>
          <pc:docMk/>
          <pc:sldMk cId="4048977282" sldId="2147473169"/>
        </pc:sldMkLst>
        <pc:spChg chg="mod">
          <ac:chgData name="Oyinlola Popoola" userId="a37a7fb2-f7f6-4757-8251-1f366d06d62b" providerId="ADAL" clId="{12068727-2694-40B1-8894-C4855D958E1B}" dt="2023-07-26T13:46:29.274" v="1316" actId="20577"/>
          <ac:spMkLst>
            <pc:docMk/>
            <pc:sldMk cId="4048977282" sldId="2147473169"/>
            <ac:spMk id="8" creationId="{7824D54C-15D2-467C-A016-166944D0781C}"/>
          </ac:spMkLst>
        </pc:spChg>
        <pc:spChg chg="mod">
          <ac:chgData name="Oyinlola Popoola" userId="a37a7fb2-f7f6-4757-8251-1f366d06d62b" providerId="ADAL" clId="{12068727-2694-40B1-8894-C4855D958E1B}" dt="2023-07-26T13:47:16.528" v="1341" actId="20577"/>
          <ac:spMkLst>
            <pc:docMk/>
            <pc:sldMk cId="4048977282" sldId="2147473169"/>
            <ac:spMk id="9" creationId="{6C153CAD-CB4E-4351-8C09-19E5BC5E2B25}"/>
          </ac:spMkLst>
        </pc:spChg>
        <pc:spChg chg="mod">
          <ac:chgData name="Oyinlola Popoola" userId="a37a7fb2-f7f6-4757-8251-1f366d06d62b" providerId="ADAL" clId="{12068727-2694-40B1-8894-C4855D958E1B}" dt="2023-07-27T00:10:18.288" v="4542" actId="20577"/>
          <ac:spMkLst>
            <pc:docMk/>
            <pc:sldMk cId="4048977282" sldId="2147473169"/>
            <ac:spMk id="13" creationId="{D642F10C-58A5-4B16-A89B-076AEE9416C7}"/>
          </ac:spMkLst>
        </pc:spChg>
        <pc:picChg chg="del">
          <ac:chgData name="Oyinlola Popoola" userId="a37a7fb2-f7f6-4757-8251-1f366d06d62b" providerId="ADAL" clId="{12068727-2694-40B1-8894-C4855D958E1B}" dt="2023-07-26T13:46:54.834" v="1318" actId="478"/>
          <ac:picMkLst>
            <pc:docMk/>
            <pc:sldMk cId="4048977282" sldId="2147473169"/>
            <ac:picMk id="105" creationId="{0658A200-E198-5ACF-B913-8A29143DFC6E}"/>
          </ac:picMkLst>
        </pc:picChg>
      </pc:sldChg>
      <pc:sldChg chg="delSp modSp add del mod">
        <pc:chgData name="Oyinlola Popoola" userId="a37a7fb2-f7f6-4757-8251-1f366d06d62b" providerId="ADAL" clId="{12068727-2694-40B1-8894-C4855D958E1B}" dt="2023-07-26T13:46:49.766" v="1317" actId="2696"/>
        <pc:sldMkLst>
          <pc:docMk/>
          <pc:sldMk cId="1691223875" sldId="2147473170"/>
        </pc:sldMkLst>
        <pc:spChg chg="mod">
          <ac:chgData name="Oyinlola Popoola" userId="a37a7fb2-f7f6-4757-8251-1f366d06d62b" providerId="ADAL" clId="{12068727-2694-40B1-8894-C4855D958E1B}" dt="2023-07-25T13:23:53.144" v="1258" actId="20577"/>
          <ac:spMkLst>
            <pc:docMk/>
            <pc:sldMk cId="1691223875" sldId="2147473170"/>
            <ac:spMk id="8" creationId="{7824D54C-15D2-467C-A016-166944D0781C}"/>
          </ac:spMkLst>
        </pc:spChg>
        <pc:spChg chg="mod">
          <ac:chgData name="Oyinlola Popoola" userId="a37a7fb2-f7f6-4757-8251-1f366d06d62b" providerId="ADAL" clId="{12068727-2694-40B1-8894-C4855D958E1B}" dt="2023-07-25T01:22:37.066" v="109" actId="20577"/>
          <ac:spMkLst>
            <pc:docMk/>
            <pc:sldMk cId="1691223875" sldId="2147473170"/>
            <ac:spMk id="9" creationId="{6C153CAD-CB4E-4351-8C09-19E5BC5E2B25}"/>
          </ac:spMkLst>
        </pc:spChg>
        <pc:spChg chg="mod">
          <ac:chgData name="Oyinlola Popoola" userId="a37a7fb2-f7f6-4757-8251-1f366d06d62b" providerId="ADAL" clId="{12068727-2694-40B1-8894-C4855D958E1B}" dt="2023-07-25T01:22:06.176" v="68" actId="20577"/>
          <ac:spMkLst>
            <pc:docMk/>
            <pc:sldMk cId="1691223875" sldId="2147473170"/>
            <ac:spMk id="11" creationId="{9EE04F04-F794-4453-963E-5CFBB6620A43}"/>
          </ac:spMkLst>
        </pc:spChg>
        <pc:spChg chg="mod">
          <ac:chgData name="Oyinlola Popoola" userId="a37a7fb2-f7f6-4757-8251-1f366d06d62b" providerId="ADAL" clId="{12068727-2694-40B1-8894-C4855D958E1B}" dt="2023-07-25T01:22:09.904" v="69" actId="20577"/>
          <ac:spMkLst>
            <pc:docMk/>
            <pc:sldMk cId="1691223875" sldId="2147473170"/>
            <ac:spMk id="12" creationId="{FB93CF21-DAD5-4B79-9666-F5B05BE3DD14}"/>
          </ac:spMkLst>
        </pc:spChg>
        <pc:spChg chg="mod">
          <ac:chgData name="Oyinlola Popoola" userId="a37a7fb2-f7f6-4757-8251-1f366d06d62b" providerId="ADAL" clId="{12068727-2694-40B1-8894-C4855D958E1B}" dt="2023-07-25T01:22:02.821" v="67" actId="20577"/>
          <ac:spMkLst>
            <pc:docMk/>
            <pc:sldMk cId="1691223875" sldId="2147473170"/>
            <ac:spMk id="13" creationId="{D642F10C-58A5-4B16-A89B-076AEE9416C7}"/>
          </ac:spMkLst>
        </pc:spChg>
        <pc:spChg chg="mod">
          <ac:chgData name="Oyinlola Popoola" userId="a37a7fb2-f7f6-4757-8251-1f366d06d62b" providerId="ADAL" clId="{12068727-2694-40B1-8894-C4855D958E1B}" dt="2023-07-25T01:23:11.622" v="132" actId="20577"/>
          <ac:spMkLst>
            <pc:docMk/>
            <pc:sldMk cId="1691223875" sldId="2147473170"/>
            <ac:spMk id="22" creationId="{95F9899C-EE66-4EC6-80ED-8640CE7AA491}"/>
          </ac:spMkLst>
        </pc:spChg>
        <pc:grpChg chg="del">
          <ac:chgData name="Oyinlola Popoola" userId="a37a7fb2-f7f6-4757-8251-1f366d06d62b" providerId="ADAL" clId="{12068727-2694-40B1-8894-C4855D958E1B}" dt="2023-07-25T01:20:20.118" v="17" actId="478"/>
          <ac:grpSpMkLst>
            <pc:docMk/>
            <pc:sldMk cId="1691223875" sldId="2147473170"/>
            <ac:grpSpMk id="14" creationId="{1027E410-3103-4CB3-A297-CC32E3FBB94E}"/>
          </ac:grpSpMkLst>
        </pc:grpChg>
        <pc:picChg chg="del mod">
          <ac:chgData name="Oyinlola Popoola" userId="a37a7fb2-f7f6-4757-8251-1f366d06d62b" providerId="ADAL" clId="{12068727-2694-40B1-8894-C4855D958E1B}" dt="2023-07-25T01:22:50.273" v="111" actId="478"/>
          <ac:picMkLst>
            <pc:docMk/>
            <pc:sldMk cId="1691223875" sldId="2147473170"/>
            <ac:picMk id="105" creationId="{0658A200-E198-5ACF-B913-8A29143DFC6E}"/>
          </ac:picMkLst>
        </pc:picChg>
      </pc:sldChg>
      <pc:sldChg chg="addSp delSp modSp add mod">
        <pc:chgData name="Oyinlola Popoola" userId="a37a7fb2-f7f6-4757-8251-1f366d06d62b" providerId="ADAL" clId="{12068727-2694-40B1-8894-C4855D958E1B}" dt="2023-08-01T11:33:44.057" v="5398" actId="1076"/>
        <pc:sldMkLst>
          <pc:docMk/>
          <pc:sldMk cId="3107324555" sldId="2147473173"/>
        </pc:sldMkLst>
        <pc:spChg chg="mod">
          <ac:chgData name="Oyinlola Popoola" userId="a37a7fb2-f7f6-4757-8251-1f366d06d62b" providerId="ADAL" clId="{12068727-2694-40B1-8894-C4855D958E1B}" dt="2023-07-25T01:19:57.062" v="16" actId="20577"/>
          <ac:spMkLst>
            <pc:docMk/>
            <pc:sldMk cId="3107324555" sldId="2147473173"/>
            <ac:spMk id="4" creationId="{C4380547-9137-4B49-91FE-92718AB8FDBD}"/>
          </ac:spMkLst>
        </pc:spChg>
        <pc:spChg chg="mod">
          <ac:chgData name="Oyinlola Popoola" userId="a37a7fb2-f7f6-4757-8251-1f366d06d62b" providerId="ADAL" clId="{12068727-2694-40B1-8894-C4855D958E1B}" dt="2023-07-26T13:43:56.854" v="1309" actId="1076"/>
          <ac:spMkLst>
            <pc:docMk/>
            <pc:sldMk cId="3107324555" sldId="2147473173"/>
            <ac:spMk id="5" creationId="{242793DE-A96D-4BD0-A86A-8082B3CAE589}"/>
          </ac:spMkLst>
        </pc:spChg>
        <pc:spChg chg="mod">
          <ac:chgData name="Oyinlola Popoola" userId="a37a7fb2-f7f6-4757-8251-1f366d06d62b" providerId="ADAL" clId="{12068727-2694-40B1-8894-C4855D958E1B}" dt="2023-07-25T01:15:36.274" v="2" actId="20577"/>
          <ac:spMkLst>
            <pc:docMk/>
            <pc:sldMk cId="3107324555" sldId="2147473173"/>
            <ac:spMk id="8" creationId="{7824D54C-15D2-467C-A016-166944D0781C}"/>
          </ac:spMkLst>
        </pc:spChg>
        <pc:spChg chg="mod">
          <ac:chgData name="Oyinlola Popoola" userId="a37a7fb2-f7f6-4757-8251-1f366d06d62b" providerId="ADAL" clId="{12068727-2694-40B1-8894-C4855D958E1B}" dt="2023-07-26T13:44:10.668" v="1311" actId="14100"/>
          <ac:spMkLst>
            <pc:docMk/>
            <pc:sldMk cId="3107324555" sldId="2147473173"/>
            <ac:spMk id="16" creationId="{99598303-3493-44C8-A697-2DB710DCD143}"/>
          </ac:spMkLst>
        </pc:spChg>
        <pc:spChg chg="mod">
          <ac:chgData name="Oyinlola Popoola" userId="a37a7fb2-f7f6-4757-8251-1f366d06d62b" providerId="ADAL" clId="{12068727-2694-40B1-8894-C4855D958E1B}" dt="2023-07-26T13:43:59.203" v="1310" actId="1076"/>
          <ac:spMkLst>
            <pc:docMk/>
            <pc:sldMk cId="3107324555" sldId="2147473173"/>
            <ac:spMk id="40" creationId="{D76B222C-769B-43FD-A5BD-1900879116BC}"/>
          </ac:spMkLst>
        </pc:spChg>
        <pc:spChg chg="mod">
          <ac:chgData name="Oyinlola Popoola" userId="a37a7fb2-f7f6-4757-8251-1f366d06d62b" providerId="ADAL" clId="{12068727-2694-40B1-8894-C4855D958E1B}" dt="2023-07-25T01:25:55.757" v="218" actId="20577"/>
          <ac:spMkLst>
            <pc:docMk/>
            <pc:sldMk cId="3107324555" sldId="2147473173"/>
            <ac:spMk id="42" creationId="{7EC42A97-E98B-4A91-93D2-C584DD2C8644}"/>
          </ac:spMkLst>
        </pc:spChg>
        <pc:spChg chg="mod">
          <ac:chgData name="Oyinlola Popoola" userId="a37a7fb2-f7f6-4757-8251-1f366d06d62b" providerId="ADAL" clId="{12068727-2694-40B1-8894-C4855D958E1B}" dt="2023-07-25T01:25:52.449" v="217" actId="20577"/>
          <ac:spMkLst>
            <pc:docMk/>
            <pc:sldMk cId="3107324555" sldId="2147473173"/>
            <ac:spMk id="43" creationId="{AF5D6B81-60EC-4819-B146-14DEA705F1DE}"/>
          </ac:spMkLst>
        </pc:spChg>
        <pc:spChg chg="mod">
          <ac:chgData name="Oyinlola Popoola" userId="a37a7fb2-f7f6-4757-8251-1f366d06d62b" providerId="ADAL" clId="{12068727-2694-40B1-8894-C4855D958E1B}" dt="2023-07-25T01:25:50.073" v="216" actId="20577"/>
          <ac:spMkLst>
            <pc:docMk/>
            <pc:sldMk cId="3107324555" sldId="2147473173"/>
            <ac:spMk id="45" creationId="{606070E4-F71A-4A28-BC52-885AC960DA76}"/>
          </ac:spMkLst>
        </pc:spChg>
        <pc:grpChg chg="del">
          <ac:chgData name="Oyinlola Popoola" userId="a37a7fb2-f7f6-4757-8251-1f366d06d62b" providerId="ADAL" clId="{12068727-2694-40B1-8894-C4855D958E1B}" dt="2023-07-25T01:19:26.610" v="6" actId="478"/>
          <ac:grpSpMkLst>
            <pc:docMk/>
            <pc:sldMk cId="3107324555" sldId="2147473173"/>
            <ac:grpSpMk id="14" creationId="{02F05DFE-2F31-9FCF-79A9-AE36C17B7EA8}"/>
          </ac:grpSpMkLst>
        </pc:grpChg>
        <pc:picChg chg="add mod">
          <ac:chgData name="Oyinlola Popoola" userId="a37a7fb2-f7f6-4757-8251-1f366d06d62b" providerId="ADAL" clId="{12068727-2694-40B1-8894-C4855D958E1B}" dt="2023-07-25T13:25:29.439" v="1269" actId="1076"/>
          <ac:picMkLst>
            <pc:docMk/>
            <pc:sldMk cId="3107324555" sldId="2147473173"/>
            <ac:picMk id="3" creationId="{AA975C4F-840E-49B1-964A-5E55E535E4D7}"/>
          </ac:picMkLst>
        </pc:picChg>
        <pc:picChg chg="del">
          <ac:chgData name="Oyinlola Popoola" userId="a37a7fb2-f7f6-4757-8251-1f366d06d62b" providerId="ADAL" clId="{12068727-2694-40B1-8894-C4855D958E1B}" dt="2023-07-25T01:19:32.221" v="7" actId="478"/>
          <ac:picMkLst>
            <pc:docMk/>
            <pc:sldMk cId="3107324555" sldId="2147473173"/>
            <ac:picMk id="3" creationId="{AEB5C45A-1A00-3E7A-C2AC-80CE1E532386}"/>
          </ac:picMkLst>
        </pc:picChg>
        <pc:picChg chg="add mod">
          <ac:chgData name="Oyinlola Popoola" userId="a37a7fb2-f7f6-4757-8251-1f366d06d62b" providerId="ADAL" clId="{12068727-2694-40B1-8894-C4855D958E1B}" dt="2023-07-25T13:24:04.142" v="1261" actId="1076"/>
          <ac:picMkLst>
            <pc:docMk/>
            <pc:sldMk cId="3107324555" sldId="2147473173"/>
            <ac:picMk id="7" creationId="{C0F3F92E-A776-4EB1-A922-1B0D0D4BB5ED}"/>
          </ac:picMkLst>
        </pc:picChg>
        <pc:picChg chg="add del mod modCrop">
          <ac:chgData name="Oyinlola Popoola" userId="a37a7fb2-f7f6-4757-8251-1f366d06d62b" providerId="ADAL" clId="{12068727-2694-40B1-8894-C4855D958E1B}" dt="2023-07-25T13:23:58.402" v="1259" actId="478"/>
          <ac:picMkLst>
            <pc:docMk/>
            <pc:sldMk cId="3107324555" sldId="2147473173"/>
            <ac:picMk id="10" creationId="{340EDF00-0658-4F48-956B-FC18CD1D25E7}"/>
          </ac:picMkLst>
        </pc:picChg>
        <pc:picChg chg="add mod modCrop">
          <ac:chgData name="Oyinlola Popoola" userId="a37a7fb2-f7f6-4757-8251-1f366d06d62b" providerId="ADAL" clId="{12068727-2694-40B1-8894-C4855D958E1B}" dt="2023-08-01T11:33:44.057" v="5398" actId="1076"/>
          <ac:picMkLst>
            <pc:docMk/>
            <pc:sldMk cId="3107324555" sldId="2147473173"/>
            <ac:picMk id="10" creationId="{CDFC4A11-7000-42A4-9C7B-738E11FF2B48}"/>
          </ac:picMkLst>
        </pc:picChg>
        <pc:picChg chg="add del mod">
          <ac:chgData name="Oyinlola Popoola" userId="a37a7fb2-f7f6-4757-8251-1f366d06d62b" providerId="ADAL" clId="{12068727-2694-40B1-8894-C4855D958E1B}" dt="2023-07-25T13:23:59.020" v="1260" actId="478"/>
          <ac:picMkLst>
            <pc:docMk/>
            <pc:sldMk cId="3107324555" sldId="2147473173"/>
            <ac:picMk id="12" creationId="{836157BA-4850-42A9-9417-225C0DB73B66}"/>
          </ac:picMkLst>
        </pc:picChg>
        <pc:picChg chg="del">
          <ac:chgData name="Oyinlola Popoola" userId="a37a7fb2-f7f6-4757-8251-1f366d06d62b" providerId="ADAL" clId="{12068727-2694-40B1-8894-C4855D958E1B}" dt="2023-07-25T01:19:32.942" v="8" actId="478"/>
          <ac:picMkLst>
            <pc:docMk/>
            <pc:sldMk cId="3107324555" sldId="2147473173"/>
            <ac:picMk id="37" creationId="{C373C219-1B42-4215-9BBA-9E4577CFEB20}"/>
          </ac:picMkLst>
        </pc:picChg>
        <pc:picChg chg="del mod">
          <ac:chgData name="Oyinlola Popoola" userId="a37a7fb2-f7f6-4757-8251-1f366d06d62b" providerId="ADAL" clId="{12068727-2694-40B1-8894-C4855D958E1B}" dt="2023-07-25T01:15:55.582" v="4" actId="478"/>
          <ac:picMkLst>
            <pc:docMk/>
            <pc:sldMk cId="3107324555" sldId="2147473173"/>
            <ac:picMk id="105" creationId="{0658A200-E198-5ACF-B913-8A29143DFC6E}"/>
          </ac:picMkLst>
        </pc:picChg>
      </pc:sldChg>
      <pc:sldChg chg="modSp mod">
        <pc:chgData name="Oyinlola Popoola" userId="a37a7fb2-f7f6-4757-8251-1f366d06d62b" providerId="ADAL" clId="{12068727-2694-40B1-8894-C4855D958E1B}" dt="2023-07-31T11:05:07.522" v="5183" actId="207"/>
        <pc:sldMkLst>
          <pc:docMk/>
          <pc:sldMk cId="2093568246" sldId="2147479583"/>
        </pc:sldMkLst>
        <pc:spChg chg="mod">
          <ac:chgData name="Oyinlola Popoola" userId="a37a7fb2-f7f6-4757-8251-1f366d06d62b" providerId="ADAL" clId="{12068727-2694-40B1-8894-C4855D958E1B}" dt="2023-07-31T11:05:07.522" v="5183" actId="207"/>
          <ac:spMkLst>
            <pc:docMk/>
            <pc:sldMk cId="2093568246" sldId="2147479583"/>
            <ac:spMk id="1200" creationId="{09B42CFF-B5FA-44ED-AD6E-881F49489833}"/>
          </ac:spMkLst>
        </pc:spChg>
      </pc:sldChg>
      <pc:sldChg chg="modSp mod setBg">
        <pc:chgData name="Oyinlola Popoola" userId="a37a7fb2-f7f6-4757-8251-1f366d06d62b" providerId="ADAL" clId="{12068727-2694-40B1-8894-C4855D958E1B}" dt="2023-07-31T11:18:54.765" v="5218" actId="207"/>
        <pc:sldMkLst>
          <pc:docMk/>
          <pc:sldMk cId="2488466455" sldId="2147479585"/>
        </pc:sldMkLst>
        <pc:spChg chg="mod">
          <ac:chgData name="Oyinlola Popoola" userId="a37a7fb2-f7f6-4757-8251-1f366d06d62b" providerId="ADAL" clId="{12068727-2694-40B1-8894-C4855D958E1B}" dt="2023-07-31T11:18:49.472" v="5217" actId="207"/>
          <ac:spMkLst>
            <pc:docMk/>
            <pc:sldMk cId="2488466455" sldId="2147479585"/>
            <ac:spMk id="9" creationId="{EDFD3F8C-2C8A-0507-F0A6-ABD45DE625C7}"/>
          </ac:spMkLst>
        </pc:spChg>
        <pc:spChg chg="mod">
          <ac:chgData name="Oyinlola Popoola" userId="a37a7fb2-f7f6-4757-8251-1f366d06d62b" providerId="ADAL" clId="{12068727-2694-40B1-8894-C4855D958E1B}" dt="2023-07-31T11:18:54.765" v="5218" actId="207"/>
          <ac:spMkLst>
            <pc:docMk/>
            <pc:sldMk cId="2488466455" sldId="2147479585"/>
            <ac:spMk id="10" creationId="{699594FF-3735-DDB9-B9DE-B30C4A161071}"/>
          </ac:spMkLst>
        </pc:spChg>
        <pc:spChg chg="mod">
          <ac:chgData name="Oyinlola Popoola" userId="a37a7fb2-f7f6-4757-8251-1f366d06d62b" providerId="ADAL" clId="{12068727-2694-40B1-8894-C4855D958E1B}" dt="2023-07-31T11:18:45.593" v="5216" actId="207"/>
          <ac:spMkLst>
            <pc:docMk/>
            <pc:sldMk cId="2488466455" sldId="2147479585"/>
            <ac:spMk id="11" creationId="{5793A24B-ABE3-D06E-AC2E-051576A1FB22}"/>
          </ac:spMkLst>
        </pc:spChg>
      </pc:sldChg>
      <pc:sldChg chg="modSp mod setBg">
        <pc:chgData name="Oyinlola Popoola" userId="a37a7fb2-f7f6-4757-8251-1f366d06d62b" providerId="ADAL" clId="{12068727-2694-40B1-8894-C4855D958E1B}" dt="2023-08-15T11:10:07.853" v="5978" actId="1076"/>
        <pc:sldMkLst>
          <pc:docMk/>
          <pc:sldMk cId="783175190" sldId="2147479586"/>
        </pc:sldMkLst>
        <pc:spChg chg="mod">
          <ac:chgData name="Oyinlola Popoola" userId="a37a7fb2-f7f6-4757-8251-1f366d06d62b" providerId="ADAL" clId="{12068727-2694-40B1-8894-C4855D958E1B}" dt="2023-07-31T11:18:22.553" v="5213" actId="207"/>
          <ac:spMkLst>
            <pc:docMk/>
            <pc:sldMk cId="783175190" sldId="2147479586"/>
            <ac:spMk id="2" creationId="{35CD8BED-68CF-D983-C8AF-A9AD64B592B0}"/>
          </ac:spMkLst>
        </pc:spChg>
        <pc:spChg chg="mod">
          <ac:chgData name="Oyinlola Popoola" userId="a37a7fb2-f7f6-4757-8251-1f366d06d62b" providerId="ADAL" clId="{12068727-2694-40B1-8894-C4855D958E1B}" dt="2023-08-15T11:10:07.853" v="5978" actId="1076"/>
          <ac:spMkLst>
            <pc:docMk/>
            <pc:sldMk cId="783175190" sldId="2147479586"/>
            <ac:spMk id="4" creationId="{E432C490-8501-4DEB-9800-36DD8F00D9DA}"/>
          </ac:spMkLst>
        </pc:spChg>
        <pc:spChg chg="mod">
          <ac:chgData name="Oyinlola Popoola" userId="a37a7fb2-f7f6-4757-8251-1f366d06d62b" providerId="ADAL" clId="{12068727-2694-40B1-8894-C4855D958E1B}" dt="2023-08-15T11:09:57.236" v="5976" actId="20577"/>
          <ac:spMkLst>
            <pc:docMk/>
            <pc:sldMk cId="783175190" sldId="2147479586"/>
            <ac:spMk id="5" creationId="{82ACE101-9079-4B28-90D1-41FFC709BAB0}"/>
          </ac:spMkLst>
        </pc:spChg>
      </pc:sldChg>
      <pc:sldChg chg="modSp mod setBg">
        <pc:chgData name="Oyinlola Popoola" userId="a37a7fb2-f7f6-4757-8251-1f366d06d62b" providerId="ADAL" clId="{12068727-2694-40B1-8894-C4855D958E1B}" dt="2023-08-15T11:07:00.375" v="5931" actId="1076"/>
        <pc:sldMkLst>
          <pc:docMk/>
          <pc:sldMk cId="663762665" sldId="2147479591"/>
        </pc:sldMkLst>
        <pc:spChg chg="mod">
          <ac:chgData name="Oyinlola Popoola" userId="a37a7fb2-f7f6-4757-8251-1f366d06d62b" providerId="ADAL" clId="{12068727-2694-40B1-8894-C4855D958E1B}" dt="2023-07-31T11:20:03.336" v="5224" actId="207"/>
          <ac:spMkLst>
            <pc:docMk/>
            <pc:sldMk cId="663762665" sldId="2147479591"/>
            <ac:spMk id="3" creationId="{54653C93-EE7D-BEDF-D2B4-67B3FBB2F9ED}"/>
          </ac:spMkLst>
        </pc:spChg>
        <pc:spChg chg="mod">
          <ac:chgData name="Oyinlola Popoola" userId="a37a7fb2-f7f6-4757-8251-1f366d06d62b" providerId="ADAL" clId="{12068727-2694-40B1-8894-C4855D958E1B}" dt="2023-08-15T11:07:00.375" v="5931" actId="1076"/>
          <ac:spMkLst>
            <pc:docMk/>
            <pc:sldMk cId="663762665" sldId="2147479591"/>
            <ac:spMk id="4" creationId="{E432C490-8501-4DEB-9800-36DD8F00D9DA}"/>
          </ac:spMkLst>
        </pc:spChg>
        <pc:spChg chg="mod">
          <ac:chgData name="Oyinlola Popoola" userId="a37a7fb2-f7f6-4757-8251-1f366d06d62b" providerId="ADAL" clId="{12068727-2694-40B1-8894-C4855D958E1B}" dt="2023-08-15T11:06:54.410" v="5930" actId="20577"/>
          <ac:spMkLst>
            <pc:docMk/>
            <pc:sldMk cId="663762665" sldId="2147479591"/>
            <ac:spMk id="5" creationId="{82ACE101-9079-4B28-90D1-41FFC709BAB0}"/>
          </ac:spMkLst>
        </pc:spChg>
      </pc:sldChg>
      <pc:sldChg chg="modSp mod setBg">
        <pc:chgData name="Oyinlola Popoola" userId="a37a7fb2-f7f6-4757-8251-1f366d06d62b" providerId="ADAL" clId="{12068727-2694-40B1-8894-C4855D958E1B}" dt="2023-07-31T11:19:51.175" v="5223" actId="207"/>
        <pc:sldMkLst>
          <pc:docMk/>
          <pc:sldMk cId="3060046903" sldId="2147479600"/>
        </pc:sldMkLst>
        <pc:spChg chg="mod">
          <ac:chgData name="Oyinlola Popoola" userId="a37a7fb2-f7f6-4757-8251-1f366d06d62b" providerId="ADAL" clId="{12068727-2694-40B1-8894-C4855D958E1B}" dt="2023-07-31T11:19:51.175" v="5223" actId="207"/>
          <ac:spMkLst>
            <pc:docMk/>
            <pc:sldMk cId="3060046903" sldId="2147479600"/>
            <ac:spMk id="4" creationId="{E432C490-8501-4DEB-9800-36DD8F00D9DA}"/>
          </ac:spMkLst>
        </pc:spChg>
      </pc:sldChg>
      <pc:sldChg chg="modSp mod setBg">
        <pc:chgData name="Oyinlola Popoola" userId="a37a7fb2-f7f6-4757-8251-1f366d06d62b" providerId="ADAL" clId="{12068727-2694-40B1-8894-C4855D958E1B}" dt="2023-07-31T11:19:39.966" v="5222" actId="207"/>
        <pc:sldMkLst>
          <pc:docMk/>
          <pc:sldMk cId="3934727699" sldId="2147479601"/>
        </pc:sldMkLst>
        <pc:spChg chg="mod">
          <ac:chgData name="Oyinlola Popoola" userId="a37a7fb2-f7f6-4757-8251-1f366d06d62b" providerId="ADAL" clId="{12068727-2694-40B1-8894-C4855D958E1B}" dt="2023-07-31T11:19:39.966" v="5222" actId="207"/>
          <ac:spMkLst>
            <pc:docMk/>
            <pc:sldMk cId="3934727699" sldId="2147479601"/>
            <ac:spMk id="4" creationId="{E432C490-8501-4DEB-9800-36DD8F00D9DA}"/>
          </ac:spMkLst>
        </pc:spChg>
      </pc:sldChg>
      <pc:sldChg chg="modSp mod setBg">
        <pc:chgData name="Oyinlola Popoola" userId="a37a7fb2-f7f6-4757-8251-1f366d06d62b" providerId="ADAL" clId="{12068727-2694-40B1-8894-C4855D958E1B}" dt="2023-07-31T11:00:59.301" v="5176"/>
        <pc:sldMkLst>
          <pc:docMk/>
          <pc:sldMk cId="1981180335" sldId="2147479604"/>
        </pc:sldMkLst>
        <pc:spChg chg="mod">
          <ac:chgData name="Oyinlola Popoola" userId="a37a7fb2-f7f6-4757-8251-1f366d06d62b" providerId="ADAL" clId="{12068727-2694-40B1-8894-C4855D958E1B}" dt="2023-07-31T10:52:40.408" v="5112" actId="207"/>
          <ac:spMkLst>
            <pc:docMk/>
            <pc:sldMk cId="1981180335" sldId="2147479604"/>
            <ac:spMk id="2" creationId="{871C9022-CAD4-0F4A-058D-60DAB13CD738}"/>
          </ac:spMkLst>
        </pc:spChg>
        <pc:spChg chg="mod">
          <ac:chgData name="Oyinlola Popoola" userId="a37a7fb2-f7f6-4757-8251-1f366d06d62b" providerId="ADAL" clId="{12068727-2694-40B1-8894-C4855D958E1B}" dt="2023-07-31T10:52:43.022" v="5113" actId="207"/>
          <ac:spMkLst>
            <pc:docMk/>
            <pc:sldMk cId="1981180335" sldId="2147479604"/>
            <ac:spMk id="3" creationId="{D06167CC-523B-53EC-0222-01CE5C1661D4}"/>
          </ac:spMkLst>
        </pc:spChg>
      </pc:sldChg>
      <pc:sldChg chg="modSp add mod">
        <pc:chgData name="Oyinlola Popoola" userId="a37a7fb2-f7f6-4757-8251-1f366d06d62b" providerId="ADAL" clId="{12068727-2694-40B1-8894-C4855D958E1B}" dt="2023-07-25T01:25:25.867" v="215" actId="20577"/>
        <pc:sldMkLst>
          <pc:docMk/>
          <pc:sldMk cId="4281992946" sldId="2147479607"/>
        </pc:sldMkLst>
        <pc:spChg chg="mod">
          <ac:chgData name="Oyinlola Popoola" userId="a37a7fb2-f7f6-4757-8251-1f366d06d62b" providerId="ADAL" clId="{12068727-2694-40B1-8894-C4855D958E1B}" dt="2023-07-25T01:25:25.867" v="215" actId="20577"/>
          <ac:spMkLst>
            <pc:docMk/>
            <pc:sldMk cId="4281992946" sldId="2147479607"/>
            <ac:spMk id="8" creationId="{7824D54C-15D2-467C-A016-166944D0781C}"/>
          </ac:spMkLst>
        </pc:spChg>
      </pc:sldChg>
      <pc:sldChg chg="addSp modSp add mod ord">
        <pc:chgData name="Oyinlola Popoola" userId="a37a7fb2-f7f6-4757-8251-1f366d06d62b" providerId="ADAL" clId="{12068727-2694-40B1-8894-C4855D958E1B}" dt="2023-08-01T09:33:23.761" v="5391" actId="1076"/>
        <pc:sldMkLst>
          <pc:docMk/>
          <pc:sldMk cId="2192119907" sldId="2147479608"/>
        </pc:sldMkLst>
        <pc:spChg chg="mod">
          <ac:chgData name="Oyinlola Popoola" userId="a37a7fb2-f7f6-4757-8251-1f366d06d62b" providerId="ADAL" clId="{12068727-2694-40B1-8894-C4855D958E1B}" dt="2023-07-31T09:25:18.279" v="4557" actId="14100"/>
          <ac:spMkLst>
            <pc:docMk/>
            <pc:sldMk cId="2192119907" sldId="2147479608"/>
            <ac:spMk id="7" creationId="{CFDD937B-3112-47A6-B0B1-3C193428DAEB}"/>
          </ac:spMkLst>
        </pc:spChg>
        <pc:spChg chg="mod">
          <ac:chgData name="Oyinlola Popoola" userId="a37a7fb2-f7f6-4757-8251-1f366d06d62b" providerId="ADAL" clId="{12068727-2694-40B1-8894-C4855D958E1B}" dt="2023-07-25T01:34:12.984" v="248" actId="313"/>
          <ac:spMkLst>
            <pc:docMk/>
            <pc:sldMk cId="2192119907" sldId="2147479608"/>
            <ac:spMk id="8" creationId="{7824D54C-15D2-467C-A016-166944D0781C}"/>
          </ac:spMkLst>
        </pc:spChg>
        <pc:spChg chg="mod">
          <ac:chgData name="Oyinlola Popoola" userId="a37a7fb2-f7f6-4757-8251-1f366d06d62b" providerId="ADAL" clId="{12068727-2694-40B1-8894-C4855D958E1B}" dt="2023-07-31T09:25:19.462" v="4559" actId="14100"/>
          <ac:spMkLst>
            <pc:docMk/>
            <pc:sldMk cId="2192119907" sldId="2147479608"/>
            <ac:spMk id="10" creationId="{8DB344F0-FF8B-4BFF-A3EE-6E94F5B6096B}"/>
          </ac:spMkLst>
        </pc:spChg>
        <pc:spChg chg="mod">
          <ac:chgData name="Oyinlola Popoola" userId="a37a7fb2-f7f6-4757-8251-1f366d06d62b" providerId="ADAL" clId="{12068727-2694-40B1-8894-C4855D958E1B}" dt="2023-07-31T14:49:25.534" v="5387" actId="20577"/>
          <ac:spMkLst>
            <pc:docMk/>
            <pc:sldMk cId="2192119907" sldId="2147479608"/>
            <ac:spMk id="11" creationId="{9EE04F04-F794-4453-963E-5CFBB6620A43}"/>
          </ac:spMkLst>
        </pc:spChg>
        <pc:spChg chg="mod">
          <ac:chgData name="Oyinlola Popoola" userId="a37a7fb2-f7f6-4757-8251-1f366d06d62b" providerId="ADAL" clId="{12068727-2694-40B1-8894-C4855D958E1B}" dt="2023-07-26T15:52:11.760" v="4536" actId="20577"/>
          <ac:spMkLst>
            <pc:docMk/>
            <pc:sldMk cId="2192119907" sldId="2147479608"/>
            <ac:spMk id="12" creationId="{FB93CF21-DAD5-4B79-9666-F5B05BE3DD14}"/>
          </ac:spMkLst>
        </pc:spChg>
        <pc:spChg chg="mod">
          <ac:chgData name="Oyinlola Popoola" userId="a37a7fb2-f7f6-4757-8251-1f366d06d62b" providerId="ADAL" clId="{12068727-2694-40B1-8894-C4855D958E1B}" dt="2023-07-31T09:25:20.045" v="4560" actId="14100"/>
          <ac:spMkLst>
            <pc:docMk/>
            <pc:sldMk cId="2192119907" sldId="2147479608"/>
            <ac:spMk id="13" creationId="{D642F10C-58A5-4B16-A89B-076AEE9416C7}"/>
          </ac:spMkLst>
        </pc:spChg>
        <pc:picChg chg="add mod">
          <ac:chgData name="Oyinlola Popoola" userId="a37a7fb2-f7f6-4757-8251-1f366d06d62b" providerId="ADAL" clId="{12068727-2694-40B1-8894-C4855D958E1B}" dt="2023-08-01T09:33:23.761" v="5391" actId="1076"/>
          <ac:picMkLst>
            <pc:docMk/>
            <pc:sldMk cId="2192119907" sldId="2147479608"/>
            <ac:picMk id="14" creationId="{61BCCF20-0E9B-4E49-A655-2EB6BE32F53D}"/>
          </ac:picMkLst>
        </pc:picChg>
      </pc:sldChg>
      <pc:sldChg chg="modSp add mod">
        <pc:chgData name="Oyinlola Popoola" userId="a37a7fb2-f7f6-4757-8251-1f366d06d62b" providerId="ADAL" clId="{12068727-2694-40B1-8894-C4855D958E1B}" dt="2023-08-03T11:08:33.877" v="5405" actId="2162"/>
        <pc:sldMkLst>
          <pc:docMk/>
          <pc:sldMk cId="2074381867" sldId="2147479609"/>
        </pc:sldMkLst>
        <pc:graphicFrameChg chg="mod modGraphic">
          <ac:chgData name="Oyinlola Popoola" userId="a37a7fb2-f7f6-4757-8251-1f366d06d62b" providerId="ADAL" clId="{12068727-2694-40B1-8894-C4855D958E1B}" dt="2023-08-03T11:08:33.877" v="5405" actId="2162"/>
          <ac:graphicFrameMkLst>
            <pc:docMk/>
            <pc:sldMk cId="2074381867" sldId="2147479609"/>
            <ac:graphicFrameMk id="3" creationId="{A8C79D6C-A7C9-DB57-D69D-756EB168AE4F}"/>
          </ac:graphicFrameMkLst>
        </pc:graphicFrameChg>
      </pc:sldChg>
      <pc:sldChg chg="add del">
        <pc:chgData name="Oyinlola Popoola" userId="a37a7fb2-f7f6-4757-8251-1f366d06d62b" providerId="ADAL" clId="{12068727-2694-40B1-8894-C4855D958E1B}" dt="2023-07-25T02:07:37.850" v="802"/>
        <pc:sldMkLst>
          <pc:docMk/>
          <pc:sldMk cId="2696164224" sldId="2147479609"/>
        </pc:sldMkLst>
      </pc:sldChg>
      <pc:sldChg chg="modSp mod setBg">
        <pc:chgData name="Oyinlola Popoola" userId="a37a7fb2-f7f6-4757-8251-1f366d06d62b" providerId="ADAL" clId="{12068727-2694-40B1-8894-C4855D958E1B}" dt="2023-08-15T11:11:18.687" v="6001" actId="1076"/>
        <pc:sldMkLst>
          <pc:docMk/>
          <pc:sldMk cId="1878775612" sldId="2147479634"/>
        </pc:sldMkLst>
        <pc:spChg chg="mod">
          <ac:chgData name="Oyinlola Popoola" userId="a37a7fb2-f7f6-4757-8251-1f366d06d62b" providerId="ADAL" clId="{12068727-2694-40B1-8894-C4855D958E1B}" dt="2023-07-31T11:17:10.163" v="5207" actId="207"/>
          <ac:spMkLst>
            <pc:docMk/>
            <pc:sldMk cId="1878775612" sldId="2147479634"/>
            <ac:spMk id="2" creationId="{35CD8BED-68CF-D983-C8AF-A9AD64B592B0}"/>
          </ac:spMkLst>
        </pc:spChg>
        <pc:spChg chg="mod">
          <ac:chgData name="Oyinlola Popoola" userId="a37a7fb2-f7f6-4757-8251-1f366d06d62b" providerId="ADAL" clId="{12068727-2694-40B1-8894-C4855D958E1B}" dt="2023-08-15T11:11:18.687" v="6001" actId="1076"/>
          <ac:spMkLst>
            <pc:docMk/>
            <pc:sldMk cId="1878775612" sldId="2147479634"/>
            <ac:spMk id="4" creationId="{E432C490-8501-4DEB-9800-36DD8F00D9DA}"/>
          </ac:spMkLst>
        </pc:spChg>
        <pc:spChg chg="mod">
          <ac:chgData name="Oyinlola Popoola" userId="a37a7fb2-f7f6-4757-8251-1f366d06d62b" providerId="ADAL" clId="{12068727-2694-40B1-8894-C4855D958E1B}" dt="2023-08-15T11:11:12.795" v="6000" actId="20577"/>
          <ac:spMkLst>
            <pc:docMk/>
            <pc:sldMk cId="1878775612" sldId="2147479634"/>
            <ac:spMk id="5" creationId="{82ACE101-9079-4B28-90D1-41FFC709BAB0}"/>
          </ac:spMkLst>
        </pc:spChg>
      </pc:sldChg>
      <pc:sldChg chg="addSp modSp mod">
        <pc:chgData name="Oyinlola Popoola" userId="a37a7fb2-f7f6-4757-8251-1f366d06d62b" providerId="ADAL" clId="{12068727-2694-40B1-8894-C4855D958E1B}" dt="2023-08-02T01:55:05.471" v="5403" actId="1076"/>
        <pc:sldMkLst>
          <pc:docMk/>
          <pc:sldMk cId="1066138" sldId="2147479646"/>
        </pc:sldMkLst>
        <pc:picChg chg="add mod">
          <ac:chgData name="Oyinlola Popoola" userId="a37a7fb2-f7f6-4757-8251-1f366d06d62b" providerId="ADAL" clId="{12068727-2694-40B1-8894-C4855D958E1B}" dt="2023-08-02T01:55:05.471" v="5403" actId="1076"/>
          <ac:picMkLst>
            <pc:docMk/>
            <pc:sldMk cId="1066138" sldId="2147479646"/>
            <ac:picMk id="11" creationId="{230E2BD5-3EB9-4227-8E86-EB65CD3F80DC}"/>
          </ac:picMkLst>
        </pc:picChg>
      </pc:sldChg>
      <pc:sldChg chg="addSp delSp modSp add mod setBg">
        <pc:chgData name="Oyinlola Popoola" userId="a37a7fb2-f7f6-4757-8251-1f366d06d62b" providerId="ADAL" clId="{12068727-2694-40B1-8894-C4855D958E1B}" dt="2023-07-31T11:00:59.301" v="5176"/>
        <pc:sldMkLst>
          <pc:docMk/>
          <pc:sldMk cId="3770532317" sldId="2147479657"/>
        </pc:sldMkLst>
        <pc:spChg chg="add del mod">
          <ac:chgData name="Oyinlola Popoola" userId="a37a7fb2-f7f6-4757-8251-1f366d06d62b" providerId="ADAL" clId="{12068727-2694-40B1-8894-C4855D958E1B}" dt="2023-07-31T10:50:27.400" v="5055" actId="1076"/>
          <ac:spMkLst>
            <pc:docMk/>
            <pc:sldMk cId="3770532317" sldId="2147479657"/>
            <ac:spMk id="3" creationId="{73F2FB44-B140-425B-A792-9A2CDE79AA28}"/>
          </ac:spMkLst>
        </pc:spChg>
        <pc:spChg chg="del mod">
          <ac:chgData name="Oyinlola Popoola" userId="a37a7fb2-f7f6-4757-8251-1f366d06d62b" providerId="ADAL" clId="{12068727-2694-40B1-8894-C4855D958E1B}" dt="2023-07-31T10:38:32.366" v="4808" actId="478"/>
          <ac:spMkLst>
            <pc:docMk/>
            <pc:sldMk cId="3770532317" sldId="2147479657"/>
            <ac:spMk id="5" creationId="{D953681B-076C-4544-9E35-2E7B5D500D16}"/>
          </ac:spMkLst>
        </pc:spChg>
        <pc:spChg chg="add del mod">
          <ac:chgData name="Oyinlola Popoola" userId="a37a7fb2-f7f6-4757-8251-1f366d06d62b" providerId="ADAL" clId="{12068727-2694-40B1-8894-C4855D958E1B}" dt="2023-07-31T10:38:12.212" v="4805" actId="478"/>
          <ac:spMkLst>
            <pc:docMk/>
            <pc:sldMk cId="3770532317" sldId="2147479657"/>
            <ac:spMk id="10" creationId="{CA493BF8-5EED-427E-9813-43589ADE2086}"/>
          </ac:spMkLst>
        </pc:spChg>
        <pc:spChg chg="add mod">
          <ac:chgData name="Oyinlola Popoola" userId="a37a7fb2-f7f6-4757-8251-1f366d06d62b" providerId="ADAL" clId="{12068727-2694-40B1-8894-C4855D958E1B}" dt="2023-07-31T10:50:21.936" v="5054" actId="1076"/>
          <ac:spMkLst>
            <pc:docMk/>
            <pc:sldMk cId="3770532317" sldId="2147479657"/>
            <ac:spMk id="11" creationId="{69863546-7AFD-434E-B089-7D68680F65E0}"/>
          </ac:spMkLst>
        </pc:spChg>
      </pc:sldChg>
      <pc:sldChg chg="modSp add del mod setBg">
        <pc:chgData name="Oyinlola Popoola" userId="a37a7fb2-f7f6-4757-8251-1f366d06d62b" providerId="ADAL" clId="{12068727-2694-40B1-8894-C4855D958E1B}" dt="2023-07-31T10:50:34.646" v="5056" actId="2696"/>
        <pc:sldMkLst>
          <pc:docMk/>
          <pc:sldMk cId="1242318111" sldId="2147479658"/>
        </pc:sldMkLst>
        <pc:spChg chg="mod">
          <ac:chgData name="Oyinlola Popoola" userId="a37a7fb2-f7f6-4757-8251-1f366d06d62b" providerId="ADAL" clId="{12068727-2694-40B1-8894-C4855D958E1B}" dt="2023-07-31T10:43:10.807" v="4844" actId="1076"/>
          <ac:spMkLst>
            <pc:docMk/>
            <pc:sldMk cId="1242318111" sldId="2147479658"/>
            <ac:spMk id="16" creationId="{00000000-0000-0000-0000-000000000000}"/>
          </ac:spMkLst>
        </pc:spChg>
        <pc:spChg chg="mod">
          <ac:chgData name="Oyinlola Popoola" userId="a37a7fb2-f7f6-4757-8251-1f366d06d62b" providerId="ADAL" clId="{12068727-2694-40B1-8894-C4855D958E1B}" dt="2023-07-31T10:43:10.127" v="4843" actId="1076"/>
          <ac:spMkLst>
            <pc:docMk/>
            <pc:sldMk cId="1242318111" sldId="2147479658"/>
            <ac:spMk id="17" creationId="{00000000-0000-0000-0000-000000000000}"/>
          </ac:spMkLst>
        </pc:spChg>
      </pc:sldChg>
      <pc:sldChg chg="addSp delSp modSp mod">
        <pc:chgData name="Oyinlola Popoola" userId="a37a7fb2-f7f6-4757-8251-1f366d06d62b" providerId="ADAL" clId="{12068727-2694-40B1-8894-C4855D958E1B}" dt="2023-08-03T13:47:36.086" v="5862" actId="14100"/>
        <pc:sldMkLst>
          <pc:docMk/>
          <pc:sldMk cId="954940349" sldId="2147479682"/>
        </pc:sldMkLst>
        <pc:spChg chg="mod">
          <ac:chgData name="Oyinlola Popoola" userId="a37a7fb2-f7f6-4757-8251-1f366d06d62b" providerId="ADAL" clId="{12068727-2694-40B1-8894-C4855D958E1B}" dt="2023-08-03T12:04:08.783" v="5852"/>
          <ac:spMkLst>
            <pc:docMk/>
            <pc:sldMk cId="954940349" sldId="2147479682"/>
            <ac:spMk id="3" creationId="{D2FF72AF-9783-DFFC-9A7A-6D57999F6F0C}"/>
          </ac:spMkLst>
        </pc:spChg>
        <pc:spChg chg="mod">
          <ac:chgData name="Oyinlola Popoola" userId="a37a7fb2-f7f6-4757-8251-1f366d06d62b" providerId="ADAL" clId="{12068727-2694-40B1-8894-C4855D958E1B}" dt="2023-08-03T11:54:06.807" v="5715" actId="14100"/>
          <ac:spMkLst>
            <pc:docMk/>
            <pc:sldMk cId="954940349" sldId="2147479682"/>
            <ac:spMk id="13" creationId="{8DBDC67C-629C-23E8-F066-65B8BEFF9B16}"/>
          </ac:spMkLst>
        </pc:spChg>
        <pc:spChg chg="mod">
          <ac:chgData name="Oyinlola Popoola" userId="a37a7fb2-f7f6-4757-8251-1f366d06d62b" providerId="ADAL" clId="{12068727-2694-40B1-8894-C4855D958E1B}" dt="2023-08-03T11:52:31.182" v="5668" actId="20577"/>
          <ac:spMkLst>
            <pc:docMk/>
            <pc:sldMk cId="954940349" sldId="2147479682"/>
            <ac:spMk id="15" creationId="{3DCFECE4-A5AB-9140-A459-DAE038D2FAFE}"/>
          </ac:spMkLst>
        </pc:spChg>
        <pc:spChg chg="mod">
          <ac:chgData name="Oyinlola Popoola" userId="a37a7fb2-f7f6-4757-8251-1f366d06d62b" providerId="ADAL" clId="{12068727-2694-40B1-8894-C4855D958E1B}" dt="2023-08-03T12:00:29.502" v="5841" actId="207"/>
          <ac:spMkLst>
            <pc:docMk/>
            <pc:sldMk cId="954940349" sldId="2147479682"/>
            <ac:spMk id="16" creationId="{B07672A7-C84F-043B-D580-6D0AF844CEBF}"/>
          </ac:spMkLst>
        </pc:spChg>
        <pc:spChg chg="add del">
          <ac:chgData name="Oyinlola Popoola" userId="a37a7fb2-f7f6-4757-8251-1f366d06d62b" providerId="ADAL" clId="{12068727-2694-40B1-8894-C4855D958E1B}" dt="2023-08-03T11:34:44.348" v="5521" actId="478"/>
          <ac:spMkLst>
            <pc:docMk/>
            <pc:sldMk cId="954940349" sldId="2147479682"/>
            <ac:spMk id="19" creationId="{C49CD4F6-900B-9DFC-61BE-CE0C11E47C6F}"/>
          </ac:spMkLst>
        </pc:spChg>
        <pc:spChg chg="mod">
          <ac:chgData name="Oyinlola Popoola" userId="a37a7fb2-f7f6-4757-8251-1f366d06d62b" providerId="ADAL" clId="{12068727-2694-40B1-8894-C4855D958E1B}" dt="2023-08-03T11:25:37.396" v="5448" actId="20577"/>
          <ac:spMkLst>
            <pc:docMk/>
            <pc:sldMk cId="954940349" sldId="2147479682"/>
            <ac:spMk id="24" creationId="{9D15BA5A-6437-0CB3-334B-FFFFAE7108D3}"/>
          </ac:spMkLst>
        </pc:spChg>
        <pc:spChg chg="mod">
          <ac:chgData name="Oyinlola Popoola" userId="a37a7fb2-f7f6-4757-8251-1f366d06d62b" providerId="ADAL" clId="{12068727-2694-40B1-8894-C4855D958E1B}" dt="2023-08-03T11:23:49.976" v="5432" actId="20577"/>
          <ac:spMkLst>
            <pc:docMk/>
            <pc:sldMk cId="954940349" sldId="2147479682"/>
            <ac:spMk id="25" creationId="{20FF0EBA-9FB1-61E1-30E3-1DD0319DAA5F}"/>
          </ac:spMkLst>
        </pc:spChg>
        <pc:spChg chg="mod">
          <ac:chgData name="Oyinlola Popoola" userId="a37a7fb2-f7f6-4757-8251-1f366d06d62b" providerId="ADAL" clId="{12068727-2694-40B1-8894-C4855D958E1B}" dt="2023-08-03T11:33:55.593" v="5513" actId="20577"/>
          <ac:spMkLst>
            <pc:docMk/>
            <pc:sldMk cId="954940349" sldId="2147479682"/>
            <ac:spMk id="27" creationId="{E4C8A7F8-35EF-25C2-52DD-5D4AF5FE92A8}"/>
          </ac:spMkLst>
        </pc:spChg>
        <pc:spChg chg="mod">
          <ac:chgData name="Oyinlola Popoola" userId="a37a7fb2-f7f6-4757-8251-1f366d06d62b" providerId="ADAL" clId="{12068727-2694-40B1-8894-C4855D958E1B}" dt="2023-08-03T11:31:57.050" v="5487" actId="20577"/>
          <ac:spMkLst>
            <pc:docMk/>
            <pc:sldMk cId="954940349" sldId="2147479682"/>
            <ac:spMk id="28" creationId="{AC9B6E01-C23E-61CA-46F8-858F2371ED80}"/>
          </ac:spMkLst>
        </pc:spChg>
        <pc:spChg chg="del">
          <ac:chgData name="Oyinlola Popoola" userId="a37a7fb2-f7f6-4757-8251-1f366d06d62b" providerId="ADAL" clId="{12068727-2694-40B1-8894-C4855D958E1B}" dt="2023-08-03T11:18:01.131" v="5407" actId="478"/>
          <ac:spMkLst>
            <pc:docMk/>
            <pc:sldMk cId="954940349" sldId="2147479682"/>
            <ac:spMk id="33" creationId="{4A91390C-C5B8-B033-08D3-145643CB2D0B}"/>
          </ac:spMkLst>
        </pc:spChg>
        <pc:spChg chg="del">
          <ac:chgData name="Oyinlola Popoola" userId="a37a7fb2-f7f6-4757-8251-1f366d06d62b" providerId="ADAL" clId="{12068727-2694-40B1-8894-C4855D958E1B}" dt="2023-08-03T11:17:55.675" v="5406" actId="478"/>
          <ac:spMkLst>
            <pc:docMk/>
            <pc:sldMk cId="954940349" sldId="2147479682"/>
            <ac:spMk id="34" creationId="{1151EDD5-0D42-1236-22ED-597042F0E27E}"/>
          </ac:spMkLst>
        </pc:spChg>
        <pc:spChg chg="mod">
          <ac:chgData name="Oyinlola Popoola" userId="a37a7fb2-f7f6-4757-8251-1f366d06d62b" providerId="ADAL" clId="{12068727-2694-40B1-8894-C4855D958E1B}" dt="2023-08-03T11:51:32.419" v="5637" actId="20577"/>
          <ac:spMkLst>
            <pc:docMk/>
            <pc:sldMk cId="954940349" sldId="2147479682"/>
            <ac:spMk id="38" creationId="{04CFDF3D-EB84-8F50-D13B-ED9B1CEFC118}"/>
          </ac:spMkLst>
        </pc:spChg>
        <pc:spChg chg="mod">
          <ac:chgData name="Oyinlola Popoola" userId="a37a7fb2-f7f6-4757-8251-1f366d06d62b" providerId="ADAL" clId="{12068727-2694-40B1-8894-C4855D958E1B}" dt="2023-08-03T11:55:36.318" v="5794" actId="6549"/>
          <ac:spMkLst>
            <pc:docMk/>
            <pc:sldMk cId="954940349" sldId="2147479682"/>
            <ac:spMk id="39" creationId="{5108D7E0-663E-7800-85F2-B3010545E0DF}"/>
          </ac:spMkLst>
        </pc:spChg>
        <pc:spChg chg="mod">
          <ac:chgData name="Oyinlola Popoola" userId="a37a7fb2-f7f6-4757-8251-1f366d06d62b" providerId="ADAL" clId="{12068727-2694-40B1-8894-C4855D958E1B}" dt="2023-08-03T11:43:17.179" v="5557" actId="20577"/>
          <ac:spMkLst>
            <pc:docMk/>
            <pc:sldMk cId="954940349" sldId="2147479682"/>
            <ac:spMk id="41" creationId="{2F065EAF-F9A5-BF43-CDBF-36E3749ED9FC}"/>
          </ac:spMkLst>
        </pc:spChg>
        <pc:spChg chg="mod">
          <ac:chgData name="Oyinlola Popoola" userId="a37a7fb2-f7f6-4757-8251-1f366d06d62b" providerId="ADAL" clId="{12068727-2694-40B1-8894-C4855D958E1B}" dt="2023-08-03T11:42:38.903" v="5541" actId="20577"/>
          <ac:spMkLst>
            <pc:docMk/>
            <pc:sldMk cId="954940349" sldId="2147479682"/>
            <ac:spMk id="42" creationId="{DFA502C0-3919-E776-DB85-6726D69F8E20}"/>
          </ac:spMkLst>
        </pc:spChg>
        <pc:spChg chg="mod">
          <ac:chgData name="Oyinlola Popoola" userId="a37a7fb2-f7f6-4757-8251-1f366d06d62b" providerId="ADAL" clId="{12068727-2694-40B1-8894-C4855D958E1B}" dt="2023-08-03T11:53:24.898" v="5705" actId="20577"/>
          <ac:spMkLst>
            <pc:docMk/>
            <pc:sldMk cId="954940349" sldId="2147479682"/>
            <ac:spMk id="45" creationId="{42C6F404-4303-DA31-BCA8-378CFFD70E47}"/>
          </ac:spMkLst>
        </pc:spChg>
        <pc:spChg chg="mod">
          <ac:chgData name="Oyinlola Popoola" userId="a37a7fb2-f7f6-4757-8251-1f366d06d62b" providerId="ADAL" clId="{12068727-2694-40B1-8894-C4855D958E1B}" dt="2023-08-03T12:00:34.383" v="5842" actId="207"/>
          <ac:spMkLst>
            <pc:docMk/>
            <pc:sldMk cId="954940349" sldId="2147479682"/>
            <ac:spMk id="46" creationId="{9EE185B8-13F3-3CFD-C42D-4AFD01F4C4D3}"/>
          </ac:spMkLst>
        </pc:spChg>
        <pc:spChg chg="del">
          <ac:chgData name="Oyinlola Popoola" userId="a37a7fb2-f7f6-4757-8251-1f366d06d62b" providerId="ADAL" clId="{12068727-2694-40B1-8894-C4855D958E1B}" dt="2023-08-03T11:18:34.868" v="5410" actId="478"/>
          <ac:spMkLst>
            <pc:docMk/>
            <pc:sldMk cId="954940349" sldId="2147479682"/>
            <ac:spMk id="47" creationId="{EE77C4BF-F22E-BB75-0950-4C0F914969F9}"/>
          </ac:spMkLst>
        </pc:spChg>
        <pc:spChg chg="del">
          <ac:chgData name="Oyinlola Popoola" userId="a37a7fb2-f7f6-4757-8251-1f366d06d62b" providerId="ADAL" clId="{12068727-2694-40B1-8894-C4855D958E1B}" dt="2023-08-03T11:18:29.581" v="5409" actId="478"/>
          <ac:spMkLst>
            <pc:docMk/>
            <pc:sldMk cId="954940349" sldId="2147479682"/>
            <ac:spMk id="48" creationId="{46654D3D-06C9-D726-24F3-D4190712EB64}"/>
          </ac:spMkLst>
        </pc:spChg>
        <pc:spChg chg="add del">
          <ac:chgData name="Oyinlola Popoola" userId="a37a7fb2-f7f6-4757-8251-1f366d06d62b" providerId="ADAL" clId="{12068727-2694-40B1-8894-C4855D958E1B}" dt="2023-08-03T11:38:05.330" v="5530" actId="478"/>
          <ac:spMkLst>
            <pc:docMk/>
            <pc:sldMk cId="954940349" sldId="2147479682"/>
            <ac:spMk id="59" creationId="{E3950E45-BFBC-18C9-62D8-D708F7DCAA40}"/>
          </ac:spMkLst>
        </pc:spChg>
        <pc:spChg chg="del">
          <ac:chgData name="Oyinlola Popoola" userId="a37a7fb2-f7f6-4757-8251-1f366d06d62b" providerId="ADAL" clId="{12068727-2694-40B1-8894-C4855D958E1B}" dt="2023-08-03T11:18:51.554" v="5413" actId="478"/>
          <ac:spMkLst>
            <pc:docMk/>
            <pc:sldMk cId="954940349" sldId="2147479682"/>
            <ac:spMk id="64" creationId="{E10C6CB0-E6C4-7CC4-533D-272B959E5246}"/>
          </ac:spMkLst>
        </pc:spChg>
        <pc:spChg chg="del">
          <ac:chgData name="Oyinlola Popoola" userId="a37a7fb2-f7f6-4757-8251-1f366d06d62b" providerId="ADAL" clId="{12068727-2694-40B1-8894-C4855D958E1B}" dt="2023-08-03T11:18:44.830" v="5412" actId="478"/>
          <ac:spMkLst>
            <pc:docMk/>
            <pc:sldMk cId="954940349" sldId="2147479682"/>
            <ac:spMk id="65" creationId="{0AFC53F9-5BFA-B010-FD89-1AB3146FD015}"/>
          </ac:spMkLst>
        </pc:spChg>
        <pc:spChg chg="mod">
          <ac:chgData name="Oyinlola Popoola" userId="a37a7fb2-f7f6-4757-8251-1f366d06d62b" providerId="ADAL" clId="{12068727-2694-40B1-8894-C4855D958E1B}" dt="2023-08-03T13:47:36.086" v="5862" actId="14100"/>
          <ac:spMkLst>
            <pc:docMk/>
            <pc:sldMk cId="954940349" sldId="2147479682"/>
            <ac:spMk id="72" creationId="{7F475AB1-09E7-10F0-F083-B7CB8D628A58}"/>
          </ac:spMkLst>
        </pc:spChg>
        <pc:spChg chg="mod">
          <ac:chgData name="Oyinlola Popoola" userId="a37a7fb2-f7f6-4757-8251-1f366d06d62b" providerId="ADAL" clId="{12068727-2694-40B1-8894-C4855D958E1B}" dt="2023-08-03T11:49:09.565" v="5582" actId="20577"/>
          <ac:spMkLst>
            <pc:docMk/>
            <pc:sldMk cId="954940349" sldId="2147479682"/>
            <ac:spMk id="80" creationId="{FBDE3F53-C186-1F80-4EC1-D13D68FA5392}"/>
          </ac:spMkLst>
        </pc:spChg>
        <pc:spChg chg="mod">
          <ac:chgData name="Oyinlola Popoola" userId="a37a7fb2-f7f6-4757-8251-1f366d06d62b" providerId="ADAL" clId="{12068727-2694-40B1-8894-C4855D958E1B}" dt="2023-08-03T11:49:33.244" v="5610" actId="20577"/>
          <ac:spMkLst>
            <pc:docMk/>
            <pc:sldMk cId="954940349" sldId="2147479682"/>
            <ac:spMk id="81" creationId="{EFD7916F-2890-8AE9-FB57-EE9DF1280F04}"/>
          </ac:spMkLst>
        </pc:spChg>
        <pc:spChg chg="mod">
          <ac:chgData name="Oyinlola Popoola" userId="a37a7fb2-f7f6-4757-8251-1f366d06d62b" providerId="ADAL" clId="{12068727-2694-40B1-8894-C4855D958E1B}" dt="2023-08-03T11:53:37.587" v="5710" actId="6549"/>
          <ac:spMkLst>
            <pc:docMk/>
            <pc:sldMk cId="954940349" sldId="2147479682"/>
            <ac:spMk id="91" creationId="{DBB5BA82-ECEA-8DB9-D17B-1934FF3ACE0A}"/>
          </ac:spMkLst>
        </pc:spChg>
        <pc:spChg chg="del">
          <ac:chgData name="Oyinlola Popoola" userId="a37a7fb2-f7f6-4757-8251-1f366d06d62b" providerId="ADAL" clId="{12068727-2694-40B1-8894-C4855D958E1B}" dt="2023-08-03T11:53:32.846" v="5706" actId="478"/>
          <ac:spMkLst>
            <pc:docMk/>
            <pc:sldMk cId="954940349" sldId="2147479682"/>
            <ac:spMk id="96" creationId="{80B7BC0F-0A54-96F2-9BBA-3271C359C0FE}"/>
          </ac:spMkLst>
        </pc:spChg>
        <pc:spChg chg="mod">
          <ac:chgData name="Oyinlola Popoola" userId="a37a7fb2-f7f6-4757-8251-1f366d06d62b" providerId="ADAL" clId="{12068727-2694-40B1-8894-C4855D958E1B}" dt="2023-08-03T12:01:19.156" v="5845" actId="207"/>
          <ac:spMkLst>
            <pc:docMk/>
            <pc:sldMk cId="954940349" sldId="2147479682"/>
            <ac:spMk id="99" creationId="{594F8856-D242-29D5-AA32-7347A87B69A9}"/>
          </ac:spMkLst>
        </pc:spChg>
        <pc:spChg chg="mod">
          <ac:chgData name="Oyinlola Popoola" userId="a37a7fb2-f7f6-4757-8251-1f366d06d62b" providerId="ADAL" clId="{12068727-2694-40B1-8894-C4855D958E1B}" dt="2023-08-03T11:55:04.059" v="5764" actId="20577"/>
          <ac:spMkLst>
            <pc:docMk/>
            <pc:sldMk cId="954940349" sldId="2147479682"/>
            <ac:spMk id="101" creationId="{BB7B83CD-7C3F-6303-09BE-3A0CAD123AA6}"/>
          </ac:spMkLst>
        </pc:spChg>
        <pc:spChg chg="mod">
          <ac:chgData name="Oyinlola Popoola" userId="a37a7fb2-f7f6-4757-8251-1f366d06d62b" providerId="ADAL" clId="{12068727-2694-40B1-8894-C4855D958E1B}" dt="2023-08-03T11:55:31.836" v="5793" actId="20577"/>
          <ac:spMkLst>
            <pc:docMk/>
            <pc:sldMk cId="954940349" sldId="2147479682"/>
            <ac:spMk id="102" creationId="{5195CB89-AB90-D3EC-1B4A-6592D836997C}"/>
          </ac:spMkLst>
        </pc:spChg>
        <pc:spChg chg="mod">
          <ac:chgData name="Oyinlola Popoola" userId="a37a7fb2-f7f6-4757-8251-1f366d06d62b" providerId="ADAL" clId="{12068727-2694-40B1-8894-C4855D958E1B}" dt="2023-08-03T12:02:05.320" v="5850" actId="20577"/>
          <ac:spMkLst>
            <pc:docMk/>
            <pc:sldMk cId="954940349" sldId="2147479682"/>
            <ac:spMk id="103" creationId="{D739ADE7-E800-8EB0-F4FA-35C8190192F5}"/>
          </ac:spMkLst>
        </pc:spChg>
        <pc:spChg chg="mod">
          <ac:chgData name="Oyinlola Popoola" userId="a37a7fb2-f7f6-4757-8251-1f366d06d62b" providerId="ADAL" clId="{12068727-2694-40B1-8894-C4855D958E1B}" dt="2023-08-03T11:56:31.299" v="5816" actId="20577"/>
          <ac:spMkLst>
            <pc:docMk/>
            <pc:sldMk cId="954940349" sldId="2147479682"/>
            <ac:spMk id="105" creationId="{9C2FD063-7F20-0679-740D-1B4DD0E049D1}"/>
          </ac:spMkLst>
        </pc:spChg>
        <pc:spChg chg="mod">
          <ac:chgData name="Oyinlola Popoola" userId="a37a7fb2-f7f6-4757-8251-1f366d06d62b" providerId="ADAL" clId="{12068727-2694-40B1-8894-C4855D958E1B}" dt="2023-08-03T12:00:40.606" v="5843" actId="207"/>
          <ac:spMkLst>
            <pc:docMk/>
            <pc:sldMk cId="954940349" sldId="2147479682"/>
            <ac:spMk id="106" creationId="{DAFB4F68-9353-CC3F-711F-4B7F06561CED}"/>
          </ac:spMkLst>
        </pc:spChg>
        <pc:grpChg chg="del mod">
          <ac:chgData name="Oyinlola Popoola" userId="a37a7fb2-f7f6-4757-8251-1f366d06d62b" providerId="ADAL" clId="{12068727-2694-40B1-8894-C4855D958E1B}" dt="2023-08-03T11:34:16.551" v="5514" actId="478"/>
          <ac:grpSpMkLst>
            <pc:docMk/>
            <pc:sldMk cId="954940349" sldId="2147479682"/>
            <ac:grpSpMk id="20" creationId="{3751149F-039E-48E6-DB4C-D3F015427D54}"/>
          </ac:grpSpMkLst>
        </pc:grpChg>
        <pc:grpChg chg="add del mod">
          <ac:chgData name="Oyinlola Popoola" userId="a37a7fb2-f7f6-4757-8251-1f366d06d62b" providerId="ADAL" clId="{12068727-2694-40B1-8894-C4855D958E1B}" dt="2023-08-03T11:34:52.113" v="5523" actId="14100"/>
          <ac:grpSpMkLst>
            <pc:docMk/>
            <pc:sldMk cId="954940349" sldId="2147479682"/>
            <ac:grpSpMk id="26" creationId="{C3656772-68D6-BC18-AE29-F2868EFAC3D5}"/>
          </ac:grpSpMkLst>
        </pc:grpChg>
        <pc:grpChg chg="del">
          <ac:chgData name="Oyinlola Popoola" userId="a37a7fb2-f7f6-4757-8251-1f366d06d62b" providerId="ADAL" clId="{12068727-2694-40B1-8894-C4855D958E1B}" dt="2023-08-03T11:55:39.858" v="5795" actId="478"/>
          <ac:grpSpMkLst>
            <pc:docMk/>
            <pc:sldMk cId="954940349" sldId="2147479682"/>
            <ac:grpSpMk id="37" creationId="{6B1F0E61-9B83-7B2B-5DAC-998497E8BD00}"/>
          </ac:grpSpMkLst>
        </pc:grpChg>
        <pc:grpChg chg="mod">
          <ac:chgData name="Oyinlola Popoola" userId="a37a7fb2-f7f6-4757-8251-1f366d06d62b" providerId="ADAL" clId="{12068727-2694-40B1-8894-C4855D958E1B}" dt="2023-08-03T11:49:46.302" v="5612" actId="1076"/>
          <ac:grpSpMkLst>
            <pc:docMk/>
            <pc:sldMk cId="954940349" sldId="2147479682"/>
            <ac:grpSpMk id="76" creationId="{A67994D0-B9D1-8C97-1908-731C44B4E74E}"/>
          </ac:grpSpMkLst>
        </pc:grpChg>
        <pc:grpChg chg="del">
          <ac:chgData name="Oyinlola Popoola" userId="a37a7fb2-f7f6-4757-8251-1f366d06d62b" providerId="ADAL" clId="{12068727-2694-40B1-8894-C4855D958E1B}" dt="2023-08-03T11:53:40.647" v="5711" actId="478"/>
          <ac:grpSpMkLst>
            <pc:docMk/>
            <pc:sldMk cId="954940349" sldId="2147479682"/>
            <ac:grpSpMk id="89" creationId="{5B4E8D3C-A944-210D-7446-9DE8EF20E46C}"/>
          </ac:grpSpMkLst>
        </pc:grpChg>
        <pc:grpChg chg="del">
          <ac:chgData name="Oyinlola Popoola" userId="a37a7fb2-f7f6-4757-8251-1f366d06d62b" providerId="ADAL" clId="{12068727-2694-40B1-8894-C4855D958E1B}" dt="2023-08-03T11:53:34.501" v="5707" actId="478"/>
          <ac:grpSpMkLst>
            <pc:docMk/>
            <pc:sldMk cId="954940349" sldId="2147479682"/>
            <ac:grpSpMk id="92" creationId="{293ACA4B-F3E2-3B99-A3BB-48C49D53B046}"/>
          </ac:grpSpMkLst>
        </pc:grpChg>
        <pc:grpChg chg="mod">
          <ac:chgData name="Oyinlola Popoola" userId="a37a7fb2-f7f6-4757-8251-1f366d06d62b" providerId="ADAL" clId="{12068727-2694-40B1-8894-C4855D958E1B}" dt="2023-08-03T11:55:50.522" v="5796" actId="1076"/>
          <ac:grpSpMkLst>
            <pc:docMk/>
            <pc:sldMk cId="954940349" sldId="2147479682"/>
            <ac:grpSpMk id="97" creationId="{A4AD4569-5406-37B4-E14E-6F4394A1182C}"/>
          </ac:grpSpMkLst>
        </pc:grpChg>
        <pc:picChg chg="add mod">
          <ac:chgData name="Oyinlola Popoola" userId="a37a7fb2-f7f6-4757-8251-1f366d06d62b" providerId="ADAL" clId="{12068727-2694-40B1-8894-C4855D958E1B}" dt="2023-08-03T11:47:13.808" v="5565" actId="1076"/>
          <ac:picMkLst>
            <pc:docMk/>
            <pc:sldMk cId="954940349" sldId="2147479682"/>
            <ac:picMk id="2" creationId="{12681521-D8DA-4530-BE84-7A7E88E3BA77}"/>
          </ac:picMkLst>
        </pc:picChg>
        <pc:picChg chg="add mod">
          <ac:chgData name="Oyinlola Popoola" userId="a37a7fb2-f7f6-4757-8251-1f366d06d62b" providerId="ADAL" clId="{12068727-2694-40B1-8894-C4855D958E1B}" dt="2023-08-03T12:01:45.452" v="5849" actId="208"/>
          <ac:picMkLst>
            <pc:docMk/>
            <pc:sldMk cId="954940349" sldId="2147479682"/>
            <ac:picMk id="4" creationId="{789FD3F6-2EFC-4751-8F25-099B3EA3DAF6}"/>
          </ac:picMkLst>
        </pc:picChg>
        <pc:picChg chg="mod ord">
          <ac:chgData name="Oyinlola Popoola" userId="a37a7fb2-f7f6-4757-8251-1f366d06d62b" providerId="ADAL" clId="{12068727-2694-40B1-8894-C4855D958E1B}" dt="2023-08-03T11:26:19.887" v="5452" actId="166"/>
          <ac:picMkLst>
            <pc:docMk/>
            <pc:sldMk cId="954940349" sldId="2147479682"/>
            <ac:picMk id="11" creationId="{EC3AE51E-5A02-6F4A-EEB1-39D2CBF51249}"/>
          </ac:picMkLst>
        </pc:picChg>
        <pc:picChg chg="mod">
          <ac:chgData name="Oyinlola Popoola" userId="a37a7fb2-f7f6-4757-8251-1f366d06d62b" providerId="ADAL" clId="{12068727-2694-40B1-8894-C4855D958E1B}" dt="2023-08-03T11:22:17.006" v="5417" actId="1076"/>
          <ac:picMkLst>
            <pc:docMk/>
            <pc:sldMk cId="954940349" sldId="2147479682"/>
            <ac:picMk id="23" creationId="{589EADB6-0C2B-08A3-BDE8-78FB941F519B}"/>
          </ac:picMkLst>
        </pc:picChg>
        <pc:picChg chg="del mod">
          <ac:chgData name="Oyinlola Popoola" userId="a37a7fb2-f7f6-4757-8251-1f366d06d62b" providerId="ADAL" clId="{12068727-2694-40B1-8894-C4855D958E1B}" dt="2023-08-03T11:34:56.639" v="5524" actId="478"/>
          <ac:picMkLst>
            <pc:docMk/>
            <pc:sldMk cId="954940349" sldId="2147479682"/>
            <ac:picMk id="29" creationId="{E3B168C8-781A-BE83-BAF0-4D339579322F}"/>
          </ac:picMkLst>
        </pc:picChg>
        <pc:picChg chg="del">
          <ac:chgData name="Oyinlola Popoola" userId="a37a7fb2-f7f6-4757-8251-1f366d06d62b" providerId="ADAL" clId="{12068727-2694-40B1-8894-C4855D958E1B}" dt="2023-08-03T11:18:06.499" v="5408" actId="478"/>
          <ac:picMkLst>
            <pc:docMk/>
            <pc:sldMk cId="954940349" sldId="2147479682"/>
            <ac:picMk id="35" creationId="{9D864D4B-F2B2-1718-749C-E9349493049B}"/>
          </ac:picMkLst>
        </pc:picChg>
        <pc:picChg chg="del">
          <ac:chgData name="Oyinlola Popoola" userId="a37a7fb2-f7f6-4757-8251-1f366d06d62b" providerId="ADAL" clId="{12068727-2694-40B1-8894-C4855D958E1B}" dt="2023-08-03T11:46:44.988" v="5562" actId="478"/>
          <ac:picMkLst>
            <pc:docMk/>
            <pc:sldMk cId="954940349" sldId="2147479682"/>
            <ac:picMk id="43" creationId="{2BA379A3-5380-C602-802F-85A54B4C06BD}"/>
          </ac:picMkLst>
        </pc:picChg>
        <pc:picChg chg="del">
          <ac:chgData name="Oyinlola Popoola" userId="a37a7fb2-f7f6-4757-8251-1f366d06d62b" providerId="ADAL" clId="{12068727-2694-40B1-8894-C4855D958E1B}" dt="2023-08-03T11:18:56.045" v="5414" actId="478"/>
          <ac:picMkLst>
            <pc:docMk/>
            <pc:sldMk cId="954940349" sldId="2147479682"/>
            <ac:picMk id="66" creationId="{F7F6A689-0CC6-B8CB-42BF-D868BBAE3BA8}"/>
          </ac:picMkLst>
        </pc:picChg>
        <pc:picChg chg="del">
          <ac:chgData name="Oyinlola Popoola" userId="a37a7fb2-f7f6-4757-8251-1f366d06d62b" providerId="ADAL" clId="{12068727-2694-40B1-8894-C4855D958E1B}" dt="2023-08-03T11:18:39.175" v="5411" actId="478"/>
          <ac:picMkLst>
            <pc:docMk/>
            <pc:sldMk cId="954940349" sldId="2147479682"/>
            <ac:picMk id="67" creationId="{75B715B5-DE9B-6E00-27CE-744CA75E89E7}"/>
          </ac:picMkLst>
        </pc:picChg>
        <pc:picChg chg="del">
          <ac:chgData name="Oyinlola Popoola" userId="a37a7fb2-f7f6-4757-8251-1f366d06d62b" providerId="ADAL" clId="{12068727-2694-40B1-8894-C4855D958E1B}" dt="2023-08-03T11:51:06.189" v="5617" actId="478"/>
          <ac:picMkLst>
            <pc:docMk/>
            <pc:sldMk cId="954940349" sldId="2147479682"/>
            <ac:picMk id="78" creationId="{644D32D7-F561-855A-81F4-1C6F1BBDE604}"/>
          </ac:picMkLst>
        </pc:picChg>
        <pc:picChg chg="del">
          <ac:chgData name="Oyinlola Popoola" userId="a37a7fb2-f7f6-4757-8251-1f366d06d62b" providerId="ADAL" clId="{12068727-2694-40B1-8894-C4855D958E1B}" dt="2023-08-03T11:53:35.921" v="5708" actId="478"/>
          <ac:picMkLst>
            <pc:docMk/>
            <pc:sldMk cId="954940349" sldId="2147479682"/>
            <ac:picMk id="95" creationId="{16651F3A-FD65-8E04-D50F-6F821413045C}"/>
          </ac:picMkLst>
        </pc:picChg>
        <pc:picChg chg="mod">
          <ac:chgData name="Oyinlola Popoola" userId="a37a7fb2-f7f6-4757-8251-1f366d06d62b" providerId="ADAL" clId="{12068727-2694-40B1-8894-C4855D958E1B}" dt="2023-08-03T11:55:55.843" v="5797" actId="1076"/>
          <ac:picMkLst>
            <pc:docMk/>
            <pc:sldMk cId="954940349" sldId="2147479682"/>
            <ac:picMk id="107" creationId="{279C1773-01FC-D62D-FBFD-54A60BBAD7BA}"/>
          </ac:picMkLst>
        </pc:picChg>
        <pc:picChg chg="del">
          <ac:chgData name="Oyinlola Popoola" userId="a37a7fb2-f7f6-4757-8251-1f366d06d62b" providerId="ADAL" clId="{12068727-2694-40B1-8894-C4855D958E1B}" dt="2023-08-03T11:57:11.362" v="5818" actId="478"/>
          <ac:picMkLst>
            <pc:docMk/>
            <pc:sldMk cId="954940349" sldId="2147479682"/>
            <ac:picMk id="108" creationId="{6601F7C9-60BE-76FD-75E9-7008D9FFD1DB}"/>
          </ac:picMkLst>
        </pc:picChg>
        <pc:picChg chg="del">
          <ac:chgData name="Oyinlola Popoola" userId="a37a7fb2-f7f6-4757-8251-1f366d06d62b" providerId="ADAL" clId="{12068727-2694-40B1-8894-C4855D958E1B}" dt="2023-08-03T11:54:17.968" v="5717" actId="478"/>
          <ac:picMkLst>
            <pc:docMk/>
            <pc:sldMk cId="954940349" sldId="2147479682"/>
            <ac:picMk id="109" creationId="{872F07A2-6E7E-D239-F7CF-093272EC5B67}"/>
          </ac:picMkLst>
        </pc:picChg>
        <pc:picChg chg="del">
          <ac:chgData name="Oyinlola Popoola" userId="a37a7fb2-f7f6-4757-8251-1f366d06d62b" providerId="ADAL" clId="{12068727-2694-40B1-8894-C4855D958E1B}" dt="2023-08-03T11:52:53.802" v="5677" actId="478"/>
          <ac:picMkLst>
            <pc:docMk/>
            <pc:sldMk cId="954940349" sldId="2147479682"/>
            <ac:picMk id="111" creationId="{4BF91444-561F-279C-1195-4903E33992CE}"/>
          </ac:picMkLst>
        </pc:picChg>
        <pc:picChg chg="del">
          <ac:chgData name="Oyinlola Popoola" userId="a37a7fb2-f7f6-4757-8251-1f366d06d62b" providerId="ADAL" clId="{12068727-2694-40B1-8894-C4855D958E1B}" dt="2023-08-03T11:52:16.181" v="5652" actId="478"/>
          <ac:picMkLst>
            <pc:docMk/>
            <pc:sldMk cId="954940349" sldId="2147479682"/>
            <ac:picMk id="112" creationId="{55C24ABE-26F7-8140-F878-23764DEFE605}"/>
          </ac:picMkLst>
        </pc:picChg>
        <pc:picChg chg="del">
          <ac:chgData name="Oyinlola Popoola" userId="a37a7fb2-f7f6-4757-8251-1f366d06d62b" providerId="ADAL" clId="{12068727-2694-40B1-8894-C4855D958E1B}" dt="2023-08-03T11:53:42.374" v="5712" actId="478"/>
          <ac:picMkLst>
            <pc:docMk/>
            <pc:sldMk cId="954940349" sldId="2147479682"/>
            <ac:picMk id="113" creationId="{39B95E94-DDAF-9C0D-2146-5E94E6952F5E}"/>
          </ac:picMkLst>
        </pc:picChg>
        <pc:picChg chg="add mod">
          <ac:chgData name="Oyinlola Popoola" userId="a37a7fb2-f7f6-4757-8251-1f366d06d62b" providerId="ADAL" clId="{12068727-2694-40B1-8894-C4855D958E1B}" dt="2023-08-03T11:37:26.865" v="5529" actId="1076"/>
          <ac:picMkLst>
            <pc:docMk/>
            <pc:sldMk cId="954940349" sldId="2147479682"/>
            <ac:picMk id="114" creationId="{7CB705C2-662D-45A8-96E8-6DA60584843A}"/>
          </ac:picMkLst>
        </pc:picChg>
        <pc:picChg chg="add mod">
          <ac:chgData name="Oyinlola Popoola" userId="a37a7fb2-f7f6-4757-8251-1f366d06d62b" providerId="ADAL" clId="{12068727-2694-40B1-8894-C4855D958E1B}" dt="2023-08-03T12:01:42.300" v="5848" actId="208"/>
          <ac:picMkLst>
            <pc:docMk/>
            <pc:sldMk cId="954940349" sldId="2147479682"/>
            <ac:picMk id="20482" creationId="{F6A5B93E-DDAC-4336-B1A3-1F3F8D2D5CF6}"/>
          </ac:picMkLst>
        </pc:picChg>
        <pc:picChg chg="add del mod">
          <ac:chgData name="Oyinlola Popoola" userId="a37a7fb2-f7f6-4757-8251-1f366d06d62b" providerId="ADAL" clId="{12068727-2694-40B1-8894-C4855D958E1B}" dt="2023-08-03T11:58:43.091" v="5828" actId="478"/>
          <ac:picMkLst>
            <pc:docMk/>
            <pc:sldMk cId="954940349" sldId="2147479682"/>
            <ac:picMk id="20484" creationId="{E5943C68-6672-4C2A-A1E5-3FDB46BF25E5}"/>
          </ac:picMkLst>
        </pc:picChg>
        <pc:picChg chg="add mod">
          <ac:chgData name="Oyinlola Popoola" userId="a37a7fb2-f7f6-4757-8251-1f366d06d62b" providerId="ADAL" clId="{12068727-2694-40B1-8894-C4855D958E1B}" dt="2023-08-03T12:01:39.329" v="5847" actId="208"/>
          <ac:picMkLst>
            <pc:docMk/>
            <pc:sldMk cId="954940349" sldId="2147479682"/>
            <ac:picMk id="20486" creationId="{0E372CEC-41F2-43A4-9D28-7492B183D87B}"/>
          </ac:picMkLst>
        </pc:picChg>
        <pc:picChg chg="add mod">
          <ac:chgData name="Oyinlola Popoola" userId="a37a7fb2-f7f6-4757-8251-1f366d06d62b" providerId="ADAL" clId="{12068727-2694-40B1-8894-C4855D958E1B}" dt="2023-08-03T12:01:35.616" v="5846" actId="208"/>
          <ac:picMkLst>
            <pc:docMk/>
            <pc:sldMk cId="954940349" sldId="2147479682"/>
            <ac:picMk id="20488" creationId="{42729DA6-B72D-4427-AD8B-328EAD889A0D}"/>
          </ac:picMkLst>
        </pc:picChg>
        <pc:cxnChg chg="del">
          <ac:chgData name="Oyinlola Popoola" userId="a37a7fb2-f7f6-4757-8251-1f366d06d62b" providerId="ADAL" clId="{12068727-2694-40B1-8894-C4855D958E1B}" dt="2023-08-03T11:35:01.366" v="5525" actId="478"/>
          <ac:cxnSpMkLst>
            <pc:docMk/>
            <pc:sldMk cId="954940349" sldId="2147479682"/>
            <ac:cxnSpMk id="8" creationId="{57C38EFA-393A-92FD-7046-4DCBFBCD9C91}"/>
          </ac:cxnSpMkLst>
        </pc:cxnChg>
        <pc:cxnChg chg="del">
          <ac:chgData name="Oyinlola Popoola" userId="a37a7fb2-f7f6-4757-8251-1f366d06d62b" providerId="ADAL" clId="{12068727-2694-40B1-8894-C4855D958E1B}" dt="2023-08-03T11:32:41.920" v="5489" actId="478"/>
          <ac:cxnSpMkLst>
            <pc:docMk/>
            <pc:sldMk cId="954940349" sldId="2147479682"/>
            <ac:cxnSpMk id="57" creationId="{58C313B1-FDFF-2E09-FE44-01D177CE2922}"/>
          </ac:cxnSpMkLst>
        </pc:cxnChg>
        <pc:cxnChg chg="del">
          <ac:chgData name="Oyinlola Popoola" userId="a37a7fb2-f7f6-4757-8251-1f366d06d62b" providerId="ADAL" clId="{12068727-2694-40B1-8894-C4855D958E1B}" dt="2023-08-03T11:32:36.802" v="5488" actId="478"/>
          <ac:cxnSpMkLst>
            <pc:docMk/>
            <pc:sldMk cId="954940349" sldId="2147479682"/>
            <ac:cxnSpMk id="58" creationId="{668BEF24-2D16-FB71-D947-BCB497956BCF}"/>
          </ac:cxnSpMkLst>
        </pc:cxnChg>
      </pc:sldChg>
      <pc:sldChg chg="addSp delSp modSp mod">
        <pc:chgData name="Oyinlola Popoola" userId="a37a7fb2-f7f6-4757-8251-1f366d06d62b" providerId="ADAL" clId="{12068727-2694-40B1-8894-C4855D958E1B}" dt="2023-08-03T13:50:05.209" v="5906" actId="14100"/>
        <pc:sldMkLst>
          <pc:docMk/>
          <pc:sldMk cId="3380302115" sldId="2147479687"/>
        </pc:sldMkLst>
        <pc:spChg chg="mod">
          <ac:chgData name="Oyinlola Popoola" userId="a37a7fb2-f7f6-4757-8251-1f366d06d62b" providerId="ADAL" clId="{12068727-2694-40B1-8894-C4855D958E1B}" dt="2023-08-03T13:45:52.063" v="5860" actId="26606"/>
          <ac:spMkLst>
            <pc:docMk/>
            <pc:sldMk cId="3380302115" sldId="2147479687"/>
            <ac:spMk id="3" creationId="{D2FF72AF-9783-DFFC-9A7A-6D57999F6F0C}"/>
          </ac:spMkLst>
        </pc:spChg>
        <pc:spChg chg="add mod">
          <ac:chgData name="Oyinlola Popoola" userId="a37a7fb2-f7f6-4757-8251-1f366d06d62b" providerId="ADAL" clId="{12068727-2694-40B1-8894-C4855D958E1B}" dt="2023-08-03T13:49:11.327" v="5899" actId="20577"/>
          <ac:spMkLst>
            <pc:docMk/>
            <pc:sldMk cId="3380302115" sldId="2147479687"/>
            <ac:spMk id="7" creationId="{5B480A78-C65F-49F2-800F-F429E954D4F3}"/>
          </ac:spMkLst>
        </pc:spChg>
        <pc:spChg chg="add del mod">
          <ac:chgData name="Oyinlola Popoola" userId="a37a7fb2-f7f6-4757-8251-1f366d06d62b" providerId="ADAL" clId="{12068727-2694-40B1-8894-C4855D958E1B}" dt="2023-08-03T13:48:13.689" v="5865"/>
          <ac:spMkLst>
            <pc:docMk/>
            <pc:sldMk cId="3380302115" sldId="2147479687"/>
            <ac:spMk id="9" creationId="{8424B2CE-EA12-4193-98A9-B0F687A98044}"/>
          </ac:spMkLst>
        </pc:spChg>
        <pc:spChg chg="add mod">
          <ac:chgData name="Oyinlola Popoola" userId="a37a7fb2-f7f6-4757-8251-1f366d06d62b" providerId="ADAL" clId="{12068727-2694-40B1-8894-C4855D958E1B}" dt="2023-08-03T13:48:29.902" v="5867" actId="1076"/>
          <ac:spMkLst>
            <pc:docMk/>
            <pc:sldMk cId="3380302115" sldId="2147479687"/>
            <ac:spMk id="10" creationId="{6D2C9210-4E4D-4977-A891-57929571E1C5}"/>
          </ac:spMkLst>
        </pc:spChg>
        <pc:spChg chg="add del mod">
          <ac:chgData name="Oyinlola Popoola" userId="a37a7fb2-f7f6-4757-8251-1f366d06d62b" providerId="ADAL" clId="{12068727-2694-40B1-8894-C4855D958E1B}" dt="2023-08-03T13:49:35.361" v="5902" actId="478"/>
          <ac:spMkLst>
            <pc:docMk/>
            <pc:sldMk cId="3380302115" sldId="2147479687"/>
            <ac:spMk id="15" creationId="{39466BE8-7101-BAE8-A73D-7349F3B42D04}"/>
          </ac:spMkLst>
        </pc:spChg>
        <pc:spChg chg="del">
          <ac:chgData name="Oyinlola Popoola" userId="a37a7fb2-f7f6-4757-8251-1f366d06d62b" providerId="ADAL" clId="{12068727-2694-40B1-8894-C4855D958E1B}" dt="2023-08-03T13:45:09.404" v="5857" actId="478"/>
          <ac:spMkLst>
            <pc:docMk/>
            <pc:sldMk cId="3380302115" sldId="2147479687"/>
            <ac:spMk id="19" creationId="{4EE3859D-708D-00B9-5D94-9DCD66DCC21A}"/>
          </ac:spMkLst>
        </pc:spChg>
        <pc:picChg chg="add mod">
          <ac:chgData name="Oyinlola Popoola" userId="a37a7fb2-f7f6-4757-8251-1f366d06d62b" providerId="ADAL" clId="{12068727-2694-40B1-8894-C4855D958E1B}" dt="2023-08-03T13:45:29.135" v="5859" actId="571"/>
          <ac:picMkLst>
            <pc:docMk/>
            <pc:sldMk cId="3380302115" sldId="2147479687"/>
            <ac:picMk id="5" creationId="{51A4537A-2A22-4E9D-924A-C80CDBF68D78}"/>
          </ac:picMkLst>
        </pc:picChg>
        <pc:picChg chg="mod">
          <ac:chgData name="Oyinlola Popoola" userId="a37a7fb2-f7f6-4757-8251-1f366d06d62b" providerId="ADAL" clId="{12068727-2694-40B1-8894-C4855D958E1B}" dt="2023-08-03T13:50:05.209" v="5906" actId="14100"/>
          <ac:picMkLst>
            <pc:docMk/>
            <pc:sldMk cId="3380302115" sldId="2147479687"/>
            <ac:picMk id="8" creationId="{1E564600-24CA-82D2-3F64-D7B8F5BB1062}"/>
          </ac:picMkLst>
        </pc:picChg>
        <pc:picChg chg="add mod">
          <ac:chgData name="Oyinlola Popoola" userId="a37a7fb2-f7f6-4757-8251-1f366d06d62b" providerId="ADAL" clId="{12068727-2694-40B1-8894-C4855D958E1B}" dt="2023-08-03T13:50:00.149" v="5905" actId="571"/>
          <ac:picMkLst>
            <pc:docMk/>
            <pc:sldMk cId="3380302115" sldId="2147479687"/>
            <ac:picMk id="11" creationId="{3A967A17-91FF-437D-B46B-0CBDC407C4D3}"/>
          </ac:picMkLst>
        </pc:picChg>
      </pc:sldChg>
      <pc:sldChg chg="modSp">
        <pc:chgData name="Oyinlola Popoola" userId="a37a7fb2-f7f6-4757-8251-1f366d06d62b" providerId="ADAL" clId="{12068727-2694-40B1-8894-C4855D958E1B}" dt="2023-08-03T16:17:45.652" v="5909" actId="1076"/>
        <pc:sldMkLst>
          <pc:docMk/>
          <pc:sldMk cId="3988806097" sldId="2147479687"/>
        </pc:sldMkLst>
        <pc:spChg chg="mod">
          <ac:chgData name="Oyinlola Popoola" userId="a37a7fb2-f7f6-4757-8251-1f366d06d62b" providerId="ADAL" clId="{12068727-2694-40B1-8894-C4855D958E1B}" dt="2023-08-03T16:17:38.556" v="5908" actId="1076"/>
          <ac:spMkLst>
            <pc:docMk/>
            <pc:sldMk cId="3988806097" sldId="2147479687"/>
            <ac:spMk id="37" creationId="{336FBFED-D5E0-D65D-DD9B-358C917B5603}"/>
          </ac:spMkLst>
        </pc:spChg>
        <pc:spChg chg="mod">
          <ac:chgData name="Oyinlola Popoola" userId="a37a7fb2-f7f6-4757-8251-1f366d06d62b" providerId="ADAL" clId="{12068727-2694-40B1-8894-C4855D958E1B}" dt="2023-08-03T16:17:38.556" v="5908" actId="1076"/>
          <ac:spMkLst>
            <pc:docMk/>
            <pc:sldMk cId="3988806097" sldId="2147479687"/>
            <ac:spMk id="38" creationId="{562226F6-490E-94FE-210B-260B2DBA982C}"/>
          </ac:spMkLst>
        </pc:spChg>
        <pc:spChg chg="mod">
          <ac:chgData name="Oyinlola Popoola" userId="a37a7fb2-f7f6-4757-8251-1f366d06d62b" providerId="ADAL" clId="{12068727-2694-40B1-8894-C4855D958E1B}" dt="2023-08-03T16:17:45.652" v="5909" actId="1076"/>
          <ac:spMkLst>
            <pc:docMk/>
            <pc:sldMk cId="3988806097" sldId="2147479687"/>
            <ac:spMk id="42" creationId="{446B1DCA-7F71-A45E-E1A7-15049C8A8EF8}"/>
          </ac:spMkLst>
        </pc:spChg>
        <pc:spChg chg="mod">
          <ac:chgData name="Oyinlola Popoola" userId="a37a7fb2-f7f6-4757-8251-1f366d06d62b" providerId="ADAL" clId="{12068727-2694-40B1-8894-C4855D958E1B}" dt="2023-08-03T16:17:45.652" v="5909" actId="1076"/>
          <ac:spMkLst>
            <pc:docMk/>
            <pc:sldMk cId="3988806097" sldId="2147479687"/>
            <ac:spMk id="43" creationId="{54251119-A919-DB42-8EEB-3BA69EB35C18}"/>
          </ac:spMkLst>
        </pc:spChg>
        <pc:grpChg chg="mod">
          <ac:chgData name="Oyinlola Popoola" userId="a37a7fb2-f7f6-4757-8251-1f366d06d62b" providerId="ADAL" clId="{12068727-2694-40B1-8894-C4855D958E1B}" dt="2023-08-03T16:17:38.556" v="5908" actId="1076"/>
          <ac:grpSpMkLst>
            <pc:docMk/>
            <pc:sldMk cId="3988806097" sldId="2147479687"/>
            <ac:grpSpMk id="34" creationId="{770185BD-9F2F-43B6-73D4-21B70E116EE8}"/>
          </ac:grpSpMkLst>
        </pc:grpChg>
        <pc:grpChg chg="mod">
          <ac:chgData name="Oyinlola Popoola" userId="a37a7fb2-f7f6-4757-8251-1f366d06d62b" providerId="ADAL" clId="{12068727-2694-40B1-8894-C4855D958E1B}" dt="2023-08-03T16:17:38.556" v="5908" actId="1076"/>
          <ac:grpSpMkLst>
            <pc:docMk/>
            <pc:sldMk cId="3988806097" sldId="2147479687"/>
            <ac:grpSpMk id="35" creationId="{F5244F31-8665-FC29-BEE7-304DFE5720DB}"/>
          </ac:grpSpMkLst>
        </pc:grpChg>
        <pc:grpChg chg="mod">
          <ac:chgData name="Oyinlola Popoola" userId="a37a7fb2-f7f6-4757-8251-1f366d06d62b" providerId="ADAL" clId="{12068727-2694-40B1-8894-C4855D958E1B}" dt="2023-08-03T16:17:45.652" v="5909" actId="1076"/>
          <ac:grpSpMkLst>
            <pc:docMk/>
            <pc:sldMk cId="3988806097" sldId="2147479687"/>
            <ac:grpSpMk id="39" creationId="{544E2040-489A-A50C-0FCF-A262F88EC753}"/>
          </ac:grpSpMkLst>
        </pc:grpChg>
        <pc:grpChg chg="mod">
          <ac:chgData name="Oyinlola Popoola" userId="a37a7fb2-f7f6-4757-8251-1f366d06d62b" providerId="ADAL" clId="{12068727-2694-40B1-8894-C4855D958E1B}" dt="2023-08-03T16:17:45.652" v="5909" actId="1076"/>
          <ac:grpSpMkLst>
            <pc:docMk/>
            <pc:sldMk cId="3988806097" sldId="2147479687"/>
            <ac:grpSpMk id="40" creationId="{625F8C84-07B0-DBAA-1BA2-3B5A3E790EB1}"/>
          </ac:grpSpMkLst>
        </pc:grpChg>
        <pc:picChg chg="mod">
          <ac:chgData name="Oyinlola Popoola" userId="a37a7fb2-f7f6-4757-8251-1f366d06d62b" providerId="ADAL" clId="{12068727-2694-40B1-8894-C4855D958E1B}" dt="2023-08-03T16:17:38.556" v="5908" actId="1076"/>
          <ac:picMkLst>
            <pc:docMk/>
            <pc:sldMk cId="3988806097" sldId="2147479687"/>
            <ac:picMk id="36" creationId="{6E2EE13F-FBB7-B30F-13C7-E283EBD1B6BC}"/>
          </ac:picMkLst>
        </pc:picChg>
        <pc:picChg chg="mod">
          <ac:chgData name="Oyinlola Popoola" userId="a37a7fb2-f7f6-4757-8251-1f366d06d62b" providerId="ADAL" clId="{12068727-2694-40B1-8894-C4855D958E1B}" dt="2023-08-03T16:17:45.652" v="5909" actId="1076"/>
          <ac:picMkLst>
            <pc:docMk/>
            <pc:sldMk cId="3988806097" sldId="2147479687"/>
            <ac:picMk id="41" creationId="{9F8F1AC8-8DA5-E8B8-1A15-66E2C50AC4A6}"/>
          </ac:picMkLst>
        </pc:picChg>
      </pc:sldChg>
      <pc:sldChg chg="addSp delSp modSp mod">
        <pc:chgData name="Oyinlola Popoola" userId="a37a7fb2-f7f6-4757-8251-1f366d06d62b" providerId="ADAL" clId="{12068727-2694-40B1-8894-C4855D958E1B}" dt="2023-08-15T14:07:13.071" v="6024" actId="14100"/>
        <pc:sldMkLst>
          <pc:docMk/>
          <pc:sldMk cId="3501663959" sldId="2147479688"/>
        </pc:sldMkLst>
        <pc:picChg chg="del mod">
          <ac:chgData name="Oyinlola Popoola" userId="a37a7fb2-f7f6-4757-8251-1f366d06d62b" providerId="ADAL" clId="{12068727-2694-40B1-8894-C4855D958E1B}" dt="2023-08-15T14:05:09.975" v="6014" actId="478"/>
          <ac:picMkLst>
            <pc:docMk/>
            <pc:sldMk cId="3501663959" sldId="2147479688"/>
            <ac:picMk id="73" creationId="{360660FF-DCDF-2E68-C52A-D2A89E56A611}"/>
          </ac:picMkLst>
        </pc:picChg>
        <pc:picChg chg="del">
          <ac:chgData name="Oyinlola Popoola" userId="a37a7fb2-f7f6-4757-8251-1f366d06d62b" providerId="ADAL" clId="{12068727-2694-40B1-8894-C4855D958E1B}" dt="2023-08-15T14:06:13.326" v="6017" actId="478"/>
          <ac:picMkLst>
            <pc:docMk/>
            <pc:sldMk cId="3501663959" sldId="2147479688"/>
            <ac:picMk id="78" creationId="{7388DF70-98E9-94F5-AD51-A6B66694BE52}"/>
          </ac:picMkLst>
        </pc:picChg>
        <pc:picChg chg="add mod">
          <ac:chgData name="Oyinlola Popoola" userId="a37a7fb2-f7f6-4757-8251-1f366d06d62b" providerId="ADAL" clId="{12068727-2694-40B1-8894-C4855D958E1B}" dt="2023-08-15T14:07:13.071" v="6024" actId="14100"/>
          <ac:picMkLst>
            <pc:docMk/>
            <pc:sldMk cId="3501663959" sldId="2147479688"/>
            <ac:picMk id="86" creationId="{4D78B294-2AD4-4A55-8754-E50BFC5D206D}"/>
          </ac:picMkLst>
        </pc:picChg>
        <pc:picChg chg="add mod">
          <ac:chgData name="Oyinlola Popoola" userId="a37a7fb2-f7f6-4757-8251-1f366d06d62b" providerId="ADAL" clId="{12068727-2694-40B1-8894-C4855D958E1B}" dt="2023-08-15T14:07:09.609" v="6023" actId="1076"/>
          <ac:picMkLst>
            <pc:docMk/>
            <pc:sldMk cId="3501663959" sldId="2147479688"/>
            <ac:picMk id="87" creationId="{7DF060D7-C732-43A0-896E-34D2E0A95449}"/>
          </ac:picMkLst>
        </pc:picChg>
      </pc:sldChg>
      <pc:sldChg chg="modSp mod">
        <pc:chgData name="Oyinlola Popoola" userId="a37a7fb2-f7f6-4757-8251-1f366d06d62b" providerId="ADAL" clId="{12068727-2694-40B1-8894-C4855D958E1B}" dt="2023-08-14T15:14:02.521" v="5911" actId="255"/>
        <pc:sldMkLst>
          <pc:docMk/>
          <pc:sldMk cId="4040668140" sldId="2147479694"/>
        </pc:sldMkLst>
        <pc:spChg chg="mod">
          <ac:chgData name="Oyinlola Popoola" userId="a37a7fb2-f7f6-4757-8251-1f366d06d62b" providerId="ADAL" clId="{12068727-2694-40B1-8894-C4855D958E1B}" dt="2023-08-14T15:13:33.673" v="5910" actId="20577"/>
          <ac:spMkLst>
            <pc:docMk/>
            <pc:sldMk cId="4040668140" sldId="2147479694"/>
            <ac:spMk id="11" creationId="{9EE04F04-F794-4453-963E-5CFBB6620A43}"/>
          </ac:spMkLst>
        </pc:spChg>
        <pc:spChg chg="mod">
          <ac:chgData name="Oyinlola Popoola" userId="a37a7fb2-f7f6-4757-8251-1f366d06d62b" providerId="ADAL" clId="{12068727-2694-40B1-8894-C4855D958E1B}" dt="2023-08-14T15:14:02.521" v="5911" actId="255"/>
          <ac:spMkLst>
            <pc:docMk/>
            <pc:sldMk cId="4040668140" sldId="2147479694"/>
            <ac:spMk id="12" creationId="{FB93CF21-DAD5-4B79-9666-F5B05BE3DD14}"/>
          </ac:spMkLst>
        </pc:spChg>
      </pc:sldChg>
      <pc:sldChg chg="modSp mod">
        <pc:chgData name="Oyinlola Popoola" userId="a37a7fb2-f7f6-4757-8251-1f366d06d62b" providerId="ADAL" clId="{12068727-2694-40B1-8894-C4855D958E1B}" dt="2023-08-15T11:07:40.863" v="5940" actId="14100"/>
        <pc:sldMkLst>
          <pc:docMk/>
          <pc:sldMk cId="1903956241" sldId="2147479700"/>
        </pc:sldMkLst>
        <pc:spChg chg="mod">
          <ac:chgData name="Oyinlola Popoola" userId="a37a7fb2-f7f6-4757-8251-1f366d06d62b" providerId="ADAL" clId="{12068727-2694-40B1-8894-C4855D958E1B}" dt="2023-08-15T11:07:40.863" v="5940" actId="14100"/>
          <ac:spMkLst>
            <pc:docMk/>
            <pc:sldMk cId="1903956241" sldId="2147479700"/>
            <ac:spMk id="4" creationId="{E432C490-8501-4DEB-9800-36DD8F00D9DA}"/>
          </ac:spMkLst>
        </pc:spChg>
        <pc:spChg chg="mod">
          <ac:chgData name="Oyinlola Popoola" userId="a37a7fb2-f7f6-4757-8251-1f366d06d62b" providerId="ADAL" clId="{12068727-2694-40B1-8894-C4855D958E1B}" dt="2023-08-15T11:07:28.804" v="5938" actId="20577"/>
          <ac:spMkLst>
            <pc:docMk/>
            <pc:sldMk cId="1903956241" sldId="2147479700"/>
            <ac:spMk id="5" creationId="{82ACE101-9079-4B28-90D1-41FFC709BAB0}"/>
          </ac:spMkLst>
        </pc:spChg>
      </pc:sldChg>
      <pc:sldChg chg="modSp mod">
        <pc:chgData name="Oyinlola Popoola" userId="a37a7fb2-f7f6-4757-8251-1f366d06d62b" providerId="ADAL" clId="{12068727-2694-40B1-8894-C4855D958E1B}" dt="2023-08-15T11:08:53.942" v="5945" actId="1076"/>
        <pc:sldMkLst>
          <pc:docMk/>
          <pc:sldMk cId="3795784735" sldId="2147479702"/>
        </pc:sldMkLst>
        <pc:spChg chg="mod">
          <ac:chgData name="Oyinlola Popoola" userId="a37a7fb2-f7f6-4757-8251-1f366d06d62b" providerId="ADAL" clId="{12068727-2694-40B1-8894-C4855D958E1B}" dt="2023-08-15T11:08:53.942" v="5945" actId="1076"/>
          <ac:spMkLst>
            <pc:docMk/>
            <pc:sldMk cId="3795784735" sldId="2147479702"/>
            <ac:spMk id="12" creationId="{F6E8B279-1398-B4F2-2F45-A63F0E17D8AD}"/>
          </ac:spMkLst>
        </pc:spChg>
        <pc:spChg chg="mod">
          <ac:chgData name="Oyinlola Popoola" userId="a37a7fb2-f7f6-4757-8251-1f366d06d62b" providerId="ADAL" clId="{12068727-2694-40B1-8894-C4855D958E1B}" dt="2023-08-15T11:08:49.001" v="5944" actId="20577"/>
          <ac:spMkLst>
            <pc:docMk/>
            <pc:sldMk cId="3795784735" sldId="2147479702"/>
            <ac:spMk id="13" creationId="{520F0468-A3AA-F93D-4825-530FAB52C9CB}"/>
          </ac:spMkLst>
        </pc:spChg>
      </pc:sldChg>
      <pc:sldChg chg="modSp mod">
        <pc:chgData name="Oyinlola Popoola" userId="a37a7fb2-f7f6-4757-8251-1f366d06d62b" providerId="ADAL" clId="{12068727-2694-40B1-8894-C4855D958E1B}" dt="2023-08-15T11:09:12.269" v="5955" actId="1076"/>
        <pc:sldMkLst>
          <pc:docMk/>
          <pc:sldMk cId="3815144863" sldId="2147479703"/>
        </pc:sldMkLst>
        <pc:spChg chg="mod">
          <ac:chgData name="Oyinlola Popoola" userId="a37a7fb2-f7f6-4757-8251-1f366d06d62b" providerId="ADAL" clId="{12068727-2694-40B1-8894-C4855D958E1B}" dt="2023-08-15T11:09:12.269" v="5955" actId="1076"/>
          <ac:spMkLst>
            <pc:docMk/>
            <pc:sldMk cId="3815144863" sldId="2147479703"/>
            <ac:spMk id="12" creationId="{F6E8B279-1398-B4F2-2F45-A63F0E17D8AD}"/>
          </ac:spMkLst>
        </pc:spChg>
        <pc:spChg chg="mod">
          <ac:chgData name="Oyinlola Popoola" userId="a37a7fb2-f7f6-4757-8251-1f366d06d62b" providerId="ADAL" clId="{12068727-2694-40B1-8894-C4855D958E1B}" dt="2023-08-15T11:09:03.800" v="5954" actId="20577"/>
          <ac:spMkLst>
            <pc:docMk/>
            <pc:sldMk cId="3815144863" sldId="2147479703"/>
            <ac:spMk id="13" creationId="{520F0468-A3AA-F93D-4825-530FAB52C9CB}"/>
          </ac:spMkLst>
        </pc:spChg>
      </pc:sldChg>
      <pc:sldChg chg="modSp mod">
        <pc:chgData name="Oyinlola Popoola" userId="a37a7fb2-f7f6-4757-8251-1f366d06d62b" providerId="ADAL" clId="{12068727-2694-40B1-8894-C4855D958E1B}" dt="2023-08-15T11:09:43.789" v="5967" actId="1076"/>
        <pc:sldMkLst>
          <pc:docMk/>
          <pc:sldMk cId="3479888010" sldId="2147479704"/>
        </pc:sldMkLst>
        <pc:spChg chg="mod">
          <ac:chgData name="Oyinlola Popoola" userId="a37a7fb2-f7f6-4757-8251-1f366d06d62b" providerId="ADAL" clId="{12068727-2694-40B1-8894-C4855D958E1B}" dt="2023-08-15T11:09:43.789" v="5967" actId="1076"/>
          <ac:spMkLst>
            <pc:docMk/>
            <pc:sldMk cId="3479888010" sldId="2147479704"/>
            <ac:spMk id="12" creationId="{F6E8B279-1398-B4F2-2F45-A63F0E17D8AD}"/>
          </ac:spMkLst>
        </pc:spChg>
        <pc:spChg chg="mod">
          <ac:chgData name="Oyinlola Popoola" userId="a37a7fb2-f7f6-4757-8251-1f366d06d62b" providerId="ADAL" clId="{12068727-2694-40B1-8894-C4855D958E1B}" dt="2023-08-15T11:09:39.332" v="5966" actId="20577"/>
          <ac:spMkLst>
            <pc:docMk/>
            <pc:sldMk cId="3479888010" sldId="2147479704"/>
            <ac:spMk id="13" creationId="{520F0468-A3AA-F93D-4825-530FAB52C9CB}"/>
          </ac:spMkLst>
        </pc:spChg>
      </pc:sldChg>
      <pc:sldChg chg="modSp mod">
        <pc:chgData name="Oyinlola Popoola" userId="a37a7fb2-f7f6-4757-8251-1f366d06d62b" providerId="ADAL" clId="{12068727-2694-40B1-8894-C4855D958E1B}" dt="2023-08-15T11:10:53.575" v="5990" actId="1076"/>
        <pc:sldMkLst>
          <pc:docMk/>
          <pc:sldMk cId="1787325071" sldId="2147479705"/>
        </pc:sldMkLst>
        <pc:spChg chg="mod">
          <ac:chgData name="Oyinlola Popoola" userId="a37a7fb2-f7f6-4757-8251-1f366d06d62b" providerId="ADAL" clId="{12068727-2694-40B1-8894-C4855D958E1B}" dt="2023-08-15T11:10:53.575" v="5990" actId="1076"/>
          <ac:spMkLst>
            <pc:docMk/>
            <pc:sldMk cId="1787325071" sldId="2147479705"/>
            <ac:spMk id="4" creationId="{E432C490-8501-4DEB-9800-36DD8F00D9DA}"/>
          </ac:spMkLst>
        </pc:spChg>
        <pc:spChg chg="mod">
          <ac:chgData name="Oyinlola Popoola" userId="a37a7fb2-f7f6-4757-8251-1f366d06d62b" providerId="ADAL" clId="{12068727-2694-40B1-8894-C4855D958E1B}" dt="2023-08-15T11:10:50.657" v="5989" actId="20577"/>
          <ac:spMkLst>
            <pc:docMk/>
            <pc:sldMk cId="1787325071" sldId="2147479705"/>
            <ac:spMk id="5" creationId="{82ACE101-9079-4B28-90D1-41FFC709BAB0}"/>
          </ac:spMkLst>
        </pc:spChg>
      </pc:sldChg>
      <pc:sldMasterChg chg="setBg modSldLayout">
        <pc:chgData name="Oyinlola Popoola" userId="a37a7fb2-f7f6-4757-8251-1f366d06d62b" providerId="ADAL" clId="{12068727-2694-40B1-8894-C4855D958E1B}" dt="2023-07-31T11:00:59.301" v="5176"/>
        <pc:sldMasterMkLst>
          <pc:docMk/>
          <pc:sldMasterMk cId="3845511995" sldId="2147484242"/>
        </pc:sldMasterMkLst>
        <pc:sldLayoutChg chg="setBg">
          <pc:chgData name="Oyinlola Popoola" userId="a37a7fb2-f7f6-4757-8251-1f366d06d62b" providerId="ADAL" clId="{12068727-2694-40B1-8894-C4855D958E1B}" dt="2023-07-31T11:00:59.301" v="5176"/>
          <pc:sldLayoutMkLst>
            <pc:docMk/>
            <pc:sldMasterMk cId="3845511995" sldId="2147483660"/>
            <pc:sldLayoutMk cId="1451516886" sldId="2147483797"/>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138680982" sldId="2147483851"/>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568204052" sldId="2147483854"/>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153961162" sldId="2147483857"/>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4267380075" sldId="2147483858"/>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2421517860" sldId="2147483859"/>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3444051892" sldId="2147483860"/>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43161935" sldId="2147483861"/>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2640210332" sldId="2147483935"/>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1451516886" sldId="2147484242"/>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3444051892" sldId="2147484243"/>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4267380075" sldId="2147484244"/>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568204052" sldId="2147484245"/>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153961162" sldId="2147484246"/>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43161935" sldId="2147484247"/>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138680982" sldId="2147484248"/>
          </pc:sldLayoutMkLst>
        </pc:sldLayoutChg>
        <pc:sldLayoutChg chg="setBg">
          <pc:chgData name="Oyinlola Popoola" userId="a37a7fb2-f7f6-4757-8251-1f366d06d62b" providerId="ADAL" clId="{12068727-2694-40B1-8894-C4855D958E1B}" dt="2023-07-31T11:00:59.301" v="5176"/>
          <pc:sldLayoutMkLst>
            <pc:docMk/>
            <pc:sldMasterMk cId="3845511995" sldId="2147483660"/>
            <pc:sldLayoutMk cId="43161935" sldId="2147484249"/>
          </pc:sldLayoutMkLst>
        </pc:sldLayoutChg>
      </pc:sldMasterChg>
      <pc:sldMasterChg chg="setBg modSldLayout">
        <pc:chgData name="Oyinlola Popoola" userId="a37a7fb2-f7f6-4757-8251-1f366d06d62b" providerId="ADAL" clId="{12068727-2694-40B1-8894-C4855D958E1B}" dt="2023-07-31T11:00:59.301" v="5176"/>
        <pc:sldMasterMkLst>
          <pc:docMk/>
          <pc:sldMasterMk cId="1586323379" sldId="2147484243"/>
        </pc:sldMasterMkLst>
        <pc:sldLayoutChg chg="setBg">
          <pc:chgData name="Oyinlola Popoola" userId="a37a7fb2-f7f6-4757-8251-1f366d06d62b" providerId="ADAL" clId="{12068727-2694-40B1-8894-C4855D958E1B}" dt="2023-07-31T11:00:59.301" v="5176"/>
          <pc:sldLayoutMkLst>
            <pc:docMk/>
            <pc:sldMasterMk cId="1586323379" sldId="2147483862"/>
            <pc:sldLayoutMk cId="3767257778" sldId="2147483863"/>
          </pc:sldLayoutMkLst>
        </pc:sldLayoutChg>
        <pc:sldLayoutChg chg="setBg">
          <pc:chgData name="Oyinlola Popoola" userId="a37a7fb2-f7f6-4757-8251-1f366d06d62b" providerId="ADAL" clId="{12068727-2694-40B1-8894-C4855D958E1B}" dt="2023-07-31T11:00:59.301" v="5176"/>
          <pc:sldLayoutMkLst>
            <pc:docMk/>
            <pc:sldMasterMk cId="1586323379" sldId="2147483862"/>
            <pc:sldLayoutMk cId="1350954426" sldId="2147483864"/>
          </pc:sldLayoutMkLst>
        </pc:sldLayoutChg>
        <pc:sldLayoutChg chg="setBg">
          <pc:chgData name="Oyinlola Popoola" userId="a37a7fb2-f7f6-4757-8251-1f366d06d62b" providerId="ADAL" clId="{12068727-2694-40B1-8894-C4855D958E1B}" dt="2023-07-31T11:00:59.301" v="5176"/>
          <pc:sldLayoutMkLst>
            <pc:docMk/>
            <pc:sldMasterMk cId="1586323379" sldId="2147483862"/>
            <pc:sldLayoutMk cId="3882376614" sldId="2147483870"/>
          </pc:sldLayoutMkLst>
        </pc:sldLayoutChg>
        <pc:sldLayoutChg chg="setBg">
          <pc:chgData name="Oyinlola Popoola" userId="a37a7fb2-f7f6-4757-8251-1f366d06d62b" providerId="ADAL" clId="{12068727-2694-40B1-8894-C4855D958E1B}" dt="2023-07-31T11:00:59.301" v="5176"/>
          <pc:sldLayoutMkLst>
            <pc:docMk/>
            <pc:sldMasterMk cId="1586323379" sldId="2147483862"/>
            <pc:sldLayoutMk cId="2097239032" sldId="2147483945"/>
          </pc:sldLayoutMkLst>
        </pc:sldLayoutChg>
        <pc:sldLayoutChg chg="setBg">
          <pc:chgData name="Oyinlola Popoola" userId="a37a7fb2-f7f6-4757-8251-1f366d06d62b" providerId="ADAL" clId="{12068727-2694-40B1-8894-C4855D958E1B}" dt="2023-07-31T11:00:59.301" v="5176"/>
          <pc:sldLayoutMkLst>
            <pc:docMk/>
            <pc:sldMasterMk cId="1586323379" sldId="2147483862"/>
            <pc:sldLayoutMk cId="1892373190" sldId="2147484250"/>
          </pc:sldLayoutMkLst>
        </pc:sldLayoutChg>
      </pc:sldMasterChg>
      <pc:sldMasterChg chg="setBg modSldLayout">
        <pc:chgData name="Oyinlola Popoola" userId="a37a7fb2-f7f6-4757-8251-1f366d06d62b" providerId="ADAL" clId="{12068727-2694-40B1-8894-C4855D958E1B}" dt="2023-07-31T11:00:59.301" v="5176"/>
        <pc:sldMasterMkLst>
          <pc:docMk/>
          <pc:sldMasterMk cId="3298897061" sldId="2147484244"/>
        </pc:sldMasterMkLst>
        <pc:sldLayoutChg chg="setBg">
          <pc:chgData name="Oyinlola Popoola" userId="a37a7fb2-f7f6-4757-8251-1f366d06d62b" providerId="ADAL" clId="{12068727-2694-40B1-8894-C4855D958E1B}" dt="2023-07-31T11:00:59.301" v="5176"/>
          <pc:sldLayoutMkLst>
            <pc:docMk/>
            <pc:sldMasterMk cId="3298897061" sldId="2147483871"/>
            <pc:sldLayoutMk cId="2651862868" sldId="2147483872"/>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2975444879" sldId="2147483873"/>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1244673949" sldId="2147483874"/>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2851575894" sldId="2147483875"/>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2553739660" sldId="2147483876"/>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3898934645" sldId="2147483877"/>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3550130238" sldId="2147483878"/>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1404601595" sldId="2147483880"/>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1919821465" sldId="2147483881"/>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686942639" sldId="2147483883"/>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2204213436" sldId="2147483893"/>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963294639" sldId="2147483895"/>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3058370579" sldId="2147483896"/>
          </pc:sldLayoutMkLst>
        </pc:sldLayoutChg>
        <pc:sldLayoutChg chg="setBg">
          <pc:chgData name="Oyinlola Popoola" userId="a37a7fb2-f7f6-4757-8251-1f366d06d62b" providerId="ADAL" clId="{12068727-2694-40B1-8894-C4855D958E1B}" dt="2023-07-31T11:00:59.301" v="5176"/>
          <pc:sldLayoutMkLst>
            <pc:docMk/>
            <pc:sldMasterMk cId="3298897061" sldId="2147483871"/>
            <pc:sldLayoutMk cId="2026342208" sldId="2147483897"/>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3029567661" sldId="2147484245"/>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3121986526" sldId="2147484246"/>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2808910979" sldId="2147484247"/>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1436358732" sldId="2147484248"/>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2001212214" sldId="2147484249"/>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2502501040" sldId="2147484250"/>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1771166054" sldId="2147484251"/>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2178716615" sldId="2147484252"/>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1361917230" sldId="2147484253"/>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1297502433" sldId="2147484254"/>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4071969676" sldId="2147484255"/>
          </pc:sldLayoutMkLst>
        </pc:sldLayoutChg>
        <pc:sldLayoutChg chg="setBg">
          <pc:chgData name="Oyinlola Popoola" userId="a37a7fb2-f7f6-4757-8251-1f366d06d62b" providerId="ADAL" clId="{12068727-2694-40B1-8894-C4855D958E1B}" dt="2023-07-31T11:00:59.301" v="5176"/>
          <pc:sldLayoutMkLst>
            <pc:docMk/>
            <pc:sldMasterMk cId="3298897061" sldId="2147484244"/>
            <pc:sldLayoutMk cId="1462669989" sldId="2147484256"/>
          </pc:sldLayoutMkLst>
        </pc:sldLayoutChg>
      </pc:sldMasterChg>
      <pc:sldMasterChg chg="add setBg addSldLayout delSldLayout modSldLayout">
        <pc:chgData name="Oyinlola Popoola" userId="a37a7fb2-f7f6-4757-8251-1f366d06d62b" providerId="ADAL" clId="{12068727-2694-40B1-8894-C4855D958E1B}" dt="2023-07-31T11:00:59.301" v="5176"/>
        <pc:sldMasterMkLst>
          <pc:docMk/>
          <pc:sldMasterMk cId="1919714218" sldId="2147484257"/>
        </pc:sldMasterMkLst>
        <pc:sldLayoutChg chg="add del">
          <pc:chgData name="Oyinlola Popoola" userId="a37a7fb2-f7f6-4757-8251-1f366d06d62b" providerId="ADAL" clId="{12068727-2694-40B1-8894-C4855D958E1B}" dt="2023-07-31T10:50:34.646" v="5056" actId="2696"/>
          <pc:sldLayoutMkLst>
            <pc:docMk/>
            <pc:sldMasterMk cId="1919714218" sldId="2147484257"/>
            <pc:sldLayoutMk cId="1035356923" sldId="2147483946"/>
          </pc:sldLayoutMkLst>
        </pc:sldLayoutChg>
        <pc:sldLayoutChg chg="add setBg">
          <pc:chgData name="Oyinlola Popoola" userId="a37a7fb2-f7f6-4757-8251-1f366d06d62b" providerId="ADAL" clId="{12068727-2694-40B1-8894-C4855D958E1B}" dt="2023-07-31T11:00:59.301" v="5176"/>
          <pc:sldLayoutMkLst>
            <pc:docMk/>
            <pc:sldMasterMk cId="1919714218" sldId="2147483822"/>
            <pc:sldLayoutMk cId="3918241259" sldId="2147484241"/>
          </pc:sldLayoutMkLst>
        </pc:sldLayoutChg>
      </pc:sldMasterChg>
    </pc:docChg>
  </pc:docChgLst>
  <pc:docChgLst>
    <pc:chgData name="Ahmed Helmy" userId="S::ahmed.helmy@ie.ey.com::00ab2dc9-190a-451b-8f35-a658adf790b2" providerId="AD" clId="Web-{E731B690-1E87-8D9F-4365-F8872004EB46}"/>
    <pc:docChg chg="modSld">
      <pc:chgData name="Ahmed Helmy" userId="S::ahmed.helmy@ie.ey.com::00ab2dc9-190a-451b-8f35-a658adf790b2" providerId="AD" clId="Web-{E731B690-1E87-8D9F-4365-F8872004EB46}" dt="2023-07-25T11:22:15.407" v="100" actId="20577"/>
      <pc:docMkLst>
        <pc:docMk/>
      </pc:docMkLst>
      <pc:sldChg chg="addSp delSp modSp">
        <pc:chgData name="Ahmed Helmy" userId="S::ahmed.helmy@ie.ey.com::00ab2dc9-190a-451b-8f35-a658adf790b2" providerId="AD" clId="Web-{E731B690-1E87-8D9F-4365-F8872004EB46}" dt="2023-07-25T11:22:15.407" v="100" actId="20577"/>
        <pc:sldMkLst>
          <pc:docMk/>
          <pc:sldMk cId="3774471943" sldId="2147479598"/>
        </pc:sldMkLst>
        <pc:spChg chg="add mod">
          <ac:chgData name="Ahmed Helmy" userId="S::ahmed.helmy@ie.ey.com::00ab2dc9-190a-451b-8f35-a658adf790b2" providerId="AD" clId="Web-{E731B690-1E87-8D9F-4365-F8872004EB46}" dt="2023-07-25T09:26:52.492" v="62" actId="14100"/>
          <ac:spMkLst>
            <pc:docMk/>
            <pc:sldMk cId="3774471943" sldId="2147479598"/>
            <ac:spMk id="3" creationId="{E6FE7573-ED76-1371-5E76-8B08AF365466}"/>
          </ac:spMkLst>
        </pc:spChg>
        <pc:spChg chg="add mod">
          <ac:chgData name="Ahmed Helmy" userId="S::ahmed.helmy@ie.ey.com::00ab2dc9-190a-451b-8f35-a658adf790b2" providerId="AD" clId="Web-{E731B690-1E87-8D9F-4365-F8872004EB46}" dt="2023-07-25T11:22:15.407" v="100" actId="20577"/>
          <ac:spMkLst>
            <pc:docMk/>
            <pc:sldMk cId="3774471943" sldId="2147479598"/>
            <ac:spMk id="5" creationId="{9D960ADD-278E-96F1-CA67-EC9C6377B178}"/>
          </ac:spMkLst>
        </pc:spChg>
        <pc:spChg chg="add mod">
          <ac:chgData name="Ahmed Helmy" userId="S::ahmed.helmy@ie.ey.com::00ab2dc9-190a-451b-8f35-a658adf790b2" providerId="AD" clId="Web-{E731B690-1E87-8D9F-4365-F8872004EB46}" dt="2023-07-25T09:16:06.027" v="46" actId="20577"/>
          <ac:spMkLst>
            <pc:docMk/>
            <pc:sldMk cId="3774471943" sldId="2147479598"/>
            <ac:spMk id="7" creationId="{7A2268DB-EE7D-BF0B-84CB-93BC56B8DE85}"/>
          </ac:spMkLst>
        </pc:spChg>
        <pc:spChg chg="add mod topLvl">
          <ac:chgData name="Ahmed Helmy" userId="S::ahmed.helmy@ie.ey.com::00ab2dc9-190a-451b-8f35-a658adf790b2" providerId="AD" clId="Web-{E731B690-1E87-8D9F-4365-F8872004EB46}" dt="2023-07-25T09:11:53.136" v="27" actId="14100"/>
          <ac:spMkLst>
            <pc:docMk/>
            <pc:sldMk cId="3774471943" sldId="2147479598"/>
            <ac:spMk id="9" creationId="{1CB66FB8-1D1F-596C-49CB-11AB9557B8C2}"/>
          </ac:spMkLst>
        </pc:spChg>
        <pc:spChg chg="add del mod">
          <ac:chgData name="Ahmed Helmy" userId="S::ahmed.helmy@ie.ey.com::00ab2dc9-190a-451b-8f35-a658adf790b2" providerId="AD" clId="Web-{E731B690-1E87-8D9F-4365-F8872004EB46}" dt="2023-07-25T09:26:45.585" v="61"/>
          <ac:spMkLst>
            <pc:docMk/>
            <pc:sldMk cId="3774471943" sldId="2147479598"/>
            <ac:spMk id="10" creationId="{25FAA043-E2D7-184A-0F9A-851D0ACCB1DF}"/>
          </ac:spMkLst>
        </pc:spChg>
        <pc:spChg chg="add mod topLvl">
          <ac:chgData name="Ahmed Helmy" userId="S::ahmed.helmy@ie.ey.com::00ab2dc9-190a-451b-8f35-a658adf790b2" providerId="AD" clId="Web-{E731B690-1E87-8D9F-4365-F8872004EB46}" dt="2023-07-25T09:11:48.838" v="26"/>
          <ac:spMkLst>
            <pc:docMk/>
            <pc:sldMk cId="3774471943" sldId="2147479598"/>
            <ac:spMk id="11" creationId="{663CA978-B1EE-9D1C-F095-34DDFC345B64}"/>
          </ac:spMkLst>
        </pc:spChg>
        <pc:spChg chg="add del">
          <ac:chgData name="Ahmed Helmy" userId="S::ahmed.helmy@ie.ey.com::00ab2dc9-190a-451b-8f35-a658adf790b2" providerId="AD" clId="Web-{E731B690-1E87-8D9F-4365-F8872004EB46}" dt="2023-07-25T09:10:09.738" v="4"/>
          <ac:spMkLst>
            <pc:docMk/>
            <pc:sldMk cId="3774471943" sldId="2147479598"/>
            <ac:spMk id="83" creationId="{38BA1687-496F-4C8F-AF0B-DB160EEA7CE5}"/>
          </ac:spMkLst>
        </pc:spChg>
        <pc:grpChg chg="add del mod">
          <ac:chgData name="Ahmed Helmy" userId="S::ahmed.helmy@ie.ey.com::00ab2dc9-190a-451b-8f35-a658adf790b2" providerId="AD" clId="Web-{E731B690-1E87-8D9F-4365-F8872004EB46}" dt="2023-07-25T09:11:48.838" v="26"/>
          <ac:grpSpMkLst>
            <pc:docMk/>
            <pc:sldMk cId="3774471943" sldId="2147479598"/>
            <ac:grpSpMk id="12" creationId="{C4C0EB5F-6F2D-6182-0BA7-7F30E717FBEB}"/>
          </ac:grpSpMkLst>
        </pc:grpChg>
        <pc:grpChg chg="add del mod">
          <ac:chgData name="Ahmed Helmy" userId="S::ahmed.helmy@ie.ey.com::00ab2dc9-190a-451b-8f35-a658adf790b2" providerId="AD" clId="Web-{E731B690-1E87-8D9F-4365-F8872004EB46}" dt="2023-07-25T09:26:43.944" v="60"/>
          <ac:grpSpMkLst>
            <pc:docMk/>
            <pc:sldMk cId="3774471943" sldId="2147479598"/>
            <ac:grpSpMk id="13" creationId="{D6EFFC0C-E00B-B7A7-7A9C-55BE6EA86EF8}"/>
          </ac:grpSpMkLst>
        </pc:grpChg>
      </pc:sldChg>
    </pc:docChg>
  </pc:docChgLst>
  <pc:docChgLst>
    <pc:chgData name="Immanuel J Daniel" userId="S::immanuel.johnston.daniel@ie.ey.com::b9141605-49ff-443e-8af4-0c21e2766a66" providerId="AD" clId="Web-{62C1B4FA-36BD-9635-CB0D-1B0AE140B331}"/>
    <pc:docChg chg="addSld delSld modSld sldOrd addSection delSection modSection">
      <pc:chgData name="Immanuel J Daniel" userId="S::immanuel.johnston.daniel@ie.ey.com::b9141605-49ff-443e-8af4-0c21e2766a66" providerId="AD" clId="Web-{62C1B4FA-36BD-9635-CB0D-1B0AE140B331}" dt="2023-08-14T16:14:54.643" v="940"/>
      <pc:docMkLst>
        <pc:docMk/>
      </pc:docMkLst>
      <pc:sldChg chg="addSp modSp">
        <pc:chgData name="Immanuel J Daniel" userId="S::immanuel.johnston.daniel@ie.ey.com::b9141605-49ff-443e-8af4-0c21e2766a66" providerId="AD" clId="Web-{62C1B4FA-36BD-9635-CB0D-1B0AE140B331}" dt="2023-08-14T09:07:46.268" v="94" actId="20577"/>
        <pc:sldMkLst>
          <pc:docMk/>
          <pc:sldMk cId="2692628411" sldId="728"/>
        </pc:sldMkLst>
        <pc:spChg chg="mod">
          <ac:chgData name="Immanuel J Daniel" userId="S::immanuel.johnston.daniel@ie.ey.com::b9141605-49ff-443e-8af4-0c21e2766a66" providerId="AD" clId="Web-{62C1B4FA-36BD-9635-CB0D-1B0AE140B331}" dt="2023-08-14T09:07:46.268" v="94" actId="20577"/>
          <ac:spMkLst>
            <pc:docMk/>
            <pc:sldMk cId="2692628411" sldId="728"/>
            <ac:spMk id="9" creationId="{00000000-0000-0000-0000-000000000000}"/>
          </ac:spMkLst>
        </pc:spChg>
        <pc:picChg chg="add mod">
          <ac:chgData name="Immanuel J Daniel" userId="S::immanuel.johnston.daniel@ie.ey.com::b9141605-49ff-443e-8af4-0c21e2766a66" providerId="AD" clId="Web-{62C1B4FA-36BD-9635-CB0D-1B0AE140B331}" dt="2023-08-14T09:05:45.686" v="4" actId="1076"/>
          <ac:picMkLst>
            <pc:docMk/>
            <pc:sldMk cId="2692628411" sldId="728"/>
            <ac:picMk id="7" creationId="{1418BC99-9DE3-A3A8-4587-E8408F19292C}"/>
          </ac:picMkLst>
        </pc:picChg>
        <pc:picChg chg="add mod">
          <ac:chgData name="Immanuel J Daniel" userId="S::immanuel.johnston.daniel@ie.ey.com::b9141605-49ff-443e-8af4-0c21e2766a66" providerId="AD" clId="Web-{62C1B4FA-36BD-9635-CB0D-1B0AE140B331}" dt="2023-08-14T09:07:29.268" v="73" actId="1076"/>
          <ac:picMkLst>
            <pc:docMk/>
            <pc:sldMk cId="2692628411" sldId="728"/>
            <ac:picMk id="8" creationId="{A0A7C905-5E26-86CE-8FBB-F79B0AE278DA}"/>
          </ac:picMkLst>
        </pc:picChg>
      </pc:sldChg>
      <pc:sldChg chg="modSp">
        <pc:chgData name="Immanuel J Daniel" userId="S::immanuel.johnston.daniel@ie.ey.com::b9141605-49ff-443e-8af4-0c21e2766a66" providerId="AD" clId="Web-{62C1B4FA-36BD-9635-CB0D-1B0AE140B331}" dt="2023-08-14T10:55:29.317" v="137" actId="20577"/>
        <pc:sldMkLst>
          <pc:docMk/>
          <pc:sldMk cId="3505510019" sldId="2142535109"/>
        </pc:sldMkLst>
        <pc:spChg chg="mod">
          <ac:chgData name="Immanuel J Daniel" userId="S::immanuel.johnston.daniel@ie.ey.com::b9141605-49ff-443e-8af4-0c21e2766a66" providerId="AD" clId="Web-{62C1B4FA-36BD-9635-CB0D-1B0AE140B331}" dt="2023-08-14T10:55:29.317" v="137" actId="20577"/>
          <ac:spMkLst>
            <pc:docMk/>
            <pc:sldMk cId="3505510019" sldId="2142535109"/>
            <ac:spMk id="4" creationId="{E432C490-8501-4DEB-9800-36DD8F00D9DA}"/>
          </ac:spMkLst>
        </pc:spChg>
      </pc:sldChg>
      <pc:sldChg chg="addSp modSp">
        <pc:chgData name="Immanuel J Daniel" userId="S::immanuel.johnston.daniel@ie.ey.com::b9141605-49ff-443e-8af4-0c21e2766a66" providerId="AD" clId="Web-{62C1B4FA-36BD-9635-CB0D-1B0AE140B331}" dt="2023-08-14T14:38:08.201" v="522" actId="1076"/>
        <pc:sldMkLst>
          <pc:docMk/>
          <pc:sldMk cId="1569982749" sldId="2142535160"/>
        </pc:sldMkLst>
        <pc:spChg chg="mod">
          <ac:chgData name="Immanuel J Daniel" userId="S::immanuel.johnston.daniel@ie.ey.com::b9141605-49ff-443e-8af4-0c21e2766a66" providerId="AD" clId="Web-{62C1B4FA-36BD-9635-CB0D-1B0AE140B331}" dt="2023-08-14T13:46:08.313" v="413" actId="20577"/>
          <ac:spMkLst>
            <pc:docMk/>
            <pc:sldMk cId="1569982749" sldId="2142535160"/>
            <ac:spMk id="2" creationId="{F6509F0A-76E8-327B-FC3F-309E67BA2FF6}"/>
          </ac:spMkLst>
        </pc:spChg>
        <pc:spChg chg="mod">
          <ac:chgData name="Immanuel J Daniel" userId="S::immanuel.johnston.daniel@ie.ey.com::b9141605-49ff-443e-8af4-0c21e2766a66" providerId="AD" clId="Web-{62C1B4FA-36BD-9635-CB0D-1B0AE140B331}" dt="2023-08-14T13:46:17.829" v="422" actId="20577"/>
          <ac:spMkLst>
            <pc:docMk/>
            <pc:sldMk cId="1569982749" sldId="2142535160"/>
            <ac:spMk id="4" creationId="{000C7826-6AF1-7E39-A47F-526D03FE600C}"/>
          </ac:spMkLst>
        </pc:spChg>
        <pc:spChg chg="mod">
          <ac:chgData name="Immanuel J Daniel" userId="S::immanuel.johnston.daniel@ie.ey.com::b9141605-49ff-443e-8af4-0c21e2766a66" providerId="AD" clId="Web-{62C1B4FA-36BD-9635-CB0D-1B0AE140B331}" dt="2023-08-14T13:46:37.784" v="431" actId="20577"/>
          <ac:spMkLst>
            <pc:docMk/>
            <pc:sldMk cId="1569982749" sldId="2142535160"/>
            <ac:spMk id="5" creationId="{A078B296-1339-EF0E-8B97-0A3F7D290E85}"/>
          </ac:spMkLst>
        </pc:spChg>
        <pc:spChg chg="mod">
          <ac:chgData name="Immanuel J Daniel" userId="S::immanuel.johnston.daniel@ie.ey.com::b9141605-49ff-443e-8af4-0c21e2766a66" providerId="AD" clId="Web-{62C1B4FA-36BD-9635-CB0D-1B0AE140B331}" dt="2023-08-14T13:45:46.468" v="403" actId="20577"/>
          <ac:spMkLst>
            <pc:docMk/>
            <pc:sldMk cId="1569982749" sldId="2142535160"/>
            <ac:spMk id="6" creationId="{EBEE682B-1E19-CF06-7594-CC49321CD03C}"/>
          </ac:spMkLst>
        </pc:spChg>
        <pc:spChg chg="add mod">
          <ac:chgData name="Immanuel J Daniel" userId="S::immanuel.johnston.daniel@ie.ey.com::b9141605-49ff-443e-8af4-0c21e2766a66" providerId="AD" clId="Web-{62C1B4FA-36BD-9635-CB0D-1B0AE140B331}" dt="2023-08-14T14:38:08.201" v="522" actId="1076"/>
          <ac:spMkLst>
            <pc:docMk/>
            <pc:sldMk cId="1569982749" sldId="2142535160"/>
            <ac:spMk id="7" creationId="{D71FA9BF-0556-4B9F-2478-AE1D12F37622}"/>
          </ac:spMkLst>
        </pc:spChg>
        <pc:spChg chg="add mod">
          <ac:chgData name="Immanuel J Daniel" userId="S::immanuel.johnston.daniel@ie.ey.com::b9141605-49ff-443e-8af4-0c21e2766a66" providerId="AD" clId="Web-{62C1B4FA-36BD-9635-CB0D-1B0AE140B331}" dt="2023-08-14T13:47:29.632" v="460" actId="20577"/>
          <ac:spMkLst>
            <pc:docMk/>
            <pc:sldMk cId="1569982749" sldId="2142535160"/>
            <ac:spMk id="8" creationId="{E12EEEA3-3A6E-6214-C4F1-E6B7F7A74428}"/>
          </ac:spMkLst>
        </pc:spChg>
        <pc:spChg chg="add mod">
          <ac:chgData name="Immanuel J Daniel" userId="S::immanuel.johnston.daniel@ie.ey.com::b9141605-49ff-443e-8af4-0c21e2766a66" providerId="AD" clId="Web-{62C1B4FA-36BD-9635-CB0D-1B0AE140B331}" dt="2023-08-14T13:48:24.542" v="476" actId="20577"/>
          <ac:spMkLst>
            <pc:docMk/>
            <pc:sldMk cId="1569982749" sldId="2142535160"/>
            <ac:spMk id="9" creationId="{55131403-E4D8-2361-C0CB-0DF4FCE57829}"/>
          </ac:spMkLst>
        </pc:spChg>
        <pc:spChg chg="add mod">
          <ac:chgData name="Immanuel J Daniel" userId="S::immanuel.johnston.daniel@ie.ey.com::b9141605-49ff-443e-8af4-0c21e2766a66" providerId="AD" clId="Web-{62C1B4FA-36BD-9635-CB0D-1B0AE140B331}" dt="2023-08-14T13:48:52.341" v="489" actId="20577"/>
          <ac:spMkLst>
            <pc:docMk/>
            <pc:sldMk cId="1569982749" sldId="2142535160"/>
            <ac:spMk id="10" creationId="{292E391F-1670-B595-B769-37D3BB7E8238}"/>
          </ac:spMkLst>
        </pc:spChg>
        <pc:spChg chg="mod">
          <ac:chgData name="Immanuel J Daniel" userId="S::immanuel.johnston.daniel@ie.ey.com::b9141605-49ff-443e-8af4-0c21e2766a66" providerId="AD" clId="Web-{62C1B4FA-36BD-9635-CB0D-1B0AE140B331}" dt="2023-08-14T10:56:42.335" v="144" actId="20577"/>
          <ac:spMkLst>
            <pc:docMk/>
            <pc:sldMk cId="1569982749" sldId="2142535160"/>
            <ac:spMk id="41" creationId="{B6D55723-E75F-4003-B079-9C36419AD28F}"/>
          </ac:spMkLst>
        </pc:spChg>
        <pc:spChg chg="mod">
          <ac:chgData name="Immanuel J Daniel" userId="S::immanuel.johnston.daniel@ie.ey.com::b9141605-49ff-443e-8af4-0c21e2766a66" providerId="AD" clId="Web-{62C1B4FA-36BD-9635-CB0D-1B0AE140B331}" dt="2023-08-14T13:45:04.012" v="364" actId="20577"/>
          <ac:spMkLst>
            <pc:docMk/>
            <pc:sldMk cId="1569982749" sldId="2142535160"/>
            <ac:spMk id="42" creationId="{6FB47840-2903-46BB-8088-444E1E89EB9B}"/>
          </ac:spMkLst>
        </pc:spChg>
        <pc:spChg chg="mod">
          <ac:chgData name="Immanuel J Daniel" userId="S::immanuel.johnston.daniel@ie.ey.com::b9141605-49ff-443e-8af4-0c21e2766a66" providerId="AD" clId="Web-{62C1B4FA-36BD-9635-CB0D-1B0AE140B331}" dt="2023-08-14T13:45:26.013" v="379" actId="20577"/>
          <ac:spMkLst>
            <pc:docMk/>
            <pc:sldMk cId="1569982749" sldId="2142535160"/>
            <ac:spMk id="43" creationId="{F70A18C1-6F7D-4357-8FFF-E2A5F5CE8D8F}"/>
          </ac:spMkLst>
        </pc:spChg>
      </pc:sldChg>
      <pc:sldChg chg="modSp">
        <pc:chgData name="Immanuel J Daniel" userId="S::immanuel.johnston.daniel@ie.ey.com::b9141605-49ff-443e-8af4-0c21e2766a66" providerId="AD" clId="Web-{62C1B4FA-36BD-9635-CB0D-1B0AE140B331}" dt="2023-08-14T16:14:31.298" v="939" actId="20577"/>
        <pc:sldMkLst>
          <pc:docMk/>
          <pc:sldMk cId="2995573744" sldId="2147472971"/>
        </pc:sldMkLst>
        <pc:spChg chg="mod">
          <ac:chgData name="Immanuel J Daniel" userId="S::immanuel.johnston.daniel@ie.ey.com::b9141605-49ff-443e-8af4-0c21e2766a66" providerId="AD" clId="Web-{62C1B4FA-36BD-9635-CB0D-1B0AE140B331}" dt="2023-08-14T16:14:31.298" v="939" actId="20577"/>
          <ac:spMkLst>
            <pc:docMk/>
            <pc:sldMk cId="2995573744" sldId="2147472971"/>
            <ac:spMk id="9" creationId="{8025C2A4-3C37-49E6-AC49-DBFBF164C7F8}"/>
          </ac:spMkLst>
        </pc:spChg>
      </pc:sldChg>
      <pc:sldChg chg="modSp">
        <pc:chgData name="Immanuel J Daniel" userId="S::immanuel.johnston.daniel@ie.ey.com::b9141605-49ff-443e-8af4-0c21e2766a66" providerId="AD" clId="Web-{62C1B4FA-36BD-9635-CB0D-1B0AE140B331}" dt="2023-08-14T16:10:58.823" v="925" actId="20577"/>
        <pc:sldMkLst>
          <pc:docMk/>
          <pc:sldMk cId="1374538530" sldId="2147472973"/>
        </pc:sldMkLst>
        <pc:spChg chg="mod">
          <ac:chgData name="Immanuel J Daniel" userId="S::immanuel.johnston.daniel@ie.ey.com::b9141605-49ff-443e-8af4-0c21e2766a66" providerId="AD" clId="Web-{62C1B4FA-36BD-9635-CB0D-1B0AE140B331}" dt="2023-08-14T16:10:58.823" v="925" actId="20577"/>
          <ac:spMkLst>
            <pc:docMk/>
            <pc:sldMk cId="1374538530" sldId="2147472973"/>
            <ac:spMk id="46" creationId="{18021D37-0390-49B1-BFF5-E4E086F2910B}"/>
          </ac:spMkLst>
        </pc:spChg>
      </pc:sldChg>
      <pc:sldChg chg="modSp">
        <pc:chgData name="Immanuel J Daniel" userId="S::immanuel.johnston.daniel@ie.ey.com::b9141605-49ff-443e-8af4-0c21e2766a66" providerId="AD" clId="Web-{62C1B4FA-36BD-9635-CB0D-1B0AE140B331}" dt="2023-08-14T16:08:06.239" v="762" actId="20577"/>
        <pc:sldMkLst>
          <pc:docMk/>
          <pc:sldMk cId="1389044736" sldId="2147472974"/>
        </pc:sldMkLst>
        <pc:spChg chg="mod">
          <ac:chgData name="Immanuel J Daniel" userId="S::immanuel.johnston.daniel@ie.ey.com::b9141605-49ff-443e-8af4-0c21e2766a66" providerId="AD" clId="Web-{62C1B4FA-36BD-9635-CB0D-1B0AE140B331}" dt="2023-08-14T16:08:06.239" v="762" actId="20577"/>
          <ac:spMkLst>
            <pc:docMk/>
            <pc:sldMk cId="1389044736" sldId="2147472974"/>
            <ac:spMk id="35" creationId="{1D844D77-8344-4662-A545-0479C696B9B1}"/>
          </ac:spMkLst>
        </pc:spChg>
      </pc:sldChg>
      <pc:sldChg chg="modSp">
        <pc:chgData name="Immanuel J Daniel" userId="S::immanuel.johnston.daniel@ie.ey.com::b9141605-49ff-443e-8af4-0c21e2766a66" providerId="AD" clId="Web-{62C1B4FA-36BD-9635-CB0D-1B0AE140B331}" dt="2023-08-14T11:18:35.327" v="280" actId="20577"/>
        <pc:sldMkLst>
          <pc:docMk/>
          <pc:sldMk cId="3348310596" sldId="2147473016"/>
        </pc:sldMkLst>
        <pc:spChg chg="mod">
          <ac:chgData name="Immanuel J Daniel" userId="S::immanuel.johnston.daniel@ie.ey.com::b9141605-49ff-443e-8af4-0c21e2766a66" providerId="AD" clId="Web-{62C1B4FA-36BD-9635-CB0D-1B0AE140B331}" dt="2023-08-14T11:18:35.327" v="280" actId="20577"/>
          <ac:spMkLst>
            <pc:docMk/>
            <pc:sldMk cId="3348310596" sldId="2147473016"/>
            <ac:spMk id="8" creationId="{7824D54C-15D2-467C-A016-166944D0781C}"/>
          </ac:spMkLst>
        </pc:spChg>
      </pc:sldChg>
      <pc:sldChg chg="del">
        <pc:chgData name="Immanuel J Daniel" userId="S::immanuel.johnston.daniel@ie.ey.com::b9141605-49ff-443e-8af4-0c21e2766a66" providerId="AD" clId="Web-{62C1B4FA-36BD-9635-CB0D-1B0AE140B331}" dt="2023-08-14T11:30:13.051" v="349"/>
        <pc:sldMkLst>
          <pc:docMk/>
          <pc:sldMk cId="2361847867" sldId="2147473099"/>
        </pc:sldMkLst>
      </pc:sldChg>
      <pc:sldChg chg="del ord">
        <pc:chgData name="Immanuel J Daniel" userId="S::immanuel.johnston.daniel@ie.ey.com::b9141605-49ff-443e-8af4-0c21e2766a66" providerId="AD" clId="Web-{62C1B4FA-36BD-9635-CB0D-1B0AE140B331}" dt="2023-08-14T11:28:47.564" v="345"/>
        <pc:sldMkLst>
          <pc:docMk/>
          <pc:sldMk cId="3207142972" sldId="2147473102"/>
        </pc:sldMkLst>
      </pc:sldChg>
      <pc:sldChg chg="ord">
        <pc:chgData name="Immanuel J Daniel" userId="S::immanuel.johnston.daniel@ie.ey.com::b9141605-49ff-443e-8af4-0c21e2766a66" providerId="AD" clId="Web-{62C1B4FA-36BD-9635-CB0D-1B0AE140B331}" dt="2023-08-14T10:28:23.253" v="113"/>
        <pc:sldMkLst>
          <pc:docMk/>
          <pc:sldMk cId="555873494" sldId="2147473103"/>
        </pc:sldMkLst>
      </pc:sldChg>
      <pc:sldChg chg="modSp">
        <pc:chgData name="Immanuel J Daniel" userId="S::immanuel.johnston.daniel@ie.ey.com::b9141605-49ff-443e-8af4-0c21e2766a66" providerId="AD" clId="Web-{62C1B4FA-36BD-9635-CB0D-1B0AE140B331}" dt="2023-08-14T14:50:30.698" v="526" actId="20577"/>
        <pc:sldMkLst>
          <pc:docMk/>
          <pc:sldMk cId="3781609366" sldId="2147473106"/>
        </pc:sldMkLst>
        <pc:spChg chg="mod">
          <ac:chgData name="Immanuel J Daniel" userId="S::immanuel.johnston.daniel@ie.ey.com::b9141605-49ff-443e-8af4-0c21e2766a66" providerId="AD" clId="Web-{62C1B4FA-36BD-9635-CB0D-1B0AE140B331}" dt="2023-08-14T14:50:30.698" v="526" actId="20577"/>
          <ac:spMkLst>
            <pc:docMk/>
            <pc:sldMk cId="3781609366" sldId="2147473106"/>
            <ac:spMk id="3" creationId="{54653C93-EE7D-BEDF-D2B4-67B3FBB2F9ED}"/>
          </ac:spMkLst>
        </pc:spChg>
      </pc:sldChg>
      <pc:sldChg chg="mod modShow">
        <pc:chgData name="Immanuel J Daniel" userId="S::immanuel.johnston.daniel@ie.ey.com::b9141605-49ff-443e-8af4-0c21e2766a66" providerId="AD" clId="Web-{62C1B4FA-36BD-9635-CB0D-1B0AE140B331}" dt="2023-08-14T14:50:41.589" v="527"/>
        <pc:sldMkLst>
          <pc:docMk/>
          <pc:sldMk cId="899793934" sldId="2147473120"/>
        </pc:sldMkLst>
      </pc:sldChg>
      <pc:sldChg chg="modSp">
        <pc:chgData name="Immanuel J Daniel" userId="S::immanuel.johnston.daniel@ie.ey.com::b9141605-49ff-443e-8af4-0c21e2766a66" providerId="AD" clId="Web-{62C1B4FA-36BD-9635-CB0D-1B0AE140B331}" dt="2023-08-14T11:21:07.738" v="308" actId="20577"/>
        <pc:sldMkLst>
          <pc:docMk/>
          <pc:sldMk cId="2703490332" sldId="2147473150"/>
        </pc:sldMkLst>
        <pc:spChg chg="mod">
          <ac:chgData name="Immanuel J Daniel" userId="S::immanuel.johnston.daniel@ie.ey.com::b9141605-49ff-443e-8af4-0c21e2766a66" providerId="AD" clId="Web-{62C1B4FA-36BD-9635-CB0D-1B0AE140B331}" dt="2023-08-14T11:20:53.472" v="296" actId="20577"/>
          <ac:spMkLst>
            <pc:docMk/>
            <pc:sldMk cId="2703490332" sldId="2147473150"/>
            <ac:spMk id="13" creationId="{520F0468-A3AA-F93D-4825-530FAB52C9CB}"/>
          </ac:spMkLst>
        </pc:spChg>
        <pc:spChg chg="mod">
          <ac:chgData name="Immanuel J Daniel" userId="S::immanuel.johnston.daniel@ie.ey.com::b9141605-49ff-443e-8af4-0c21e2766a66" providerId="AD" clId="Web-{62C1B4FA-36BD-9635-CB0D-1B0AE140B331}" dt="2023-08-14T11:21:07.738" v="308" actId="20577"/>
          <ac:spMkLst>
            <pc:docMk/>
            <pc:sldMk cId="2703490332" sldId="2147473150"/>
            <ac:spMk id="14" creationId="{B4783593-C7C6-BC3F-9B70-D8CAB693396E}"/>
          </ac:spMkLst>
        </pc:spChg>
      </pc:sldChg>
      <pc:sldChg chg="mod modShow">
        <pc:chgData name="Immanuel J Daniel" userId="S::immanuel.johnston.daniel@ie.ey.com::b9141605-49ff-443e-8af4-0c21e2766a66" providerId="AD" clId="Web-{62C1B4FA-36BD-9635-CB0D-1B0AE140B331}" dt="2023-08-14T14:51:02.996" v="529"/>
        <pc:sldMkLst>
          <pc:docMk/>
          <pc:sldMk cId="2959291759" sldId="2147473151"/>
        </pc:sldMkLst>
      </pc:sldChg>
      <pc:sldChg chg="modSp">
        <pc:chgData name="Immanuel J Daniel" userId="S::immanuel.johnston.daniel@ie.ey.com::b9141605-49ff-443e-8af4-0c21e2766a66" providerId="AD" clId="Web-{62C1B4FA-36BD-9635-CB0D-1B0AE140B331}" dt="2023-08-14T11:21:18.160" v="312" actId="20577"/>
        <pc:sldMkLst>
          <pc:docMk/>
          <pc:sldMk cId="1370127621" sldId="2147479552"/>
        </pc:sldMkLst>
        <pc:spChg chg="mod">
          <ac:chgData name="Immanuel J Daniel" userId="S::immanuel.johnston.daniel@ie.ey.com::b9141605-49ff-443e-8af4-0c21e2766a66" providerId="AD" clId="Web-{62C1B4FA-36BD-9635-CB0D-1B0AE140B331}" dt="2023-08-14T11:21:18.160" v="312" actId="20577"/>
          <ac:spMkLst>
            <pc:docMk/>
            <pc:sldMk cId="1370127621" sldId="2147479552"/>
            <ac:spMk id="8" creationId="{7824D54C-15D2-467C-A016-166944D0781C}"/>
          </ac:spMkLst>
        </pc:spChg>
      </pc:sldChg>
      <pc:sldChg chg="mod modShow">
        <pc:chgData name="Immanuel J Daniel" userId="S::immanuel.johnston.daniel@ie.ey.com::b9141605-49ff-443e-8af4-0c21e2766a66" providerId="AD" clId="Web-{62C1B4FA-36BD-9635-CB0D-1B0AE140B331}" dt="2023-08-14T14:50:50.558" v="528"/>
        <pc:sldMkLst>
          <pc:docMk/>
          <pc:sldMk cId="869705999" sldId="2147479559"/>
        </pc:sldMkLst>
      </pc:sldChg>
      <pc:sldChg chg="modSp">
        <pc:chgData name="Immanuel J Daniel" userId="S::immanuel.johnston.daniel@ie.ey.com::b9141605-49ff-443e-8af4-0c21e2766a66" providerId="AD" clId="Web-{62C1B4FA-36BD-9635-CB0D-1B0AE140B331}" dt="2023-08-14T11:21:12.738" v="310" actId="20577"/>
        <pc:sldMkLst>
          <pc:docMk/>
          <pc:sldMk cId="2042349048" sldId="2147479564"/>
        </pc:sldMkLst>
        <pc:spChg chg="mod">
          <ac:chgData name="Immanuel J Daniel" userId="S::immanuel.johnston.daniel@ie.ey.com::b9141605-49ff-443e-8af4-0c21e2766a66" providerId="AD" clId="Web-{62C1B4FA-36BD-9635-CB0D-1B0AE140B331}" dt="2023-08-14T11:21:12.738" v="310" actId="20577"/>
          <ac:spMkLst>
            <pc:docMk/>
            <pc:sldMk cId="2042349048" sldId="2147479564"/>
            <ac:spMk id="8" creationId="{7824D54C-15D2-467C-A016-166944D0781C}"/>
          </ac:spMkLst>
        </pc:spChg>
      </pc:sldChg>
      <pc:sldChg chg="del">
        <pc:chgData name="Immanuel J Daniel" userId="S::immanuel.johnston.daniel@ie.ey.com::b9141605-49ff-443e-8af4-0c21e2766a66" providerId="AD" clId="Web-{62C1B4FA-36BD-9635-CB0D-1B0AE140B331}" dt="2023-08-14T11:18:57.344" v="285"/>
        <pc:sldMkLst>
          <pc:docMk/>
          <pc:sldMk cId="2488466455" sldId="2147479585"/>
        </pc:sldMkLst>
      </pc:sldChg>
      <pc:sldChg chg="delSp modSp">
        <pc:chgData name="Immanuel J Daniel" userId="S::immanuel.johnston.daniel@ie.ey.com::b9141605-49ff-443e-8af4-0c21e2766a66" providerId="AD" clId="Web-{62C1B4FA-36BD-9635-CB0D-1B0AE140B331}" dt="2023-08-14T11:13:07.833" v="211"/>
        <pc:sldMkLst>
          <pc:docMk/>
          <pc:sldMk cId="663762665" sldId="2147479591"/>
        </pc:sldMkLst>
        <pc:spChg chg="del mod">
          <ac:chgData name="Immanuel J Daniel" userId="S::immanuel.johnston.daniel@ie.ey.com::b9141605-49ff-443e-8af4-0c21e2766a66" providerId="AD" clId="Web-{62C1B4FA-36BD-9635-CB0D-1B0AE140B331}" dt="2023-08-14T11:13:07.833" v="211"/>
          <ac:spMkLst>
            <pc:docMk/>
            <pc:sldMk cId="663762665" sldId="2147479591"/>
            <ac:spMk id="3" creationId="{54653C93-EE7D-BEDF-D2B4-67B3FBB2F9ED}"/>
          </ac:spMkLst>
        </pc:spChg>
        <pc:spChg chg="mod">
          <ac:chgData name="Immanuel J Daniel" userId="S::immanuel.johnston.daniel@ie.ey.com::b9141605-49ff-443e-8af4-0c21e2766a66" providerId="AD" clId="Web-{62C1B4FA-36BD-9635-CB0D-1B0AE140B331}" dt="2023-08-14T11:11:10.798" v="187" actId="20577"/>
          <ac:spMkLst>
            <pc:docMk/>
            <pc:sldMk cId="663762665" sldId="2147479591"/>
            <ac:spMk id="4" creationId="{E432C490-8501-4DEB-9800-36DD8F00D9DA}"/>
          </ac:spMkLst>
        </pc:spChg>
      </pc:sldChg>
      <pc:sldChg chg="modSp mod modShow">
        <pc:chgData name="Immanuel J Daniel" userId="S::immanuel.johnston.daniel@ie.ey.com::b9141605-49ff-443e-8af4-0c21e2766a66" providerId="AD" clId="Web-{62C1B4FA-36BD-9635-CB0D-1B0AE140B331}" dt="2023-08-14T11:15:12.759" v="235" actId="20577"/>
        <pc:sldMkLst>
          <pc:docMk/>
          <pc:sldMk cId="3060046903" sldId="2147479600"/>
        </pc:sldMkLst>
        <pc:spChg chg="mod">
          <ac:chgData name="Immanuel J Daniel" userId="S::immanuel.johnston.daniel@ie.ey.com::b9141605-49ff-443e-8af4-0c21e2766a66" providerId="AD" clId="Web-{62C1B4FA-36BD-9635-CB0D-1B0AE140B331}" dt="2023-08-14T11:15:12.759" v="235" actId="20577"/>
          <ac:spMkLst>
            <pc:docMk/>
            <pc:sldMk cId="3060046903" sldId="2147479600"/>
            <ac:spMk id="4" creationId="{E432C490-8501-4DEB-9800-36DD8F00D9DA}"/>
          </ac:spMkLst>
        </pc:spChg>
      </pc:sldChg>
      <pc:sldChg chg="addSp delSp modSp del">
        <pc:chgData name="Immanuel J Daniel" userId="S::immanuel.johnston.daniel@ie.ey.com::b9141605-49ff-443e-8af4-0c21e2766a66" providerId="AD" clId="Web-{62C1B4FA-36BD-9635-CB0D-1B0AE140B331}" dt="2023-08-14T11:23:35.789" v="338"/>
        <pc:sldMkLst>
          <pc:docMk/>
          <pc:sldMk cId="3934727699" sldId="2147479601"/>
        </pc:sldMkLst>
        <pc:spChg chg="add del mod">
          <ac:chgData name="Immanuel J Daniel" userId="S::immanuel.johnston.daniel@ie.ey.com::b9141605-49ff-443e-8af4-0c21e2766a66" providerId="AD" clId="Web-{62C1B4FA-36BD-9635-CB0D-1B0AE140B331}" dt="2023-08-14T11:22:42.975" v="318"/>
          <ac:spMkLst>
            <pc:docMk/>
            <pc:sldMk cId="3934727699" sldId="2147479601"/>
            <ac:spMk id="2" creationId="{076A398E-890C-30FD-C2F9-31E91B8B4BA5}"/>
          </ac:spMkLst>
        </pc:spChg>
      </pc:sldChg>
      <pc:sldChg chg="mod modShow">
        <pc:chgData name="Immanuel J Daniel" userId="S::immanuel.johnston.daniel@ie.ey.com::b9141605-49ff-443e-8af4-0c21e2766a66" providerId="AD" clId="Web-{62C1B4FA-36BD-9635-CB0D-1B0AE140B331}" dt="2023-08-14T08:58:00.607" v="0"/>
        <pc:sldMkLst>
          <pc:docMk/>
          <pc:sldMk cId="1981180335" sldId="2147479604"/>
        </pc:sldMkLst>
      </pc:sldChg>
      <pc:sldChg chg="modSp modCm">
        <pc:chgData name="Immanuel J Daniel" userId="S::immanuel.johnston.daniel@ie.ey.com::b9141605-49ff-443e-8af4-0c21e2766a66" providerId="AD" clId="Web-{62C1B4FA-36BD-9635-CB0D-1B0AE140B331}" dt="2023-08-14T13:49:32.703" v="493" actId="20577"/>
        <pc:sldMkLst>
          <pc:docMk/>
          <pc:sldMk cId="1361792716" sldId="2147479632"/>
        </pc:sldMkLst>
        <pc:spChg chg="mod">
          <ac:chgData name="Immanuel J Daniel" userId="S::immanuel.johnston.daniel@ie.ey.com::b9141605-49ff-443e-8af4-0c21e2766a66" providerId="AD" clId="Web-{62C1B4FA-36BD-9635-CB0D-1B0AE140B331}" dt="2023-08-14T13:49:32.703" v="493" actId="20577"/>
          <ac:spMkLst>
            <pc:docMk/>
            <pc:sldMk cId="1361792716" sldId="2147479632"/>
            <ac:spMk id="8" creationId="{7824D54C-15D2-467C-A016-166944D0781C}"/>
          </ac:spMkLst>
        </pc:spChg>
        <pc:extLst>
          <p:ext xmlns:p="http://schemas.openxmlformats.org/presentationml/2006/main" uri="{D6D511B9-2390-475A-947B-AFAB55BFBCF1}">
            <pc226:cmChg xmlns="" xmlns:pc226="http://schemas.microsoft.com/office/powerpoint/2022/06/main/command" chg="mod">
              <pc226:chgData name="Immanuel J Daniel" userId="S::immanuel.johnston.daniel@ie.ey.com::b9141605-49ff-443e-8af4-0c21e2766a66" providerId="AD" clId="Web-{62C1B4FA-36BD-9635-CB0D-1B0AE140B331}" dt="2023-08-14T13:49:30.219" v="492" actId="20577"/>
              <pc2:cmMkLst xmlns:pc2="http://schemas.microsoft.com/office/powerpoint/2019/9/main/command">
                <pc:docMk/>
                <pc:sldMk cId="1361792716" sldId="2147479632"/>
                <pc2:cmMk id="{1D9796B6-B921-4D9F-B1FE-76059C9F48CE}"/>
              </pc2:cmMkLst>
            </pc226:cmChg>
          </p:ext>
        </pc:extLst>
      </pc:sldChg>
      <pc:sldChg chg="modSp">
        <pc:chgData name="Immanuel J Daniel" userId="S::immanuel.johnston.daniel@ie.ey.com::b9141605-49ff-443e-8af4-0c21e2766a66" providerId="AD" clId="Web-{62C1B4FA-36BD-9635-CB0D-1B0AE140B331}" dt="2023-08-14T11:18:42.499" v="284" actId="20577"/>
        <pc:sldMkLst>
          <pc:docMk/>
          <pc:sldMk cId="2175479650" sldId="2147479633"/>
        </pc:sldMkLst>
        <pc:spChg chg="mod">
          <ac:chgData name="Immanuel J Daniel" userId="S::immanuel.johnston.daniel@ie.ey.com::b9141605-49ff-443e-8af4-0c21e2766a66" providerId="AD" clId="Web-{62C1B4FA-36BD-9635-CB0D-1B0AE140B331}" dt="2023-08-14T11:18:42.499" v="284" actId="20577"/>
          <ac:spMkLst>
            <pc:docMk/>
            <pc:sldMk cId="2175479650" sldId="2147479633"/>
            <ac:spMk id="8" creationId="{7824D54C-15D2-467C-A016-166944D0781C}"/>
          </ac:spMkLst>
        </pc:spChg>
      </pc:sldChg>
      <pc:sldChg chg="modSp">
        <pc:chgData name="Immanuel J Daniel" userId="S::immanuel.johnston.daniel@ie.ey.com::b9141605-49ff-443e-8af4-0c21e2766a66" providerId="AD" clId="Web-{62C1B4FA-36BD-9635-CB0D-1B0AE140B331}" dt="2023-08-14T13:49:57.892" v="503" actId="20577"/>
        <pc:sldMkLst>
          <pc:docMk/>
          <pc:sldMk cId="1878775612" sldId="2147479634"/>
        </pc:sldMkLst>
        <pc:spChg chg="mod">
          <ac:chgData name="Immanuel J Daniel" userId="S::immanuel.johnston.daniel@ie.ey.com::b9141605-49ff-443e-8af4-0c21e2766a66" providerId="AD" clId="Web-{62C1B4FA-36BD-9635-CB0D-1B0AE140B331}" dt="2023-08-14T13:49:57.892" v="503" actId="20577"/>
          <ac:spMkLst>
            <pc:docMk/>
            <pc:sldMk cId="1878775612" sldId="2147479634"/>
            <ac:spMk id="2" creationId="{35CD8BED-68CF-D983-C8AF-A9AD64B592B0}"/>
          </ac:spMkLst>
        </pc:spChg>
        <pc:spChg chg="mod">
          <ac:chgData name="Immanuel J Daniel" userId="S::immanuel.johnston.daniel@ie.ey.com::b9141605-49ff-443e-8af4-0c21e2766a66" providerId="AD" clId="Web-{62C1B4FA-36BD-9635-CB0D-1B0AE140B331}" dt="2023-08-14T13:49:40.251" v="494" actId="20577"/>
          <ac:spMkLst>
            <pc:docMk/>
            <pc:sldMk cId="1878775612" sldId="2147479634"/>
            <ac:spMk id="5" creationId="{82ACE101-9079-4B28-90D1-41FFC709BAB0}"/>
          </ac:spMkLst>
        </pc:spChg>
      </pc:sldChg>
      <pc:sldChg chg="ord">
        <pc:chgData name="Immanuel J Daniel" userId="S::immanuel.johnston.daniel@ie.ey.com::b9141605-49ff-443e-8af4-0c21e2766a66" providerId="AD" clId="Web-{62C1B4FA-36BD-9635-CB0D-1B0AE140B331}" dt="2023-08-14T10:28:39.441" v="115"/>
        <pc:sldMkLst>
          <pc:docMk/>
          <pc:sldMk cId="3831876268" sldId="2147479642"/>
        </pc:sldMkLst>
      </pc:sldChg>
      <pc:sldChg chg="ord">
        <pc:chgData name="Immanuel J Daniel" userId="S::immanuel.johnston.daniel@ie.ey.com::b9141605-49ff-443e-8af4-0c21e2766a66" providerId="AD" clId="Web-{62C1B4FA-36BD-9635-CB0D-1B0AE140B331}" dt="2023-08-14T10:28:39.441" v="114"/>
        <pc:sldMkLst>
          <pc:docMk/>
          <pc:sldMk cId="2915504962" sldId="2147479644"/>
        </pc:sldMkLst>
      </pc:sldChg>
      <pc:sldChg chg="modSp">
        <pc:chgData name="Immanuel J Daniel" userId="S::immanuel.johnston.daniel@ie.ey.com::b9141605-49ff-443e-8af4-0c21e2766a66" providerId="AD" clId="Web-{62C1B4FA-36BD-9635-CB0D-1B0AE140B331}" dt="2023-08-14T13:50:05.252" v="506" actId="20577"/>
        <pc:sldMkLst>
          <pc:docMk/>
          <pc:sldMk cId="1638219384" sldId="2147479668"/>
        </pc:sldMkLst>
        <pc:spChg chg="mod">
          <ac:chgData name="Immanuel J Daniel" userId="S::immanuel.johnston.daniel@ie.ey.com::b9141605-49ff-443e-8af4-0c21e2766a66" providerId="AD" clId="Web-{62C1B4FA-36BD-9635-CB0D-1B0AE140B331}" dt="2023-08-14T13:50:05.252" v="506" actId="20577"/>
          <ac:spMkLst>
            <pc:docMk/>
            <pc:sldMk cId="1638219384" sldId="2147479668"/>
            <ac:spMk id="8" creationId="{7824D54C-15D2-467C-A016-166944D0781C}"/>
          </ac:spMkLst>
        </pc:spChg>
      </pc:sldChg>
      <pc:sldChg chg="modSp">
        <pc:chgData name="Immanuel J Daniel" userId="S::immanuel.johnston.daniel@ie.ey.com::b9141605-49ff-443e-8af4-0c21e2766a66" providerId="AD" clId="Web-{62C1B4FA-36BD-9635-CB0D-1B0AE140B331}" dt="2023-08-14T13:50:10.268" v="507" actId="20577"/>
        <pc:sldMkLst>
          <pc:docMk/>
          <pc:sldMk cId="3375914741" sldId="2147479669"/>
        </pc:sldMkLst>
        <pc:spChg chg="mod">
          <ac:chgData name="Immanuel J Daniel" userId="S::immanuel.johnston.daniel@ie.ey.com::b9141605-49ff-443e-8af4-0c21e2766a66" providerId="AD" clId="Web-{62C1B4FA-36BD-9635-CB0D-1B0AE140B331}" dt="2023-08-14T13:50:10.268" v="507" actId="20577"/>
          <ac:spMkLst>
            <pc:docMk/>
            <pc:sldMk cId="3375914741" sldId="2147479669"/>
            <ac:spMk id="8" creationId="{7824D54C-15D2-467C-A016-166944D0781C}"/>
          </ac:spMkLst>
        </pc:spChg>
      </pc:sldChg>
      <pc:sldChg chg="modSp">
        <pc:chgData name="Immanuel J Daniel" userId="S::immanuel.johnston.daniel@ie.ey.com::b9141605-49ff-443e-8af4-0c21e2766a66" providerId="AD" clId="Web-{62C1B4FA-36BD-9635-CB0D-1B0AE140B331}" dt="2023-08-14T13:50:16.159" v="509" actId="20577"/>
        <pc:sldMkLst>
          <pc:docMk/>
          <pc:sldMk cId="622934420" sldId="2147479670"/>
        </pc:sldMkLst>
        <pc:spChg chg="mod">
          <ac:chgData name="Immanuel J Daniel" userId="S::immanuel.johnston.daniel@ie.ey.com::b9141605-49ff-443e-8af4-0c21e2766a66" providerId="AD" clId="Web-{62C1B4FA-36BD-9635-CB0D-1B0AE140B331}" dt="2023-08-14T13:50:16.159" v="509" actId="20577"/>
          <ac:spMkLst>
            <pc:docMk/>
            <pc:sldMk cId="622934420" sldId="2147479670"/>
            <ac:spMk id="8" creationId="{7824D54C-15D2-467C-A016-166944D0781C}"/>
          </ac:spMkLst>
        </pc:spChg>
      </pc:sldChg>
      <pc:sldChg chg="modSp">
        <pc:chgData name="Immanuel J Daniel" userId="S::immanuel.johnston.daniel@ie.ey.com::b9141605-49ff-443e-8af4-0c21e2766a66" providerId="AD" clId="Web-{62C1B4FA-36BD-9635-CB0D-1B0AE140B331}" dt="2023-08-14T13:50:20.441" v="511" actId="20577"/>
        <pc:sldMkLst>
          <pc:docMk/>
          <pc:sldMk cId="59976583" sldId="2147479671"/>
        </pc:sldMkLst>
        <pc:spChg chg="mod">
          <ac:chgData name="Immanuel J Daniel" userId="S::immanuel.johnston.daniel@ie.ey.com::b9141605-49ff-443e-8af4-0c21e2766a66" providerId="AD" clId="Web-{62C1B4FA-36BD-9635-CB0D-1B0AE140B331}" dt="2023-08-14T13:50:20.441" v="511" actId="20577"/>
          <ac:spMkLst>
            <pc:docMk/>
            <pc:sldMk cId="59976583" sldId="2147479671"/>
            <ac:spMk id="8" creationId="{7824D54C-15D2-467C-A016-166944D0781C}"/>
          </ac:spMkLst>
        </pc:spChg>
      </pc:sldChg>
      <pc:sldChg chg="modSp">
        <pc:chgData name="Immanuel J Daniel" userId="S::immanuel.johnston.daniel@ie.ey.com::b9141605-49ff-443e-8af4-0c21e2766a66" providerId="AD" clId="Web-{62C1B4FA-36BD-9635-CB0D-1B0AE140B331}" dt="2023-08-14T13:50:26.441" v="512" actId="20577"/>
        <pc:sldMkLst>
          <pc:docMk/>
          <pc:sldMk cId="3234471790" sldId="2147479672"/>
        </pc:sldMkLst>
        <pc:spChg chg="mod">
          <ac:chgData name="Immanuel J Daniel" userId="S::immanuel.johnston.daniel@ie.ey.com::b9141605-49ff-443e-8af4-0c21e2766a66" providerId="AD" clId="Web-{62C1B4FA-36BD-9635-CB0D-1B0AE140B331}" dt="2023-08-14T13:50:26.441" v="512" actId="20577"/>
          <ac:spMkLst>
            <pc:docMk/>
            <pc:sldMk cId="3234471790" sldId="2147479672"/>
            <ac:spMk id="8" creationId="{7824D54C-15D2-467C-A016-166944D0781C}"/>
          </ac:spMkLst>
        </pc:spChg>
      </pc:sldChg>
      <pc:sldChg chg="modSp">
        <pc:chgData name="Immanuel J Daniel" userId="S::immanuel.johnston.daniel@ie.ey.com::b9141605-49ff-443e-8af4-0c21e2766a66" providerId="AD" clId="Web-{62C1B4FA-36BD-9635-CB0D-1B0AE140B331}" dt="2023-08-14T13:50:32.207" v="513" actId="20577"/>
        <pc:sldMkLst>
          <pc:docMk/>
          <pc:sldMk cId="2550533011" sldId="2147479673"/>
        </pc:sldMkLst>
        <pc:spChg chg="mod">
          <ac:chgData name="Immanuel J Daniel" userId="S::immanuel.johnston.daniel@ie.ey.com::b9141605-49ff-443e-8af4-0c21e2766a66" providerId="AD" clId="Web-{62C1B4FA-36BD-9635-CB0D-1B0AE140B331}" dt="2023-08-14T13:50:32.207" v="513" actId="20577"/>
          <ac:spMkLst>
            <pc:docMk/>
            <pc:sldMk cId="2550533011" sldId="2147479673"/>
            <ac:spMk id="8" creationId="{7824D54C-15D2-467C-A016-166944D0781C}"/>
          </ac:spMkLst>
        </pc:spChg>
      </pc:sldChg>
      <pc:sldChg chg="modSp">
        <pc:chgData name="Immanuel J Daniel" userId="S::immanuel.johnston.daniel@ie.ey.com::b9141605-49ff-443e-8af4-0c21e2766a66" providerId="AD" clId="Web-{62C1B4FA-36BD-9635-CB0D-1B0AE140B331}" dt="2023-08-14T13:50:44.083" v="514" actId="20577"/>
        <pc:sldMkLst>
          <pc:docMk/>
          <pc:sldMk cId="1379980121" sldId="2147479674"/>
        </pc:sldMkLst>
        <pc:spChg chg="mod">
          <ac:chgData name="Immanuel J Daniel" userId="S::immanuel.johnston.daniel@ie.ey.com::b9141605-49ff-443e-8af4-0c21e2766a66" providerId="AD" clId="Web-{62C1B4FA-36BD-9635-CB0D-1B0AE140B331}" dt="2023-08-14T13:50:44.083" v="514" actId="20577"/>
          <ac:spMkLst>
            <pc:docMk/>
            <pc:sldMk cId="1379980121" sldId="2147479674"/>
            <ac:spMk id="8" creationId="{7824D54C-15D2-467C-A016-166944D0781C}"/>
          </ac:spMkLst>
        </pc:spChg>
      </pc:sldChg>
      <pc:sldChg chg="modSp">
        <pc:chgData name="Immanuel J Daniel" userId="S::immanuel.johnston.daniel@ie.ey.com::b9141605-49ff-443e-8af4-0c21e2766a66" providerId="AD" clId="Web-{62C1B4FA-36BD-9635-CB0D-1B0AE140B331}" dt="2023-08-14T13:50:48.865" v="515" actId="20577"/>
        <pc:sldMkLst>
          <pc:docMk/>
          <pc:sldMk cId="1504332585" sldId="2147479675"/>
        </pc:sldMkLst>
        <pc:spChg chg="mod">
          <ac:chgData name="Immanuel J Daniel" userId="S::immanuel.johnston.daniel@ie.ey.com::b9141605-49ff-443e-8af4-0c21e2766a66" providerId="AD" clId="Web-{62C1B4FA-36BD-9635-CB0D-1B0AE140B331}" dt="2023-08-14T13:50:48.865" v="515" actId="20577"/>
          <ac:spMkLst>
            <pc:docMk/>
            <pc:sldMk cId="1504332585" sldId="2147479675"/>
            <ac:spMk id="8" creationId="{7824D54C-15D2-467C-A016-166944D0781C}"/>
          </ac:spMkLst>
        </pc:spChg>
      </pc:sldChg>
      <pc:sldChg chg="modSp">
        <pc:chgData name="Immanuel J Daniel" userId="S::immanuel.johnston.daniel@ie.ey.com::b9141605-49ff-443e-8af4-0c21e2766a66" providerId="AD" clId="Web-{62C1B4FA-36BD-9635-CB0D-1B0AE140B331}" dt="2023-08-14T13:51:04.632" v="518" actId="20577"/>
        <pc:sldMkLst>
          <pc:docMk/>
          <pc:sldMk cId="2959099894" sldId="2147479678"/>
        </pc:sldMkLst>
        <pc:spChg chg="mod">
          <ac:chgData name="Immanuel J Daniel" userId="S::immanuel.johnston.daniel@ie.ey.com::b9141605-49ff-443e-8af4-0c21e2766a66" providerId="AD" clId="Web-{62C1B4FA-36BD-9635-CB0D-1B0AE140B331}" dt="2023-08-14T13:51:04.632" v="518" actId="20577"/>
          <ac:spMkLst>
            <pc:docMk/>
            <pc:sldMk cId="2959099894" sldId="2147479678"/>
            <ac:spMk id="8" creationId="{7824D54C-15D2-467C-A016-166944D0781C}"/>
          </ac:spMkLst>
        </pc:spChg>
      </pc:sldChg>
      <pc:sldChg chg="modSp">
        <pc:chgData name="Immanuel J Daniel" userId="S::immanuel.johnston.daniel@ie.ey.com::b9141605-49ff-443e-8af4-0c21e2766a66" providerId="AD" clId="Web-{62C1B4FA-36BD-9635-CB0D-1B0AE140B331}" dt="2023-08-14T13:50:59.006" v="517" actId="20577"/>
        <pc:sldMkLst>
          <pc:docMk/>
          <pc:sldMk cId="2224978157" sldId="2147479679"/>
        </pc:sldMkLst>
        <pc:spChg chg="mod">
          <ac:chgData name="Immanuel J Daniel" userId="S::immanuel.johnston.daniel@ie.ey.com::b9141605-49ff-443e-8af4-0c21e2766a66" providerId="AD" clId="Web-{62C1B4FA-36BD-9635-CB0D-1B0AE140B331}" dt="2023-08-14T13:50:59.006" v="517" actId="20577"/>
          <ac:spMkLst>
            <pc:docMk/>
            <pc:sldMk cId="2224978157" sldId="2147479679"/>
            <ac:spMk id="8" creationId="{7824D54C-15D2-467C-A016-166944D0781C}"/>
          </ac:spMkLst>
        </pc:spChg>
      </pc:sldChg>
      <pc:sldChg chg="modSp">
        <pc:chgData name="Immanuel J Daniel" userId="S::immanuel.johnston.daniel@ie.ey.com::b9141605-49ff-443e-8af4-0c21e2766a66" providerId="AD" clId="Web-{62C1B4FA-36BD-9635-CB0D-1B0AE140B331}" dt="2023-08-14T13:50:54.647" v="516" actId="20577"/>
        <pc:sldMkLst>
          <pc:docMk/>
          <pc:sldMk cId="3711356101" sldId="2147479680"/>
        </pc:sldMkLst>
        <pc:spChg chg="mod">
          <ac:chgData name="Immanuel J Daniel" userId="S::immanuel.johnston.daniel@ie.ey.com::b9141605-49ff-443e-8af4-0c21e2766a66" providerId="AD" clId="Web-{62C1B4FA-36BD-9635-CB0D-1B0AE140B331}" dt="2023-08-14T13:50:54.647" v="516" actId="20577"/>
          <ac:spMkLst>
            <pc:docMk/>
            <pc:sldMk cId="3711356101" sldId="2147479680"/>
            <ac:spMk id="8" creationId="{7824D54C-15D2-467C-A016-166944D0781C}"/>
          </ac:spMkLst>
        </pc:spChg>
      </pc:sldChg>
      <pc:sldChg chg="modSp">
        <pc:chgData name="Immanuel J Daniel" userId="S::immanuel.johnston.daniel@ie.ey.com::b9141605-49ff-443e-8af4-0c21e2766a66" providerId="AD" clId="Web-{62C1B4FA-36BD-9635-CB0D-1B0AE140B331}" dt="2023-08-14T13:51:09.585" v="519" actId="20577"/>
        <pc:sldMkLst>
          <pc:docMk/>
          <pc:sldMk cId="2458956774" sldId="2147479681"/>
        </pc:sldMkLst>
        <pc:spChg chg="mod">
          <ac:chgData name="Immanuel J Daniel" userId="S::immanuel.johnston.daniel@ie.ey.com::b9141605-49ff-443e-8af4-0c21e2766a66" providerId="AD" clId="Web-{62C1B4FA-36BD-9635-CB0D-1B0AE140B331}" dt="2023-08-14T13:51:09.585" v="519" actId="20577"/>
          <ac:spMkLst>
            <pc:docMk/>
            <pc:sldMk cId="2458956774" sldId="2147479681"/>
            <ac:spMk id="8" creationId="{7824D54C-15D2-467C-A016-166944D0781C}"/>
          </ac:spMkLst>
        </pc:spChg>
      </pc:sldChg>
      <pc:sldChg chg="del">
        <pc:chgData name="Immanuel J Daniel" userId="S::immanuel.johnston.daniel@ie.ey.com::b9141605-49ff-443e-8af4-0c21e2766a66" providerId="AD" clId="Web-{62C1B4FA-36BD-9635-CB0D-1B0AE140B331}" dt="2023-08-14T10:42:53.435" v="118"/>
        <pc:sldMkLst>
          <pc:docMk/>
          <pc:sldMk cId="2015443442" sldId="2147479683"/>
        </pc:sldMkLst>
      </pc:sldChg>
      <pc:sldChg chg="ord">
        <pc:chgData name="Immanuel J Daniel" userId="S::immanuel.johnston.daniel@ie.ey.com::b9141605-49ff-443e-8af4-0c21e2766a66" providerId="AD" clId="Web-{62C1B4FA-36BD-9635-CB0D-1B0AE140B331}" dt="2023-08-14T14:49:59.306" v="523"/>
        <pc:sldMkLst>
          <pc:docMk/>
          <pc:sldMk cId="1992674941" sldId="2147479691"/>
        </pc:sldMkLst>
      </pc:sldChg>
      <pc:sldChg chg="addSp delSp modSp add ord replId">
        <pc:chgData name="Immanuel J Daniel" userId="S::immanuel.johnston.daniel@ie.ey.com::b9141605-49ff-443e-8af4-0c21e2766a66" providerId="AD" clId="Web-{62C1B4FA-36BD-9635-CB0D-1B0AE140B331}" dt="2023-08-14T11:19:44.783" v="295" actId="20577"/>
        <pc:sldMkLst>
          <pc:docMk/>
          <pc:sldMk cId="1903956241" sldId="2147479700"/>
        </pc:sldMkLst>
        <pc:spChg chg="del">
          <ac:chgData name="Immanuel J Daniel" userId="S::immanuel.johnston.daniel@ie.ey.com::b9141605-49ff-443e-8af4-0c21e2766a66" providerId="AD" clId="Web-{62C1B4FA-36BD-9635-CB0D-1B0AE140B331}" dt="2023-08-14T11:12:35.957" v="207"/>
          <ac:spMkLst>
            <pc:docMk/>
            <pc:sldMk cId="1903956241" sldId="2147479700"/>
            <ac:spMk id="3" creationId="{54653C93-EE7D-BEDF-D2B4-67B3FBB2F9ED}"/>
          </ac:spMkLst>
        </pc:spChg>
        <pc:spChg chg="mod">
          <ac:chgData name="Immanuel J Daniel" userId="S::immanuel.johnston.daniel@ie.ey.com::b9141605-49ff-443e-8af4-0c21e2766a66" providerId="AD" clId="Web-{62C1B4FA-36BD-9635-CB0D-1B0AE140B331}" dt="2023-08-14T11:12:49.848" v="210" actId="14100"/>
          <ac:spMkLst>
            <pc:docMk/>
            <pc:sldMk cId="1903956241" sldId="2147479700"/>
            <ac:spMk id="4" creationId="{E432C490-8501-4DEB-9800-36DD8F00D9DA}"/>
          </ac:spMkLst>
        </pc:spChg>
        <pc:spChg chg="mod">
          <ac:chgData name="Immanuel J Daniel" userId="S::immanuel.johnston.daniel@ie.ey.com::b9141605-49ff-443e-8af4-0c21e2766a66" providerId="AD" clId="Web-{62C1B4FA-36BD-9635-CB0D-1B0AE140B331}" dt="2023-08-14T11:12:20.863" v="193" actId="20577"/>
          <ac:spMkLst>
            <pc:docMk/>
            <pc:sldMk cId="1903956241" sldId="2147479700"/>
            <ac:spMk id="5" creationId="{82ACE101-9079-4B28-90D1-41FFC709BAB0}"/>
          </ac:spMkLst>
        </pc:spChg>
        <pc:spChg chg="add mod">
          <ac:chgData name="Immanuel J Daniel" userId="S::immanuel.johnston.daniel@ie.ey.com::b9141605-49ff-443e-8af4-0c21e2766a66" providerId="AD" clId="Web-{62C1B4FA-36BD-9635-CB0D-1B0AE140B331}" dt="2023-08-14T11:19:44.783" v="295" actId="20577"/>
          <ac:spMkLst>
            <pc:docMk/>
            <pc:sldMk cId="1903956241" sldId="2147479700"/>
            <ac:spMk id="6" creationId="{A104163C-10BE-ED50-8769-AC9DE558B860}"/>
          </ac:spMkLst>
        </pc:spChg>
      </pc:sldChg>
      <pc:sldChg chg="modSp add replId">
        <pc:chgData name="Immanuel J Daniel" userId="S::immanuel.johnston.daniel@ie.ey.com::b9141605-49ff-443e-8af4-0c21e2766a66" providerId="AD" clId="Web-{62C1B4FA-36BD-9635-CB0D-1B0AE140B331}" dt="2023-08-14T11:18:26.343" v="275" actId="20577"/>
        <pc:sldMkLst>
          <pc:docMk/>
          <pc:sldMk cId="1750436213" sldId="2147479701"/>
        </pc:sldMkLst>
        <pc:spChg chg="mod">
          <ac:chgData name="Immanuel J Daniel" userId="S::immanuel.johnston.daniel@ie.ey.com::b9141605-49ff-443e-8af4-0c21e2766a66" providerId="AD" clId="Web-{62C1B4FA-36BD-9635-CB0D-1B0AE140B331}" dt="2023-08-14T11:18:26.343" v="275" actId="20577"/>
          <ac:spMkLst>
            <pc:docMk/>
            <pc:sldMk cId="1750436213" sldId="2147479701"/>
            <ac:spMk id="4" creationId="{E432C490-8501-4DEB-9800-36DD8F00D9DA}"/>
          </ac:spMkLst>
        </pc:spChg>
      </pc:sldChg>
      <pc:sldChg chg="delSp modSp add replId">
        <pc:chgData name="Immanuel J Daniel" userId="S::immanuel.johnston.daniel@ie.ey.com::b9141605-49ff-443e-8af4-0c21e2766a66" providerId="AD" clId="Web-{62C1B4FA-36BD-9635-CB0D-1B0AE140B331}" dt="2023-08-14T11:23:30.305" v="337" actId="20577"/>
        <pc:sldMkLst>
          <pc:docMk/>
          <pc:sldMk cId="3795784735" sldId="2147479702"/>
        </pc:sldMkLst>
        <pc:spChg chg="mod">
          <ac:chgData name="Immanuel J Daniel" userId="S::immanuel.johnston.daniel@ie.ey.com::b9141605-49ff-443e-8af4-0c21e2766a66" providerId="AD" clId="Web-{62C1B4FA-36BD-9635-CB0D-1B0AE140B331}" dt="2023-08-14T11:23:26.508" v="335" actId="20577"/>
          <ac:spMkLst>
            <pc:docMk/>
            <pc:sldMk cId="3795784735" sldId="2147479702"/>
            <ac:spMk id="12" creationId="{F6E8B279-1398-B4F2-2F45-A63F0E17D8AD}"/>
          </ac:spMkLst>
        </pc:spChg>
        <pc:spChg chg="mod">
          <ac:chgData name="Immanuel J Daniel" userId="S::immanuel.johnston.daniel@ie.ey.com::b9141605-49ff-443e-8af4-0c21e2766a66" providerId="AD" clId="Web-{62C1B4FA-36BD-9635-CB0D-1B0AE140B331}" dt="2023-08-14T11:23:30.305" v="337" actId="20577"/>
          <ac:spMkLst>
            <pc:docMk/>
            <pc:sldMk cId="3795784735" sldId="2147479702"/>
            <ac:spMk id="13" creationId="{520F0468-A3AA-F93D-4825-530FAB52C9CB}"/>
          </ac:spMkLst>
        </pc:spChg>
        <pc:spChg chg="del">
          <ac:chgData name="Immanuel J Daniel" userId="S::immanuel.johnston.daniel@ie.ey.com::b9141605-49ff-443e-8af4-0c21e2766a66" providerId="AD" clId="Web-{62C1B4FA-36BD-9635-CB0D-1B0AE140B331}" dt="2023-08-14T11:23:17.258" v="320"/>
          <ac:spMkLst>
            <pc:docMk/>
            <pc:sldMk cId="3795784735" sldId="2147479702"/>
            <ac:spMk id="14" creationId="{B4783593-C7C6-BC3F-9B70-D8CAB693396E}"/>
          </ac:spMkLst>
        </pc:spChg>
      </pc:sldChg>
      <pc:sldChg chg="modSp add ord replId">
        <pc:chgData name="Immanuel J Daniel" userId="S::immanuel.johnston.daniel@ie.ey.com::b9141605-49ff-443e-8af4-0c21e2766a66" providerId="AD" clId="Web-{62C1B4FA-36BD-9635-CB0D-1B0AE140B331}" dt="2023-08-14T11:28:05.251" v="343" actId="20577"/>
        <pc:sldMkLst>
          <pc:docMk/>
          <pc:sldMk cId="3815144863" sldId="2147479703"/>
        </pc:sldMkLst>
        <pc:spChg chg="mod">
          <ac:chgData name="Immanuel J Daniel" userId="S::immanuel.johnston.daniel@ie.ey.com::b9141605-49ff-443e-8af4-0c21e2766a66" providerId="AD" clId="Web-{62C1B4FA-36BD-9635-CB0D-1B0AE140B331}" dt="2023-08-14T11:28:01.485" v="341" actId="20577"/>
          <ac:spMkLst>
            <pc:docMk/>
            <pc:sldMk cId="3815144863" sldId="2147479703"/>
            <ac:spMk id="12" creationId="{F6E8B279-1398-B4F2-2F45-A63F0E17D8AD}"/>
          </ac:spMkLst>
        </pc:spChg>
        <pc:spChg chg="mod">
          <ac:chgData name="Immanuel J Daniel" userId="S::immanuel.johnston.daniel@ie.ey.com::b9141605-49ff-443e-8af4-0c21e2766a66" providerId="AD" clId="Web-{62C1B4FA-36BD-9635-CB0D-1B0AE140B331}" dt="2023-08-14T11:28:05.251" v="343" actId="20577"/>
          <ac:spMkLst>
            <pc:docMk/>
            <pc:sldMk cId="3815144863" sldId="2147479703"/>
            <ac:spMk id="13" creationId="{520F0468-A3AA-F93D-4825-530FAB52C9CB}"/>
          </ac:spMkLst>
        </pc:spChg>
      </pc:sldChg>
      <pc:sldChg chg="modSp add replId">
        <pc:chgData name="Immanuel J Daniel" userId="S::immanuel.johnston.daniel@ie.ey.com::b9141605-49ff-443e-8af4-0c21e2766a66" providerId="AD" clId="Web-{62C1B4FA-36BD-9635-CB0D-1B0AE140B331}" dt="2023-08-14T11:30:23.614" v="357" actId="20577"/>
        <pc:sldMkLst>
          <pc:docMk/>
          <pc:sldMk cId="3479888010" sldId="2147479704"/>
        </pc:sldMkLst>
        <pc:spChg chg="mod">
          <ac:chgData name="Immanuel J Daniel" userId="S::immanuel.johnston.daniel@ie.ey.com::b9141605-49ff-443e-8af4-0c21e2766a66" providerId="AD" clId="Web-{62C1B4FA-36BD-9635-CB0D-1B0AE140B331}" dt="2023-08-14T11:30:23.614" v="357" actId="20577"/>
          <ac:spMkLst>
            <pc:docMk/>
            <pc:sldMk cId="3479888010" sldId="2147479704"/>
            <ac:spMk id="12" creationId="{F6E8B279-1398-B4F2-2F45-A63F0E17D8AD}"/>
          </ac:spMkLst>
        </pc:spChg>
        <pc:spChg chg="mod">
          <ac:chgData name="Immanuel J Daniel" userId="S::immanuel.johnston.daniel@ie.ey.com::b9141605-49ff-443e-8af4-0c21e2766a66" providerId="AD" clId="Web-{62C1B4FA-36BD-9635-CB0D-1B0AE140B331}" dt="2023-08-14T11:30:18.411" v="351" actId="20577"/>
          <ac:spMkLst>
            <pc:docMk/>
            <pc:sldMk cId="3479888010" sldId="2147479704"/>
            <ac:spMk id="13" creationId="{520F0468-A3AA-F93D-4825-530FAB52C9CB}"/>
          </ac:spMkLst>
        </pc:spChg>
      </pc:sldChg>
      <pc:sldChg chg="modSp">
        <pc:chgData name="Immanuel J Daniel" userId="S::immanuel.johnston.daniel@ie.ey.com::b9141605-49ff-443e-8af4-0c21e2766a66" providerId="AD" clId="Web-{62C1B4FA-36BD-9635-CB0D-1B0AE140B331}" dt="2023-08-14T13:49:24.484" v="491" actId="20577"/>
        <pc:sldMkLst>
          <pc:docMk/>
          <pc:sldMk cId="1787325071" sldId="2147479705"/>
        </pc:sldMkLst>
        <pc:spChg chg="mod">
          <ac:chgData name="Immanuel J Daniel" userId="S::immanuel.johnston.daniel@ie.ey.com::b9141605-49ff-443e-8af4-0c21e2766a66" providerId="AD" clId="Web-{62C1B4FA-36BD-9635-CB0D-1B0AE140B331}" dt="2023-08-14T13:49:24.484" v="491" actId="20577"/>
          <ac:spMkLst>
            <pc:docMk/>
            <pc:sldMk cId="1787325071" sldId="2147479705"/>
            <ac:spMk id="5" creationId="{82ACE101-9079-4B28-90D1-41FFC709BAB0}"/>
          </ac:spMkLst>
        </pc:spChg>
      </pc:sldChg>
      <pc:sldChg chg="addSp modSp new mod ord modClrScheme modShow chgLayout">
        <pc:chgData name="Immanuel J Daniel" userId="S::immanuel.johnston.daniel@ie.ey.com::b9141605-49ff-443e-8af4-0c21e2766a66" providerId="AD" clId="Web-{62C1B4FA-36BD-9635-CB0D-1B0AE140B331}" dt="2023-08-14T16:14:54.643" v="940"/>
        <pc:sldMkLst>
          <pc:docMk/>
          <pc:sldMk cId="2549583074" sldId="2147479706"/>
        </pc:sldMkLst>
        <pc:spChg chg="mod ord">
          <ac:chgData name="Immanuel J Daniel" userId="S::immanuel.johnston.daniel@ie.ey.com::b9141605-49ff-443e-8af4-0c21e2766a66" providerId="AD" clId="Web-{62C1B4FA-36BD-9635-CB0D-1B0AE140B331}" dt="2023-08-14T15:52:48.177" v="580" actId="20577"/>
          <ac:spMkLst>
            <pc:docMk/>
            <pc:sldMk cId="2549583074" sldId="2147479706"/>
            <ac:spMk id="2" creationId="{53990A39-2137-E42D-B11D-0D296ED4842F}"/>
          </ac:spMkLst>
        </pc:spChg>
        <pc:spChg chg="mod ord">
          <ac:chgData name="Immanuel J Daniel" userId="S::immanuel.johnston.daniel@ie.ey.com::b9141605-49ff-443e-8af4-0c21e2766a66" providerId="AD" clId="Web-{62C1B4FA-36BD-9635-CB0D-1B0AE140B331}" dt="2023-08-14T14:57:40.885" v="537" actId="20577"/>
          <ac:spMkLst>
            <pc:docMk/>
            <pc:sldMk cId="2549583074" sldId="2147479706"/>
            <ac:spMk id="3" creationId="{C8D1F6A7-0FF7-2EC0-2896-E296B0AAB623}"/>
          </ac:spMkLst>
        </pc:spChg>
        <pc:spChg chg="add mod ord">
          <ac:chgData name="Immanuel J Daniel" userId="S::immanuel.johnston.daniel@ie.ey.com::b9141605-49ff-443e-8af4-0c21e2766a66" providerId="AD" clId="Web-{62C1B4FA-36BD-9635-CB0D-1B0AE140B331}" dt="2023-08-14T14:57:33.401" v="531"/>
          <ac:spMkLst>
            <pc:docMk/>
            <pc:sldMk cId="2549583074" sldId="2147479706"/>
            <ac:spMk id="4" creationId="{C94D29FB-E78E-9E61-320A-D5CD123AEE0C}"/>
          </ac:spMkLst>
        </pc:spChg>
      </pc:sldChg>
    </pc:docChg>
  </pc:docChgLst>
  <pc:docChgLst>
    <pc:chgData name="Ahmed Helmy" userId="S::ahmed.helmy@ie.ey.com::00ab2dc9-190a-451b-8f35-a658adf790b2" providerId="AD" clId="Web-{EC1B3E62-9793-91F3-A304-97EDD442C7F6}"/>
    <pc:docChg chg="modSld">
      <pc:chgData name="Ahmed Helmy" userId="S::ahmed.helmy@ie.ey.com::00ab2dc9-190a-451b-8f35-a658adf790b2" providerId="AD" clId="Web-{EC1B3E62-9793-91F3-A304-97EDD442C7F6}" dt="2023-08-09T14:29:53.263" v="0" actId="20577"/>
      <pc:docMkLst>
        <pc:docMk/>
      </pc:docMkLst>
      <pc:sldChg chg="modSp">
        <pc:chgData name="Ahmed Helmy" userId="S::ahmed.helmy@ie.ey.com::00ab2dc9-190a-451b-8f35-a658adf790b2" providerId="AD" clId="Web-{EC1B3E62-9793-91F3-A304-97EDD442C7F6}" dt="2023-08-09T14:29:53.263" v="0" actId="20577"/>
        <pc:sldMkLst>
          <pc:docMk/>
          <pc:sldMk cId="523484127" sldId="2147479637"/>
        </pc:sldMkLst>
        <pc:spChg chg="mod">
          <ac:chgData name="Ahmed Helmy" userId="S::ahmed.helmy@ie.ey.com::00ab2dc9-190a-451b-8f35-a658adf790b2" providerId="AD" clId="Web-{EC1B3E62-9793-91F3-A304-97EDD442C7F6}" dt="2023-08-09T14:29:53.263" v="0" actId="20577"/>
          <ac:spMkLst>
            <pc:docMk/>
            <pc:sldMk cId="523484127" sldId="2147479637"/>
            <ac:spMk id="5" creationId="{4BE620CC-8970-9241-3629-C5327D229BB4}"/>
          </ac:spMkLst>
        </pc:spChg>
      </pc:sldChg>
    </pc:docChg>
  </pc:docChgLst>
  <pc:docChgLst>
    <pc:chgData name="Mick Mooney" userId="e6518e4e-af4a-4bea-b39c-20489a1e5519" providerId="ADAL" clId="{3014DE50-B07B-4776-BEAC-0F779D92A13E}"/>
    <pc:docChg chg="undo custSel addSld delSld modSld sldOrd modMainMaster delSection modSection">
      <pc:chgData name="Mick Mooney" userId="e6518e4e-af4a-4bea-b39c-20489a1e5519" providerId="ADAL" clId="{3014DE50-B07B-4776-BEAC-0F779D92A13E}" dt="2023-08-15T09:45:17.962" v="38517" actId="20577"/>
      <pc:docMkLst>
        <pc:docMk/>
      </pc:docMkLst>
      <pc:sldChg chg="modSp mod chgLayout">
        <pc:chgData name="Mick Mooney" userId="e6518e4e-af4a-4bea-b39c-20489a1e5519" providerId="ADAL" clId="{3014DE50-B07B-4776-BEAC-0F779D92A13E}" dt="2023-07-31T15:33:24.685" v="33145" actId="207"/>
        <pc:sldMkLst>
          <pc:docMk/>
          <pc:sldMk cId="1674630032" sldId="329"/>
        </pc:sldMkLst>
        <pc:spChg chg="mod ord replST delST">
          <ac:chgData name="Mick Mooney" userId="e6518e4e-af4a-4bea-b39c-20489a1e5519" providerId="ADAL" clId="{3014DE50-B07B-4776-BEAC-0F779D92A13E}" dt="2023-07-31T15:33:24.685" v="33145" actId="207"/>
          <ac:spMkLst>
            <pc:docMk/>
            <pc:sldMk cId="1674630032" sldId="329"/>
            <ac:spMk id="4" creationId="{1A081074-81FC-4714-8D93-75333A22E593}"/>
          </ac:spMkLst>
        </pc:spChg>
        <pc:spChg chg="mod ord">
          <ac:chgData name="Mick Mooney" userId="e6518e4e-af4a-4bea-b39c-20489a1e5519" providerId="ADAL" clId="{3014DE50-B07B-4776-BEAC-0F779D92A13E}" dt="2023-07-31T15:32:45.381" v="33127" actId="700"/>
          <ac:spMkLst>
            <pc:docMk/>
            <pc:sldMk cId="1674630032" sldId="329"/>
            <ac:spMk id="5" creationId="{39328D13-F5F8-4305-A1FC-87F650884996}"/>
          </ac:spMkLst>
        </pc:spChg>
        <pc:spChg chg="mod ord">
          <ac:chgData name="Mick Mooney" userId="e6518e4e-af4a-4bea-b39c-20489a1e5519" providerId="ADAL" clId="{3014DE50-B07B-4776-BEAC-0F779D92A13E}" dt="2023-07-31T15:32:45.381" v="33127" actId="700"/>
          <ac:spMkLst>
            <pc:docMk/>
            <pc:sldMk cId="1674630032" sldId="329"/>
            <ac:spMk id="7" creationId="{A1FFAB75-A413-4A35-89B6-60FCE70C20A1}"/>
          </ac:spMkLst>
        </pc:spChg>
      </pc:sldChg>
      <pc:sldChg chg="modSp mod">
        <pc:chgData name="Mick Mooney" userId="e6518e4e-af4a-4bea-b39c-20489a1e5519" providerId="ADAL" clId="{3014DE50-B07B-4776-BEAC-0F779D92A13E}" dt="2023-07-31T15:39:57.563" v="33380"/>
        <pc:sldMkLst>
          <pc:docMk/>
          <pc:sldMk cId="2692628411" sldId="728"/>
        </pc:sldMkLst>
        <pc:spChg chg="replST delST">
          <ac:chgData name="Mick Mooney" userId="e6518e4e-af4a-4bea-b39c-20489a1e5519" providerId="ADAL" clId="{3014DE50-B07B-4776-BEAC-0F779D92A13E}" dt="2023-07-31T15:39:48.509" v="33374"/>
          <ac:spMkLst>
            <pc:docMk/>
            <pc:sldMk cId="2692628411" sldId="728"/>
            <ac:spMk id="9" creationId="{00000000-0000-0000-0000-000000000000}"/>
          </ac:spMkLst>
        </pc:spChg>
        <pc:spChg chg="replST delST">
          <ac:chgData name="Mick Mooney" userId="e6518e4e-af4a-4bea-b39c-20489a1e5519" providerId="ADAL" clId="{3014DE50-B07B-4776-BEAC-0F779D92A13E}" dt="2023-07-31T15:39:57.563" v="33380"/>
          <ac:spMkLst>
            <pc:docMk/>
            <pc:sldMk cId="2692628411" sldId="728"/>
            <ac:spMk id="22" creationId="{00000000-0000-0000-0000-000000000000}"/>
          </ac:spMkLst>
        </pc:spChg>
      </pc:sldChg>
      <pc:sldChg chg="modSp mod">
        <pc:chgData name="Mick Mooney" userId="e6518e4e-af4a-4bea-b39c-20489a1e5519" providerId="ADAL" clId="{3014DE50-B07B-4776-BEAC-0F779D92A13E}" dt="2023-07-31T15:33:20.121" v="33142" actId="207"/>
        <pc:sldMkLst>
          <pc:docMk/>
          <pc:sldMk cId="3505510019" sldId="2142535109"/>
        </pc:sldMkLst>
        <pc:spChg chg="mod replST delST">
          <ac:chgData name="Mick Mooney" userId="e6518e4e-af4a-4bea-b39c-20489a1e5519" providerId="ADAL" clId="{3014DE50-B07B-4776-BEAC-0F779D92A13E}" dt="2023-07-31T15:33:20.121" v="33142" actId="207"/>
          <ac:spMkLst>
            <pc:docMk/>
            <pc:sldMk cId="3505510019" sldId="2142535109"/>
            <ac:spMk id="3" creationId="{54653C93-EE7D-BEDF-D2B4-67B3FBB2F9ED}"/>
          </ac:spMkLst>
        </pc:spChg>
        <pc:spChg chg="mod replST delST">
          <ac:chgData name="Mick Mooney" userId="e6518e4e-af4a-4bea-b39c-20489a1e5519" providerId="ADAL" clId="{3014DE50-B07B-4776-BEAC-0F779D92A13E}" dt="2023-07-31T15:33:17.366" v="33137" actId="207"/>
          <ac:spMkLst>
            <pc:docMk/>
            <pc:sldMk cId="3505510019" sldId="2142535109"/>
            <ac:spMk id="4" creationId="{E432C490-8501-4DEB-9800-36DD8F00D9DA}"/>
          </ac:spMkLst>
        </pc:spChg>
        <pc:spChg chg="mod replST delST">
          <ac:chgData name="Mick Mooney" userId="e6518e4e-af4a-4bea-b39c-20489a1e5519" providerId="ADAL" clId="{3014DE50-B07B-4776-BEAC-0F779D92A13E}" dt="2023-07-31T14:25:18.435" v="30706"/>
          <ac:spMkLst>
            <pc:docMk/>
            <pc:sldMk cId="3505510019" sldId="2142535109"/>
            <ac:spMk id="5" creationId="{82ACE101-9079-4B28-90D1-41FFC709BAB0}"/>
          </ac:spMkLst>
        </pc:spChg>
        <pc:spChg chg="mod">
          <ac:chgData name="Mick Mooney" userId="e6518e4e-af4a-4bea-b39c-20489a1e5519" providerId="ADAL" clId="{3014DE50-B07B-4776-BEAC-0F779D92A13E}" dt="2023-07-31T12:31:36.686" v="25410" actId="2711"/>
          <ac:spMkLst>
            <pc:docMk/>
            <pc:sldMk cId="3505510019" sldId="2142535109"/>
            <ac:spMk id="7" creationId="{33F269DE-0479-486E-87F7-03A541C10513}"/>
          </ac:spMkLst>
        </pc:spChg>
      </pc:sldChg>
      <pc:sldChg chg="addSp delSp modSp mod">
        <pc:chgData name="Mick Mooney" userId="e6518e4e-af4a-4bea-b39c-20489a1e5519" providerId="ADAL" clId="{3014DE50-B07B-4776-BEAC-0F779D92A13E}" dt="2023-07-31T16:36:23.269" v="33513" actId="208"/>
        <pc:sldMkLst>
          <pc:docMk/>
          <pc:sldMk cId="1569982749" sldId="2142535160"/>
        </pc:sldMkLst>
        <pc:spChg chg="mod replST delST">
          <ac:chgData name="Mick Mooney" userId="e6518e4e-af4a-4bea-b39c-20489a1e5519" providerId="ADAL" clId="{3014DE50-B07B-4776-BEAC-0F779D92A13E}" dt="2023-07-31T16:36:18.485" v="33507" actId="208"/>
          <ac:spMkLst>
            <pc:docMk/>
            <pc:sldMk cId="1569982749" sldId="2142535160"/>
            <ac:spMk id="2" creationId="{F6509F0A-76E8-327B-FC3F-309E67BA2FF6}"/>
          </ac:spMkLst>
        </pc:spChg>
        <pc:spChg chg="mod replST delST">
          <ac:chgData name="Mick Mooney" userId="e6518e4e-af4a-4bea-b39c-20489a1e5519" providerId="ADAL" clId="{3014DE50-B07B-4776-BEAC-0F779D92A13E}" dt="2023-07-31T16:04:41.747" v="33405"/>
          <ac:spMkLst>
            <pc:docMk/>
            <pc:sldMk cId="1569982749" sldId="2142535160"/>
            <ac:spMk id="3" creationId="{A8980307-3BD1-45D9-93CC-5318A49838A0}"/>
          </ac:spMkLst>
        </pc:spChg>
        <pc:spChg chg="mod replST delST">
          <ac:chgData name="Mick Mooney" userId="e6518e4e-af4a-4bea-b39c-20489a1e5519" providerId="ADAL" clId="{3014DE50-B07B-4776-BEAC-0F779D92A13E}" dt="2023-07-31T16:36:21.152" v="33510" actId="208"/>
          <ac:spMkLst>
            <pc:docMk/>
            <pc:sldMk cId="1569982749" sldId="2142535160"/>
            <ac:spMk id="4" creationId="{000C7826-6AF1-7E39-A47F-526D03FE600C}"/>
          </ac:spMkLst>
        </pc:spChg>
        <pc:spChg chg="del mod replST delST">
          <ac:chgData name="Mick Mooney" userId="e6518e4e-af4a-4bea-b39c-20489a1e5519" providerId="ADAL" clId="{3014DE50-B07B-4776-BEAC-0F779D92A13E}" dt="2023-07-22T14:26:08.253" v="8381" actId="478"/>
          <ac:spMkLst>
            <pc:docMk/>
            <pc:sldMk cId="1569982749" sldId="2142535160"/>
            <ac:spMk id="5" creationId="{8C5AF90F-51B0-6DA3-E6DF-5D2BAD359F61}"/>
          </ac:spMkLst>
        </pc:spChg>
        <pc:spChg chg="mod replST delST">
          <ac:chgData name="Mick Mooney" userId="e6518e4e-af4a-4bea-b39c-20489a1e5519" providerId="ADAL" clId="{3014DE50-B07B-4776-BEAC-0F779D92A13E}" dt="2023-07-31T16:36:23.269" v="33513" actId="208"/>
          <ac:spMkLst>
            <pc:docMk/>
            <pc:sldMk cId="1569982749" sldId="2142535160"/>
            <ac:spMk id="5" creationId="{A078B296-1339-EF0E-8B97-0A3F7D290E85}"/>
          </ac:spMkLst>
        </pc:spChg>
        <pc:spChg chg="add mod replST delST">
          <ac:chgData name="Mick Mooney" userId="e6518e4e-af4a-4bea-b39c-20489a1e5519" providerId="ADAL" clId="{3014DE50-B07B-4776-BEAC-0F779D92A13E}" dt="2023-07-31T16:36:15.010" v="33504" actId="208"/>
          <ac:spMkLst>
            <pc:docMk/>
            <pc:sldMk cId="1569982749" sldId="2142535160"/>
            <ac:spMk id="6" creationId="{EBEE682B-1E19-CF06-7594-CC49321CD03C}"/>
          </ac:spMkLst>
        </pc:spChg>
        <pc:spChg chg="mod">
          <ac:chgData name="Mick Mooney" userId="e6518e4e-af4a-4bea-b39c-20489a1e5519" providerId="ADAL" clId="{3014DE50-B07B-4776-BEAC-0F779D92A13E}" dt="2023-07-31T12:32:04.369" v="25414" actId="2711"/>
          <ac:spMkLst>
            <pc:docMk/>
            <pc:sldMk cId="1569982749" sldId="2142535160"/>
            <ac:spMk id="8" creationId="{1D656BE9-354F-4B79-B846-FC91C02D1A06}"/>
          </ac:spMkLst>
        </pc:spChg>
        <pc:spChg chg="mod replST delST">
          <ac:chgData name="Mick Mooney" userId="e6518e4e-af4a-4bea-b39c-20489a1e5519" providerId="ADAL" clId="{3014DE50-B07B-4776-BEAC-0F779D92A13E}" dt="2023-07-31T16:36:00.500" v="33490" actId="208"/>
          <ac:spMkLst>
            <pc:docMk/>
            <pc:sldMk cId="1569982749" sldId="2142535160"/>
            <ac:spMk id="40" creationId="{55B40B82-7AEB-4E80-8EF6-B341CDA3A308}"/>
          </ac:spMkLst>
        </pc:spChg>
        <pc:spChg chg="mod replST delST">
          <ac:chgData name="Mick Mooney" userId="e6518e4e-af4a-4bea-b39c-20489a1e5519" providerId="ADAL" clId="{3014DE50-B07B-4776-BEAC-0F779D92A13E}" dt="2023-07-31T16:36:02.576" v="33493" actId="208"/>
          <ac:spMkLst>
            <pc:docMk/>
            <pc:sldMk cId="1569982749" sldId="2142535160"/>
            <ac:spMk id="41" creationId="{B6D55723-E75F-4003-B079-9C36419AD28F}"/>
          </ac:spMkLst>
        </pc:spChg>
        <pc:spChg chg="mod replST delST">
          <ac:chgData name="Mick Mooney" userId="e6518e4e-af4a-4bea-b39c-20489a1e5519" providerId="ADAL" clId="{3014DE50-B07B-4776-BEAC-0F779D92A13E}" dt="2023-07-31T16:36:07.011" v="33496" actId="208"/>
          <ac:spMkLst>
            <pc:docMk/>
            <pc:sldMk cId="1569982749" sldId="2142535160"/>
            <ac:spMk id="42" creationId="{6FB47840-2903-46BB-8088-444E1E89EB9B}"/>
          </ac:spMkLst>
        </pc:spChg>
        <pc:spChg chg="mod replST delST">
          <ac:chgData name="Mick Mooney" userId="e6518e4e-af4a-4bea-b39c-20489a1e5519" providerId="ADAL" clId="{3014DE50-B07B-4776-BEAC-0F779D92A13E}" dt="2023-07-31T16:36:12.419" v="33501" actId="208"/>
          <ac:spMkLst>
            <pc:docMk/>
            <pc:sldMk cId="1569982749" sldId="2142535160"/>
            <ac:spMk id="43" creationId="{F70A18C1-6F7D-4357-8FFF-E2A5F5CE8D8F}"/>
          </ac:spMkLst>
        </pc:spChg>
      </pc:sldChg>
      <pc:sldChg chg="modSp del mod addCm delCm">
        <pc:chgData name="Mick Mooney" userId="e6518e4e-af4a-4bea-b39c-20489a1e5519" providerId="ADAL" clId="{3014DE50-B07B-4776-BEAC-0F779D92A13E}" dt="2023-07-25T18:11:54.826" v="15844" actId="2696"/>
        <pc:sldMkLst>
          <pc:docMk/>
          <pc:sldMk cId="2154391368" sldId="2142535213"/>
        </pc:sldMkLst>
        <pc:spChg chg="mod">
          <ac:chgData name="Mick Mooney" userId="e6518e4e-af4a-4bea-b39c-20489a1e5519" providerId="ADAL" clId="{3014DE50-B07B-4776-BEAC-0F779D92A13E}" dt="2023-07-22T14:31:12.039" v="8476"/>
          <ac:spMkLst>
            <pc:docMk/>
            <pc:sldMk cId="2154391368" sldId="2142535213"/>
            <ac:spMk id="5" creationId="{813B1C43-2AEA-4172-9E36-48BBA8301F9E}"/>
          </ac:spMkLst>
        </pc:spChg>
        <pc:spChg chg="replST delST">
          <ac:chgData name="Mick Mooney" userId="e6518e4e-af4a-4bea-b39c-20489a1e5519" providerId="ADAL" clId="{3014DE50-B07B-4776-BEAC-0F779D92A13E}" dt="2023-07-22T14:17:52.386" v="8079"/>
          <ac:spMkLst>
            <pc:docMk/>
            <pc:sldMk cId="2154391368" sldId="2142535213"/>
            <ac:spMk id="8" creationId="{7824D54C-15D2-467C-A016-166944D0781C}"/>
          </ac:spMkLst>
        </pc:spChg>
        <pc:spChg chg="mod">
          <ac:chgData name="Mick Mooney" userId="e6518e4e-af4a-4bea-b39c-20489a1e5519" providerId="ADAL" clId="{3014DE50-B07B-4776-BEAC-0F779D92A13E}" dt="2023-07-22T14:31:12.039" v="8476"/>
          <ac:spMkLst>
            <pc:docMk/>
            <pc:sldMk cId="2154391368" sldId="2142535213"/>
            <ac:spMk id="134" creationId="{C6FDF5D4-D6D4-4019-BB78-6C1A16E94160}"/>
          </ac:spMkLst>
        </pc:spChg>
        <pc:spChg chg="mod">
          <ac:chgData name="Mick Mooney" userId="e6518e4e-af4a-4bea-b39c-20489a1e5519" providerId="ADAL" clId="{3014DE50-B07B-4776-BEAC-0F779D92A13E}" dt="2023-07-22T14:31:12.039" v="8476"/>
          <ac:spMkLst>
            <pc:docMk/>
            <pc:sldMk cId="2154391368" sldId="2142535213"/>
            <ac:spMk id="137" creationId="{B51CC133-C72C-40AC-8D37-B7AA95129E52}"/>
          </ac:spMkLst>
        </pc:spChg>
        <pc:spChg chg="mod replST delST">
          <ac:chgData name="Mick Mooney" userId="e6518e4e-af4a-4bea-b39c-20489a1e5519" providerId="ADAL" clId="{3014DE50-B07B-4776-BEAC-0F779D92A13E}" dt="2023-07-22T11:41:26.869" v="3278"/>
          <ac:spMkLst>
            <pc:docMk/>
            <pc:sldMk cId="2154391368" sldId="2142535213"/>
            <ac:spMk id="191" creationId="{A60E4E8F-C185-43CB-B46D-D2A389AC55FF}"/>
          </ac:spMkLst>
        </pc:spChg>
      </pc:sldChg>
      <pc:sldChg chg="delSp modSp add mod ord">
        <pc:chgData name="Mick Mooney" userId="e6518e4e-af4a-4bea-b39c-20489a1e5519" providerId="ADAL" clId="{3014DE50-B07B-4776-BEAC-0F779D92A13E}" dt="2023-07-31T13:06:35.775" v="28795" actId="207"/>
        <pc:sldMkLst>
          <pc:docMk/>
          <pc:sldMk cId="1090918542" sldId="2142535214"/>
        </pc:sldMkLst>
        <pc:spChg chg="mod replST delST">
          <ac:chgData name="Mick Mooney" userId="e6518e4e-af4a-4bea-b39c-20489a1e5519" providerId="ADAL" clId="{3014DE50-B07B-4776-BEAC-0F779D92A13E}" dt="2023-07-31T13:06:35.775" v="28795" actId="207"/>
          <ac:spMkLst>
            <pc:docMk/>
            <pc:sldMk cId="1090918542" sldId="2142535214"/>
            <ac:spMk id="2" creationId="{8A50E309-2AC4-4303-B6FC-73EA888397AE}"/>
          </ac:spMkLst>
        </pc:spChg>
        <pc:spChg chg="mod replST delST">
          <ac:chgData name="Mick Mooney" userId="e6518e4e-af4a-4bea-b39c-20489a1e5519" providerId="ADAL" clId="{3014DE50-B07B-4776-BEAC-0F779D92A13E}" dt="2023-07-31T09:49:15.127" v="23329" actId="2711"/>
          <ac:spMkLst>
            <pc:docMk/>
            <pc:sldMk cId="1090918542" sldId="2142535214"/>
            <ac:spMk id="8" creationId="{7824D54C-15D2-467C-A016-166944D0781C}"/>
          </ac:spMkLst>
        </pc:spChg>
        <pc:picChg chg="mod">
          <ac:chgData name="Mick Mooney" userId="e6518e4e-af4a-4bea-b39c-20489a1e5519" providerId="ADAL" clId="{3014DE50-B07B-4776-BEAC-0F779D92A13E}" dt="2023-07-26T08:59:21.238" v="16610" actId="1076"/>
          <ac:picMkLst>
            <pc:docMk/>
            <pc:sldMk cId="1090918542" sldId="2142535214"/>
            <ac:picMk id="3" creationId="{4EA3783D-1429-48D7-808E-10169BEBF688}"/>
          </ac:picMkLst>
        </pc:picChg>
        <pc:picChg chg="del">
          <ac:chgData name="Mick Mooney" userId="e6518e4e-af4a-4bea-b39c-20489a1e5519" providerId="ADAL" clId="{3014DE50-B07B-4776-BEAC-0F779D92A13E}" dt="2023-07-25T16:08:56.210" v="13746" actId="478"/>
          <ac:picMkLst>
            <pc:docMk/>
            <pc:sldMk cId="1090918542" sldId="2142535214"/>
            <ac:picMk id="11" creationId="{D8E7A211-1ACC-43D9-A31E-629969C6BDC3}"/>
          </ac:picMkLst>
        </pc:picChg>
      </pc:sldChg>
      <pc:sldChg chg="delSp modSp mod">
        <pc:chgData name="Mick Mooney" userId="e6518e4e-af4a-4bea-b39c-20489a1e5519" providerId="ADAL" clId="{3014DE50-B07B-4776-BEAC-0F779D92A13E}" dt="2023-07-31T14:24:53.225" v="30704"/>
        <pc:sldMkLst>
          <pc:docMk/>
          <pc:sldMk cId="1500833212" sldId="2142535223"/>
        </pc:sldMkLst>
        <pc:spChg chg="mod replST delST">
          <ac:chgData name="Mick Mooney" userId="e6518e4e-af4a-4bea-b39c-20489a1e5519" providerId="ADAL" clId="{3014DE50-B07B-4776-BEAC-0F779D92A13E}" dt="2023-07-31T14:24:53.225" v="30704"/>
          <ac:spMkLst>
            <pc:docMk/>
            <pc:sldMk cId="1500833212" sldId="2142535223"/>
            <ac:spMk id="2" creationId="{90A2479D-7BB0-416C-B8C6-6F8A651B4A6C}"/>
          </ac:spMkLst>
        </pc:spChg>
        <pc:spChg chg="mod">
          <ac:chgData name="Mick Mooney" userId="e6518e4e-af4a-4bea-b39c-20489a1e5519" providerId="ADAL" clId="{3014DE50-B07B-4776-BEAC-0F779D92A13E}" dt="2023-07-31T12:31:43.131" v="25411" actId="2711"/>
          <ac:spMkLst>
            <pc:docMk/>
            <pc:sldMk cId="1500833212" sldId="2142535223"/>
            <ac:spMk id="3" creationId="{A4AC49E5-8716-5125-52EB-A87A1D07A368}"/>
          </ac:spMkLst>
        </pc:spChg>
        <pc:spChg chg="mod">
          <ac:chgData name="Mick Mooney" userId="e6518e4e-af4a-4bea-b39c-20489a1e5519" providerId="ADAL" clId="{3014DE50-B07B-4776-BEAC-0F779D92A13E}" dt="2023-07-31T12:31:43.131" v="25411" actId="2711"/>
          <ac:spMkLst>
            <pc:docMk/>
            <pc:sldMk cId="1500833212" sldId="2142535223"/>
            <ac:spMk id="4" creationId="{DC2C256F-4E7C-8633-B9C3-36E2B29CE1DB}"/>
          </ac:spMkLst>
        </pc:spChg>
        <pc:spChg chg="mod">
          <ac:chgData name="Mick Mooney" userId="e6518e4e-af4a-4bea-b39c-20489a1e5519" providerId="ADAL" clId="{3014DE50-B07B-4776-BEAC-0F779D92A13E}" dt="2023-07-31T12:31:43.131" v="25411" actId="2711"/>
          <ac:spMkLst>
            <pc:docMk/>
            <pc:sldMk cId="1500833212" sldId="2142535223"/>
            <ac:spMk id="5" creationId="{5DDD6489-C939-E2BF-ABDD-EF9E41FC8CF1}"/>
          </ac:spMkLst>
        </pc:spChg>
        <pc:spChg chg="mod">
          <ac:chgData name="Mick Mooney" userId="e6518e4e-af4a-4bea-b39c-20489a1e5519" providerId="ADAL" clId="{3014DE50-B07B-4776-BEAC-0F779D92A13E}" dt="2023-07-31T12:31:43.131" v="25411" actId="2711"/>
          <ac:spMkLst>
            <pc:docMk/>
            <pc:sldMk cId="1500833212" sldId="2142535223"/>
            <ac:spMk id="6" creationId="{EE8F8DA9-9BD3-71FD-4222-7F9D96D073C1}"/>
          </ac:spMkLst>
        </pc:spChg>
        <pc:spChg chg="mod">
          <ac:chgData name="Mick Mooney" userId="e6518e4e-af4a-4bea-b39c-20489a1e5519" providerId="ADAL" clId="{3014DE50-B07B-4776-BEAC-0F779D92A13E}" dt="2023-07-31T12:31:43.131" v="25411" actId="2711"/>
          <ac:spMkLst>
            <pc:docMk/>
            <pc:sldMk cId="1500833212" sldId="2142535223"/>
            <ac:spMk id="7" creationId="{63DDE9F0-82BC-4455-AF3E-5ABAA4DE5B29}"/>
          </ac:spMkLst>
        </pc:spChg>
        <pc:spChg chg="mod">
          <ac:chgData name="Mick Mooney" userId="e6518e4e-af4a-4bea-b39c-20489a1e5519" providerId="ADAL" clId="{3014DE50-B07B-4776-BEAC-0F779D92A13E}" dt="2023-07-31T12:31:43.131" v="25411" actId="2711"/>
          <ac:spMkLst>
            <pc:docMk/>
            <pc:sldMk cId="1500833212" sldId="2142535223"/>
            <ac:spMk id="8" creationId="{7824D54C-15D2-467C-A016-166944D0781C}"/>
          </ac:spMkLst>
        </pc:spChg>
        <pc:spChg chg="mod">
          <ac:chgData name="Mick Mooney" userId="e6518e4e-af4a-4bea-b39c-20489a1e5519" providerId="ADAL" clId="{3014DE50-B07B-4776-BEAC-0F779D92A13E}" dt="2023-07-31T12:31:43.131" v="25411" actId="2711"/>
          <ac:spMkLst>
            <pc:docMk/>
            <pc:sldMk cId="1500833212" sldId="2142535223"/>
            <ac:spMk id="9" creationId="{3CB27E45-D1C8-087D-E0A8-DF38FC3725B5}"/>
          </ac:spMkLst>
        </pc:spChg>
        <pc:spChg chg="mod">
          <ac:chgData name="Mick Mooney" userId="e6518e4e-af4a-4bea-b39c-20489a1e5519" providerId="ADAL" clId="{3014DE50-B07B-4776-BEAC-0F779D92A13E}" dt="2023-07-31T12:31:43.131" v="25411" actId="2711"/>
          <ac:spMkLst>
            <pc:docMk/>
            <pc:sldMk cId="1500833212" sldId="2142535223"/>
            <ac:spMk id="10" creationId="{BEB5A996-4551-CEE8-AFD6-49465D38EB69}"/>
          </ac:spMkLst>
        </pc:spChg>
        <pc:spChg chg="mod">
          <ac:chgData name="Mick Mooney" userId="e6518e4e-af4a-4bea-b39c-20489a1e5519" providerId="ADAL" clId="{3014DE50-B07B-4776-BEAC-0F779D92A13E}" dt="2023-07-31T12:31:43.131" v="25411" actId="2711"/>
          <ac:spMkLst>
            <pc:docMk/>
            <pc:sldMk cId="1500833212" sldId="2142535223"/>
            <ac:spMk id="11" creationId="{397DD911-8EC7-C5BC-C42B-FBE1006CF149}"/>
          </ac:spMkLst>
        </pc:spChg>
        <pc:picChg chg="del">
          <ac:chgData name="Mick Mooney" userId="e6518e4e-af4a-4bea-b39c-20489a1e5519" providerId="ADAL" clId="{3014DE50-B07B-4776-BEAC-0F779D92A13E}" dt="2023-07-22T11:49:27.331" v="3299" actId="478"/>
          <ac:picMkLst>
            <pc:docMk/>
            <pc:sldMk cId="1500833212" sldId="2142535223"/>
            <ac:picMk id="5" creationId="{0C06D989-7B3F-AB6C-B1EF-1BD69925B717}"/>
          </ac:picMkLst>
        </pc:picChg>
      </pc:sldChg>
      <pc:sldChg chg="add del">
        <pc:chgData name="Mick Mooney" userId="e6518e4e-af4a-4bea-b39c-20489a1e5519" providerId="ADAL" clId="{3014DE50-B07B-4776-BEAC-0F779D92A13E}" dt="2023-07-25T16:24:27.771" v="14012" actId="47"/>
        <pc:sldMkLst>
          <pc:docMk/>
          <pc:sldMk cId="744641018" sldId="2142535226"/>
        </pc:sldMkLst>
      </pc:sldChg>
      <pc:sldChg chg="modSp mod ord">
        <pc:chgData name="Mick Mooney" userId="e6518e4e-af4a-4bea-b39c-20489a1e5519" providerId="ADAL" clId="{3014DE50-B07B-4776-BEAC-0F779D92A13E}" dt="2023-07-31T13:07:08.874" v="28828" actId="207"/>
        <pc:sldMkLst>
          <pc:docMk/>
          <pc:sldMk cId="384520251" sldId="2142535228"/>
        </pc:sldMkLst>
        <pc:spChg chg="mod">
          <ac:chgData name="Mick Mooney" userId="e6518e4e-af4a-4bea-b39c-20489a1e5519" providerId="ADAL" clId="{3014DE50-B07B-4776-BEAC-0F779D92A13E}" dt="2023-07-31T09:50:30.138" v="23336" actId="2711"/>
          <ac:spMkLst>
            <pc:docMk/>
            <pc:sldMk cId="384520251" sldId="2142535228"/>
            <ac:spMk id="8" creationId="{7824D54C-15D2-467C-A016-166944D0781C}"/>
          </ac:spMkLst>
        </pc:spChg>
        <pc:spChg chg="mod replST delST">
          <ac:chgData name="Mick Mooney" userId="e6518e4e-af4a-4bea-b39c-20489a1e5519" providerId="ADAL" clId="{3014DE50-B07B-4776-BEAC-0F779D92A13E}" dt="2023-07-31T13:07:08.874" v="28828" actId="207"/>
          <ac:spMkLst>
            <pc:docMk/>
            <pc:sldMk cId="384520251" sldId="2142535228"/>
            <ac:spMk id="12" creationId="{109D79C5-CCE8-4017-B4E0-23CBC30C01C7}"/>
          </ac:spMkLst>
        </pc:spChg>
        <pc:picChg chg="mod">
          <ac:chgData name="Mick Mooney" userId="e6518e4e-af4a-4bea-b39c-20489a1e5519" providerId="ADAL" clId="{3014DE50-B07B-4776-BEAC-0F779D92A13E}" dt="2023-07-26T09:01:03.995" v="16685" actId="1076"/>
          <ac:picMkLst>
            <pc:docMk/>
            <pc:sldMk cId="384520251" sldId="2142535228"/>
            <ac:picMk id="7" creationId="{E0F7A291-4A0B-4241-86FD-C898D59A3B5A}"/>
          </ac:picMkLst>
        </pc:picChg>
      </pc:sldChg>
      <pc:sldChg chg="del">
        <pc:chgData name="Mick Mooney" userId="e6518e4e-af4a-4bea-b39c-20489a1e5519" providerId="ADAL" clId="{3014DE50-B07B-4776-BEAC-0F779D92A13E}" dt="2023-07-25T16:20:49.103" v="13985" actId="47"/>
        <pc:sldMkLst>
          <pc:docMk/>
          <pc:sldMk cId="2343093282" sldId="2142535231"/>
        </pc:sldMkLst>
      </pc:sldChg>
      <pc:sldChg chg="del">
        <pc:chgData name="Mick Mooney" userId="e6518e4e-af4a-4bea-b39c-20489a1e5519" providerId="ADAL" clId="{3014DE50-B07B-4776-BEAC-0F779D92A13E}" dt="2023-07-25T16:20:48.039" v="13984" actId="47"/>
        <pc:sldMkLst>
          <pc:docMk/>
          <pc:sldMk cId="932388999" sldId="2142535252"/>
        </pc:sldMkLst>
      </pc:sldChg>
      <pc:sldChg chg="delSp modSp add mod ord delCm">
        <pc:chgData name="Mick Mooney" userId="e6518e4e-af4a-4bea-b39c-20489a1e5519" providerId="ADAL" clId="{3014DE50-B07B-4776-BEAC-0F779D92A13E}" dt="2023-08-03T08:39:42.358" v="33870"/>
        <pc:sldMkLst>
          <pc:docMk/>
          <pc:sldMk cId="2995573744" sldId="2147472971"/>
        </pc:sldMkLst>
        <pc:spChg chg="mod">
          <ac:chgData name="Mick Mooney" userId="e6518e4e-af4a-4bea-b39c-20489a1e5519" providerId="ADAL" clId="{3014DE50-B07B-4776-BEAC-0F779D92A13E}" dt="2023-07-31T09:49:25.106" v="23330" actId="2711"/>
          <ac:spMkLst>
            <pc:docMk/>
            <pc:sldMk cId="2995573744" sldId="2147472971"/>
            <ac:spMk id="8" creationId="{60C1AB61-7B9D-4732-AF01-AD51822FF1E2}"/>
          </ac:spMkLst>
        </pc:spChg>
        <pc:spChg chg="mod">
          <ac:chgData name="Mick Mooney" userId="e6518e4e-af4a-4bea-b39c-20489a1e5519" providerId="ADAL" clId="{3014DE50-B07B-4776-BEAC-0F779D92A13E}" dt="2023-07-31T09:49:25.106" v="23330" actId="2711"/>
          <ac:spMkLst>
            <pc:docMk/>
            <pc:sldMk cId="2995573744" sldId="2147472971"/>
            <ac:spMk id="9" creationId="{8025C2A4-3C37-49E6-AC49-DBFBF164C7F8}"/>
          </ac:spMkLst>
        </pc:spChg>
        <pc:spChg chg="mod">
          <ac:chgData name="Mick Mooney" userId="e6518e4e-af4a-4bea-b39c-20489a1e5519" providerId="ADAL" clId="{3014DE50-B07B-4776-BEAC-0F779D92A13E}" dt="2023-07-31T09:49:25.106" v="23330" actId="2711"/>
          <ac:spMkLst>
            <pc:docMk/>
            <pc:sldMk cId="2995573744" sldId="2147472971"/>
            <ac:spMk id="10" creationId="{DFEBAFCF-E1D8-4816-AAC0-9A68C77D40AB}"/>
          </ac:spMkLst>
        </pc:spChg>
        <pc:spChg chg="mod">
          <ac:chgData name="Mick Mooney" userId="e6518e4e-af4a-4bea-b39c-20489a1e5519" providerId="ADAL" clId="{3014DE50-B07B-4776-BEAC-0F779D92A13E}" dt="2023-07-31T09:49:25.106" v="23330" actId="2711"/>
          <ac:spMkLst>
            <pc:docMk/>
            <pc:sldMk cId="2995573744" sldId="2147472971"/>
            <ac:spMk id="11" creationId="{607A6B33-3E69-4565-9905-44B6A124AE65}"/>
          </ac:spMkLst>
        </pc:spChg>
        <pc:spChg chg="mod replST delST">
          <ac:chgData name="Mick Mooney" userId="e6518e4e-af4a-4bea-b39c-20489a1e5519" providerId="ADAL" clId="{3014DE50-B07B-4776-BEAC-0F779D92A13E}" dt="2023-07-31T13:06:40.512" v="28800" actId="207"/>
          <ac:spMkLst>
            <pc:docMk/>
            <pc:sldMk cId="2995573744" sldId="2147472971"/>
            <ac:spMk id="14" creationId="{F4C26E3C-C13D-44CF-A615-A5236A7E17ED}"/>
          </ac:spMkLst>
        </pc:spChg>
        <pc:spChg chg="mod">
          <ac:chgData name="Mick Mooney" userId="e6518e4e-af4a-4bea-b39c-20489a1e5519" providerId="ADAL" clId="{3014DE50-B07B-4776-BEAC-0F779D92A13E}" dt="2023-07-31T09:49:25.106" v="23330" actId="2711"/>
          <ac:spMkLst>
            <pc:docMk/>
            <pc:sldMk cId="2995573744" sldId="2147472971"/>
            <ac:spMk id="19" creationId="{2520A62B-819D-4427-9350-604512B594DC}"/>
          </ac:spMkLst>
        </pc:spChg>
        <pc:spChg chg="mod">
          <ac:chgData name="Mick Mooney" userId="e6518e4e-af4a-4bea-b39c-20489a1e5519" providerId="ADAL" clId="{3014DE50-B07B-4776-BEAC-0F779D92A13E}" dt="2023-07-31T09:49:25.106" v="23330" actId="2711"/>
          <ac:spMkLst>
            <pc:docMk/>
            <pc:sldMk cId="2995573744" sldId="2147472971"/>
            <ac:spMk id="20" creationId="{10F7DB2F-1C63-439B-ACDE-FDFD783F13F3}"/>
          </ac:spMkLst>
        </pc:spChg>
        <pc:spChg chg="mod">
          <ac:chgData name="Mick Mooney" userId="e6518e4e-af4a-4bea-b39c-20489a1e5519" providerId="ADAL" clId="{3014DE50-B07B-4776-BEAC-0F779D92A13E}" dt="2023-07-31T09:49:25.106" v="23330" actId="2711"/>
          <ac:spMkLst>
            <pc:docMk/>
            <pc:sldMk cId="2995573744" sldId="2147472971"/>
            <ac:spMk id="21" creationId="{B1B3DBEF-E9AE-443E-A5D3-82886E3B49FF}"/>
          </ac:spMkLst>
        </pc:spChg>
        <pc:spChg chg="mod">
          <ac:chgData name="Mick Mooney" userId="e6518e4e-af4a-4bea-b39c-20489a1e5519" providerId="ADAL" clId="{3014DE50-B07B-4776-BEAC-0F779D92A13E}" dt="2023-07-31T09:49:25.106" v="23330" actId="2711"/>
          <ac:spMkLst>
            <pc:docMk/>
            <pc:sldMk cId="2995573744" sldId="2147472971"/>
            <ac:spMk id="26" creationId="{9916ADB1-3A9F-46A8-9B4B-D1903DDE3B17}"/>
          </ac:spMkLst>
        </pc:spChg>
        <pc:picChg chg="del">
          <ac:chgData name="Mick Mooney" userId="e6518e4e-af4a-4bea-b39c-20489a1e5519" providerId="ADAL" clId="{3014DE50-B07B-4776-BEAC-0F779D92A13E}" dt="2023-07-25T16:17:23.665" v="13928" actId="478"/>
          <ac:picMkLst>
            <pc:docMk/>
            <pc:sldMk cId="2995573744" sldId="2147472971"/>
            <ac:picMk id="22" creationId="{2B9B77D9-A233-4523-A64E-0A9E2F0D80D5}"/>
          </ac:picMkLst>
        </pc:picChg>
      </pc:sldChg>
      <pc:sldChg chg="delSp modSp add mod ord">
        <pc:chgData name="Mick Mooney" userId="e6518e4e-af4a-4bea-b39c-20489a1e5519" providerId="ADAL" clId="{3014DE50-B07B-4776-BEAC-0F779D92A13E}" dt="2023-07-31T13:06:47.845" v="28805" actId="207"/>
        <pc:sldMkLst>
          <pc:docMk/>
          <pc:sldMk cId="255980037" sldId="2147472972"/>
        </pc:sldMkLst>
        <pc:spChg chg="mod">
          <ac:chgData name="Mick Mooney" userId="e6518e4e-af4a-4bea-b39c-20489a1e5519" providerId="ADAL" clId="{3014DE50-B07B-4776-BEAC-0F779D92A13E}" dt="2023-07-31T09:49:34.741" v="23331" actId="2711"/>
          <ac:spMkLst>
            <pc:docMk/>
            <pc:sldMk cId="255980037" sldId="2147472972"/>
            <ac:spMk id="7" creationId="{3CA9FFA4-95E2-4AE6-A746-790250C06C0C}"/>
          </ac:spMkLst>
        </pc:spChg>
        <pc:spChg chg="mod">
          <ac:chgData name="Mick Mooney" userId="e6518e4e-af4a-4bea-b39c-20489a1e5519" providerId="ADAL" clId="{3014DE50-B07B-4776-BEAC-0F779D92A13E}" dt="2023-07-31T09:49:34.741" v="23331" actId="2711"/>
          <ac:spMkLst>
            <pc:docMk/>
            <pc:sldMk cId="255980037" sldId="2147472972"/>
            <ac:spMk id="17" creationId="{0CB1FD82-D503-41C5-B816-948600E7BF7A}"/>
          </ac:spMkLst>
        </pc:spChg>
        <pc:spChg chg="mod">
          <ac:chgData name="Mick Mooney" userId="e6518e4e-af4a-4bea-b39c-20489a1e5519" providerId="ADAL" clId="{3014DE50-B07B-4776-BEAC-0F779D92A13E}" dt="2023-07-31T09:49:34.741" v="23331" actId="2711"/>
          <ac:spMkLst>
            <pc:docMk/>
            <pc:sldMk cId="255980037" sldId="2147472972"/>
            <ac:spMk id="18" creationId="{72B56B21-84B4-44CA-89FF-57F1024989B2}"/>
          </ac:spMkLst>
        </pc:spChg>
        <pc:spChg chg="mod">
          <ac:chgData name="Mick Mooney" userId="e6518e4e-af4a-4bea-b39c-20489a1e5519" providerId="ADAL" clId="{3014DE50-B07B-4776-BEAC-0F779D92A13E}" dt="2023-07-31T09:49:34.741" v="23331" actId="2711"/>
          <ac:spMkLst>
            <pc:docMk/>
            <pc:sldMk cId="255980037" sldId="2147472972"/>
            <ac:spMk id="19" creationId="{CD6CA3EF-926A-4110-ADC0-3318C0FE5FB5}"/>
          </ac:spMkLst>
        </pc:spChg>
        <pc:spChg chg="mod replST delST">
          <ac:chgData name="Mick Mooney" userId="e6518e4e-af4a-4bea-b39c-20489a1e5519" providerId="ADAL" clId="{3014DE50-B07B-4776-BEAC-0F779D92A13E}" dt="2023-07-31T13:06:47.845" v="28805" actId="207"/>
          <ac:spMkLst>
            <pc:docMk/>
            <pc:sldMk cId="255980037" sldId="2147472972"/>
            <ac:spMk id="54" creationId="{C016E170-B43C-497B-8794-376E25CAA1BE}"/>
          </ac:spMkLst>
        </pc:spChg>
        <pc:spChg chg="mod">
          <ac:chgData name="Mick Mooney" userId="e6518e4e-af4a-4bea-b39c-20489a1e5519" providerId="ADAL" clId="{3014DE50-B07B-4776-BEAC-0F779D92A13E}" dt="2023-07-31T09:49:34.741" v="23331" actId="2711"/>
          <ac:spMkLst>
            <pc:docMk/>
            <pc:sldMk cId="255980037" sldId="2147472972"/>
            <ac:spMk id="57" creationId="{0AA75384-FE52-4B4A-AF69-168014780E96}"/>
          </ac:spMkLst>
        </pc:spChg>
        <pc:spChg chg="mod">
          <ac:chgData name="Mick Mooney" userId="e6518e4e-af4a-4bea-b39c-20489a1e5519" providerId="ADAL" clId="{3014DE50-B07B-4776-BEAC-0F779D92A13E}" dt="2023-07-31T09:49:34.741" v="23331" actId="2711"/>
          <ac:spMkLst>
            <pc:docMk/>
            <pc:sldMk cId="255980037" sldId="2147472972"/>
            <ac:spMk id="58" creationId="{21055A3F-7131-4606-8957-8C51E1AE8E0F}"/>
          </ac:spMkLst>
        </pc:spChg>
        <pc:spChg chg="mod">
          <ac:chgData name="Mick Mooney" userId="e6518e4e-af4a-4bea-b39c-20489a1e5519" providerId="ADAL" clId="{3014DE50-B07B-4776-BEAC-0F779D92A13E}" dt="2023-07-31T09:49:34.741" v="23331" actId="2711"/>
          <ac:spMkLst>
            <pc:docMk/>
            <pc:sldMk cId="255980037" sldId="2147472972"/>
            <ac:spMk id="59" creationId="{A20C7613-B33C-498F-ADB1-7BC599DA3953}"/>
          </ac:spMkLst>
        </pc:spChg>
        <pc:spChg chg="mod">
          <ac:chgData name="Mick Mooney" userId="e6518e4e-af4a-4bea-b39c-20489a1e5519" providerId="ADAL" clId="{3014DE50-B07B-4776-BEAC-0F779D92A13E}" dt="2023-07-31T09:49:34.741" v="23331" actId="2711"/>
          <ac:spMkLst>
            <pc:docMk/>
            <pc:sldMk cId="255980037" sldId="2147472972"/>
            <ac:spMk id="60" creationId="{A57EEBBC-118F-4C1C-96D4-9D5DBA2E039F}"/>
          </ac:spMkLst>
        </pc:spChg>
        <pc:picChg chg="del">
          <ac:chgData name="Mick Mooney" userId="e6518e4e-af4a-4bea-b39c-20489a1e5519" providerId="ADAL" clId="{3014DE50-B07B-4776-BEAC-0F779D92A13E}" dt="2023-07-25T16:17:25.733" v="13929" actId="478"/>
          <ac:picMkLst>
            <pc:docMk/>
            <pc:sldMk cId="255980037" sldId="2147472972"/>
            <ac:picMk id="22" creationId="{11A04FCC-6FF0-4C70-8014-FAE634C9D4D7}"/>
          </ac:picMkLst>
        </pc:picChg>
      </pc:sldChg>
      <pc:sldChg chg="delSp modSp add mod ord">
        <pc:chgData name="Mick Mooney" userId="e6518e4e-af4a-4bea-b39c-20489a1e5519" providerId="ADAL" clId="{3014DE50-B07B-4776-BEAC-0F779D92A13E}" dt="2023-07-31T13:06:51.649" v="28810" actId="207"/>
        <pc:sldMkLst>
          <pc:docMk/>
          <pc:sldMk cId="1374538530" sldId="2147472973"/>
        </pc:sldMkLst>
        <pc:spChg chg="mod">
          <ac:chgData name="Mick Mooney" userId="e6518e4e-af4a-4bea-b39c-20489a1e5519" providerId="ADAL" clId="{3014DE50-B07B-4776-BEAC-0F779D92A13E}" dt="2023-07-31T09:49:43.310" v="23332" actId="2711"/>
          <ac:spMkLst>
            <pc:docMk/>
            <pc:sldMk cId="1374538530" sldId="2147472973"/>
            <ac:spMk id="42" creationId="{7A2A1567-4D86-4A9F-BD55-A3B8F6944A83}"/>
          </ac:spMkLst>
        </pc:spChg>
        <pc:spChg chg="mod replST delST">
          <ac:chgData name="Mick Mooney" userId="e6518e4e-af4a-4bea-b39c-20489a1e5519" providerId="ADAL" clId="{3014DE50-B07B-4776-BEAC-0F779D92A13E}" dt="2023-07-31T13:06:51.649" v="28810" actId="207"/>
          <ac:spMkLst>
            <pc:docMk/>
            <pc:sldMk cId="1374538530" sldId="2147472973"/>
            <ac:spMk id="43" creationId="{0B72E9CB-889A-49ED-BA6F-4FA66D5CEC56}"/>
          </ac:spMkLst>
        </pc:spChg>
        <pc:spChg chg="mod">
          <ac:chgData name="Mick Mooney" userId="e6518e4e-af4a-4bea-b39c-20489a1e5519" providerId="ADAL" clId="{3014DE50-B07B-4776-BEAC-0F779D92A13E}" dt="2023-07-31T09:49:43.310" v="23332" actId="2711"/>
          <ac:spMkLst>
            <pc:docMk/>
            <pc:sldMk cId="1374538530" sldId="2147472973"/>
            <ac:spMk id="44" creationId="{40708CD4-1B34-4F5C-ADCA-9F8E71BFC488}"/>
          </ac:spMkLst>
        </pc:spChg>
        <pc:spChg chg="mod">
          <ac:chgData name="Mick Mooney" userId="e6518e4e-af4a-4bea-b39c-20489a1e5519" providerId="ADAL" clId="{3014DE50-B07B-4776-BEAC-0F779D92A13E}" dt="2023-07-31T09:49:43.310" v="23332" actId="2711"/>
          <ac:spMkLst>
            <pc:docMk/>
            <pc:sldMk cId="1374538530" sldId="2147472973"/>
            <ac:spMk id="46" creationId="{18021D37-0390-49B1-BFF5-E4E086F2910B}"/>
          </ac:spMkLst>
        </pc:spChg>
        <pc:spChg chg="mod">
          <ac:chgData name="Mick Mooney" userId="e6518e4e-af4a-4bea-b39c-20489a1e5519" providerId="ADAL" clId="{3014DE50-B07B-4776-BEAC-0F779D92A13E}" dt="2023-07-31T09:49:43.310" v="23332" actId="2711"/>
          <ac:spMkLst>
            <pc:docMk/>
            <pc:sldMk cId="1374538530" sldId="2147472973"/>
            <ac:spMk id="47" creationId="{C8F03D23-7AFC-41EF-A872-615941D47F3F}"/>
          </ac:spMkLst>
        </pc:spChg>
        <pc:spChg chg="mod">
          <ac:chgData name="Mick Mooney" userId="e6518e4e-af4a-4bea-b39c-20489a1e5519" providerId="ADAL" clId="{3014DE50-B07B-4776-BEAC-0F779D92A13E}" dt="2023-07-31T09:49:43.310" v="23332" actId="2711"/>
          <ac:spMkLst>
            <pc:docMk/>
            <pc:sldMk cId="1374538530" sldId="2147472973"/>
            <ac:spMk id="48" creationId="{CDA33BBC-470B-4979-88E9-9192F32024B8}"/>
          </ac:spMkLst>
        </pc:spChg>
        <pc:spChg chg="mod">
          <ac:chgData name="Mick Mooney" userId="e6518e4e-af4a-4bea-b39c-20489a1e5519" providerId="ADAL" clId="{3014DE50-B07B-4776-BEAC-0F779D92A13E}" dt="2023-07-31T09:49:43.310" v="23332" actId="2711"/>
          <ac:spMkLst>
            <pc:docMk/>
            <pc:sldMk cId="1374538530" sldId="2147472973"/>
            <ac:spMk id="49" creationId="{DFF2444D-0748-41B2-9083-3D80672757AA}"/>
          </ac:spMkLst>
        </pc:spChg>
        <pc:spChg chg="mod">
          <ac:chgData name="Mick Mooney" userId="e6518e4e-af4a-4bea-b39c-20489a1e5519" providerId="ADAL" clId="{3014DE50-B07B-4776-BEAC-0F779D92A13E}" dt="2023-07-31T09:49:43.310" v="23332" actId="2711"/>
          <ac:spMkLst>
            <pc:docMk/>
            <pc:sldMk cId="1374538530" sldId="2147472973"/>
            <ac:spMk id="50" creationId="{7237A51C-699B-49AC-96CA-34875D919FA3}"/>
          </ac:spMkLst>
        </pc:spChg>
        <pc:spChg chg="mod">
          <ac:chgData name="Mick Mooney" userId="e6518e4e-af4a-4bea-b39c-20489a1e5519" providerId="ADAL" clId="{3014DE50-B07B-4776-BEAC-0F779D92A13E}" dt="2023-07-31T09:49:43.310" v="23332" actId="2711"/>
          <ac:spMkLst>
            <pc:docMk/>
            <pc:sldMk cId="1374538530" sldId="2147472973"/>
            <ac:spMk id="51" creationId="{AC0FB360-512C-4266-875A-2A8FD3174718}"/>
          </ac:spMkLst>
        </pc:spChg>
        <pc:picChg chg="del">
          <ac:chgData name="Mick Mooney" userId="e6518e4e-af4a-4bea-b39c-20489a1e5519" providerId="ADAL" clId="{3014DE50-B07B-4776-BEAC-0F779D92A13E}" dt="2023-07-25T16:17:27.645" v="13930" actId="478"/>
          <ac:picMkLst>
            <pc:docMk/>
            <pc:sldMk cId="1374538530" sldId="2147472973"/>
            <ac:picMk id="18" creationId="{7DCDC9C6-0047-4807-B492-EE365E49F530}"/>
          </ac:picMkLst>
        </pc:picChg>
      </pc:sldChg>
      <pc:sldChg chg="delSp modSp add mod ord">
        <pc:chgData name="Mick Mooney" userId="e6518e4e-af4a-4bea-b39c-20489a1e5519" providerId="ADAL" clId="{3014DE50-B07B-4776-BEAC-0F779D92A13E}" dt="2023-07-31T13:06:55.857" v="28815" actId="207"/>
        <pc:sldMkLst>
          <pc:docMk/>
          <pc:sldMk cId="1389044736" sldId="2147472974"/>
        </pc:sldMkLst>
        <pc:spChg chg="mod">
          <ac:chgData name="Mick Mooney" userId="e6518e4e-af4a-4bea-b39c-20489a1e5519" providerId="ADAL" clId="{3014DE50-B07B-4776-BEAC-0F779D92A13E}" dt="2023-07-31T09:49:53.051" v="23333" actId="2711"/>
          <ac:spMkLst>
            <pc:docMk/>
            <pc:sldMk cId="1389044736" sldId="2147472974"/>
            <ac:spMk id="31" creationId="{266AADAC-213F-42B0-9017-330E1ACF7361}"/>
          </ac:spMkLst>
        </pc:spChg>
        <pc:spChg chg="mod replST delST">
          <ac:chgData name="Mick Mooney" userId="e6518e4e-af4a-4bea-b39c-20489a1e5519" providerId="ADAL" clId="{3014DE50-B07B-4776-BEAC-0F779D92A13E}" dt="2023-07-31T13:06:55.857" v="28815" actId="207"/>
          <ac:spMkLst>
            <pc:docMk/>
            <pc:sldMk cId="1389044736" sldId="2147472974"/>
            <ac:spMk id="32" creationId="{598102A4-A5A8-4A7F-9343-CB4B666F5D46}"/>
          </ac:spMkLst>
        </pc:spChg>
        <pc:spChg chg="mod">
          <ac:chgData name="Mick Mooney" userId="e6518e4e-af4a-4bea-b39c-20489a1e5519" providerId="ADAL" clId="{3014DE50-B07B-4776-BEAC-0F779D92A13E}" dt="2023-07-31T09:49:53.051" v="23333" actId="2711"/>
          <ac:spMkLst>
            <pc:docMk/>
            <pc:sldMk cId="1389044736" sldId="2147472974"/>
            <ac:spMk id="33" creationId="{5654E8A2-1FCC-4911-8BA7-12B1FFBA4E80}"/>
          </ac:spMkLst>
        </pc:spChg>
        <pc:spChg chg="mod">
          <ac:chgData name="Mick Mooney" userId="e6518e4e-af4a-4bea-b39c-20489a1e5519" providerId="ADAL" clId="{3014DE50-B07B-4776-BEAC-0F779D92A13E}" dt="2023-07-31T09:49:53.051" v="23333" actId="2711"/>
          <ac:spMkLst>
            <pc:docMk/>
            <pc:sldMk cId="1389044736" sldId="2147472974"/>
            <ac:spMk id="35" creationId="{1D844D77-8344-4662-A545-0479C696B9B1}"/>
          </ac:spMkLst>
        </pc:spChg>
        <pc:spChg chg="mod">
          <ac:chgData name="Mick Mooney" userId="e6518e4e-af4a-4bea-b39c-20489a1e5519" providerId="ADAL" clId="{3014DE50-B07B-4776-BEAC-0F779D92A13E}" dt="2023-07-31T09:49:53.051" v="23333" actId="2711"/>
          <ac:spMkLst>
            <pc:docMk/>
            <pc:sldMk cId="1389044736" sldId="2147472974"/>
            <ac:spMk id="36" creationId="{0E0201E2-B126-4229-8260-044505A30EA2}"/>
          </ac:spMkLst>
        </pc:spChg>
        <pc:spChg chg="mod">
          <ac:chgData name="Mick Mooney" userId="e6518e4e-af4a-4bea-b39c-20489a1e5519" providerId="ADAL" clId="{3014DE50-B07B-4776-BEAC-0F779D92A13E}" dt="2023-07-31T09:49:53.051" v="23333" actId="2711"/>
          <ac:spMkLst>
            <pc:docMk/>
            <pc:sldMk cId="1389044736" sldId="2147472974"/>
            <ac:spMk id="37" creationId="{B0665B52-1C2A-47BB-9E65-C91FB6549EEC}"/>
          </ac:spMkLst>
        </pc:spChg>
        <pc:spChg chg="mod">
          <ac:chgData name="Mick Mooney" userId="e6518e4e-af4a-4bea-b39c-20489a1e5519" providerId="ADAL" clId="{3014DE50-B07B-4776-BEAC-0F779D92A13E}" dt="2023-07-31T09:49:53.051" v="23333" actId="2711"/>
          <ac:spMkLst>
            <pc:docMk/>
            <pc:sldMk cId="1389044736" sldId="2147472974"/>
            <ac:spMk id="38" creationId="{C4AF990C-959B-4614-B03D-48DBF06E93D9}"/>
          </ac:spMkLst>
        </pc:spChg>
        <pc:spChg chg="mod">
          <ac:chgData name="Mick Mooney" userId="e6518e4e-af4a-4bea-b39c-20489a1e5519" providerId="ADAL" clId="{3014DE50-B07B-4776-BEAC-0F779D92A13E}" dt="2023-07-31T09:49:53.051" v="23333" actId="2711"/>
          <ac:spMkLst>
            <pc:docMk/>
            <pc:sldMk cId="1389044736" sldId="2147472974"/>
            <ac:spMk id="39" creationId="{582E976D-7A37-4DD6-A4BC-5F1BA0FF822C}"/>
          </ac:spMkLst>
        </pc:spChg>
        <pc:spChg chg="mod">
          <ac:chgData name="Mick Mooney" userId="e6518e4e-af4a-4bea-b39c-20489a1e5519" providerId="ADAL" clId="{3014DE50-B07B-4776-BEAC-0F779D92A13E}" dt="2023-07-31T09:49:53.051" v="23333" actId="2711"/>
          <ac:spMkLst>
            <pc:docMk/>
            <pc:sldMk cId="1389044736" sldId="2147472974"/>
            <ac:spMk id="40" creationId="{ED5DDB61-3C35-4FE1-BE46-6069B2703B98}"/>
          </ac:spMkLst>
        </pc:spChg>
        <pc:picChg chg="del">
          <ac:chgData name="Mick Mooney" userId="e6518e4e-af4a-4bea-b39c-20489a1e5519" providerId="ADAL" clId="{3014DE50-B07B-4776-BEAC-0F779D92A13E}" dt="2023-07-25T16:17:29.648" v="13931" actId="478"/>
          <ac:picMkLst>
            <pc:docMk/>
            <pc:sldMk cId="1389044736" sldId="2147472974"/>
            <ac:picMk id="16" creationId="{6E95BEF7-7F24-48DC-A8C3-6BA9660512A7}"/>
          </ac:picMkLst>
        </pc:picChg>
      </pc:sldChg>
      <pc:sldChg chg="delSp modSp add mod ord">
        <pc:chgData name="Mick Mooney" userId="e6518e4e-af4a-4bea-b39c-20489a1e5519" providerId="ADAL" clId="{3014DE50-B07B-4776-BEAC-0F779D92A13E}" dt="2023-07-31T13:07:00.854" v="28820" actId="207"/>
        <pc:sldMkLst>
          <pc:docMk/>
          <pc:sldMk cId="1018351694" sldId="2147472975"/>
        </pc:sldMkLst>
        <pc:spChg chg="mod">
          <ac:chgData name="Mick Mooney" userId="e6518e4e-af4a-4bea-b39c-20489a1e5519" providerId="ADAL" clId="{3014DE50-B07B-4776-BEAC-0F779D92A13E}" dt="2023-07-31T09:50:02.184" v="23334" actId="2711"/>
          <ac:spMkLst>
            <pc:docMk/>
            <pc:sldMk cId="1018351694" sldId="2147472975"/>
            <ac:spMk id="38" creationId="{86C9DCA3-438A-49EB-92E1-A53AAEA18134}"/>
          </ac:spMkLst>
        </pc:spChg>
        <pc:spChg chg="mod replST delST">
          <ac:chgData name="Mick Mooney" userId="e6518e4e-af4a-4bea-b39c-20489a1e5519" providerId="ADAL" clId="{3014DE50-B07B-4776-BEAC-0F779D92A13E}" dt="2023-07-31T13:07:00.854" v="28820" actId="207"/>
          <ac:spMkLst>
            <pc:docMk/>
            <pc:sldMk cId="1018351694" sldId="2147472975"/>
            <ac:spMk id="39" creationId="{2F758893-5C2F-420F-B109-308296351634}"/>
          </ac:spMkLst>
        </pc:spChg>
        <pc:spChg chg="mod">
          <ac:chgData name="Mick Mooney" userId="e6518e4e-af4a-4bea-b39c-20489a1e5519" providerId="ADAL" clId="{3014DE50-B07B-4776-BEAC-0F779D92A13E}" dt="2023-07-31T09:50:02.184" v="23334" actId="2711"/>
          <ac:spMkLst>
            <pc:docMk/>
            <pc:sldMk cId="1018351694" sldId="2147472975"/>
            <ac:spMk id="40" creationId="{8D7F5519-B9A5-4B98-BF90-A8950CD91FD8}"/>
          </ac:spMkLst>
        </pc:spChg>
        <pc:spChg chg="mod">
          <ac:chgData name="Mick Mooney" userId="e6518e4e-af4a-4bea-b39c-20489a1e5519" providerId="ADAL" clId="{3014DE50-B07B-4776-BEAC-0F779D92A13E}" dt="2023-07-31T09:50:02.184" v="23334" actId="2711"/>
          <ac:spMkLst>
            <pc:docMk/>
            <pc:sldMk cId="1018351694" sldId="2147472975"/>
            <ac:spMk id="42" creationId="{B5B84A48-0393-4F3A-ADB4-D63AE8A21562}"/>
          </ac:spMkLst>
        </pc:spChg>
        <pc:spChg chg="mod">
          <ac:chgData name="Mick Mooney" userId="e6518e4e-af4a-4bea-b39c-20489a1e5519" providerId="ADAL" clId="{3014DE50-B07B-4776-BEAC-0F779D92A13E}" dt="2023-07-31T09:50:02.184" v="23334" actId="2711"/>
          <ac:spMkLst>
            <pc:docMk/>
            <pc:sldMk cId="1018351694" sldId="2147472975"/>
            <ac:spMk id="43" creationId="{59C4EDA0-C605-4DC0-8F46-77EC237836CD}"/>
          </ac:spMkLst>
        </pc:spChg>
        <pc:spChg chg="mod">
          <ac:chgData name="Mick Mooney" userId="e6518e4e-af4a-4bea-b39c-20489a1e5519" providerId="ADAL" clId="{3014DE50-B07B-4776-BEAC-0F779D92A13E}" dt="2023-07-31T09:50:02.184" v="23334" actId="2711"/>
          <ac:spMkLst>
            <pc:docMk/>
            <pc:sldMk cId="1018351694" sldId="2147472975"/>
            <ac:spMk id="44" creationId="{36729384-0A67-4899-95E2-755F7DC6F032}"/>
          </ac:spMkLst>
        </pc:spChg>
        <pc:spChg chg="mod">
          <ac:chgData name="Mick Mooney" userId="e6518e4e-af4a-4bea-b39c-20489a1e5519" providerId="ADAL" clId="{3014DE50-B07B-4776-BEAC-0F779D92A13E}" dt="2023-07-31T09:50:02.184" v="23334" actId="2711"/>
          <ac:spMkLst>
            <pc:docMk/>
            <pc:sldMk cId="1018351694" sldId="2147472975"/>
            <ac:spMk id="45" creationId="{2C2C1BF3-7620-4FEE-8324-305D8B1314FF}"/>
          </ac:spMkLst>
        </pc:spChg>
        <pc:picChg chg="del">
          <ac:chgData name="Mick Mooney" userId="e6518e4e-af4a-4bea-b39c-20489a1e5519" providerId="ADAL" clId="{3014DE50-B07B-4776-BEAC-0F779D92A13E}" dt="2023-07-25T16:17:32.750" v="13932" actId="478"/>
          <ac:picMkLst>
            <pc:docMk/>
            <pc:sldMk cId="1018351694" sldId="2147472975"/>
            <ac:picMk id="16" creationId="{DCC52D45-B2C4-4CE7-857E-16125720D835}"/>
          </ac:picMkLst>
        </pc:picChg>
      </pc:sldChg>
      <pc:sldChg chg="delSp modSp add mod ord">
        <pc:chgData name="Mick Mooney" userId="e6518e4e-af4a-4bea-b39c-20489a1e5519" providerId="ADAL" clId="{3014DE50-B07B-4776-BEAC-0F779D92A13E}" dt="2023-07-31T13:07:03.647" v="28823" actId="207"/>
        <pc:sldMkLst>
          <pc:docMk/>
          <pc:sldMk cId="3456635625" sldId="2147472976"/>
        </pc:sldMkLst>
        <pc:spChg chg="mod">
          <ac:chgData name="Mick Mooney" userId="e6518e4e-af4a-4bea-b39c-20489a1e5519" providerId="ADAL" clId="{3014DE50-B07B-4776-BEAC-0F779D92A13E}" dt="2023-07-31T09:50:13.064" v="23335" actId="2711"/>
          <ac:spMkLst>
            <pc:docMk/>
            <pc:sldMk cId="3456635625" sldId="2147472976"/>
            <ac:spMk id="25" creationId="{829B9C71-BC31-4FE9-8CEE-0E15053C167F}"/>
          </ac:spMkLst>
        </pc:spChg>
        <pc:spChg chg="mod replST delST">
          <ac:chgData name="Mick Mooney" userId="e6518e4e-af4a-4bea-b39c-20489a1e5519" providerId="ADAL" clId="{3014DE50-B07B-4776-BEAC-0F779D92A13E}" dt="2023-07-31T13:07:03.647" v="28823" actId="207"/>
          <ac:spMkLst>
            <pc:docMk/>
            <pc:sldMk cId="3456635625" sldId="2147472976"/>
            <ac:spMk id="26" creationId="{6B353CFE-55EF-4DBF-A4B2-1D3C5D41145A}"/>
          </ac:spMkLst>
        </pc:spChg>
        <pc:spChg chg="mod">
          <ac:chgData name="Mick Mooney" userId="e6518e4e-af4a-4bea-b39c-20489a1e5519" providerId="ADAL" clId="{3014DE50-B07B-4776-BEAC-0F779D92A13E}" dt="2023-07-31T09:50:13.064" v="23335" actId="2711"/>
          <ac:spMkLst>
            <pc:docMk/>
            <pc:sldMk cId="3456635625" sldId="2147472976"/>
            <ac:spMk id="27" creationId="{7A34AB32-A986-4F95-B734-C675CF46B67A}"/>
          </ac:spMkLst>
        </pc:spChg>
        <pc:spChg chg="mod">
          <ac:chgData name="Mick Mooney" userId="e6518e4e-af4a-4bea-b39c-20489a1e5519" providerId="ADAL" clId="{3014DE50-B07B-4776-BEAC-0F779D92A13E}" dt="2023-07-31T09:50:13.064" v="23335" actId="2711"/>
          <ac:spMkLst>
            <pc:docMk/>
            <pc:sldMk cId="3456635625" sldId="2147472976"/>
            <ac:spMk id="29" creationId="{6F5F9F8A-DF12-4D8F-BA86-7C9E39CA8EAA}"/>
          </ac:spMkLst>
        </pc:spChg>
        <pc:spChg chg="mod">
          <ac:chgData name="Mick Mooney" userId="e6518e4e-af4a-4bea-b39c-20489a1e5519" providerId="ADAL" clId="{3014DE50-B07B-4776-BEAC-0F779D92A13E}" dt="2023-07-31T09:50:13.064" v="23335" actId="2711"/>
          <ac:spMkLst>
            <pc:docMk/>
            <pc:sldMk cId="3456635625" sldId="2147472976"/>
            <ac:spMk id="30" creationId="{14A00B0D-5F6B-480B-A4FB-1A1D38ECED5B}"/>
          </ac:spMkLst>
        </pc:spChg>
        <pc:spChg chg="mod">
          <ac:chgData name="Mick Mooney" userId="e6518e4e-af4a-4bea-b39c-20489a1e5519" providerId="ADAL" clId="{3014DE50-B07B-4776-BEAC-0F779D92A13E}" dt="2023-07-31T09:50:13.064" v="23335" actId="2711"/>
          <ac:spMkLst>
            <pc:docMk/>
            <pc:sldMk cId="3456635625" sldId="2147472976"/>
            <ac:spMk id="31" creationId="{0EB1A8E1-D7EC-4D9F-AEA4-A83EAA122376}"/>
          </ac:spMkLst>
        </pc:spChg>
        <pc:spChg chg="mod">
          <ac:chgData name="Mick Mooney" userId="e6518e4e-af4a-4bea-b39c-20489a1e5519" providerId="ADAL" clId="{3014DE50-B07B-4776-BEAC-0F779D92A13E}" dt="2023-07-31T09:50:13.064" v="23335" actId="2711"/>
          <ac:spMkLst>
            <pc:docMk/>
            <pc:sldMk cId="3456635625" sldId="2147472976"/>
            <ac:spMk id="32" creationId="{9C64E6CD-3BCD-432B-A682-795E3995E7F3}"/>
          </ac:spMkLst>
        </pc:spChg>
        <pc:spChg chg="mod">
          <ac:chgData name="Mick Mooney" userId="e6518e4e-af4a-4bea-b39c-20489a1e5519" providerId="ADAL" clId="{3014DE50-B07B-4776-BEAC-0F779D92A13E}" dt="2023-07-31T09:50:13.064" v="23335" actId="2711"/>
          <ac:spMkLst>
            <pc:docMk/>
            <pc:sldMk cId="3456635625" sldId="2147472976"/>
            <ac:spMk id="33" creationId="{9C072FDC-61EB-4FC6-BB12-0801F4832B1E}"/>
          </ac:spMkLst>
        </pc:spChg>
        <pc:spChg chg="mod">
          <ac:chgData name="Mick Mooney" userId="e6518e4e-af4a-4bea-b39c-20489a1e5519" providerId="ADAL" clId="{3014DE50-B07B-4776-BEAC-0F779D92A13E}" dt="2023-07-31T09:50:13.064" v="23335" actId="2711"/>
          <ac:spMkLst>
            <pc:docMk/>
            <pc:sldMk cId="3456635625" sldId="2147472976"/>
            <ac:spMk id="34" creationId="{AF62FBE9-58AC-4A22-90B5-C3D5DBEF536F}"/>
          </ac:spMkLst>
        </pc:spChg>
        <pc:picChg chg="del">
          <ac:chgData name="Mick Mooney" userId="e6518e4e-af4a-4bea-b39c-20489a1e5519" providerId="ADAL" clId="{3014DE50-B07B-4776-BEAC-0F779D92A13E}" dt="2023-07-25T16:17:35.989" v="13933" actId="478"/>
          <ac:picMkLst>
            <pc:docMk/>
            <pc:sldMk cId="3456635625" sldId="2147472976"/>
            <ac:picMk id="16" creationId="{3D002B66-6979-4FD8-8812-A74AED77609E}"/>
          </ac:picMkLst>
        </pc:picChg>
      </pc:sldChg>
      <pc:sldChg chg="modSp mod">
        <pc:chgData name="Mick Mooney" userId="e6518e4e-af4a-4bea-b39c-20489a1e5519" providerId="ADAL" clId="{3014DE50-B07B-4776-BEAC-0F779D92A13E}" dt="2023-07-31T13:13:25.312" v="29076" actId="2711"/>
        <pc:sldMkLst>
          <pc:docMk/>
          <pc:sldMk cId="3348310596" sldId="2147473016"/>
        </pc:sldMkLst>
        <pc:spChg chg="mod">
          <ac:chgData name="Mick Mooney" userId="e6518e4e-af4a-4bea-b39c-20489a1e5519" providerId="ADAL" clId="{3014DE50-B07B-4776-BEAC-0F779D92A13E}" dt="2023-07-31T13:13:25.312" v="29076" actId="2711"/>
          <ac:spMkLst>
            <pc:docMk/>
            <pc:sldMk cId="3348310596" sldId="2147473016"/>
            <ac:spMk id="3" creationId="{22C81416-4AB8-4384-86B4-FD1BAA773C93}"/>
          </ac:spMkLst>
        </pc:spChg>
        <pc:spChg chg="mod">
          <ac:chgData name="Mick Mooney" userId="e6518e4e-af4a-4bea-b39c-20489a1e5519" providerId="ADAL" clId="{3014DE50-B07B-4776-BEAC-0F779D92A13E}" dt="2023-07-31T13:13:25.312" v="29076" actId="2711"/>
          <ac:spMkLst>
            <pc:docMk/>
            <pc:sldMk cId="3348310596" sldId="2147473016"/>
            <ac:spMk id="8" creationId="{7824D54C-15D2-467C-A016-166944D0781C}"/>
          </ac:spMkLst>
        </pc:spChg>
        <pc:spChg chg="mod replST delST">
          <ac:chgData name="Mick Mooney" userId="e6518e4e-af4a-4bea-b39c-20489a1e5519" providerId="ADAL" clId="{3014DE50-B07B-4776-BEAC-0F779D92A13E}" dt="2023-07-31T13:13:25.312" v="29076" actId="2711"/>
          <ac:spMkLst>
            <pc:docMk/>
            <pc:sldMk cId="3348310596" sldId="2147473016"/>
            <ac:spMk id="11" creationId="{90DDC0F7-ED30-4BBD-8268-C904D7B7B3E6}"/>
          </ac:spMkLst>
        </pc:spChg>
        <pc:spChg chg="mod replST delST">
          <ac:chgData name="Mick Mooney" userId="e6518e4e-af4a-4bea-b39c-20489a1e5519" providerId="ADAL" clId="{3014DE50-B07B-4776-BEAC-0F779D92A13E}" dt="2023-07-31T13:13:25.312" v="29076" actId="2711"/>
          <ac:spMkLst>
            <pc:docMk/>
            <pc:sldMk cId="3348310596" sldId="2147473016"/>
            <ac:spMk id="51" creationId="{B1A4AC14-C0D7-4DA1-9FAF-BE296C11652D}"/>
          </ac:spMkLst>
        </pc:spChg>
        <pc:spChg chg="mod replST delST">
          <ac:chgData name="Mick Mooney" userId="e6518e4e-af4a-4bea-b39c-20489a1e5519" providerId="ADAL" clId="{3014DE50-B07B-4776-BEAC-0F779D92A13E}" dt="2023-07-31T13:13:25.312" v="29076" actId="2711"/>
          <ac:spMkLst>
            <pc:docMk/>
            <pc:sldMk cId="3348310596" sldId="2147473016"/>
            <ac:spMk id="52" creationId="{28BE02C9-233F-4ED3-A00E-A864ECC4B801}"/>
          </ac:spMkLst>
        </pc:spChg>
        <pc:spChg chg="mod">
          <ac:chgData name="Mick Mooney" userId="e6518e4e-af4a-4bea-b39c-20489a1e5519" providerId="ADAL" clId="{3014DE50-B07B-4776-BEAC-0F779D92A13E}" dt="2023-07-31T13:13:25.312" v="29076" actId="2711"/>
          <ac:spMkLst>
            <pc:docMk/>
            <pc:sldMk cId="3348310596" sldId="2147473016"/>
            <ac:spMk id="57" creationId="{8C2C675D-F088-4738-873F-40B216756E0B}"/>
          </ac:spMkLst>
        </pc:spChg>
        <pc:spChg chg="mod">
          <ac:chgData name="Mick Mooney" userId="e6518e4e-af4a-4bea-b39c-20489a1e5519" providerId="ADAL" clId="{3014DE50-B07B-4776-BEAC-0F779D92A13E}" dt="2023-07-31T13:13:25.312" v="29076" actId="2711"/>
          <ac:spMkLst>
            <pc:docMk/>
            <pc:sldMk cId="3348310596" sldId="2147473016"/>
            <ac:spMk id="58" creationId="{B1A8DEE7-BDFA-4275-8898-B8C0662776A7}"/>
          </ac:spMkLst>
        </pc:spChg>
        <pc:spChg chg="mod">
          <ac:chgData name="Mick Mooney" userId="e6518e4e-af4a-4bea-b39c-20489a1e5519" providerId="ADAL" clId="{3014DE50-B07B-4776-BEAC-0F779D92A13E}" dt="2023-07-31T13:13:25.312" v="29076" actId="2711"/>
          <ac:spMkLst>
            <pc:docMk/>
            <pc:sldMk cId="3348310596" sldId="2147473016"/>
            <ac:spMk id="59" creationId="{834BA052-E586-4C6D-90C2-9029FB7ED7C3}"/>
          </ac:spMkLst>
        </pc:spChg>
        <pc:spChg chg="mod">
          <ac:chgData name="Mick Mooney" userId="e6518e4e-af4a-4bea-b39c-20489a1e5519" providerId="ADAL" clId="{3014DE50-B07B-4776-BEAC-0F779D92A13E}" dt="2023-07-31T13:13:25.312" v="29076" actId="2711"/>
          <ac:spMkLst>
            <pc:docMk/>
            <pc:sldMk cId="3348310596" sldId="2147473016"/>
            <ac:spMk id="60" creationId="{8D57794D-71F6-4730-9E56-30B254A4A3D5}"/>
          </ac:spMkLst>
        </pc:spChg>
        <pc:spChg chg="mod">
          <ac:chgData name="Mick Mooney" userId="e6518e4e-af4a-4bea-b39c-20489a1e5519" providerId="ADAL" clId="{3014DE50-B07B-4776-BEAC-0F779D92A13E}" dt="2023-07-31T13:13:25.312" v="29076" actId="2711"/>
          <ac:spMkLst>
            <pc:docMk/>
            <pc:sldMk cId="3348310596" sldId="2147473016"/>
            <ac:spMk id="61" creationId="{464C4160-B2DA-4299-8DAF-5003406F7531}"/>
          </ac:spMkLst>
        </pc:spChg>
        <pc:spChg chg="mod">
          <ac:chgData name="Mick Mooney" userId="e6518e4e-af4a-4bea-b39c-20489a1e5519" providerId="ADAL" clId="{3014DE50-B07B-4776-BEAC-0F779D92A13E}" dt="2023-07-31T13:13:25.312" v="29076" actId="2711"/>
          <ac:spMkLst>
            <pc:docMk/>
            <pc:sldMk cId="3348310596" sldId="2147473016"/>
            <ac:spMk id="62" creationId="{16AE0B04-529C-4E45-A408-8F8D31829AD7}"/>
          </ac:spMkLst>
        </pc:spChg>
        <pc:spChg chg="mod">
          <ac:chgData name="Mick Mooney" userId="e6518e4e-af4a-4bea-b39c-20489a1e5519" providerId="ADAL" clId="{3014DE50-B07B-4776-BEAC-0F779D92A13E}" dt="2023-07-31T13:13:25.312" v="29076" actId="2711"/>
          <ac:spMkLst>
            <pc:docMk/>
            <pc:sldMk cId="3348310596" sldId="2147473016"/>
            <ac:spMk id="63" creationId="{CB91E08E-2323-41CB-A3C7-95023F40A7D9}"/>
          </ac:spMkLst>
        </pc:spChg>
        <pc:spChg chg="mod">
          <ac:chgData name="Mick Mooney" userId="e6518e4e-af4a-4bea-b39c-20489a1e5519" providerId="ADAL" clId="{3014DE50-B07B-4776-BEAC-0F779D92A13E}" dt="2023-07-31T13:13:25.312" v="29076" actId="2711"/>
          <ac:spMkLst>
            <pc:docMk/>
            <pc:sldMk cId="3348310596" sldId="2147473016"/>
            <ac:spMk id="64" creationId="{D35778E3-87E8-4210-8094-1366369976AD}"/>
          </ac:spMkLst>
        </pc:spChg>
        <pc:spChg chg="mod">
          <ac:chgData name="Mick Mooney" userId="e6518e4e-af4a-4bea-b39c-20489a1e5519" providerId="ADAL" clId="{3014DE50-B07B-4776-BEAC-0F779D92A13E}" dt="2023-07-31T13:13:25.312" v="29076" actId="2711"/>
          <ac:spMkLst>
            <pc:docMk/>
            <pc:sldMk cId="3348310596" sldId="2147473016"/>
            <ac:spMk id="65" creationId="{4D4E29AA-FC67-49BC-94A8-13EE027B30D8}"/>
          </ac:spMkLst>
        </pc:spChg>
        <pc:spChg chg="mod">
          <ac:chgData name="Mick Mooney" userId="e6518e4e-af4a-4bea-b39c-20489a1e5519" providerId="ADAL" clId="{3014DE50-B07B-4776-BEAC-0F779D92A13E}" dt="2023-07-31T13:13:25.312" v="29076" actId="2711"/>
          <ac:spMkLst>
            <pc:docMk/>
            <pc:sldMk cId="3348310596" sldId="2147473016"/>
            <ac:spMk id="66" creationId="{CE5931FD-5F69-4236-8638-2F8B2FFFAAF0}"/>
          </ac:spMkLst>
        </pc:spChg>
        <pc:spChg chg="mod">
          <ac:chgData name="Mick Mooney" userId="e6518e4e-af4a-4bea-b39c-20489a1e5519" providerId="ADAL" clId="{3014DE50-B07B-4776-BEAC-0F779D92A13E}" dt="2023-07-31T13:13:25.312" v="29076" actId="2711"/>
          <ac:spMkLst>
            <pc:docMk/>
            <pc:sldMk cId="3348310596" sldId="2147473016"/>
            <ac:spMk id="67" creationId="{0A167960-8AA7-4E81-B77E-C417CAA82542}"/>
          </ac:spMkLst>
        </pc:spChg>
        <pc:spChg chg="mod">
          <ac:chgData name="Mick Mooney" userId="e6518e4e-af4a-4bea-b39c-20489a1e5519" providerId="ADAL" clId="{3014DE50-B07B-4776-BEAC-0F779D92A13E}" dt="2023-07-31T13:13:25.312" v="29076" actId="2711"/>
          <ac:spMkLst>
            <pc:docMk/>
            <pc:sldMk cId="3348310596" sldId="2147473016"/>
            <ac:spMk id="68" creationId="{8D33E605-8529-423B-B879-0AA01D9F1E81}"/>
          </ac:spMkLst>
        </pc:spChg>
        <pc:spChg chg="mod">
          <ac:chgData name="Mick Mooney" userId="e6518e4e-af4a-4bea-b39c-20489a1e5519" providerId="ADAL" clId="{3014DE50-B07B-4776-BEAC-0F779D92A13E}" dt="2023-07-31T13:13:25.312" v="29076" actId="2711"/>
          <ac:spMkLst>
            <pc:docMk/>
            <pc:sldMk cId="3348310596" sldId="2147473016"/>
            <ac:spMk id="69" creationId="{C9990DF7-F877-4E4A-A729-89BBE82CD08F}"/>
          </ac:spMkLst>
        </pc:spChg>
        <pc:spChg chg="mod">
          <ac:chgData name="Mick Mooney" userId="e6518e4e-af4a-4bea-b39c-20489a1e5519" providerId="ADAL" clId="{3014DE50-B07B-4776-BEAC-0F779D92A13E}" dt="2023-07-31T13:13:25.312" v="29076" actId="2711"/>
          <ac:spMkLst>
            <pc:docMk/>
            <pc:sldMk cId="3348310596" sldId="2147473016"/>
            <ac:spMk id="70" creationId="{FC8DA017-5DD8-470D-8893-D83705504279}"/>
          </ac:spMkLst>
        </pc:spChg>
        <pc:spChg chg="mod">
          <ac:chgData name="Mick Mooney" userId="e6518e4e-af4a-4bea-b39c-20489a1e5519" providerId="ADAL" clId="{3014DE50-B07B-4776-BEAC-0F779D92A13E}" dt="2023-07-31T13:13:25.312" v="29076" actId="2711"/>
          <ac:spMkLst>
            <pc:docMk/>
            <pc:sldMk cId="3348310596" sldId="2147473016"/>
            <ac:spMk id="71" creationId="{3F843851-940A-4B14-823E-48252DB58059}"/>
          </ac:spMkLst>
        </pc:spChg>
        <pc:spChg chg="mod">
          <ac:chgData name="Mick Mooney" userId="e6518e4e-af4a-4bea-b39c-20489a1e5519" providerId="ADAL" clId="{3014DE50-B07B-4776-BEAC-0F779D92A13E}" dt="2023-07-31T13:13:25.312" v="29076" actId="2711"/>
          <ac:spMkLst>
            <pc:docMk/>
            <pc:sldMk cId="3348310596" sldId="2147473016"/>
            <ac:spMk id="72" creationId="{2D91B89F-991D-4A10-B843-1223276DD9DE}"/>
          </ac:spMkLst>
        </pc:spChg>
        <pc:spChg chg="mod">
          <ac:chgData name="Mick Mooney" userId="e6518e4e-af4a-4bea-b39c-20489a1e5519" providerId="ADAL" clId="{3014DE50-B07B-4776-BEAC-0F779D92A13E}" dt="2023-07-31T13:13:25.312" v="29076" actId="2711"/>
          <ac:spMkLst>
            <pc:docMk/>
            <pc:sldMk cId="3348310596" sldId="2147473016"/>
            <ac:spMk id="73" creationId="{526D0F9E-442C-4C7F-8EA1-F1E579A8C104}"/>
          </ac:spMkLst>
        </pc:spChg>
        <pc:spChg chg="mod">
          <ac:chgData name="Mick Mooney" userId="e6518e4e-af4a-4bea-b39c-20489a1e5519" providerId="ADAL" clId="{3014DE50-B07B-4776-BEAC-0F779D92A13E}" dt="2023-07-31T13:13:25.312" v="29076" actId="2711"/>
          <ac:spMkLst>
            <pc:docMk/>
            <pc:sldMk cId="3348310596" sldId="2147473016"/>
            <ac:spMk id="74" creationId="{79642695-390D-4EB0-AE4C-4D0ADA7983D2}"/>
          </ac:spMkLst>
        </pc:spChg>
        <pc:spChg chg="mod">
          <ac:chgData name="Mick Mooney" userId="e6518e4e-af4a-4bea-b39c-20489a1e5519" providerId="ADAL" clId="{3014DE50-B07B-4776-BEAC-0F779D92A13E}" dt="2023-07-31T13:13:25.312" v="29076" actId="2711"/>
          <ac:spMkLst>
            <pc:docMk/>
            <pc:sldMk cId="3348310596" sldId="2147473016"/>
            <ac:spMk id="75" creationId="{66834414-6BAE-462E-BA1A-799CC2EC807F}"/>
          </ac:spMkLst>
        </pc:spChg>
        <pc:spChg chg="mod">
          <ac:chgData name="Mick Mooney" userId="e6518e4e-af4a-4bea-b39c-20489a1e5519" providerId="ADAL" clId="{3014DE50-B07B-4776-BEAC-0F779D92A13E}" dt="2023-07-31T13:13:25.312" v="29076" actId="2711"/>
          <ac:spMkLst>
            <pc:docMk/>
            <pc:sldMk cId="3348310596" sldId="2147473016"/>
            <ac:spMk id="76" creationId="{5F00242A-413F-479F-B2F8-870AB479D017}"/>
          </ac:spMkLst>
        </pc:spChg>
        <pc:spChg chg="mod replST delST">
          <ac:chgData name="Mick Mooney" userId="e6518e4e-af4a-4bea-b39c-20489a1e5519" providerId="ADAL" clId="{3014DE50-B07B-4776-BEAC-0F779D92A13E}" dt="2023-07-31T13:13:25.312" v="29076" actId="2711"/>
          <ac:spMkLst>
            <pc:docMk/>
            <pc:sldMk cId="3348310596" sldId="2147473016"/>
            <ac:spMk id="77" creationId="{6CB1E535-C692-45E8-A6C2-0DD564460CD2}"/>
          </ac:spMkLst>
        </pc:spChg>
        <pc:spChg chg="mod replST delST">
          <ac:chgData name="Mick Mooney" userId="e6518e4e-af4a-4bea-b39c-20489a1e5519" providerId="ADAL" clId="{3014DE50-B07B-4776-BEAC-0F779D92A13E}" dt="2023-07-31T13:13:25.312" v="29076" actId="2711"/>
          <ac:spMkLst>
            <pc:docMk/>
            <pc:sldMk cId="3348310596" sldId="2147473016"/>
            <ac:spMk id="78" creationId="{FAA09599-4A35-46B1-9F86-8CFCEDADE328}"/>
          </ac:spMkLst>
        </pc:spChg>
        <pc:spChg chg="mod replST delST">
          <ac:chgData name="Mick Mooney" userId="e6518e4e-af4a-4bea-b39c-20489a1e5519" providerId="ADAL" clId="{3014DE50-B07B-4776-BEAC-0F779D92A13E}" dt="2023-07-31T13:13:25.312" v="29076" actId="2711"/>
          <ac:spMkLst>
            <pc:docMk/>
            <pc:sldMk cId="3348310596" sldId="2147473016"/>
            <ac:spMk id="79" creationId="{C04416D8-FB52-490B-88F0-36142528019B}"/>
          </ac:spMkLst>
        </pc:spChg>
      </pc:sldChg>
      <pc:sldChg chg="delSp modSp add del mod ord">
        <pc:chgData name="Mick Mooney" userId="e6518e4e-af4a-4bea-b39c-20489a1e5519" providerId="ADAL" clId="{3014DE50-B07B-4776-BEAC-0F779D92A13E}" dt="2023-07-22T13:19:27.350" v="7836" actId="2696"/>
        <pc:sldMkLst>
          <pc:docMk/>
          <pc:sldMk cId="3877744209" sldId="2147473033"/>
        </pc:sldMkLst>
        <pc:spChg chg="del replST">
          <ac:chgData name="Mick Mooney" userId="e6518e4e-af4a-4bea-b39c-20489a1e5519" providerId="ADAL" clId="{3014DE50-B07B-4776-BEAC-0F779D92A13E}" dt="2023-07-22T13:09:51.498" v="6811" actId="478"/>
          <ac:spMkLst>
            <pc:docMk/>
            <pc:sldMk cId="3877744209" sldId="2147473033"/>
            <ac:spMk id="2" creationId="{E9BC3ACD-C29B-4AAE-A00C-60BEEC8ECF88}"/>
          </ac:spMkLst>
        </pc:spChg>
        <pc:spChg chg="mod replST delST">
          <ac:chgData name="Mick Mooney" userId="e6518e4e-af4a-4bea-b39c-20489a1e5519" providerId="ADAL" clId="{3014DE50-B07B-4776-BEAC-0F779D92A13E}" dt="2023-07-22T13:18:56.980" v="7835"/>
          <ac:spMkLst>
            <pc:docMk/>
            <pc:sldMk cId="3877744209" sldId="2147473033"/>
            <ac:spMk id="3" creationId="{59B9F040-0819-4F45-931A-165720017E5C}"/>
          </ac:spMkLst>
        </pc:spChg>
        <pc:spChg chg="mod replST delST">
          <ac:chgData name="Mick Mooney" userId="e6518e4e-af4a-4bea-b39c-20489a1e5519" providerId="ADAL" clId="{3014DE50-B07B-4776-BEAC-0F779D92A13E}" dt="2023-07-22T13:10:01.569" v="6820"/>
          <ac:spMkLst>
            <pc:docMk/>
            <pc:sldMk cId="3877744209" sldId="2147473033"/>
            <ac:spMk id="11" creationId="{3D3FA1CE-DA6A-4740-AAB6-111BB3E4415B}"/>
          </ac:spMkLst>
        </pc:spChg>
        <pc:spChg chg="del">
          <ac:chgData name="Mick Mooney" userId="e6518e4e-af4a-4bea-b39c-20489a1e5519" providerId="ADAL" clId="{3014DE50-B07B-4776-BEAC-0F779D92A13E}" dt="2023-07-22T13:09:48.289" v="6809" actId="478"/>
          <ac:spMkLst>
            <pc:docMk/>
            <pc:sldMk cId="3877744209" sldId="2147473033"/>
            <ac:spMk id="63" creationId="{BD3DA6F6-9792-45A4-AD05-A11779F91AE7}"/>
          </ac:spMkLst>
        </pc:spChg>
        <pc:spChg chg="del">
          <ac:chgData name="Mick Mooney" userId="e6518e4e-af4a-4bea-b39c-20489a1e5519" providerId="ADAL" clId="{3014DE50-B07B-4776-BEAC-0F779D92A13E}" dt="2023-07-22T13:09:48.289" v="6809" actId="478"/>
          <ac:spMkLst>
            <pc:docMk/>
            <pc:sldMk cId="3877744209" sldId="2147473033"/>
            <ac:spMk id="64" creationId="{B6C8FB17-9051-4FED-95CB-855453828A0C}"/>
          </ac:spMkLst>
        </pc:spChg>
        <pc:spChg chg="del">
          <ac:chgData name="Mick Mooney" userId="e6518e4e-af4a-4bea-b39c-20489a1e5519" providerId="ADAL" clId="{3014DE50-B07B-4776-BEAC-0F779D92A13E}" dt="2023-07-22T13:09:48.289" v="6809" actId="478"/>
          <ac:spMkLst>
            <pc:docMk/>
            <pc:sldMk cId="3877744209" sldId="2147473033"/>
            <ac:spMk id="65" creationId="{1DE13C79-5434-481E-B09C-4688239B5996}"/>
          </ac:spMkLst>
        </pc:spChg>
        <pc:spChg chg="del">
          <ac:chgData name="Mick Mooney" userId="e6518e4e-af4a-4bea-b39c-20489a1e5519" providerId="ADAL" clId="{3014DE50-B07B-4776-BEAC-0F779D92A13E}" dt="2023-07-22T13:09:48.289" v="6809" actId="478"/>
          <ac:spMkLst>
            <pc:docMk/>
            <pc:sldMk cId="3877744209" sldId="2147473033"/>
            <ac:spMk id="66" creationId="{EECCE12B-0C41-4A13-A695-66882B26EBE3}"/>
          </ac:spMkLst>
        </pc:spChg>
        <pc:spChg chg="del">
          <ac:chgData name="Mick Mooney" userId="e6518e4e-af4a-4bea-b39c-20489a1e5519" providerId="ADAL" clId="{3014DE50-B07B-4776-BEAC-0F779D92A13E}" dt="2023-07-22T13:09:48.289" v="6809" actId="478"/>
          <ac:spMkLst>
            <pc:docMk/>
            <pc:sldMk cId="3877744209" sldId="2147473033"/>
            <ac:spMk id="67" creationId="{D11716F2-34B5-4EAE-A78F-98E6B565BE66}"/>
          </ac:spMkLst>
        </pc:spChg>
        <pc:spChg chg="del">
          <ac:chgData name="Mick Mooney" userId="e6518e4e-af4a-4bea-b39c-20489a1e5519" providerId="ADAL" clId="{3014DE50-B07B-4776-BEAC-0F779D92A13E}" dt="2023-07-22T13:09:48.289" v="6809" actId="478"/>
          <ac:spMkLst>
            <pc:docMk/>
            <pc:sldMk cId="3877744209" sldId="2147473033"/>
            <ac:spMk id="68" creationId="{5CE93652-55C3-4569-BA9F-D50C814BDB20}"/>
          </ac:spMkLst>
        </pc:spChg>
        <pc:spChg chg="del">
          <ac:chgData name="Mick Mooney" userId="e6518e4e-af4a-4bea-b39c-20489a1e5519" providerId="ADAL" clId="{3014DE50-B07B-4776-BEAC-0F779D92A13E}" dt="2023-07-22T13:09:48.289" v="6809" actId="478"/>
          <ac:spMkLst>
            <pc:docMk/>
            <pc:sldMk cId="3877744209" sldId="2147473033"/>
            <ac:spMk id="69" creationId="{4682380B-8AAE-4119-8234-3A5889E58EFB}"/>
          </ac:spMkLst>
        </pc:spChg>
        <pc:spChg chg="del">
          <ac:chgData name="Mick Mooney" userId="e6518e4e-af4a-4bea-b39c-20489a1e5519" providerId="ADAL" clId="{3014DE50-B07B-4776-BEAC-0F779D92A13E}" dt="2023-07-22T13:09:48.289" v="6809" actId="478"/>
          <ac:spMkLst>
            <pc:docMk/>
            <pc:sldMk cId="3877744209" sldId="2147473033"/>
            <ac:spMk id="70" creationId="{0622784D-D39D-4E56-ABA2-C8F54FE76541}"/>
          </ac:spMkLst>
        </pc:spChg>
        <pc:spChg chg="del">
          <ac:chgData name="Mick Mooney" userId="e6518e4e-af4a-4bea-b39c-20489a1e5519" providerId="ADAL" clId="{3014DE50-B07B-4776-BEAC-0F779D92A13E}" dt="2023-07-22T13:10:05.778" v="6825" actId="478"/>
          <ac:spMkLst>
            <pc:docMk/>
            <pc:sldMk cId="3877744209" sldId="2147473033"/>
            <ac:spMk id="71" creationId="{2F439E41-7588-4ED3-BA00-58CC2921813D}"/>
          </ac:spMkLst>
        </pc:spChg>
        <pc:spChg chg="del">
          <ac:chgData name="Mick Mooney" userId="e6518e4e-af4a-4bea-b39c-20489a1e5519" providerId="ADAL" clId="{3014DE50-B07B-4776-BEAC-0F779D92A13E}" dt="2023-07-22T13:10:05.778" v="6825" actId="478"/>
          <ac:spMkLst>
            <pc:docMk/>
            <pc:sldMk cId="3877744209" sldId="2147473033"/>
            <ac:spMk id="72" creationId="{F17ED484-C68D-4DBD-A3CE-64C7AE31480D}"/>
          </ac:spMkLst>
        </pc:spChg>
        <pc:spChg chg="del">
          <ac:chgData name="Mick Mooney" userId="e6518e4e-af4a-4bea-b39c-20489a1e5519" providerId="ADAL" clId="{3014DE50-B07B-4776-BEAC-0F779D92A13E}" dt="2023-07-22T13:10:05.778" v="6825" actId="478"/>
          <ac:spMkLst>
            <pc:docMk/>
            <pc:sldMk cId="3877744209" sldId="2147473033"/>
            <ac:spMk id="73" creationId="{B0FDB6FB-1257-4ADC-A984-7D3A88B34C03}"/>
          </ac:spMkLst>
        </pc:spChg>
        <pc:spChg chg="del replST">
          <ac:chgData name="Mick Mooney" userId="e6518e4e-af4a-4bea-b39c-20489a1e5519" providerId="ADAL" clId="{3014DE50-B07B-4776-BEAC-0F779D92A13E}" dt="2023-07-22T13:09:52.672" v="6813" actId="478"/>
          <ac:spMkLst>
            <pc:docMk/>
            <pc:sldMk cId="3877744209" sldId="2147473033"/>
            <ac:spMk id="74" creationId="{477E0FD8-E993-4FB5-BDF6-886CDFB967D2}"/>
          </ac:spMkLst>
        </pc:spChg>
        <pc:spChg chg="del">
          <ac:chgData name="Mick Mooney" userId="e6518e4e-af4a-4bea-b39c-20489a1e5519" providerId="ADAL" clId="{3014DE50-B07B-4776-BEAC-0F779D92A13E}" dt="2023-07-22T13:09:48.289" v="6809" actId="478"/>
          <ac:spMkLst>
            <pc:docMk/>
            <pc:sldMk cId="3877744209" sldId="2147473033"/>
            <ac:spMk id="75" creationId="{60917785-6B89-470F-B326-F55B15035ACE}"/>
          </ac:spMkLst>
        </pc:spChg>
        <pc:spChg chg="del">
          <ac:chgData name="Mick Mooney" userId="e6518e4e-af4a-4bea-b39c-20489a1e5519" providerId="ADAL" clId="{3014DE50-B07B-4776-BEAC-0F779D92A13E}" dt="2023-07-22T13:09:48.289" v="6809" actId="478"/>
          <ac:spMkLst>
            <pc:docMk/>
            <pc:sldMk cId="3877744209" sldId="2147473033"/>
            <ac:spMk id="76" creationId="{08FC23AC-AF33-4C30-A1CF-5DC2AFFAF02A}"/>
          </ac:spMkLst>
        </pc:spChg>
        <pc:spChg chg="del replST">
          <ac:chgData name="Mick Mooney" userId="e6518e4e-af4a-4bea-b39c-20489a1e5519" providerId="ADAL" clId="{3014DE50-B07B-4776-BEAC-0F779D92A13E}" dt="2023-07-22T13:09:53.952" v="6815" actId="478"/>
          <ac:spMkLst>
            <pc:docMk/>
            <pc:sldMk cId="3877744209" sldId="2147473033"/>
            <ac:spMk id="78" creationId="{175411D3-0852-406E-927A-6D62F757506B}"/>
          </ac:spMkLst>
        </pc:spChg>
        <pc:spChg chg="del">
          <ac:chgData name="Mick Mooney" userId="e6518e4e-af4a-4bea-b39c-20489a1e5519" providerId="ADAL" clId="{3014DE50-B07B-4776-BEAC-0F779D92A13E}" dt="2023-07-22T13:09:48.289" v="6809" actId="478"/>
          <ac:spMkLst>
            <pc:docMk/>
            <pc:sldMk cId="3877744209" sldId="2147473033"/>
            <ac:spMk id="79" creationId="{C7BFF186-6059-4F6F-8FC4-6B6E5B6DCB81}"/>
          </ac:spMkLst>
        </pc:spChg>
        <pc:spChg chg="del replST">
          <ac:chgData name="Mick Mooney" userId="e6518e4e-af4a-4bea-b39c-20489a1e5519" providerId="ADAL" clId="{3014DE50-B07B-4776-BEAC-0F779D92A13E}" dt="2023-07-22T13:09:56.733" v="6817" actId="478"/>
          <ac:spMkLst>
            <pc:docMk/>
            <pc:sldMk cId="3877744209" sldId="2147473033"/>
            <ac:spMk id="80" creationId="{E2179C39-3CE9-45C4-9D6E-B837F7BD0CEB}"/>
          </ac:spMkLst>
        </pc:spChg>
        <pc:spChg chg="del replST delST">
          <ac:chgData name="Mick Mooney" userId="e6518e4e-af4a-4bea-b39c-20489a1e5519" providerId="ADAL" clId="{3014DE50-B07B-4776-BEAC-0F779D92A13E}" dt="2023-07-22T13:09:37.675" v="6798" actId="478"/>
          <ac:spMkLst>
            <pc:docMk/>
            <pc:sldMk cId="3877744209" sldId="2147473033"/>
            <ac:spMk id="81" creationId="{B3812FFC-EC39-4C4E-BA38-5F27B488D6AD}"/>
          </ac:spMkLst>
        </pc:spChg>
        <pc:spChg chg="del mod replST delST">
          <ac:chgData name="Mick Mooney" userId="e6518e4e-af4a-4bea-b39c-20489a1e5519" providerId="ADAL" clId="{3014DE50-B07B-4776-BEAC-0F779D92A13E}" dt="2023-07-22T13:10:03.412" v="6824" actId="478"/>
          <ac:spMkLst>
            <pc:docMk/>
            <pc:sldMk cId="3877744209" sldId="2147473033"/>
            <ac:spMk id="82" creationId="{27391D1E-EDE8-41C2-AFF0-13534F51820C}"/>
          </ac:spMkLst>
        </pc:spChg>
        <pc:spChg chg="del mod replST delST">
          <ac:chgData name="Mick Mooney" userId="e6518e4e-af4a-4bea-b39c-20489a1e5519" providerId="ADAL" clId="{3014DE50-B07B-4776-BEAC-0F779D92A13E}" dt="2023-07-22T13:09:43.794" v="6808" actId="478"/>
          <ac:spMkLst>
            <pc:docMk/>
            <pc:sldMk cId="3877744209" sldId="2147473033"/>
            <ac:spMk id="83" creationId="{215FE7B1-F963-4107-9899-C45530465017}"/>
          </ac:spMkLst>
        </pc:spChg>
        <pc:picChg chg="del">
          <ac:chgData name="Mick Mooney" userId="e6518e4e-af4a-4bea-b39c-20489a1e5519" providerId="ADAL" clId="{3014DE50-B07B-4776-BEAC-0F779D92A13E}" dt="2023-07-22T09:55:31.822" v="213" actId="478"/>
          <ac:picMkLst>
            <pc:docMk/>
            <pc:sldMk cId="3877744209" sldId="2147473033"/>
            <ac:picMk id="30" creationId="{152CD035-34E5-4C43-A3F8-31C25E30E87F}"/>
          </ac:picMkLst>
        </pc:picChg>
      </pc:sldChg>
      <pc:sldChg chg="delSp modSp add mod ord">
        <pc:chgData name="Mick Mooney" userId="e6518e4e-af4a-4bea-b39c-20489a1e5519" providerId="ADAL" clId="{3014DE50-B07B-4776-BEAC-0F779D92A13E}" dt="2023-07-31T09:52:06.601" v="23348" actId="2711"/>
        <pc:sldMkLst>
          <pc:docMk/>
          <pc:sldMk cId="4150608312" sldId="2147473035"/>
        </pc:sldMkLst>
        <pc:spChg chg="mod replST delST">
          <ac:chgData name="Mick Mooney" userId="e6518e4e-af4a-4bea-b39c-20489a1e5519" providerId="ADAL" clId="{3014DE50-B07B-4776-BEAC-0F779D92A13E}" dt="2023-07-31T09:52:06.601" v="23348" actId="2711"/>
          <ac:spMkLst>
            <pc:docMk/>
            <pc:sldMk cId="4150608312" sldId="2147473035"/>
            <ac:spMk id="2" creationId="{9383066B-12A0-4434-BE3B-106D76B9E30E}"/>
          </ac:spMkLst>
        </pc:spChg>
        <pc:spChg chg="mod">
          <ac:chgData name="Mick Mooney" userId="e6518e4e-af4a-4bea-b39c-20489a1e5519" providerId="ADAL" clId="{3014DE50-B07B-4776-BEAC-0F779D92A13E}" dt="2023-07-31T09:52:06.601" v="23348" actId="2711"/>
          <ac:spMkLst>
            <pc:docMk/>
            <pc:sldMk cId="4150608312" sldId="2147473035"/>
            <ac:spMk id="8" creationId="{7824D54C-15D2-467C-A016-166944D0781C}"/>
          </ac:spMkLst>
        </pc:spChg>
        <pc:spChg chg="mod">
          <ac:chgData name="Mick Mooney" userId="e6518e4e-af4a-4bea-b39c-20489a1e5519" providerId="ADAL" clId="{3014DE50-B07B-4776-BEAC-0F779D92A13E}" dt="2023-07-31T09:52:06.601" v="23348" actId="2711"/>
          <ac:spMkLst>
            <pc:docMk/>
            <pc:sldMk cId="4150608312" sldId="2147473035"/>
            <ac:spMk id="134" creationId="{FC4A41A3-D16F-4888-BCFC-BB791267B05A}"/>
          </ac:spMkLst>
        </pc:spChg>
        <pc:spChg chg="mod">
          <ac:chgData name="Mick Mooney" userId="e6518e4e-af4a-4bea-b39c-20489a1e5519" providerId="ADAL" clId="{3014DE50-B07B-4776-BEAC-0F779D92A13E}" dt="2023-07-31T09:52:06.601" v="23348" actId="2711"/>
          <ac:spMkLst>
            <pc:docMk/>
            <pc:sldMk cId="4150608312" sldId="2147473035"/>
            <ac:spMk id="135" creationId="{EE26480B-C96E-4A1A-A39B-47B1C818D4C4}"/>
          </ac:spMkLst>
        </pc:spChg>
        <pc:spChg chg="mod replST delST">
          <ac:chgData name="Mick Mooney" userId="e6518e4e-af4a-4bea-b39c-20489a1e5519" providerId="ADAL" clId="{3014DE50-B07B-4776-BEAC-0F779D92A13E}" dt="2023-07-31T09:52:06.601" v="23348" actId="2711"/>
          <ac:spMkLst>
            <pc:docMk/>
            <pc:sldMk cId="4150608312" sldId="2147473035"/>
            <ac:spMk id="136" creationId="{956F2634-9800-4E82-9448-A8D950336C04}"/>
          </ac:spMkLst>
        </pc:spChg>
        <pc:spChg chg="mod">
          <ac:chgData name="Mick Mooney" userId="e6518e4e-af4a-4bea-b39c-20489a1e5519" providerId="ADAL" clId="{3014DE50-B07B-4776-BEAC-0F779D92A13E}" dt="2023-07-31T09:52:06.601" v="23348" actId="2711"/>
          <ac:spMkLst>
            <pc:docMk/>
            <pc:sldMk cId="4150608312" sldId="2147473035"/>
            <ac:spMk id="137" creationId="{4E4FAEB9-EAD0-4BE0-9261-7AF366614DF4}"/>
          </ac:spMkLst>
        </pc:spChg>
        <pc:spChg chg="mod">
          <ac:chgData name="Mick Mooney" userId="e6518e4e-af4a-4bea-b39c-20489a1e5519" providerId="ADAL" clId="{3014DE50-B07B-4776-BEAC-0F779D92A13E}" dt="2023-07-31T09:52:06.601" v="23348" actId="2711"/>
          <ac:spMkLst>
            <pc:docMk/>
            <pc:sldMk cId="4150608312" sldId="2147473035"/>
            <ac:spMk id="138" creationId="{037B62A9-C13A-4C4D-AB22-BD0770CA7ED5}"/>
          </ac:spMkLst>
        </pc:spChg>
        <pc:spChg chg="mod replST delST">
          <ac:chgData name="Mick Mooney" userId="e6518e4e-af4a-4bea-b39c-20489a1e5519" providerId="ADAL" clId="{3014DE50-B07B-4776-BEAC-0F779D92A13E}" dt="2023-07-31T09:52:06.601" v="23348" actId="2711"/>
          <ac:spMkLst>
            <pc:docMk/>
            <pc:sldMk cId="4150608312" sldId="2147473035"/>
            <ac:spMk id="139" creationId="{A56DDB9D-7395-48F4-B30F-18083AF31137}"/>
          </ac:spMkLst>
        </pc:spChg>
        <pc:spChg chg="mod">
          <ac:chgData name="Mick Mooney" userId="e6518e4e-af4a-4bea-b39c-20489a1e5519" providerId="ADAL" clId="{3014DE50-B07B-4776-BEAC-0F779D92A13E}" dt="2023-07-31T09:52:06.601" v="23348" actId="2711"/>
          <ac:spMkLst>
            <pc:docMk/>
            <pc:sldMk cId="4150608312" sldId="2147473035"/>
            <ac:spMk id="140" creationId="{9B93B4DB-7C4A-4314-AA32-AAA0473EED08}"/>
          </ac:spMkLst>
        </pc:spChg>
        <pc:spChg chg="mod">
          <ac:chgData name="Mick Mooney" userId="e6518e4e-af4a-4bea-b39c-20489a1e5519" providerId="ADAL" clId="{3014DE50-B07B-4776-BEAC-0F779D92A13E}" dt="2023-07-31T09:52:06.601" v="23348" actId="2711"/>
          <ac:spMkLst>
            <pc:docMk/>
            <pc:sldMk cId="4150608312" sldId="2147473035"/>
            <ac:spMk id="141" creationId="{D76FE7B2-1805-4CA7-A7EE-9686F11C90F4}"/>
          </ac:spMkLst>
        </pc:spChg>
        <pc:spChg chg="mod">
          <ac:chgData name="Mick Mooney" userId="e6518e4e-af4a-4bea-b39c-20489a1e5519" providerId="ADAL" clId="{3014DE50-B07B-4776-BEAC-0F779D92A13E}" dt="2023-07-31T09:52:06.601" v="23348" actId="2711"/>
          <ac:spMkLst>
            <pc:docMk/>
            <pc:sldMk cId="4150608312" sldId="2147473035"/>
            <ac:spMk id="142" creationId="{39C14675-AA0B-411B-949B-96E36EA2E357}"/>
          </ac:spMkLst>
        </pc:spChg>
        <pc:spChg chg="mod">
          <ac:chgData name="Mick Mooney" userId="e6518e4e-af4a-4bea-b39c-20489a1e5519" providerId="ADAL" clId="{3014DE50-B07B-4776-BEAC-0F779D92A13E}" dt="2023-07-31T09:52:06.601" v="23348" actId="2711"/>
          <ac:spMkLst>
            <pc:docMk/>
            <pc:sldMk cId="4150608312" sldId="2147473035"/>
            <ac:spMk id="143" creationId="{841D13AA-E849-4D75-93F4-D025263116BE}"/>
          </ac:spMkLst>
        </pc:spChg>
        <pc:spChg chg="mod">
          <ac:chgData name="Mick Mooney" userId="e6518e4e-af4a-4bea-b39c-20489a1e5519" providerId="ADAL" clId="{3014DE50-B07B-4776-BEAC-0F779D92A13E}" dt="2023-07-31T09:52:06.601" v="23348" actId="2711"/>
          <ac:spMkLst>
            <pc:docMk/>
            <pc:sldMk cId="4150608312" sldId="2147473035"/>
            <ac:spMk id="144" creationId="{7F2B9FAF-51BD-4970-864E-71C05754329B}"/>
          </ac:spMkLst>
        </pc:spChg>
        <pc:spChg chg="mod replST delST">
          <ac:chgData name="Mick Mooney" userId="e6518e4e-af4a-4bea-b39c-20489a1e5519" providerId="ADAL" clId="{3014DE50-B07B-4776-BEAC-0F779D92A13E}" dt="2023-07-31T09:52:06.601" v="23348" actId="2711"/>
          <ac:spMkLst>
            <pc:docMk/>
            <pc:sldMk cId="4150608312" sldId="2147473035"/>
            <ac:spMk id="145" creationId="{641134F1-8847-43CC-B778-837C93B60F0D}"/>
          </ac:spMkLst>
        </pc:spChg>
        <pc:spChg chg="mod replST delST">
          <ac:chgData name="Mick Mooney" userId="e6518e4e-af4a-4bea-b39c-20489a1e5519" providerId="ADAL" clId="{3014DE50-B07B-4776-BEAC-0F779D92A13E}" dt="2023-07-31T09:52:06.601" v="23348" actId="2711"/>
          <ac:spMkLst>
            <pc:docMk/>
            <pc:sldMk cId="4150608312" sldId="2147473035"/>
            <ac:spMk id="146" creationId="{5D3BCF11-5966-4321-9695-17B622FAF2D5}"/>
          </ac:spMkLst>
        </pc:spChg>
        <pc:spChg chg="mod replST delST">
          <ac:chgData name="Mick Mooney" userId="e6518e4e-af4a-4bea-b39c-20489a1e5519" providerId="ADAL" clId="{3014DE50-B07B-4776-BEAC-0F779D92A13E}" dt="2023-07-31T09:52:06.601" v="23348" actId="2711"/>
          <ac:spMkLst>
            <pc:docMk/>
            <pc:sldMk cId="4150608312" sldId="2147473035"/>
            <ac:spMk id="147" creationId="{05E1380B-F547-46CA-AE95-55B8734D5649}"/>
          </ac:spMkLst>
        </pc:spChg>
        <pc:spChg chg="mod replST delST">
          <ac:chgData name="Mick Mooney" userId="e6518e4e-af4a-4bea-b39c-20489a1e5519" providerId="ADAL" clId="{3014DE50-B07B-4776-BEAC-0F779D92A13E}" dt="2023-07-31T09:52:06.601" v="23348" actId="2711"/>
          <ac:spMkLst>
            <pc:docMk/>
            <pc:sldMk cId="4150608312" sldId="2147473035"/>
            <ac:spMk id="148" creationId="{507B09CA-94F1-4D2D-BFC8-3E7949079F26}"/>
          </ac:spMkLst>
        </pc:spChg>
        <pc:picChg chg="del">
          <ac:chgData name="Mick Mooney" userId="e6518e4e-af4a-4bea-b39c-20489a1e5519" providerId="ADAL" clId="{3014DE50-B07B-4776-BEAC-0F779D92A13E}" dt="2023-07-25T16:09:01.605" v="13748" actId="478"/>
          <ac:picMkLst>
            <pc:docMk/>
            <pc:sldMk cId="4150608312" sldId="2147473035"/>
            <ac:picMk id="23" creationId="{99881527-59A1-42FB-9012-FB9993FD2C06}"/>
          </ac:picMkLst>
        </pc:picChg>
      </pc:sldChg>
      <pc:sldChg chg="addSp delSp modSp mod">
        <pc:chgData name="Mick Mooney" userId="e6518e4e-af4a-4bea-b39c-20489a1e5519" providerId="ADAL" clId="{3014DE50-B07B-4776-BEAC-0F779D92A13E}" dt="2023-07-31T12:30:36.953" v="25402" actId="2711"/>
        <pc:sldMkLst>
          <pc:docMk/>
          <pc:sldMk cId="1508220717" sldId="2147473085"/>
        </pc:sldMkLst>
        <pc:spChg chg="mod">
          <ac:chgData name="Mick Mooney" userId="e6518e4e-af4a-4bea-b39c-20489a1e5519" providerId="ADAL" clId="{3014DE50-B07B-4776-BEAC-0F779D92A13E}" dt="2023-07-26T08:57:09.969" v="16595"/>
          <ac:spMkLst>
            <pc:docMk/>
            <pc:sldMk cId="1508220717" sldId="2147473085"/>
            <ac:spMk id="4" creationId="{72D04554-C29B-ECFB-F925-7D6E5DE5C2B4}"/>
          </ac:spMkLst>
        </pc:spChg>
        <pc:spChg chg="mod">
          <ac:chgData name="Mick Mooney" userId="e6518e4e-af4a-4bea-b39c-20489a1e5519" providerId="ADAL" clId="{3014DE50-B07B-4776-BEAC-0F779D92A13E}" dt="2023-07-26T08:57:09.969" v="16595"/>
          <ac:spMkLst>
            <pc:docMk/>
            <pc:sldMk cId="1508220717" sldId="2147473085"/>
            <ac:spMk id="5" creationId="{4A632DB0-627F-9359-DDCB-05C8D5D44349}"/>
          </ac:spMkLst>
        </pc:spChg>
        <pc:spChg chg="mod">
          <ac:chgData name="Mick Mooney" userId="e6518e4e-af4a-4bea-b39c-20489a1e5519" providerId="ADAL" clId="{3014DE50-B07B-4776-BEAC-0F779D92A13E}" dt="2023-07-26T08:57:09.969" v="16595"/>
          <ac:spMkLst>
            <pc:docMk/>
            <pc:sldMk cId="1508220717" sldId="2147473085"/>
            <ac:spMk id="6" creationId="{CFF92DC7-981F-A26F-2E9F-318F185AB904}"/>
          </ac:spMkLst>
        </pc:spChg>
        <pc:spChg chg="mod">
          <ac:chgData name="Mick Mooney" userId="e6518e4e-af4a-4bea-b39c-20489a1e5519" providerId="ADAL" clId="{3014DE50-B07B-4776-BEAC-0F779D92A13E}" dt="2023-07-31T12:30:36.953" v="25402" actId="2711"/>
          <ac:spMkLst>
            <pc:docMk/>
            <pc:sldMk cId="1508220717" sldId="2147473085"/>
            <ac:spMk id="8" creationId="{7824D54C-15D2-467C-A016-166944D0781C}"/>
          </ac:spMkLst>
        </pc:spChg>
        <pc:spChg chg="mod">
          <ac:chgData name="Mick Mooney" userId="e6518e4e-af4a-4bea-b39c-20489a1e5519" providerId="ADAL" clId="{3014DE50-B07B-4776-BEAC-0F779D92A13E}" dt="2023-07-31T12:30:36.953" v="25402" actId="2711"/>
          <ac:spMkLst>
            <pc:docMk/>
            <pc:sldMk cId="1508220717" sldId="2147473085"/>
            <ac:spMk id="10" creationId="{E5DDCEBC-69B7-4DFD-A56A-01A11FF52BD8}"/>
          </ac:spMkLst>
        </pc:spChg>
        <pc:spChg chg="mod">
          <ac:chgData name="Mick Mooney" userId="e6518e4e-af4a-4bea-b39c-20489a1e5519" providerId="ADAL" clId="{3014DE50-B07B-4776-BEAC-0F779D92A13E}" dt="2023-07-31T12:30:36.953" v="25402" actId="2711"/>
          <ac:spMkLst>
            <pc:docMk/>
            <pc:sldMk cId="1508220717" sldId="2147473085"/>
            <ac:spMk id="23" creationId="{F93130F4-855F-15D4-0E76-53F330CD44EF}"/>
          </ac:spMkLst>
        </pc:spChg>
        <pc:spChg chg="mod">
          <ac:chgData name="Mick Mooney" userId="e6518e4e-af4a-4bea-b39c-20489a1e5519" providerId="ADAL" clId="{3014DE50-B07B-4776-BEAC-0F779D92A13E}" dt="2023-07-31T12:30:36.953" v="25402" actId="2711"/>
          <ac:spMkLst>
            <pc:docMk/>
            <pc:sldMk cId="1508220717" sldId="2147473085"/>
            <ac:spMk id="24" creationId="{101CAD34-5D8B-449E-65EB-7E12D8620949}"/>
          </ac:spMkLst>
        </pc:spChg>
        <pc:spChg chg="mod">
          <ac:chgData name="Mick Mooney" userId="e6518e4e-af4a-4bea-b39c-20489a1e5519" providerId="ADAL" clId="{3014DE50-B07B-4776-BEAC-0F779D92A13E}" dt="2023-07-31T12:30:36.953" v="25402" actId="2711"/>
          <ac:spMkLst>
            <pc:docMk/>
            <pc:sldMk cId="1508220717" sldId="2147473085"/>
            <ac:spMk id="26" creationId="{1CE9B9E0-DF1C-33CE-C9A4-68074848AAB2}"/>
          </ac:spMkLst>
        </pc:spChg>
        <pc:spChg chg="mod">
          <ac:chgData name="Mick Mooney" userId="e6518e4e-af4a-4bea-b39c-20489a1e5519" providerId="ADAL" clId="{3014DE50-B07B-4776-BEAC-0F779D92A13E}" dt="2023-07-31T12:30:36.953" v="25402" actId="2711"/>
          <ac:spMkLst>
            <pc:docMk/>
            <pc:sldMk cId="1508220717" sldId="2147473085"/>
            <ac:spMk id="27" creationId="{319E35AD-29C6-153A-B59E-AE16FE64AE3C}"/>
          </ac:spMkLst>
        </pc:spChg>
        <pc:spChg chg="mod">
          <ac:chgData name="Mick Mooney" userId="e6518e4e-af4a-4bea-b39c-20489a1e5519" providerId="ADAL" clId="{3014DE50-B07B-4776-BEAC-0F779D92A13E}" dt="2023-07-31T12:30:36.953" v="25402" actId="2711"/>
          <ac:spMkLst>
            <pc:docMk/>
            <pc:sldMk cId="1508220717" sldId="2147473085"/>
            <ac:spMk id="32" creationId="{7441BD62-20D0-AB60-2263-DC5CB6C6FCE1}"/>
          </ac:spMkLst>
        </pc:spChg>
        <pc:spChg chg="mod">
          <ac:chgData name="Mick Mooney" userId="e6518e4e-af4a-4bea-b39c-20489a1e5519" providerId="ADAL" clId="{3014DE50-B07B-4776-BEAC-0F779D92A13E}" dt="2023-07-31T12:30:36.953" v="25402" actId="2711"/>
          <ac:spMkLst>
            <pc:docMk/>
            <pc:sldMk cId="1508220717" sldId="2147473085"/>
            <ac:spMk id="37" creationId="{FDA1A685-4123-06F0-B27D-570550F7E78A}"/>
          </ac:spMkLst>
        </pc:spChg>
        <pc:spChg chg="mod">
          <ac:chgData name="Mick Mooney" userId="e6518e4e-af4a-4bea-b39c-20489a1e5519" providerId="ADAL" clId="{3014DE50-B07B-4776-BEAC-0F779D92A13E}" dt="2023-07-31T12:30:36.953" v="25402" actId="2711"/>
          <ac:spMkLst>
            <pc:docMk/>
            <pc:sldMk cId="1508220717" sldId="2147473085"/>
            <ac:spMk id="39" creationId="{C1576E11-A009-A3F3-6FC3-62ADA71748B3}"/>
          </ac:spMkLst>
        </pc:spChg>
        <pc:spChg chg="mod">
          <ac:chgData name="Mick Mooney" userId="e6518e4e-af4a-4bea-b39c-20489a1e5519" providerId="ADAL" clId="{3014DE50-B07B-4776-BEAC-0F779D92A13E}" dt="2023-07-31T12:30:36.953" v="25402" actId="2711"/>
          <ac:spMkLst>
            <pc:docMk/>
            <pc:sldMk cId="1508220717" sldId="2147473085"/>
            <ac:spMk id="48" creationId="{10703650-948A-7609-7B4E-D0014D8038BF}"/>
          </ac:spMkLst>
        </pc:spChg>
        <pc:spChg chg="mod">
          <ac:chgData name="Mick Mooney" userId="e6518e4e-af4a-4bea-b39c-20489a1e5519" providerId="ADAL" clId="{3014DE50-B07B-4776-BEAC-0F779D92A13E}" dt="2023-07-31T12:30:36.953" v="25402" actId="2711"/>
          <ac:spMkLst>
            <pc:docMk/>
            <pc:sldMk cId="1508220717" sldId="2147473085"/>
            <ac:spMk id="53" creationId="{AE105799-F122-5828-F13C-DC228FBEE579}"/>
          </ac:spMkLst>
        </pc:spChg>
        <pc:spChg chg="mod">
          <ac:chgData name="Mick Mooney" userId="e6518e4e-af4a-4bea-b39c-20489a1e5519" providerId="ADAL" clId="{3014DE50-B07B-4776-BEAC-0F779D92A13E}" dt="2023-07-31T12:30:36.953" v="25402" actId="2711"/>
          <ac:spMkLst>
            <pc:docMk/>
            <pc:sldMk cId="1508220717" sldId="2147473085"/>
            <ac:spMk id="63" creationId="{13D1406A-8B12-86F3-DC53-1F7788DF5F59}"/>
          </ac:spMkLst>
        </pc:spChg>
        <pc:spChg chg="mod">
          <ac:chgData name="Mick Mooney" userId="e6518e4e-af4a-4bea-b39c-20489a1e5519" providerId="ADAL" clId="{3014DE50-B07B-4776-BEAC-0F779D92A13E}" dt="2023-07-31T12:30:36.953" v="25402" actId="2711"/>
          <ac:spMkLst>
            <pc:docMk/>
            <pc:sldMk cId="1508220717" sldId="2147473085"/>
            <ac:spMk id="68" creationId="{0A557DBC-A4FC-FD45-9DA7-6106CB95811E}"/>
          </ac:spMkLst>
        </pc:spChg>
        <pc:spChg chg="mod">
          <ac:chgData name="Mick Mooney" userId="e6518e4e-af4a-4bea-b39c-20489a1e5519" providerId="ADAL" clId="{3014DE50-B07B-4776-BEAC-0F779D92A13E}" dt="2023-07-31T12:30:36.953" v="25402" actId="2711"/>
          <ac:spMkLst>
            <pc:docMk/>
            <pc:sldMk cId="1508220717" sldId="2147473085"/>
            <ac:spMk id="73" creationId="{8BEEC400-08B9-38D3-D6D7-E061FC34B84D}"/>
          </ac:spMkLst>
        </pc:spChg>
        <pc:spChg chg="mod">
          <ac:chgData name="Mick Mooney" userId="e6518e4e-af4a-4bea-b39c-20489a1e5519" providerId="ADAL" clId="{3014DE50-B07B-4776-BEAC-0F779D92A13E}" dt="2023-07-31T12:30:36.953" v="25402" actId="2711"/>
          <ac:spMkLst>
            <pc:docMk/>
            <pc:sldMk cId="1508220717" sldId="2147473085"/>
            <ac:spMk id="74" creationId="{0C260D39-E761-B024-20CA-135A886F620D}"/>
          </ac:spMkLst>
        </pc:spChg>
        <pc:spChg chg="mod">
          <ac:chgData name="Mick Mooney" userId="e6518e4e-af4a-4bea-b39c-20489a1e5519" providerId="ADAL" clId="{3014DE50-B07B-4776-BEAC-0F779D92A13E}" dt="2023-07-31T12:30:36.953" v="25402" actId="2711"/>
          <ac:spMkLst>
            <pc:docMk/>
            <pc:sldMk cId="1508220717" sldId="2147473085"/>
            <ac:spMk id="83" creationId="{ECD65351-FA00-7CDE-7E92-BDFA62A984E3}"/>
          </ac:spMkLst>
        </pc:spChg>
        <pc:grpChg chg="add mod">
          <ac:chgData name="Mick Mooney" userId="e6518e4e-af4a-4bea-b39c-20489a1e5519" providerId="ADAL" clId="{3014DE50-B07B-4776-BEAC-0F779D92A13E}" dt="2023-07-31T12:30:36.953" v="25402" actId="2711"/>
          <ac:grpSpMkLst>
            <pc:docMk/>
            <pc:sldMk cId="1508220717" sldId="2147473085"/>
            <ac:grpSpMk id="3" creationId="{77DDD3EE-6E0E-A4EF-D421-8485781D2197}"/>
          </ac:grpSpMkLst>
        </pc:grpChg>
        <pc:grpChg chg="mod">
          <ac:chgData name="Mick Mooney" userId="e6518e4e-af4a-4bea-b39c-20489a1e5519" providerId="ADAL" clId="{3014DE50-B07B-4776-BEAC-0F779D92A13E}" dt="2023-07-31T12:30:36.953" v="25402" actId="2711"/>
          <ac:grpSpMkLst>
            <pc:docMk/>
            <pc:sldMk cId="1508220717" sldId="2147473085"/>
            <ac:grpSpMk id="40" creationId="{F28952DA-29F7-51C4-834B-4A6F84DFDFDF}"/>
          </ac:grpSpMkLst>
        </pc:grpChg>
        <pc:grpChg chg="mod">
          <ac:chgData name="Mick Mooney" userId="e6518e4e-af4a-4bea-b39c-20489a1e5519" providerId="ADAL" clId="{3014DE50-B07B-4776-BEAC-0F779D92A13E}" dt="2023-07-31T12:30:36.953" v="25402" actId="2711"/>
          <ac:grpSpMkLst>
            <pc:docMk/>
            <pc:sldMk cId="1508220717" sldId="2147473085"/>
            <ac:grpSpMk id="44" creationId="{411F03FB-10CD-029D-EC3C-C7B9A2104B49}"/>
          </ac:grpSpMkLst>
        </pc:grpChg>
        <pc:grpChg chg="mod">
          <ac:chgData name="Mick Mooney" userId="e6518e4e-af4a-4bea-b39c-20489a1e5519" providerId="ADAL" clId="{3014DE50-B07B-4776-BEAC-0F779D92A13E}" dt="2023-07-31T12:30:36.953" v="25402" actId="2711"/>
          <ac:grpSpMkLst>
            <pc:docMk/>
            <pc:sldMk cId="1508220717" sldId="2147473085"/>
            <ac:grpSpMk id="49" creationId="{FAC87C61-E802-3840-12AF-E2811054C439}"/>
          </ac:grpSpMkLst>
        </pc:grpChg>
        <pc:grpChg chg="mod">
          <ac:chgData name="Mick Mooney" userId="e6518e4e-af4a-4bea-b39c-20489a1e5519" providerId="ADAL" clId="{3014DE50-B07B-4776-BEAC-0F779D92A13E}" dt="2023-07-31T12:30:36.953" v="25402" actId="2711"/>
          <ac:grpSpMkLst>
            <pc:docMk/>
            <pc:sldMk cId="1508220717" sldId="2147473085"/>
            <ac:grpSpMk id="54" creationId="{E49AC018-8930-C286-185E-56465EC1239B}"/>
          </ac:grpSpMkLst>
        </pc:grpChg>
        <pc:grpChg chg="mod">
          <ac:chgData name="Mick Mooney" userId="e6518e4e-af4a-4bea-b39c-20489a1e5519" providerId="ADAL" clId="{3014DE50-B07B-4776-BEAC-0F779D92A13E}" dt="2023-07-31T12:30:36.953" v="25402" actId="2711"/>
          <ac:grpSpMkLst>
            <pc:docMk/>
            <pc:sldMk cId="1508220717" sldId="2147473085"/>
            <ac:grpSpMk id="57" creationId="{799AED6A-4134-54F6-5ACE-5535DBF2223B}"/>
          </ac:grpSpMkLst>
        </pc:grpChg>
        <pc:grpChg chg="mod">
          <ac:chgData name="Mick Mooney" userId="e6518e4e-af4a-4bea-b39c-20489a1e5519" providerId="ADAL" clId="{3014DE50-B07B-4776-BEAC-0F779D92A13E}" dt="2023-07-31T12:30:36.953" v="25402" actId="2711"/>
          <ac:grpSpMkLst>
            <pc:docMk/>
            <pc:sldMk cId="1508220717" sldId="2147473085"/>
            <ac:grpSpMk id="60" creationId="{60962928-743B-0259-7BB8-6A28E9F8943B}"/>
          </ac:grpSpMkLst>
        </pc:grpChg>
        <pc:grpChg chg="mod">
          <ac:chgData name="Mick Mooney" userId="e6518e4e-af4a-4bea-b39c-20489a1e5519" providerId="ADAL" clId="{3014DE50-B07B-4776-BEAC-0F779D92A13E}" dt="2023-07-31T12:30:36.953" v="25402" actId="2711"/>
          <ac:grpSpMkLst>
            <pc:docMk/>
            <pc:sldMk cId="1508220717" sldId="2147473085"/>
            <ac:grpSpMk id="64" creationId="{B54AE171-9FB0-DEAC-B943-387630E211E5}"/>
          </ac:grpSpMkLst>
        </pc:grpChg>
        <pc:grpChg chg="mod">
          <ac:chgData name="Mick Mooney" userId="e6518e4e-af4a-4bea-b39c-20489a1e5519" providerId="ADAL" clId="{3014DE50-B07B-4776-BEAC-0F779D92A13E}" dt="2023-07-31T12:30:36.953" v="25402" actId="2711"/>
          <ac:grpSpMkLst>
            <pc:docMk/>
            <pc:sldMk cId="1508220717" sldId="2147473085"/>
            <ac:grpSpMk id="69" creationId="{C15812A3-8C2B-E3E2-8F84-22902000E09B}"/>
          </ac:grpSpMkLst>
        </pc:grpChg>
        <pc:grpChg chg="mod">
          <ac:chgData name="Mick Mooney" userId="e6518e4e-af4a-4bea-b39c-20489a1e5519" providerId="ADAL" clId="{3014DE50-B07B-4776-BEAC-0F779D92A13E}" dt="2023-07-31T12:30:36.953" v="25402" actId="2711"/>
          <ac:grpSpMkLst>
            <pc:docMk/>
            <pc:sldMk cId="1508220717" sldId="2147473085"/>
            <ac:grpSpMk id="75" creationId="{1FADE6FC-878F-5ACF-0A3C-DCAED2E5A1CD}"/>
          </ac:grpSpMkLst>
        </pc:grpChg>
        <pc:grpChg chg="mod">
          <ac:chgData name="Mick Mooney" userId="e6518e4e-af4a-4bea-b39c-20489a1e5519" providerId="ADAL" clId="{3014DE50-B07B-4776-BEAC-0F779D92A13E}" dt="2023-07-31T12:30:36.953" v="25402" actId="2711"/>
          <ac:grpSpMkLst>
            <pc:docMk/>
            <pc:sldMk cId="1508220717" sldId="2147473085"/>
            <ac:grpSpMk id="79" creationId="{8A56E465-1F8D-876F-70EB-F589B2EA2547}"/>
          </ac:grpSpMkLst>
        </pc:grpChg>
        <pc:grpChg chg="del">
          <ac:chgData name="Mick Mooney" userId="e6518e4e-af4a-4bea-b39c-20489a1e5519" providerId="ADAL" clId="{3014DE50-B07B-4776-BEAC-0F779D92A13E}" dt="2023-07-26T08:57:08.916" v="16594" actId="478"/>
          <ac:grpSpMkLst>
            <pc:docMk/>
            <pc:sldMk cId="1508220717" sldId="2147473085"/>
            <ac:grpSpMk id="85" creationId="{61E12D17-EC1C-F547-CCA1-E2D112BE1890}"/>
          </ac:grpSpMkLst>
        </pc:grpChg>
        <pc:graphicFrameChg chg="mod">
          <ac:chgData name="Mick Mooney" userId="e6518e4e-af4a-4bea-b39c-20489a1e5519" providerId="ADAL" clId="{3014DE50-B07B-4776-BEAC-0F779D92A13E}" dt="2023-07-31T12:30:36.953" v="25402" actId="2711"/>
          <ac:graphicFrameMkLst>
            <pc:docMk/>
            <pc:sldMk cId="1508220717" sldId="2147473085"/>
            <ac:graphicFrameMk id="33" creationId="{D436D23B-193F-0A20-722C-4451F124199A}"/>
          </ac:graphicFrameMkLst>
        </pc:graphicFrameChg>
        <pc:graphicFrameChg chg="mod">
          <ac:chgData name="Mick Mooney" userId="e6518e4e-af4a-4bea-b39c-20489a1e5519" providerId="ADAL" clId="{3014DE50-B07B-4776-BEAC-0F779D92A13E}" dt="2023-07-31T12:30:36.953" v="25402" actId="2711"/>
          <ac:graphicFrameMkLst>
            <pc:docMk/>
            <pc:sldMk cId="1508220717" sldId="2147473085"/>
            <ac:graphicFrameMk id="34" creationId="{391EE492-BDB1-AABA-FBBA-D19DF99C4E12}"/>
          </ac:graphicFrameMkLst>
        </pc:graphicFrameChg>
        <pc:graphicFrameChg chg="mod">
          <ac:chgData name="Mick Mooney" userId="e6518e4e-af4a-4bea-b39c-20489a1e5519" providerId="ADAL" clId="{3014DE50-B07B-4776-BEAC-0F779D92A13E}" dt="2023-07-31T12:30:36.953" v="25402" actId="2711"/>
          <ac:graphicFrameMkLst>
            <pc:docMk/>
            <pc:sldMk cId="1508220717" sldId="2147473085"/>
            <ac:graphicFrameMk id="35" creationId="{6FFDDCC3-5D42-3AA3-413F-45E0878E4D29}"/>
          </ac:graphicFrameMkLst>
        </pc:graphicFrameChg>
        <pc:graphicFrameChg chg="mod">
          <ac:chgData name="Mick Mooney" userId="e6518e4e-af4a-4bea-b39c-20489a1e5519" providerId="ADAL" clId="{3014DE50-B07B-4776-BEAC-0F779D92A13E}" dt="2023-07-31T12:30:36.953" v="25402" actId="2711"/>
          <ac:graphicFrameMkLst>
            <pc:docMk/>
            <pc:sldMk cId="1508220717" sldId="2147473085"/>
            <ac:graphicFrameMk id="36" creationId="{C395B504-09BF-E80F-23FD-9DAEF74D8F54}"/>
          </ac:graphicFrameMkLst>
        </pc:graphicFrameChg>
        <pc:picChg chg="add mod">
          <ac:chgData name="Mick Mooney" userId="e6518e4e-af4a-4bea-b39c-20489a1e5519" providerId="ADAL" clId="{3014DE50-B07B-4776-BEAC-0F779D92A13E}" dt="2023-07-31T12:30:36.953" v="25402" actId="2711"/>
          <ac:picMkLst>
            <pc:docMk/>
            <pc:sldMk cId="1508220717" sldId="2147473085"/>
            <ac:picMk id="2" creationId="{F2F7AB9E-8356-911E-38DF-5B3E90224FF4}"/>
          </ac:picMkLst>
        </pc:picChg>
        <pc:picChg chg="mod">
          <ac:chgData name="Mick Mooney" userId="e6518e4e-af4a-4bea-b39c-20489a1e5519" providerId="ADAL" clId="{3014DE50-B07B-4776-BEAC-0F779D92A13E}" dt="2023-07-31T12:30:36.953" v="25402" actId="2711"/>
          <ac:picMkLst>
            <pc:docMk/>
            <pc:sldMk cId="1508220717" sldId="2147473085"/>
            <ac:picMk id="28" creationId="{8996250F-6747-A121-84DE-B9BCD1964857}"/>
          </ac:picMkLst>
        </pc:picChg>
        <pc:picChg chg="mod">
          <ac:chgData name="Mick Mooney" userId="e6518e4e-af4a-4bea-b39c-20489a1e5519" providerId="ADAL" clId="{3014DE50-B07B-4776-BEAC-0F779D92A13E}" dt="2023-07-31T12:30:36.953" v="25402" actId="2711"/>
          <ac:picMkLst>
            <pc:docMk/>
            <pc:sldMk cId="1508220717" sldId="2147473085"/>
            <ac:picMk id="29" creationId="{7CC69652-DBA1-35DB-3B5A-DF119E1C9F67}"/>
          </ac:picMkLst>
        </pc:picChg>
        <pc:picChg chg="mod">
          <ac:chgData name="Mick Mooney" userId="e6518e4e-af4a-4bea-b39c-20489a1e5519" providerId="ADAL" clId="{3014DE50-B07B-4776-BEAC-0F779D92A13E}" dt="2023-07-31T12:30:36.953" v="25402" actId="2711"/>
          <ac:picMkLst>
            <pc:docMk/>
            <pc:sldMk cId="1508220717" sldId="2147473085"/>
            <ac:picMk id="30" creationId="{E633E5B7-D0EA-7286-B668-ACA2197D8AFD}"/>
          </ac:picMkLst>
        </pc:picChg>
        <pc:picChg chg="mod">
          <ac:chgData name="Mick Mooney" userId="e6518e4e-af4a-4bea-b39c-20489a1e5519" providerId="ADAL" clId="{3014DE50-B07B-4776-BEAC-0F779D92A13E}" dt="2023-07-31T12:30:36.953" v="25402" actId="2711"/>
          <ac:picMkLst>
            <pc:docMk/>
            <pc:sldMk cId="1508220717" sldId="2147473085"/>
            <ac:picMk id="31" creationId="{B30B1F1F-67D6-D44D-67FE-12821A1233D9}"/>
          </ac:picMkLst>
        </pc:picChg>
        <pc:picChg chg="del">
          <ac:chgData name="Mick Mooney" userId="e6518e4e-af4a-4bea-b39c-20489a1e5519" providerId="ADAL" clId="{3014DE50-B07B-4776-BEAC-0F779D92A13E}" dt="2023-07-26T08:57:08.253" v="16593" actId="478"/>
          <ac:picMkLst>
            <pc:docMk/>
            <pc:sldMk cId="1508220717" sldId="2147473085"/>
            <ac:picMk id="84" creationId="{2C239687-C9F0-CF11-BD9B-6EC679A2BE4F}"/>
          </ac:picMkLst>
        </pc:picChg>
        <pc:cxnChg chg="mod">
          <ac:chgData name="Mick Mooney" userId="e6518e4e-af4a-4bea-b39c-20489a1e5519" providerId="ADAL" clId="{3014DE50-B07B-4776-BEAC-0F779D92A13E}" dt="2023-07-31T12:30:36.953" v="25402" actId="2711"/>
          <ac:cxnSpMkLst>
            <pc:docMk/>
            <pc:sldMk cId="1508220717" sldId="2147473085"/>
            <ac:cxnSpMk id="38" creationId="{E6AF63A2-8FB6-AA14-89FA-81C0591EFABA}"/>
          </ac:cxnSpMkLst>
        </pc:cxnChg>
      </pc:sldChg>
      <pc:sldChg chg="addSp delSp modSp mod">
        <pc:chgData name="Mick Mooney" userId="e6518e4e-af4a-4bea-b39c-20489a1e5519" providerId="ADAL" clId="{3014DE50-B07B-4776-BEAC-0F779D92A13E}" dt="2023-07-31T12:30:27.999" v="25401" actId="2711"/>
        <pc:sldMkLst>
          <pc:docMk/>
          <pc:sldMk cId="3270732291" sldId="2147473086"/>
        </pc:sldMkLst>
        <pc:spChg chg="mod">
          <ac:chgData name="Mick Mooney" userId="e6518e4e-af4a-4bea-b39c-20489a1e5519" providerId="ADAL" clId="{3014DE50-B07B-4776-BEAC-0F779D92A13E}" dt="2023-07-31T12:30:27.999" v="25401" actId="2711"/>
          <ac:spMkLst>
            <pc:docMk/>
            <pc:sldMk cId="3270732291" sldId="2147473086"/>
            <ac:spMk id="2" creationId="{EF4C74AF-47A0-5692-D96F-577ED61E0DB8}"/>
          </ac:spMkLst>
        </pc:spChg>
        <pc:spChg chg="mod">
          <ac:chgData name="Mick Mooney" userId="e6518e4e-af4a-4bea-b39c-20489a1e5519" providerId="ADAL" clId="{3014DE50-B07B-4776-BEAC-0F779D92A13E}" dt="2023-07-31T12:30:27.999" v="25401" actId="2711"/>
          <ac:spMkLst>
            <pc:docMk/>
            <pc:sldMk cId="3270732291" sldId="2147473086"/>
            <ac:spMk id="3" creationId="{DC2F74A8-1A6C-5854-F4F1-1FAFAC98C003}"/>
          </ac:spMkLst>
        </pc:spChg>
        <pc:spChg chg="mod">
          <ac:chgData name="Mick Mooney" userId="e6518e4e-af4a-4bea-b39c-20489a1e5519" providerId="ADAL" clId="{3014DE50-B07B-4776-BEAC-0F779D92A13E}" dt="2023-07-31T12:30:27.999" v="25401" actId="2711"/>
          <ac:spMkLst>
            <pc:docMk/>
            <pc:sldMk cId="3270732291" sldId="2147473086"/>
            <ac:spMk id="4" creationId="{DC56FC81-B49D-1995-6A56-B970E9FB6BA8}"/>
          </ac:spMkLst>
        </pc:spChg>
        <pc:spChg chg="mod">
          <ac:chgData name="Mick Mooney" userId="e6518e4e-af4a-4bea-b39c-20489a1e5519" providerId="ADAL" clId="{3014DE50-B07B-4776-BEAC-0F779D92A13E}" dt="2023-07-31T12:30:27.999" v="25401" actId="2711"/>
          <ac:spMkLst>
            <pc:docMk/>
            <pc:sldMk cId="3270732291" sldId="2147473086"/>
            <ac:spMk id="6" creationId="{D6B3904C-298A-03C4-17A9-9F7CC2E8F5BA}"/>
          </ac:spMkLst>
        </pc:spChg>
        <pc:spChg chg="mod">
          <ac:chgData name="Mick Mooney" userId="e6518e4e-af4a-4bea-b39c-20489a1e5519" providerId="ADAL" clId="{3014DE50-B07B-4776-BEAC-0F779D92A13E}" dt="2023-07-26T08:57:34.791" v="16599" actId="1076"/>
          <ac:spMkLst>
            <pc:docMk/>
            <pc:sldMk cId="3270732291" sldId="2147473086"/>
            <ac:spMk id="8" creationId="{DEFCCD68-9E24-7329-0220-9F3B48F4AD63}"/>
          </ac:spMkLst>
        </pc:spChg>
        <pc:spChg chg="mod">
          <ac:chgData name="Mick Mooney" userId="e6518e4e-af4a-4bea-b39c-20489a1e5519" providerId="ADAL" clId="{3014DE50-B07B-4776-BEAC-0F779D92A13E}" dt="2023-07-26T08:57:34.791" v="16599" actId="1076"/>
          <ac:spMkLst>
            <pc:docMk/>
            <pc:sldMk cId="3270732291" sldId="2147473086"/>
            <ac:spMk id="9" creationId="{EEFBAB8E-0A31-701C-3CD3-6E63E5ACA5AA}"/>
          </ac:spMkLst>
        </pc:spChg>
        <pc:spChg chg="mod">
          <ac:chgData name="Mick Mooney" userId="e6518e4e-af4a-4bea-b39c-20489a1e5519" providerId="ADAL" clId="{3014DE50-B07B-4776-BEAC-0F779D92A13E}" dt="2023-07-26T08:57:34.791" v="16599" actId="1076"/>
          <ac:spMkLst>
            <pc:docMk/>
            <pc:sldMk cId="3270732291" sldId="2147473086"/>
            <ac:spMk id="10" creationId="{C2B75285-D61B-B703-75C5-63C81F00E49C}"/>
          </ac:spMkLst>
        </pc:spChg>
        <pc:spChg chg="mod">
          <ac:chgData name="Mick Mooney" userId="e6518e4e-af4a-4bea-b39c-20489a1e5519" providerId="ADAL" clId="{3014DE50-B07B-4776-BEAC-0F779D92A13E}" dt="2023-07-31T12:30:27.999" v="25401" actId="2711"/>
          <ac:spMkLst>
            <pc:docMk/>
            <pc:sldMk cId="3270732291" sldId="2147473086"/>
            <ac:spMk id="22" creationId="{4C2AC5F6-CF95-1618-7D88-46523137B4BA}"/>
          </ac:spMkLst>
        </pc:spChg>
        <pc:spChg chg="mod">
          <ac:chgData name="Mick Mooney" userId="e6518e4e-af4a-4bea-b39c-20489a1e5519" providerId="ADAL" clId="{3014DE50-B07B-4776-BEAC-0F779D92A13E}" dt="2023-07-31T12:30:27.999" v="25401" actId="2711"/>
          <ac:spMkLst>
            <pc:docMk/>
            <pc:sldMk cId="3270732291" sldId="2147473086"/>
            <ac:spMk id="25" creationId="{0B1B1B95-F9CB-7D63-1A68-246D665B11C4}"/>
          </ac:spMkLst>
        </pc:spChg>
        <pc:spChg chg="mod">
          <ac:chgData name="Mick Mooney" userId="e6518e4e-af4a-4bea-b39c-20489a1e5519" providerId="ADAL" clId="{3014DE50-B07B-4776-BEAC-0F779D92A13E}" dt="2023-07-31T12:30:27.999" v="25401" actId="2711"/>
          <ac:spMkLst>
            <pc:docMk/>
            <pc:sldMk cId="3270732291" sldId="2147473086"/>
            <ac:spMk id="34" creationId="{810BA9CC-2C5C-4AE6-AD9A-085AE329CD3B}"/>
          </ac:spMkLst>
        </pc:spChg>
        <pc:spChg chg="mod">
          <ac:chgData name="Mick Mooney" userId="e6518e4e-af4a-4bea-b39c-20489a1e5519" providerId="ADAL" clId="{3014DE50-B07B-4776-BEAC-0F779D92A13E}" dt="2023-07-31T12:30:27.999" v="25401" actId="2711"/>
          <ac:spMkLst>
            <pc:docMk/>
            <pc:sldMk cId="3270732291" sldId="2147473086"/>
            <ac:spMk id="84" creationId="{3AA80988-7035-7D9B-E455-D932FFBD19E2}"/>
          </ac:spMkLst>
        </pc:spChg>
        <pc:spChg chg="mod">
          <ac:chgData name="Mick Mooney" userId="e6518e4e-af4a-4bea-b39c-20489a1e5519" providerId="ADAL" clId="{3014DE50-B07B-4776-BEAC-0F779D92A13E}" dt="2023-07-31T12:30:27.999" v="25401" actId="2711"/>
          <ac:spMkLst>
            <pc:docMk/>
            <pc:sldMk cId="3270732291" sldId="2147473086"/>
            <ac:spMk id="85" creationId="{2782282D-A7E6-F0C8-3181-F5865C64F47E}"/>
          </ac:spMkLst>
        </pc:spChg>
        <pc:spChg chg="mod">
          <ac:chgData name="Mick Mooney" userId="e6518e4e-af4a-4bea-b39c-20489a1e5519" providerId="ADAL" clId="{3014DE50-B07B-4776-BEAC-0F779D92A13E}" dt="2023-07-31T12:30:27.999" v="25401" actId="2711"/>
          <ac:spMkLst>
            <pc:docMk/>
            <pc:sldMk cId="3270732291" sldId="2147473086"/>
            <ac:spMk id="86" creationId="{A846DC34-89F2-7D0D-B0CC-52BEE862B45B}"/>
          </ac:spMkLst>
        </pc:spChg>
        <pc:spChg chg="mod">
          <ac:chgData name="Mick Mooney" userId="e6518e4e-af4a-4bea-b39c-20489a1e5519" providerId="ADAL" clId="{3014DE50-B07B-4776-BEAC-0F779D92A13E}" dt="2023-07-31T12:30:27.999" v="25401" actId="2711"/>
          <ac:spMkLst>
            <pc:docMk/>
            <pc:sldMk cId="3270732291" sldId="2147473086"/>
            <ac:spMk id="87" creationId="{18D81DCF-CEC6-90F5-3FF9-29D3A0AD63D6}"/>
          </ac:spMkLst>
        </pc:spChg>
        <pc:spChg chg="mod">
          <ac:chgData name="Mick Mooney" userId="e6518e4e-af4a-4bea-b39c-20489a1e5519" providerId="ADAL" clId="{3014DE50-B07B-4776-BEAC-0F779D92A13E}" dt="2023-07-31T12:30:27.999" v="25401" actId="2711"/>
          <ac:spMkLst>
            <pc:docMk/>
            <pc:sldMk cId="3270732291" sldId="2147473086"/>
            <ac:spMk id="88" creationId="{5A069DB5-F07D-54B5-FD0C-097FA0C8EFBE}"/>
          </ac:spMkLst>
        </pc:spChg>
        <pc:spChg chg="mod">
          <ac:chgData name="Mick Mooney" userId="e6518e4e-af4a-4bea-b39c-20489a1e5519" providerId="ADAL" clId="{3014DE50-B07B-4776-BEAC-0F779D92A13E}" dt="2023-07-31T12:30:27.999" v="25401" actId="2711"/>
          <ac:spMkLst>
            <pc:docMk/>
            <pc:sldMk cId="3270732291" sldId="2147473086"/>
            <ac:spMk id="89" creationId="{147651C7-2097-C707-A820-0D54E5DAEDE0}"/>
          </ac:spMkLst>
        </pc:spChg>
        <pc:spChg chg="mod">
          <ac:chgData name="Mick Mooney" userId="e6518e4e-af4a-4bea-b39c-20489a1e5519" providerId="ADAL" clId="{3014DE50-B07B-4776-BEAC-0F779D92A13E}" dt="2023-07-31T12:30:27.999" v="25401" actId="2711"/>
          <ac:spMkLst>
            <pc:docMk/>
            <pc:sldMk cId="3270732291" sldId="2147473086"/>
            <ac:spMk id="90" creationId="{2E18EDA6-2361-B88F-62AE-F5A630B9F6C0}"/>
          </ac:spMkLst>
        </pc:spChg>
        <pc:spChg chg="mod">
          <ac:chgData name="Mick Mooney" userId="e6518e4e-af4a-4bea-b39c-20489a1e5519" providerId="ADAL" clId="{3014DE50-B07B-4776-BEAC-0F779D92A13E}" dt="2023-07-31T12:30:27.999" v="25401" actId="2711"/>
          <ac:spMkLst>
            <pc:docMk/>
            <pc:sldMk cId="3270732291" sldId="2147473086"/>
            <ac:spMk id="93" creationId="{15020061-B5B6-8EE7-D7EF-DD6DB07B8D17}"/>
          </ac:spMkLst>
        </pc:spChg>
        <pc:spChg chg="mod">
          <ac:chgData name="Mick Mooney" userId="e6518e4e-af4a-4bea-b39c-20489a1e5519" providerId="ADAL" clId="{3014DE50-B07B-4776-BEAC-0F779D92A13E}" dt="2023-07-31T12:30:27.999" v="25401" actId="2711"/>
          <ac:spMkLst>
            <pc:docMk/>
            <pc:sldMk cId="3270732291" sldId="2147473086"/>
            <ac:spMk id="94" creationId="{51504E8A-EE17-7913-62B9-8C1B70C3F189}"/>
          </ac:spMkLst>
        </pc:spChg>
        <pc:spChg chg="mod">
          <ac:chgData name="Mick Mooney" userId="e6518e4e-af4a-4bea-b39c-20489a1e5519" providerId="ADAL" clId="{3014DE50-B07B-4776-BEAC-0F779D92A13E}" dt="2023-07-31T12:30:27.999" v="25401" actId="2711"/>
          <ac:spMkLst>
            <pc:docMk/>
            <pc:sldMk cId="3270732291" sldId="2147473086"/>
            <ac:spMk id="95" creationId="{19037155-574F-6C9E-E167-D3152639D5B1}"/>
          </ac:spMkLst>
        </pc:spChg>
        <pc:spChg chg="mod">
          <ac:chgData name="Mick Mooney" userId="e6518e4e-af4a-4bea-b39c-20489a1e5519" providerId="ADAL" clId="{3014DE50-B07B-4776-BEAC-0F779D92A13E}" dt="2023-07-31T12:30:27.999" v="25401" actId="2711"/>
          <ac:spMkLst>
            <pc:docMk/>
            <pc:sldMk cId="3270732291" sldId="2147473086"/>
            <ac:spMk id="96" creationId="{AC490D6B-5A61-09BE-BDE1-ACC718BEE4B0}"/>
          </ac:spMkLst>
        </pc:spChg>
        <pc:spChg chg="mod">
          <ac:chgData name="Mick Mooney" userId="e6518e4e-af4a-4bea-b39c-20489a1e5519" providerId="ADAL" clId="{3014DE50-B07B-4776-BEAC-0F779D92A13E}" dt="2023-07-31T12:30:27.999" v="25401" actId="2711"/>
          <ac:spMkLst>
            <pc:docMk/>
            <pc:sldMk cId="3270732291" sldId="2147473086"/>
            <ac:spMk id="97" creationId="{841C8C37-BA9E-F58D-3325-F36475E6CFF2}"/>
          </ac:spMkLst>
        </pc:spChg>
        <pc:spChg chg="mod">
          <ac:chgData name="Mick Mooney" userId="e6518e4e-af4a-4bea-b39c-20489a1e5519" providerId="ADAL" clId="{3014DE50-B07B-4776-BEAC-0F779D92A13E}" dt="2023-07-31T12:30:27.999" v="25401" actId="2711"/>
          <ac:spMkLst>
            <pc:docMk/>
            <pc:sldMk cId="3270732291" sldId="2147473086"/>
            <ac:spMk id="98" creationId="{372B0A1A-952B-7666-89D3-5995DDF04D9F}"/>
          </ac:spMkLst>
        </pc:spChg>
        <pc:grpChg chg="add del mod">
          <ac:chgData name="Mick Mooney" userId="e6518e4e-af4a-4bea-b39c-20489a1e5519" providerId="ADAL" clId="{3014DE50-B07B-4776-BEAC-0F779D92A13E}" dt="2023-07-26T08:57:37.093" v="16600" actId="478"/>
          <ac:grpSpMkLst>
            <pc:docMk/>
            <pc:sldMk cId="3270732291" sldId="2147473086"/>
            <ac:grpSpMk id="7" creationId="{1ED11A85-0CA0-47EE-426E-C90B627718D7}"/>
          </ac:grpSpMkLst>
        </pc:grpChg>
        <pc:grpChg chg="del">
          <ac:chgData name="Mick Mooney" userId="e6518e4e-af4a-4bea-b39c-20489a1e5519" providerId="ADAL" clId="{3014DE50-B07B-4776-BEAC-0F779D92A13E}" dt="2023-07-26T08:57:24.948" v="16597" actId="478"/>
          <ac:grpSpMkLst>
            <pc:docMk/>
            <pc:sldMk cId="3270732291" sldId="2147473086"/>
            <ac:grpSpMk id="107" creationId="{7508073A-9231-B8E4-094C-7C30F2F8AABD}"/>
          </ac:grpSpMkLst>
        </pc:grpChg>
        <pc:picChg chg="add mod">
          <ac:chgData name="Mick Mooney" userId="e6518e4e-af4a-4bea-b39c-20489a1e5519" providerId="ADAL" clId="{3014DE50-B07B-4776-BEAC-0F779D92A13E}" dt="2023-07-26T08:57:34.791" v="16599" actId="1076"/>
          <ac:picMkLst>
            <pc:docMk/>
            <pc:sldMk cId="3270732291" sldId="2147473086"/>
            <ac:picMk id="5" creationId="{D715D060-1968-C2F4-4D08-BDAFEF29A1DC}"/>
          </ac:picMkLst>
        </pc:picChg>
        <pc:picChg chg="del">
          <ac:chgData name="Mick Mooney" userId="e6518e4e-af4a-4bea-b39c-20489a1e5519" providerId="ADAL" clId="{3014DE50-B07B-4776-BEAC-0F779D92A13E}" dt="2023-07-26T08:57:24.049" v="16596" actId="478"/>
          <ac:picMkLst>
            <pc:docMk/>
            <pc:sldMk cId="3270732291" sldId="2147473086"/>
            <ac:picMk id="106" creationId="{9D992C60-4E9F-654F-6D2E-9F3C7B2FF6C1}"/>
          </ac:picMkLst>
        </pc:picChg>
      </pc:sldChg>
      <pc:sldChg chg="modSp mod">
        <pc:chgData name="Mick Mooney" userId="e6518e4e-af4a-4bea-b39c-20489a1e5519" providerId="ADAL" clId="{3014DE50-B07B-4776-BEAC-0F779D92A13E}" dt="2023-07-31T12:30:49.956" v="25404" actId="2711"/>
        <pc:sldMkLst>
          <pc:docMk/>
          <pc:sldMk cId="1356336447" sldId="2147473087"/>
        </pc:sldMkLst>
        <pc:spChg chg="mod">
          <ac:chgData name="Mick Mooney" userId="e6518e4e-af4a-4bea-b39c-20489a1e5519" providerId="ADAL" clId="{3014DE50-B07B-4776-BEAC-0F779D92A13E}" dt="2023-07-31T12:30:49.956" v="25404" actId="2711"/>
          <ac:spMkLst>
            <pc:docMk/>
            <pc:sldMk cId="1356336447" sldId="2147473087"/>
            <ac:spMk id="7" creationId="{EF2A63A6-D728-A247-FA3F-38B9F0DE4E22}"/>
          </ac:spMkLst>
        </pc:spChg>
        <pc:spChg chg="mod">
          <ac:chgData name="Mick Mooney" userId="e6518e4e-af4a-4bea-b39c-20489a1e5519" providerId="ADAL" clId="{3014DE50-B07B-4776-BEAC-0F779D92A13E}" dt="2023-07-31T12:30:49.956" v="25404" actId="2711"/>
          <ac:spMkLst>
            <pc:docMk/>
            <pc:sldMk cId="1356336447" sldId="2147473087"/>
            <ac:spMk id="8" creationId="{7824D54C-15D2-467C-A016-166944D0781C}"/>
          </ac:spMkLst>
        </pc:spChg>
        <pc:spChg chg="mod replST delST">
          <ac:chgData name="Mick Mooney" userId="e6518e4e-af4a-4bea-b39c-20489a1e5519" providerId="ADAL" clId="{3014DE50-B07B-4776-BEAC-0F779D92A13E}" dt="2023-07-31T12:30:49.956" v="25404" actId="2711"/>
          <ac:spMkLst>
            <pc:docMk/>
            <pc:sldMk cId="1356336447" sldId="2147473087"/>
            <ac:spMk id="23" creationId="{7BC5C64F-0D25-B137-7A8F-C202E3B68BBD}"/>
          </ac:spMkLst>
        </pc:spChg>
        <pc:spChg chg="mod">
          <ac:chgData name="Mick Mooney" userId="e6518e4e-af4a-4bea-b39c-20489a1e5519" providerId="ADAL" clId="{3014DE50-B07B-4776-BEAC-0F779D92A13E}" dt="2023-07-31T12:30:49.956" v="25404" actId="2711"/>
          <ac:spMkLst>
            <pc:docMk/>
            <pc:sldMk cId="1356336447" sldId="2147473087"/>
            <ac:spMk id="24" creationId="{FF3667C4-2B93-8833-BC70-EB566580C6BD}"/>
          </ac:spMkLst>
        </pc:spChg>
        <pc:spChg chg="mod">
          <ac:chgData name="Mick Mooney" userId="e6518e4e-af4a-4bea-b39c-20489a1e5519" providerId="ADAL" clId="{3014DE50-B07B-4776-BEAC-0F779D92A13E}" dt="2023-07-31T12:30:49.956" v="25404" actId="2711"/>
          <ac:spMkLst>
            <pc:docMk/>
            <pc:sldMk cId="1356336447" sldId="2147473087"/>
            <ac:spMk id="26" creationId="{C40A3244-69DF-A354-7B4D-D5BC89C32C78}"/>
          </ac:spMkLst>
        </pc:spChg>
        <pc:spChg chg="mod">
          <ac:chgData name="Mick Mooney" userId="e6518e4e-af4a-4bea-b39c-20489a1e5519" providerId="ADAL" clId="{3014DE50-B07B-4776-BEAC-0F779D92A13E}" dt="2023-07-31T12:30:49.956" v="25404" actId="2711"/>
          <ac:spMkLst>
            <pc:docMk/>
            <pc:sldMk cId="1356336447" sldId="2147473087"/>
            <ac:spMk id="27" creationId="{883DDDC4-BF08-2B09-69FF-E8700A18DF66}"/>
          </ac:spMkLst>
        </pc:spChg>
        <pc:spChg chg="mod">
          <ac:chgData name="Mick Mooney" userId="e6518e4e-af4a-4bea-b39c-20489a1e5519" providerId="ADAL" clId="{3014DE50-B07B-4776-BEAC-0F779D92A13E}" dt="2023-07-31T12:30:49.956" v="25404" actId="2711"/>
          <ac:spMkLst>
            <pc:docMk/>
            <pc:sldMk cId="1356336447" sldId="2147473087"/>
            <ac:spMk id="28" creationId="{3277CE52-F588-DD72-0C8C-357908C12E26}"/>
          </ac:spMkLst>
        </pc:spChg>
        <pc:spChg chg="mod">
          <ac:chgData name="Mick Mooney" userId="e6518e4e-af4a-4bea-b39c-20489a1e5519" providerId="ADAL" clId="{3014DE50-B07B-4776-BEAC-0F779D92A13E}" dt="2023-07-31T12:30:49.956" v="25404" actId="2711"/>
          <ac:spMkLst>
            <pc:docMk/>
            <pc:sldMk cId="1356336447" sldId="2147473087"/>
            <ac:spMk id="29" creationId="{7F45EB88-F9F2-5B9C-AF80-8B4B093179FC}"/>
          </ac:spMkLst>
        </pc:spChg>
        <pc:spChg chg="mod">
          <ac:chgData name="Mick Mooney" userId="e6518e4e-af4a-4bea-b39c-20489a1e5519" providerId="ADAL" clId="{3014DE50-B07B-4776-BEAC-0F779D92A13E}" dt="2023-07-31T12:30:49.956" v="25404" actId="2711"/>
          <ac:spMkLst>
            <pc:docMk/>
            <pc:sldMk cId="1356336447" sldId="2147473087"/>
            <ac:spMk id="30" creationId="{EDEFF43A-B599-3C18-437C-4D4D2A641EBF}"/>
          </ac:spMkLst>
        </pc:spChg>
        <pc:spChg chg="mod">
          <ac:chgData name="Mick Mooney" userId="e6518e4e-af4a-4bea-b39c-20489a1e5519" providerId="ADAL" clId="{3014DE50-B07B-4776-BEAC-0F779D92A13E}" dt="2023-07-31T12:30:49.956" v="25404" actId="2711"/>
          <ac:spMkLst>
            <pc:docMk/>
            <pc:sldMk cId="1356336447" sldId="2147473087"/>
            <ac:spMk id="31" creationId="{770214A3-C96B-62BD-3CEA-99066043E8BB}"/>
          </ac:spMkLst>
        </pc:spChg>
        <pc:spChg chg="mod">
          <ac:chgData name="Mick Mooney" userId="e6518e4e-af4a-4bea-b39c-20489a1e5519" providerId="ADAL" clId="{3014DE50-B07B-4776-BEAC-0F779D92A13E}" dt="2023-07-31T12:30:49.956" v="25404" actId="2711"/>
          <ac:spMkLst>
            <pc:docMk/>
            <pc:sldMk cId="1356336447" sldId="2147473087"/>
            <ac:spMk id="32" creationId="{DEFCA9EB-6108-578F-E099-A0931769F40F}"/>
          </ac:spMkLst>
        </pc:spChg>
        <pc:spChg chg="mod">
          <ac:chgData name="Mick Mooney" userId="e6518e4e-af4a-4bea-b39c-20489a1e5519" providerId="ADAL" clId="{3014DE50-B07B-4776-BEAC-0F779D92A13E}" dt="2023-07-31T12:30:49.956" v="25404" actId="2711"/>
          <ac:spMkLst>
            <pc:docMk/>
            <pc:sldMk cId="1356336447" sldId="2147473087"/>
            <ac:spMk id="33" creationId="{FF85DABA-DF66-BA5B-4EFD-0BB565FA7AAD}"/>
          </ac:spMkLst>
        </pc:spChg>
        <pc:spChg chg="mod">
          <ac:chgData name="Mick Mooney" userId="e6518e4e-af4a-4bea-b39c-20489a1e5519" providerId="ADAL" clId="{3014DE50-B07B-4776-BEAC-0F779D92A13E}" dt="2023-07-31T12:30:49.956" v="25404" actId="2711"/>
          <ac:spMkLst>
            <pc:docMk/>
            <pc:sldMk cId="1356336447" sldId="2147473087"/>
            <ac:spMk id="34" creationId="{208098E1-A95F-E72A-87DE-D5FAFC31B9B3}"/>
          </ac:spMkLst>
        </pc:spChg>
        <pc:spChg chg="mod">
          <ac:chgData name="Mick Mooney" userId="e6518e4e-af4a-4bea-b39c-20489a1e5519" providerId="ADAL" clId="{3014DE50-B07B-4776-BEAC-0F779D92A13E}" dt="2023-07-31T12:30:49.956" v="25404" actId="2711"/>
          <ac:spMkLst>
            <pc:docMk/>
            <pc:sldMk cId="1356336447" sldId="2147473087"/>
            <ac:spMk id="35" creationId="{DD79C4A8-0C51-F4B4-E4CC-4F3BD91959EC}"/>
          </ac:spMkLst>
        </pc:spChg>
        <pc:spChg chg="mod">
          <ac:chgData name="Mick Mooney" userId="e6518e4e-af4a-4bea-b39c-20489a1e5519" providerId="ADAL" clId="{3014DE50-B07B-4776-BEAC-0F779D92A13E}" dt="2023-07-31T12:30:49.956" v="25404" actId="2711"/>
          <ac:spMkLst>
            <pc:docMk/>
            <pc:sldMk cId="1356336447" sldId="2147473087"/>
            <ac:spMk id="44" creationId="{11B79D8F-3C6A-7BAB-3C3D-22F121D4EE7C}"/>
          </ac:spMkLst>
        </pc:spChg>
        <pc:spChg chg="mod">
          <ac:chgData name="Mick Mooney" userId="e6518e4e-af4a-4bea-b39c-20489a1e5519" providerId="ADAL" clId="{3014DE50-B07B-4776-BEAC-0F779D92A13E}" dt="2023-07-26T08:56:20.794" v="16588" actId="1076"/>
          <ac:spMkLst>
            <pc:docMk/>
            <pc:sldMk cId="1356336447" sldId="2147473087"/>
            <ac:spMk id="47" creationId="{AFCC510E-B1EF-282C-3DA6-AAAA96D6CEA8}"/>
          </ac:spMkLst>
        </pc:spChg>
        <pc:spChg chg="mod">
          <ac:chgData name="Mick Mooney" userId="e6518e4e-af4a-4bea-b39c-20489a1e5519" providerId="ADAL" clId="{3014DE50-B07B-4776-BEAC-0F779D92A13E}" dt="2023-07-26T08:56:20.794" v="16588" actId="1076"/>
          <ac:spMkLst>
            <pc:docMk/>
            <pc:sldMk cId="1356336447" sldId="2147473087"/>
            <ac:spMk id="48" creationId="{44819EE3-03ED-51A1-128E-4F3C3DDCE163}"/>
          </ac:spMkLst>
        </pc:spChg>
        <pc:spChg chg="mod">
          <ac:chgData name="Mick Mooney" userId="e6518e4e-af4a-4bea-b39c-20489a1e5519" providerId="ADAL" clId="{3014DE50-B07B-4776-BEAC-0F779D92A13E}" dt="2023-07-26T08:56:20.794" v="16588" actId="1076"/>
          <ac:spMkLst>
            <pc:docMk/>
            <pc:sldMk cId="1356336447" sldId="2147473087"/>
            <ac:spMk id="49" creationId="{6ACF94F5-4C4B-7170-B025-4AED116FEBCE}"/>
          </ac:spMkLst>
        </pc:spChg>
        <pc:grpChg chg="mod">
          <ac:chgData name="Mick Mooney" userId="e6518e4e-af4a-4bea-b39c-20489a1e5519" providerId="ADAL" clId="{3014DE50-B07B-4776-BEAC-0F779D92A13E}" dt="2023-07-31T12:30:49.956" v="25404" actId="2711"/>
          <ac:grpSpMkLst>
            <pc:docMk/>
            <pc:sldMk cId="1356336447" sldId="2147473087"/>
            <ac:grpSpMk id="46" creationId="{878DC71F-8BD9-DC11-FB01-7000226A896F}"/>
          </ac:grpSpMkLst>
        </pc:grpChg>
        <pc:picChg chg="mod">
          <ac:chgData name="Mick Mooney" userId="e6518e4e-af4a-4bea-b39c-20489a1e5519" providerId="ADAL" clId="{3014DE50-B07B-4776-BEAC-0F779D92A13E}" dt="2023-07-31T12:30:49.956" v="25404" actId="2711"/>
          <ac:picMkLst>
            <pc:docMk/>
            <pc:sldMk cId="1356336447" sldId="2147473087"/>
            <ac:picMk id="45" creationId="{9CDF4303-03A9-A86B-EAEB-A082CFEAE4CC}"/>
          </ac:picMkLst>
        </pc:picChg>
        <pc:cxnChg chg="mod">
          <ac:chgData name="Mick Mooney" userId="e6518e4e-af4a-4bea-b39c-20489a1e5519" providerId="ADAL" clId="{3014DE50-B07B-4776-BEAC-0F779D92A13E}" dt="2023-07-31T12:30:49.956" v="25404" actId="2711"/>
          <ac:cxnSpMkLst>
            <pc:docMk/>
            <pc:sldMk cId="1356336447" sldId="2147473087"/>
            <ac:cxnSpMk id="36" creationId="{8ED034B7-9918-E8AA-B828-A0469AB9C2B1}"/>
          </ac:cxnSpMkLst>
        </pc:cxnChg>
        <pc:cxnChg chg="mod">
          <ac:chgData name="Mick Mooney" userId="e6518e4e-af4a-4bea-b39c-20489a1e5519" providerId="ADAL" clId="{3014DE50-B07B-4776-BEAC-0F779D92A13E}" dt="2023-07-31T12:30:49.956" v="25404" actId="2711"/>
          <ac:cxnSpMkLst>
            <pc:docMk/>
            <pc:sldMk cId="1356336447" sldId="2147473087"/>
            <ac:cxnSpMk id="37" creationId="{E7CFD471-BB48-55C5-C397-6589A764F9D5}"/>
          </ac:cxnSpMkLst>
        </pc:cxnChg>
        <pc:cxnChg chg="mod">
          <ac:chgData name="Mick Mooney" userId="e6518e4e-af4a-4bea-b39c-20489a1e5519" providerId="ADAL" clId="{3014DE50-B07B-4776-BEAC-0F779D92A13E}" dt="2023-07-31T12:30:49.956" v="25404" actId="2711"/>
          <ac:cxnSpMkLst>
            <pc:docMk/>
            <pc:sldMk cId="1356336447" sldId="2147473087"/>
            <ac:cxnSpMk id="38" creationId="{7C05872A-8364-68EC-B96A-8553AD88E434}"/>
          </ac:cxnSpMkLst>
        </pc:cxnChg>
        <pc:cxnChg chg="mod">
          <ac:chgData name="Mick Mooney" userId="e6518e4e-af4a-4bea-b39c-20489a1e5519" providerId="ADAL" clId="{3014DE50-B07B-4776-BEAC-0F779D92A13E}" dt="2023-07-31T12:30:49.956" v="25404" actId="2711"/>
          <ac:cxnSpMkLst>
            <pc:docMk/>
            <pc:sldMk cId="1356336447" sldId="2147473087"/>
            <ac:cxnSpMk id="39" creationId="{7EFE29B7-AC7F-976C-01F3-264F6AF046D1}"/>
          </ac:cxnSpMkLst>
        </pc:cxnChg>
        <pc:cxnChg chg="mod">
          <ac:chgData name="Mick Mooney" userId="e6518e4e-af4a-4bea-b39c-20489a1e5519" providerId="ADAL" clId="{3014DE50-B07B-4776-BEAC-0F779D92A13E}" dt="2023-07-31T12:30:49.956" v="25404" actId="2711"/>
          <ac:cxnSpMkLst>
            <pc:docMk/>
            <pc:sldMk cId="1356336447" sldId="2147473087"/>
            <ac:cxnSpMk id="40" creationId="{913813DC-ECF3-5794-3748-71C7D874F025}"/>
          </ac:cxnSpMkLst>
        </pc:cxnChg>
        <pc:cxnChg chg="mod">
          <ac:chgData name="Mick Mooney" userId="e6518e4e-af4a-4bea-b39c-20489a1e5519" providerId="ADAL" clId="{3014DE50-B07B-4776-BEAC-0F779D92A13E}" dt="2023-07-31T12:30:49.956" v="25404" actId="2711"/>
          <ac:cxnSpMkLst>
            <pc:docMk/>
            <pc:sldMk cId="1356336447" sldId="2147473087"/>
            <ac:cxnSpMk id="41" creationId="{FE5AFCFD-8F98-8375-4798-3E5D8BA39D7A}"/>
          </ac:cxnSpMkLst>
        </pc:cxnChg>
        <pc:cxnChg chg="mod">
          <ac:chgData name="Mick Mooney" userId="e6518e4e-af4a-4bea-b39c-20489a1e5519" providerId="ADAL" clId="{3014DE50-B07B-4776-BEAC-0F779D92A13E}" dt="2023-07-31T12:30:49.956" v="25404" actId="2711"/>
          <ac:cxnSpMkLst>
            <pc:docMk/>
            <pc:sldMk cId="1356336447" sldId="2147473087"/>
            <ac:cxnSpMk id="42" creationId="{4D42D878-60CD-1829-4C41-5289B95FAD16}"/>
          </ac:cxnSpMkLst>
        </pc:cxnChg>
        <pc:cxnChg chg="mod">
          <ac:chgData name="Mick Mooney" userId="e6518e4e-af4a-4bea-b39c-20489a1e5519" providerId="ADAL" clId="{3014DE50-B07B-4776-BEAC-0F779D92A13E}" dt="2023-07-31T12:30:49.956" v="25404" actId="2711"/>
          <ac:cxnSpMkLst>
            <pc:docMk/>
            <pc:sldMk cId="1356336447" sldId="2147473087"/>
            <ac:cxnSpMk id="43" creationId="{274D7424-0051-5BE8-DA92-91C1423DF1E3}"/>
          </ac:cxnSpMkLst>
        </pc:cxnChg>
      </pc:sldChg>
      <pc:sldChg chg="modSp">
        <pc:chgData name="Mick Mooney" userId="e6518e4e-af4a-4bea-b39c-20489a1e5519" providerId="ADAL" clId="{3014DE50-B07B-4776-BEAC-0F779D92A13E}" dt="2023-07-31T12:30:59.832" v="25405" actId="2711"/>
        <pc:sldMkLst>
          <pc:docMk/>
          <pc:sldMk cId="2991878390" sldId="2147473088"/>
        </pc:sldMkLst>
        <pc:spChg chg="mod">
          <ac:chgData name="Mick Mooney" userId="e6518e4e-af4a-4bea-b39c-20489a1e5519" providerId="ADAL" clId="{3014DE50-B07B-4776-BEAC-0F779D92A13E}" dt="2023-07-31T12:30:59.832" v="25405" actId="2711"/>
          <ac:spMkLst>
            <pc:docMk/>
            <pc:sldMk cId="2991878390" sldId="2147473088"/>
            <ac:spMk id="2" creationId="{9D96EE38-D510-5AA5-0944-80606CD69656}"/>
          </ac:spMkLst>
        </pc:spChg>
        <pc:spChg chg="mod">
          <ac:chgData name="Mick Mooney" userId="e6518e4e-af4a-4bea-b39c-20489a1e5519" providerId="ADAL" clId="{3014DE50-B07B-4776-BEAC-0F779D92A13E}" dt="2023-07-31T12:30:59.832" v="25405" actId="2711"/>
          <ac:spMkLst>
            <pc:docMk/>
            <pc:sldMk cId="2991878390" sldId="2147473088"/>
            <ac:spMk id="3" creationId="{1865326D-E7A7-1071-8637-6E72F21BF9D8}"/>
          </ac:spMkLst>
        </pc:spChg>
        <pc:spChg chg="mod">
          <ac:chgData name="Mick Mooney" userId="e6518e4e-af4a-4bea-b39c-20489a1e5519" providerId="ADAL" clId="{3014DE50-B07B-4776-BEAC-0F779D92A13E}" dt="2023-07-31T12:30:59.832" v="25405" actId="2711"/>
          <ac:spMkLst>
            <pc:docMk/>
            <pc:sldMk cId="2991878390" sldId="2147473088"/>
            <ac:spMk id="4" creationId="{AE55D033-30E7-5CF0-28CF-D6344ADF21BF}"/>
          </ac:spMkLst>
        </pc:spChg>
        <pc:spChg chg="mod">
          <ac:chgData name="Mick Mooney" userId="e6518e4e-af4a-4bea-b39c-20489a1e5519" providerId="ADAL" clId="{3014DE50-B07B-4776-BEAC-0F779D92A13E}" dt="2023-07-31T12:30:59.832" v="25405" actId="2711"/>
          <ac:spMkLst>
            <pc:docMk/>
            <pc:sldMk cId="2991878390" sldId="2147473088"/>
            <ac:spMk id="6" creationId="{D59A6335-933D-F25A-6559-85EF6AF6E272}"/>
          </ac:spMkLst>
        </pc:spChg>
        <pc:spChg chg="mod">
          <ac:chgData name="Mick Mooney" userId="e6518e4e-af4a-4bea-b39c-20489a1e5519" providerId="ADAL" clId="{3014DE50-B07B-4776-BEAC-0F779D92A13E}" dt="2023-07-31T12:30:59.832" v="25405" actId="2711"/>
          <ac:spMkLst>
            <pc:docMk/>
            <pc:sldMk cId="2991878390" sldId="2147473088"/>
            <ac:spMk id="7" creationId="{C0A0C2BA-0C72-9902-C2E6-0A85E7F2BE32}"/>
          </ac:spMkLst>
        </pc:spChg>
        <pc:spChg chg="mod">
          <ac:chgData name="Mick Mooney" userId="e6518e4e-af4a-4bea-b39c-20489a1e5519" providerId="ADAL" clId="{3014DE50-B07B-4776-BEAC-0F779D92A13E}" dt="2023-07-31T12:30:59.832" v="25405" actId="2711"/>
          <ac:spMkLst>
            <pc:docMk/>
            <pc:sldMk cId="2991878390" sldId="2147473088"/>
            <ac:spMk id="8" creationId="{7824D54C-15D2-467C-A016-166944D0781C}"/>
          </ac:spMkLst>
        </pc:spChg>
        <pc:spChg chg="mod">
          <ac:chgData name="Mick Mooney" userId="e6518e4e-af4a-4bea-b39c-20489a1e5519" providerId="ADAL" clId="{3014DE50-B07B-4776-BEAC-0F779D92A13E}" dt="2023-07-31T12:30:59.832" v="25405" actId="2711"/>
          <ac:spMkLst>
            <pc:docMk/>
            <pc:sldMk cId="2991878390" sldId="2147473088"/>
            <ac:spMk id="9" creationId="{2559B79A-5E09-9AD8-83B2-068452B641A0}"/>
          </ac:spMkLst>
        </pc:spChg>
        <pc:spChg chg="mod">
          <ac:chgData name="Mick Mooney" userId="e6518e4e-af4a-4bea-b39c-20489a1e5519" providerId="ADAL" clId="{3014DE50-B07B-4776-BEAC-0F779D92A13E}" dt="2023-07-31T12:30:59.832" v="25405" actId="2711"/>
          <ac:spMkLst>
            <pc:docMk/>
            <pc:sldMk cId="2991878390" sldId="2147473088"/>
            <ac:spMk id="10" creationId="{5A020B04-B1A7-3B52-77CA-A651BF74604D}"/>
          </ac:spMkLst>
        </pc:spChg>
        <pc:spChg chg="mod">
          <ac:chgData name="Mick Mooney" userId="e6518e4e-af4a-4bea-b39c-20489a1e5519" providerId="ADAL" clId="{3014DE50-B07B-4776-BEAC-0F779D92A13E}" dt="2023-07-31T12:30:59.832" v="25405" actId="2711"/>
          <ac:spMkLst>
            <pc:docMk/>
            <pc:sldMk cId="2991878390" sldId="2147473088"/>
            <ac:spMk id="11" creationId="{CC52BAA3-74A0-D43F-0346-9AE58659917C}"/>
          </ac:spMkLst>
        </pc:spChg>
        <pc:spChg chg="mod">
          <ac:chgData name="Mick Mooney" userId="e6518e4e-af4a-4bea-b39c-20489a1e5519" providerId="ADAL" clId="{3014DE50-B07B-4776-BEAC-0F779D92A13E}" dt="2023-07-31T12:30:59.832" v="25405" actId="2711"/>
          <ac:spMkLst>
            <pc:docMk/>
            <pc:sldMk cId="2991878390" sldId="2147473088"/>
            <ac:spMk id="15" creationId="{8D1BAC58-C10F-102C-3455-AC8F5E705BF3}"/>
          </ac:spMkLst>
        </pc:spChg>
        <pc:spChg chg="mod">
          <ac:chgData name="Mick Mooney" userId="e6518e4e-af4a-4bea-b39c-20489a1e5519" providerId="ADAL" clId="{3014DE50-B07B-4776-BEAC-0F779D92A13E}" dt="2023-07-31T12:30:59.832" v="25405" actId="2711"/>
          <ac:spMkLst>
            <pc:docMk/>
            <pc:sldMk cId="2991878390" sldId="2147473088"/>
            <ac:spMk id="16" creationId="{A96E49DC-8ABC-968C-DDD5-C98C1573393C}"/>
          </ac:spMkLst>
        </pc:spChg>
        <pc:spChg chg="mod">
          <ac:chgData name="Mick Mooney" userId="e6518e4e-af4a-4bea-b39c-20489a1e5519" providerId="ADAL" clId="{3014DE50-B07B-4776-BEAC-0F779D92A13E}" dt="2023-07-31T12:30:59.832" v="25405" actId="2711"/>
          <ac:spMkLst>
            <pc:docMk/>
            <pc:sldMk cId="2991878390" sldId="2147473088"/>
            <ac:spMk id="26" creationId="{EA6EF1EA-6E0A-BC30-D333-8868B523A242}"/>
          </ac:spMkLst>
        </pc:spChg>
        <pc:grpChg chg="mod">
          <ac:chgData name="Mick Mooney" userId="e6518e4e-af4a-4bea-b39c-20489a1e5519" providerId="ADAL" clId="{3014DE50-B07B-4776-BEAC-0F779D92A13E}" dt="2023-07-31T12:30:59.832" v="25405" actId="2711"/>
          <ac:grpSpMkLst>
            <pc:docMk/>
            <pc:sldMk cId="2991878390" sldId="2147473088"/>
            <ac:grpSpMk id="17" creationId="{F94F68FC-9FD3-741E-674B-6B47C551A24F}"/>
          </ac:grpSpMkLst>
        </pc:grpChg>
        <pc:grpChg chg="mod">
          <ac:chgData name="Mick Mooney" userId="e6518e4e-af4a-4bea-b39c-20489a1e5519" providerId="ADAL" clId="{3014DE50-B07B-4776-BEAC-0F779D92A13E}" dt="2023-07-31T12:30:59.832" v="25405" actId="2711"/>
          <ac:grpSpMkLst>
            <pc:docMk/>
            <pc:sldMk cId="2991878390" sldId="2147473088"/>
            <ac:grpSpMk id="27" creationId="{F64E630A-D529-43AF-26BC-C06366820867}"/>
          </ac:grpSpMkLst>
        </pc:grpChg>
        <pc:grpChg chg="mod">
          <ac:chgData name="Mick Mooney" userId="e6518e4e-af4a-4bea-b39c-20489a1e5519" providerId="ADAL" clId="{3014DE50-B07B-4776-BEAC-0F779D92A13E}" dt="2023-07-31T12:30:59.832" v="25405" actId="2711"/>
          <ac:grpSpMkLst>
            <pc:docMk/>
            <pc:sldMk cId="2991878390" sldId="2147473088"/>
            <ac:grpSpMk id="49" creationId="{7728AC70-0B33-3EDE-9525-8A7B57FE554B}"/>
          </ac:grpSpMkLst>
        </pc:grpChg>
        <pc:picChg chg="mod">
          <ac:chgData name="Mick Mooney" userId="e6518e4e-af4a-4bea-b39c-20489a1e5519" providerId="ADAL" clId="{3014DE50-B07B-4776-BEAC-0F779D92A13E}" dt="2023-07-31T12:30:59.832" v="25405" actId="2711"/>
          <ac:picMkLst>
            <pc:docMk/>
            <pc:sldMk cId="2991878390" sldId="2147473088"/>
            <ac:picMk id="43" creationId="{8A6BD983-84A0-B727-E92F-E776E0615638}"/>
          </ac:picMkLst>
        </pc:picChg>
        <pc:picChg chg="mod">
          <ac:chgData name="Mick Mooney" userId="e6518e4e-af4a-4bea-b39c-20489a1e5519" providerId="ADAL" clId="{3014DE50-B07B-4776-BEAC-0F779D92A13E}" dt="2023-07-31T12:30:59.832" v="25405" actId="2711"/>
          <ac:picMkLst>
            <pc:docMk/>
            <pc:sldMk cId="2991878390" sldId="2147473088"/>
            <ac:picMk id="44" creationId="{B40C9ADD-0A94-D282-BF36-ABECC8D90BC1}"/>
          </ac:picMkLst>
        </pc:picChg>
        <pc:picChg chg="mod">
          <ac:chgData name="Mick Mooney" userId="e6518e4e-af4a-4bea-b39c-20489a1e5519" providerId="ADAL" clId="{3014DE50-B07B-4776-BEAC-0F779D92A13E}" dt="2023-07-31T12:30:59.832" v="25405" actId="2711"/>
          <ac:picMkLst>
            <pc:docMk/>
            <pc:sldMk cId="2991878390" sldId="2147473088"/>
            <ac:picMk id="45" creationId="{ACE10FBB-38F8-023D-2DB9-2822B2EBFC7B}"/>
          </ac:picMkLst>
        </pc:picChg>
        <pc:picChg chg="mod">
          <ac:chgData name="Mick Mooney" userId="e6518e4e-af4a-4bea-b39c-20489a1e5519" providerId="ADAL" clId="{3014DE50-B07B-4776-BEAC-0F779D92A13E}" dt="2023-07-31T12:30:59.832" v="25405" actId="2711"/>
          <ac:picMkLst>
            <pc:docMk/>
            <pc:sldMk cId="2991878390" sldId="2147473088"/>
            <ac:picMk id="48" creationId="{F423DD7F-1A5A-129C-1939-A2C301E6E742}"/>
          </ac:picMkLst>
        </pc:picChg>
        <pc:cxnChg chg="mod">
          <ac:chgData name="Mick Mooney" userId="e6518e4e-af4a-4bea-b39c-20489a1e5519" providerId="ADAL" clId="{3014DE50-B07B-4776-BEAC-0F779D92A13E}" dt="2023-07-31T12:30:59.832" v="25405" actId="2711"/>
          <ac:cxnSpMkLst>
            <pc:docMk/>
            <pc:sldMk cId="2991878390" sldId="2147473088"/>
            <ac:cxnSpMk id="12" creationId="{04A76293-8F39-0E3E-2EBC-3D85E80E3241}"/>
          </ac:cxnSpMkLst>
        </pc:cxnChg>
        <pc:cxnChg chg="mod">
          <ac:chgData name="Mick Mooney" userId="e6518e4e-af4a-4bea-b39c-20489a1e5519" providerId="ADAL" clId="{3014DE50-B07B-4776-BEAC-0F779D92A13E}" dt="2023-07-31T12:30:59.832" v="25405" actId="2711"/>
          <ac:cxnSpMkLst>
            <pc:docMk/>
            <pc:sldMk cId="2991878390" sldId="2147473088"/>
            <ac:cxnSpMk id="13" creationId="{013109FB-769F-FDC2-A663-B89934A87DCC}"/>
          </ac:cxnSpMkLst>
        </pc:cxnChg>
        <pc:cxnChg chg="mod">
          <ac:chgData name="Mick Mooney" userId="e6518e4e-af4a-4bea-b39c-20489a1e5519" providerId="ADAL" clId="{3014DE50-B07B-4776-BEAC-0F779D92A13E}" dt="2023-07-31T12:30:59.832" v="25405" actId="2711"/>
          <ac:cxnSpMkLst>
            <pc:docMk/>
            <pc:sldMk cId="2991878390" sldId="2147473088"/>
            <ac:cxnSpMk id="14" creationId="{BB38C833-1AB1-299C-1AF4-01EA83C6663C}"/>
          </ac:cxnSpMkLst>
        </pc:cxnChg>
        <pc:cxnChg chg="mod">
          <ac:chgData name="Mick Mooney" userId="e6518e4e-af4a-4bea-b39c-20489a1e5519" providerId="ADAL" clId="{3014DE50-B07B-4776-BEAC-0F779D92A13E}" dt="2023-07-31T12:30:59.832" v="25405" actId="2711"/>
          <ac:cxnSpMkLst>
            <pc:docMk/>
            <pc:sldMk cId="2991878390" sldId="2147473088"/>
            <ac:cxnSpMk id="46" creationId="{B6F4A9EC-09B6-2F7A-8B19-CE81E5DFBC6C}"/>
          </ac:cxnSpMkLst>
        </pc:cxnChg>
        <pc:cxnChg chg="mod">
          <ac:chgData name="Mick Mooney" userId="e6518e4e-af4a-4bea-b39c-20489a1e5519" providerId="ADAL" clId="{3014DE50-B07B-4776-BEAC-0F779D92A13E}" dt="2023-07-31T12:30:59.832" v="25405" actId="2711"/>
          <ac:cxnSpMkLst>
            <pc:docMk/>
            <pc:sldMk cId="2991878390" sldId="2147473088"/>
            <ac:cxnSpMk id="47" creationId="{40F73F7B-2C72-9AC2-B6DF-E423864A994C}"/>
          </ac:cxnSpMkLst>
        </pc:cxnChg>
      </pc:sldChg>
      <pc:sldChg chg="addSp delSp modSp mod">
        <pc:chgData name="Mick Mooney" userId="e6518e4e-af4a-4bea-b39c-20489a1e5519" providerId="ADAL" clId="{3014DE50-B07B-4776-BEAC-0F779D92A13E}" dt="2023-07-31T12:30:42.494" v="25403" actId="2711"/>
        <pc:sldMkLst>
          <pc:docMk/>
          <pc:sldMk cId="2943416714" sldId="2147473090"/>
        </pc:sldMkLst>
        <pc:spChg chg="mod">
          <ac:chgData name="Mick Mooney" userId="e6518e4e-af4a-4bea-b39c-20489a1e5519" providerId="ADAL" clId="{3014DE50-B07B-4776-BEAC-0F779D92A13E}" dt="2023-07-31T12:30:42.494" v="25403" actId="2711"/>
          <ac:spMkLst>
            <pc:docMk/>
            <pc:sldMk cId="2943416714" sldId="2147473090"/>
            <ac:spMk id="3" creationId="{9951EFB0-7B3D-96BC-83B4-3B960443107D}"/>
          </ac:spMkLst>
        </pc:spChg>
        <pc:spChg chg="mod">
          <ac:chgData name="Mick Mooney" userId="e6518e4e-af4a-4bea-b39c-20489a1e5519" providerId="ADAL" clId="{3014DE50-B07B-4776-BEAC-0F779D92A13E}" dt="2023-07-31T12:30:42.494" v="25403" actId="2711"/>
          <ac:spMkLst>
            <pc:docMk/>
            <pc:sldMk cId="2943416714" sldId="2147473090"/>
            <ac:spMk id="4" creationId="{B716F3FF-38A4-035F-27E5-715A2567EBBE}"/>
          </ac:spMkLst>
        </pc:spChg>
        <pc:spChg chg="mod">
          <ac:chgData name="Mick Mooney" userId="e6518e4e-af4a-4bea-b39c-20489a1e5519" providerId="ADAL" clId="{3014DE50-B07B-4776-BEAC-0F779D92A13E}" dt="2023-07-31T12:30:42.494" v="25403" actId="2711"/>
          <ac:spMkLst>
            <pc:docMk/>
            <pc:sldMk cId="2943416714" sldId="2147473090"/>
            <ac:spMk id="5" creationId="{0ECED729-D269-16E8-1F43-FB004AD16204}"/>
          </ac:spMkLst>
        </pc:spChg>
        <pc:spChg chg="mod">
          <ac:chgData name="Mick Mooney" userId="e6518e4e-af4a-4bea-b39c-20489a1e5519" providerId="ADAL" clId="{3014DE50-B07B-4776-BEAC-0F779D92A13E}" dt="2023-07-31T12:30:42.494" v="25403" actId="2711"/>
          <ac:spMkLst>
            <pc:docMk/>
            <pc:sldMk cId="2943416714" sldId="2147473090"/>
            <ac:spMk id="6" creationId="{DF5F0DCD-0A2F-AF21-8964-03873B1C2E9B}"/>
          </ac:spMkLst>
        </pc:spChg>
        <pc:spChg chg="mod">
          <ac:chgData name="Mick Mooney" userId="e6518e4e-af4a-4bea-b39c-20489a1e5519" providerId="ADAL" clId="{3014DE50-B07B-4776-BEAC-0F779D92A13E}" dt="2023-07-31T12:30:42.494" v="25403" actId="2711"/>
          <ac:spMkLst>
            <pc:docMk/>
            <pc:sldMk cId="2943416714" sldId="2147473090"/>
            <ac:spMk id="8" creationId="{7824D54C-15D2-467C-A016-166944D0781C}"/>
          </ac:spMkLst>
        </pc:spChg>
        <pc:spChg chg="mod">
          <ac:chgData name="Mick Mooney" userId="e6518e4e-af4a-4bea-b39c-20489a1e5519" providerId="ADAL" clId="{3014DE50-B07B-4776-BEAC-0F779D92A13E}" dt="2023-07-31T12:30:42.494" v="25403" actId="2711"/>
          <ac:spMkLst>
            <pc:docMk/>
            <pc:sldMk cId="2943416714" sldId="2147473090"/>
            <ac:spMk id="9" creationId="{1AA8578C-FC01-73BD-A1D1-DA0222EE8BAD}"/>
          </ac:spMkLst>
        </pc:spChg>
        <pc:spChg chg="mod">
          <ac:chgData name="Mick Mooney" userId="e6518e4e-af4a-4bea-b39c-20489a1e5519" providerId="ADAL" clId="{3014DE50-B07B-4776-BEAC-0F779D92A13E}" dt="2023-07-31T12:30:42.494" v="25403" actId="2711"/>
          <ac:spMkLst>
            <pc:docMk/>
            <pc:sldMk cId="2943416714" sldId="2147473090"/>
            <ac:spMk id="10" creationId="{33168099-D8CE-DD57-1E4B-F3A2399F2DD0}"/>
          </ac:spMkLst>
        </pc:spChg>
        <pc:spChg chg="mod">
          <ac:chgData name="Mick Mooney" userId="e6518e4e-af4a-4bea-b39c-20489a1e5519" providerId="ADAL" clId="{3014DE50-B07B-4776-BEAC-0F779D92A13E}" dt="2023-07-31T12:30:42.494" v="25403" actId="2711"/>
          <ac:spMkLst>
            <pc:docMk/>
            <pc:sldMk cId="2943416714" sldId="2147473090"/>
            <ac:spMk id="11" creationId="{94845A60-586B-F3C3-AB90-0CF1122CAAB4}"/>
          </ac:spMkLst>
        </pc:spChg>
        <pc:spChg chg="mod">
          <ac:chgData name="Mick Mooney" userId="e6518e4e-af4a-4bea-b39c-20489a1e5519" providerId="ADAL" clId="{3014DE50-B07B-4776-BEAC-0F779D92A13E}" dt="2023-07-31T12:30:42.494" v="25403" actId="2711"/>
          <ac:spMkLst>
            <pc:docMk/>
            <pc:sldMk cId="2943416714" sldId="2147473090"/>
            <ac:spMk id="12" creationId="{E94DEAE3-7687-AA25-DA27-B9EA77B9AAB7}"/>
          </ac:spMkLst>
        </pc:spChg>
        <pc:spChg chg="mod">
          <ac:chgData name="Mick Mooney" userId="e6518e4e-af4a-4bea-b39c-20489a1e5519" providerId="ADAL" clId="{3014DE50-B07B-4776-BEAC-0F779D92A13E}" dt="2023-07-26T08:56:54.188" v="16592"/>
          <ac:spMkLst>
            <pc:docMk/>
            <pc:sldMk cId="2943416714" sldId="2147473090"/>
            <ac:spMk id="14" creationId="{7A7C71AA-16C9-0010-4283-CB4B98036E8E}"/>
          </ac:spMkLst>
        </pc:spChg>
        <pc:spChg chg="mod">
          <ac:chgData name="Mick Mooney" userId="e6518e4e-af4a-4bea-b39c-20489a1e5519" providerId="ADAL" clId="{3014DE50-B07B-4776-BEAC-0F779D92A13E}" dt="2023-07-26T08:56:54.188" v="16592"/>
          <ac:spMkLst>
            <pc:docMk/>
            <pc:sldMk cId="2943416714" sldId="2147473090"/>
            <ac:spMk id="15" creationId="{B1B1A010-AADC-DCBC-6253-F5FF6D95DD17}"/>
          </ac:spMkLst>
        </pc:spChg>
        <pc:spChg chg="mod">
          <ac:chgData name="Mick Mooney" userId="e6518e4e-af4a-4bea-b39c-20489a1e5519" providerId="ADAL" clId="{3014DE50-B07B-4776-BEAC-0F779D92A13E}" dt="2023-07-26T08:56:54.188" v="16592"/>
          <ac:spMkLst>
            <pc:docMk/>
            <pc:sldMk cId="2943416714" sldId="2147473090"/>
            <ac:spMk id="16" creationId="{F51D602B-EDCF-FB36-C3EA-891F15F5EF17}"/>
          </ac:spMkLst>
        </pc:spChg>
        <pc:spChg chg="mod">
          <ac:chgData name="Mick Mooney" userId="e6518e4e-af4a-4bea-b39c-20489a1e5519" providerId="ADAL" clId="{3014DE50-B07B-4776-BEAC-0F779D92A13E}" dt="2023-07-26T08:56:41.243" v="16589" actId="1076"/>
          <ac:spMkLst>
            <pc:docMk/>
            <pc:sldMk cId="2943416714" sldId="2147473090"/>
            <ac:spMk id="20" creationId="{910473EC-9F1A-9B98-43FE-89152F425AC1}"/>
          </ac:spMkLst>
        </pc:spChg>
        <pc:spChg chg="mod">
          <ac:chgData name="Mick Mooney" userId="e6518e4e-af4a-4bea-b39c-20489a1e5519" providerId="ADAL" clId="{3014DE50-B07B-4776-BEAC-0F779D92A13E}" dt="2023-07-26T08:56:41.243" v="16589" actId="1076"/>
          <ac:spMkLst>
            <pc:docMk/>
            <pc:sldMk cId="2943416714" sldId="2147473090"/>
            <ac:spMk id="21" creationId="{22272EA1-75A0-8A69-D6BA-F6BF105344F1}"/>
          </ac:spMkLst>
        </pc:spChg>
        <pc:spChg chg="mod">
          <ac:chgData name="Mick Mooney" userId="e6518e4e-af4a-4bea-b39c-20489a1e5519" providerId="ADAL" clId="{3014DE50-B07B-4776-BEAC-0F779D92A13E}" dt="2023-07-26T08:56:41.243" v="16589" actId="1076"/>
          <ac:spMkLst>
            <pc:docMk/>
            <pc:sldMk cId="2943416714" sldId="2147473090"/>
            <ac:spMk id="22" creationId="{F0119075-19DE-F0BB-440D-DBECB5DFA86E}"/>
          </ac:spMkLst>
        </pc:spChg>
        <pc:grpChg chg="add mod">
          <ac:chgData name="Mick Mooney" userId="e6518e4e-af4a-4bea-b39c-20489a1e5519" providerId="ADAL" clId="{3014DE50-B07B-4776-BEAC-0F779D92A13E}" dt="2023-07-31T12:30:42.494" v="25403" actId="2711"/>
          <ac:grpSpMkLst>
            <pc:docMk/>
            <pc:sldMk cId="2943416714" sldId="2147473090"/>
            <ac:grpSpMk id="13" creationId="{2BE8908F-68B8-76FF-171E-7D48BC934E30}"/>
          </ac:grpSpMkLst>
        </pc:grpChg>
        <pc:grpChg chg="del mod">
          <ac:chgData name="Mick Mooney" userId="e6518e4e-af4a-4bea-b39c-20489a1e5519" providerId="ADAL" clId="{3014DE50-B07B-4776-BEAC-0F779D92A13E}" dt="2023-07-26T08:56:53.087" v="16591" actId="478"/>
          <ac:grpSpMkLst>
            <pc:docMk/>
            <pc:sldMk cId="2943416714" sldId="2147473090"/>
            <ac:grpSpMk id="19" creationId="{7F7D00D3-749A-4C64-682E-2A9047CFCE98}"/>
          </ac:grpSpMkLst>
        </pc:grpChg>
        <pc:picChg chg="mod">
          <ac:chgData name="Mick Mooney" userId="e6518e4e-af4a-4bea-b39c-20489a1e5519" providerId="ADAL" clId="{3014DE50-B07B-4776-BEAC-0F779D92A13E}" dt="2023-07-31T12:30:42.494" v="25403" actId="2711"/>
          <ac:picMkLst>
            <pc:docMk/>
            <pc:sldMk cId="2943416714" sldId="2147473090"/>
            <ac:picMk id="2" creationId="{F65B56CD-8D65-D5F0-89D0-30A61438FAA4}"/>
          </ac:picMkLst>
        </pc:picChg>
        <pc:picChg chg="add mod">
          <ac:chgData name="Mick Mooney" userId="e6518e4e-af4a-4bea-b39c-20489a1e5519" providerId="ADAL" clId="{3014DE50-B07B-4776-BEAC-0F779D92A13E}" dt="2023-07-31T12:30:42.494" v="25403" actId="2711"/>
          <ac:picMkLst>
            <pc:docMk/>
            <pc:sldMk cId="2943416714" sldId="2147473090"/>
            <ac:picMk id="7" creationId="{70E2E236-8634-83B5-B7B2-C13753C203AD}"/>
          </ac:picMkLst>
        </pc:picChg>
        <pc:picChg chg="del mod">
          <ac:chgData name="Mick Mooney" userId="e6518e4e-af4a-4bea-b39c-20489a1e5519" providerId="ADAL" clId="{3014DE50-B07B-4776-BEAC-0F779D92A13E}" dt="2023-07-26T08:56:52.268" v="16590" actId="478"/>
          <ac:picMkLst>
            <pc:docMk/>
            <pc:sldMk cId="2943416714" sldId="2147473090"/>
            <ac:picMk id="18" creationId="{308BA709-FFE7-5CA1-FA37-C935E02CCFFE}"/>
          </ac:picMkLst>
        </pc:picChg>
      </pc:sldChg>
      <pc:sldChg chg="modSp mod">
        <pc:chgData name="Mick Mooney" userId="e6518e4e-af4a-4bea-b39c-20489a1e5519" providerId="ADAL" clId="{3014DE50-B07B-4776-BEAC-0F779D92A13E}" dt="2023-07-31T16:04:57.216" v="33407"/>
        <pc:sldMkLst>
          <pc:docMk/>
          <pc:sldMk cId="2361847867" sldId="2147473099"/>
        </pc:sldMkLst>
        <pc:spChg chg="mod replST delST">
          <ac:chgData name="Mick Mooney" userId="e6518e4e-af4a-4bea-b39c-20489a1e5519" providerId="ADAL" clId="{3014DE50-B07B-4776-BEAC-0F779D92A13E}" dt="2023-07-31T16:04:57.216" v="33407"/>
          <ac:spMkLst>
            <pc:docMk/>
            <pc:sldMk cId="2361847867" sldId="2147473099"/>
            <ac:spMk id="4" creationId="{E432C490-8501-4DEB-9800-36DD8F00D9DA}"/>
          </ac:spMkLst>
        </pc:spChg>
        <pc:spChg chg="replST delST">
          <ac:chgData name="Mick Mooney" userId="e6518e4e-af4a-4bea-b39c-20489a1e5519" providerId="ADAL" clId="{3014DE50-B07B-4776-BEAC-0F779D92A13E}" dt="2023-07-31T15:34:06.047" v="33171"/>
          <ac:spMkLst>
            <pc:docMk/>
            <pc:sldMk cId="2361847867" sldId="2147473099"/>
            <ac:spMk id="7" creationId="{33F269DE-0479-486E-87F7-03A541C10513}"/>
          </ac:spMkLst>
        </pc:spChg>
      </pc:sldChg>
      <pc:sldChg chg="modSp mod">
        <pc:chgData name="Mick Mooney" userId="e6518e4e-af4a-4bea-b39c-20489a1e5519" providerId="ADAL" clId="{3014DE50-B07B-4776-BEAC-0F779D92A13E}" dt="2023-07-31T15:35:25.212" v="33212" actId="2711"/>
        <pc:sldMkLst>
          <pc:docMk/>
          <pc:sldMk cId="3207142972" sldId="2147473102"/>
        </pc:sldMkLst>
        <pc:spChg chg="mod replST delST">
          <ac:chgData name="Mick Mooney" userId="e6518e4e-af4a-4bea-b39c-20489a1e5519" providerId="ADAL" clId="{3014DE50-B07B-4776-BEAC-0F779D92A13E}" dt="2023-07-31T15:35:25.212" v="33212" actId="2711"/>
          <ac:spMkLst>
            <pc:docMk/>
            <pc:sldMk cId="3207142972" sldId="2147473102"/>
            <ac:spMk id="4" creationId="{E432C490-8501-4DEB-9800-36DD8F00D9DA}"/>
          </ac:spMkLst>
        </pc:spChg>
        <pc:spChg chg="mod">
          <ac:chgData name="Mick Mooney" userId="e6518e4e-af4a-4bea-b39c-20489a1e5519" providerId="ADAL" clId="{3014DE50-B07B-4776-BEAC-0F779D92A13E}" dt="2023-07-31T12:29:36.758" v="25394" actId="2711"/>
          <ac:spMkLst>
            <pc:docMk/>
            <pc:sldMk cId="3207142972" sldId="2147473102"/>
            <ac:spMk id="7" creationId="{33F269DE-0479-486E-87F7-03A541C10513}"/>
          </ac:spMkLst>
        </pc:spChg>
      </pc:sldChg>
      <pc:sldChg chg="modSp mod">
        <pc:chgData name="Mick Mooney" userId="e6518e4e-af4a-4bea-b39c-20489a1e5519" providerId="ADAL" clId="{3014DE50-B07B-4776-BEAC-0F779D92A13E}" dt="2023-07-31T15:35:28.749" v="33214"/>
        <pc:sldMkLst>
          <pc:docMk/>
          <pc:sldMk cId="555873494" sldId="2147473103"/>
        </pc:sldMkLst>
        <pc:spChg chg="mod replST delST">
          <ac:chgData name="Mick Mooney" userId="e6518e4e-af4a-4bea-b39c-20489a1e5519" providerId="ADAL" clId="{3014DE50-B07B-4776-BEAC-0F779D92A13E}" dt="2023-07-31T15:35:28.749" v="33214"/>
          <ac:spMkLst>
            <pc:docMk/>
            <pc:sldMk cId="555873494" sldId="2147473103"/>
            <ac:spMk id="4" creationId="{E432C490-8501-4DEB-9800-36DD8F00D9DA}"/>
          </ac:spMkLst>
        </pc:spChg>
        <pc:spChg chg="mod">
          <ac:chgData name="Mick Mooney" userId="e6518e4e-af4a-4bea-b39c-20489a1e5519" providerId="ADAL" clId="{3014DE50-B07B-4776-BEAC-0F779D92A13E}" dt="2023-07-31T12:30:19.222" v="25400" actId="2711"/>
          <ac:spMkLst>
            <pc:docMk/>
            <pc:sldMk cId="555873494" sldId="2147473103"/>
            <ac:spMk id="7" creationId="{33F269DE-0479-486E-87F7-03A541C10513}"/>
          </ac:spMkLst>
        </pc:spChg>
      </pc:sldChg>
      <pc:sldChg chg="modSp mod">
        <pc:chgData name="Mick Mooney" userId="e6518e4e-af4a-4bea-b39c-20489a1e5519" providerId="ADAL" clId="{3014DE50-B07B-4776-BEAC-0F779D92A13E}" dt="2023-07-31T15:33:12.710" v="33132" actId="207"/>
        <pc:sldMkLst>
          <pc:docMk/>
          <pc:sldMk cId="349697514" sldId="2147473104"/>
        </pc:sldMkLst>
        <pc:spChg chg="mod replST delST">
          <ac:chgData name="Mick Mooney" userId="e6518e4e-af4a-4bea-b39c-20489a1e5519" providerId="ADAL" clId="{3014DE50-B07B-4776-BEAC-0F779D92A13E}" dt="2023-07-31T15:33:12.710" v="33132" actId="207"/>
          <ac:spMkLst>
            <pc:docMk/>
            <pc:sldMk cId="349697514" sldId="2147473104"/>
            <ac:spMk id="4" creationId="{E432C490-8501-4DEB-9800-36DD8F00D9DA}"/>
          </ac:spMkLst>
        </pc:spChg>
        <pc:spChg chg="mod">
          <ac:chgData name="Mick Mooney" userId="e6518e4e-af4a-4bea-b39c-20489a1e5519" providerId="ADAL" clId="{3014DE50-B07B-4776-BEAC-0F779D92A13E}" dt="2023-07-31T12:31:30.379" v="25409" actId="2711"/>
          <ac:spMkLst>
            <pc:docMk/>
            <pc:sldMk cId="349697514" sldId="2147473104"/>
            <ac:spMk id="7" creationId="{33F269DE-0479-486E-87F7-03A541C10513}"/>
          </ac:spMkLst>
        </pc:spChg>
      </pc:sldChg>
      <pc:sldChg chg="modSp mod">
        <pc:chgData name="Mick Mooney" userId="e6518e4e-af4a-4bea-b39c-20489a1e5519" providerId="ADAL" clId="{3014DE50-B07B-4776-BEAC-0F779D92A13E}" dt="2023-08-02T08:33:42.275" v="33521"/>
        <pc:sldMkLst>
          <pc:docMk/>
          <pc:sldMk cId="2659308583" sldId="2147473105"/>
        </pc:sldMkLst>
        <pc:spChg chg="mod replST delST">
          <ac:chgData name="Mick Mooney" userId="e6518e4e-af4a-4bea-b39c-20489a1e5519" providerId="ADAL" clId="{3014DE50-B07B-4776-BEAC-0F779D92A13E}" dt="2023-08-02T08:33:42.275" v="33521"/>
          <ac:spMkLst>
            <pc:docMk/>
            <pc:sldMk cId="2659308583" sldId="2147473105"/>
            <ac:spMk id="4" creationId="{E432C490-8501-4DEB-9800-36DD8F00D9DA}"/>
          </ac:spMkLst>
        </pc:spChg>
        <pc:spChg chg="mod">
          <ac:chgData name="Mick Mooney" userId="e6518e4e-af4a-4bea-b39c-20489a1e5519" providerId="ADAL" clId="{3014DE50-B07B-4776-BEAC-0F779D92A13E}" dt="2023-07-31T12:31:05.276" v="25406" actId="2711"/>
          <ac:spMkLst>
            <pc:docMk/>
            <pc:sldMk cId="2659308583" sldId="2147473105"/>
            <ac:spMk id="7" creationId="{33F269DE-0479-486E-87F7-03A541C10513}"/>
          </ac:spMkLst>
        </pc:spChg>
      </pc:sldChg>
      <pc:sldChg chg="addSp delSp modSp mod addCm">
        <pc:chgData name="Mick Mooney" userId="e6518e4e-af4a-4bea-b39c-20489a1e5519" providerId="ADAL" clId="{3014DE50-B07B-4776-BEAC-0F779D92A13E}" dt="2023-07-31T15:35:02.844" v="33200" actId="2711"/>
        <pc:sldMkLst>
          <pc:docMk/>
          <pc:sldMk cId="3781609366" sldId="2147473106"/>
        </pc:sldMkLst>
        <pc:spChg chg="mod replST delST">
          <ac:chgData name="Mick Mooney" userId="e6518e4e-af4a-4bea-b39c-20489a1e5519" providerId="ADAL" clId="{3014DE50-B07B-4776-BEAC-0F779D92A13E}" dt="2023-07-31T15:35:02.844" v="33200" actId="2711"/>
          <ac:spMkLst>
            <pc:docMk/>
            <pc:sldMk cId="3781609366" sldId="2147473106"/>
            <ac:spMk id="3" creationId="{54653C93-EE7D-BEDF-D2B4-67B3FBB2F9ED}"/>
          </ac:spMkLst>
        </pc:spChg>
        <pc:spChg chg="mod replST delST">
          <ac:chgData name="Mick Mooney" userId="e6518e4e-af4a-4bea-b39c-20489a1e5519" providerId="ADAL" clId="{3014DE50-B07B-4776-BEAC-0F779D92A13E}" dt="2023-07-31T15:34:45.333" v="33190" actId="2711"/>
          <ac:spMkLst>
            <pc:docMk/>
            <pc:sldMk cId="3781609366" sldId="2147473106"/>
            <ac:spMk id="4" creationId="{E432C490-8501-4DEB-9800-36DD8F00D9DA}"/>
          </ac:spMkLst>
        </pc:spChg>
        <pc:spChg chg="mod replST delST">
          <ac:chgData name="Mick Mooney" userId="e6518e4e-af4a-4bea-b39c-20489a1e5519" providerId="ADAL" clId="{3014DE50-B07B-4776-BEAC-0F779D92A13E}" dt="2023-07-31T15:34:53.283" v="33195" actId="2711"/>
          <ac:spMkLst>
            <pc:docMk/>
            <pc:sldMk cId="3781609366" sldId="2147473106"/>
            <ac:spMk id="5" creationId="{82ACE101-9079-4B28-90D1-41FFC709BAB0}"/>
          </ac:spMkLst>
        </pc:spChg>
        <pc:spChg chg="add del replST delST">
          <ac:chgData name="Mick Mooney" userId="e6518e4e-af4a-4bea-b39c-20489a1e5519" providerId="ADAL" clId="{3014DE50-B07B-4776-BEAC-0F779D92A13E}" dt="2023-07-22T09:54:32.399" v="194" actId="22"/>
          <ac:spMkLst>
            <pc:docMk/>
            <pc:sldMk cId="3781609366" sldId="2147473106"/>
            <ac:spMk id="6" creationId="{2333ECBF-0EBD-4C88-CD47-44B000FCF24D}"/>
          </ac:spMkLst>
        </pc:spChg>
      </pc:sldChg>
      <pc:sldChg chg="modSp mod">
        <pc:chgData name="Mick Mooney" userId="e6518e4e-af4a-4bea-b39c-20489a1e5519" providerId="ADAL" clId="{3014DE50-B07B-4776-BEAC-0F779D92A13E}" dt="2023-07-31T15:35:06.411" v="33202"/>
        <pc:sldMkLst>
          <pc:docMk/>
          <pc:sldMk cId="3310043290" sldId="2147473113"/>
        </pc:sldMkLst>
        <pc:spChg chg="mod replST delST">
          <ac:chgData name="Mick Mooney" userId="e6518e4e-af4a-4bea-b39c-20489a1e5519" providerId="ADAL" clId="{3014DE50-B07B-4776-BEAC-0F779D92A13E}" dt="2023-07-31T15:35:06.411" v="33202"/>
          <ac:spMkLst>
            <pc:docMk/>
            <pc:sldMk cId="3310043290" sldId="2147473113"/>
            <ac:spMk id="4" creationId="{E432C490-8501-4DEB-9800-36DD8F00D9DA}"/>
          </ac:spMkLst>
        </pc:spChg>
      </pc:sldChg>
      <pc:sldChg chg="addSp delSp modSp add mod ord addCm delCm">
        <pc:chgData name="Mick Mooney" userId="e6518e4e-af4a-4bea-b39c-20489a1e5519" providerId="ADAL" clId="{3014DE50-B07B-4776-BEAC-0F779D92A13E}" dt="2023-08-15T08:44:22.740" v="35669" actId="20577"/>
        <pc:sldMkLst>
          <pc:docMk/>
          <pc:sldMk cId="2364299347" sldId="2147473116"/>
        </pc:sldMkLst>
        <pc:spChg chg="add del mod replST delST">
          <ac:chgData name="Mick Mooney" userId="e6518e4e-af4a-4bea-b39c-20489a1e5519" providerId="ADAL" clId="{3014DE50-B07B-4776-BEAC-0F779D92A13E}" dt="2023-07-31T13:20:28.860" v="29385"/>
          <ac:spMkLst>
            <pc:docMk/>
            <pc:sldMk cId="2364299347" sldId="2147473116"/>
            <ac:spMk id="2" creationId="{10039E46-2A5C-8BD5-E70E-23196EB79DDC}"/>
          </ac:spMkLst>
        </pc:spChg>
        <pc:spChg chg="mod replST delST">
          <ac:chgData name="Mick Mooney" userId="e6518e4e-af4a-4bea-b39c-20489a1e5519" providerId="ADAL" clId="{3014DE50-B07B-4776-BEAC-0F779D92A13E}" dt="2023-07-31T09:47:30.605" v="23318" actId="2711"/>
          <ac:spMkLst>
            <pc:docMk/>
            <pc:sldMk cId="2364299347" sldId="2147473116"/>
            <ac:spMk id="3" creationId="{054356EA-79F4-3612-54CC-809CBFF37041}"/>
          </ac:spMkLst>
        </pc:spChg>
        <pc:spChg chg="add mod replST delST">
          <ac:chgData name="Mick Mooney" userId="e6518e4e-af4a-4bea-b39c-20489a1e5519" providerId="ADAL" clId="{3014DE50-B07B-4776-BEAC-0F779D92A13E}" dt="2023-07-31T13:21:33.404" v="29480" actId="1076"/>
          <ac:spMkLst>
            <pc:docMk/>
            <pc:sldMk cId="2364299347" sldId="2147473116"/>
            <ac:spMk id="4" creationId="{65F920F5-A800-8CC9-007C-C71670805DE7}"/>
          </ac:spMkLst>
        </pc:spChg>
        <pc:spChg chg="del replST">
          <ac:chgData name="Mick Mooney" userId="e6518e4e-af4a-4bea-b39c-20489a1e5519" providerId="ADAL" clId="{3014DE50-B07B-4776-BEAC-0F779D92A13E}" dt="2023-07-22T09:55:11.519" v="203" actId="478"/>
          <ac:spMkLst>
            <pc:docMk/>
            <pc:sldMk cId="2364299347" sldId="2147473116"/>
            <ac:spMk id="4" creationId="{FFAF1D5F-CE64-559D-4E24-745D0B15B34C}"/>
          </ac:spMkLst>
        </pc:spChg>
        <pc:spChg chg="mod replST delST">
          <ac:chgData name="Mick Mooney" userId="e6518e4e-af4a-4bea-b39c-20489a1e5519" providerId="ADAL" clId="{3014DE50-B07B-4776-BEAC-0F779D92A13E}" dt="2023-08-15T08:44:22.740" v="35669" actId="20577"/>
          <ac:spMkLst>
            <pc:docMk/>
            <pc:sldMk cId="2364299347" sldId="2147473116"/>
            <ac:spMk id="8" creationId="{7824D54C-15D2-467C-A016-166944D0781C}"/>
          </ac:spMkLst>
        </pc:spChg>
        <pc:spChg chg="del replST">
          <ac:chgData name="Mick Mooney" userId="e6518e4e-af4a-4bea-b39c-20489a1e5519" providerId="ADAL" clId="{3014DE50-B07B-4776-BEAC-0F779D92A13E}" dt="2023-07-22T09:55:23.751" v="210" actId="478"/>
          <ac:spMkLst>
            <pc:docMk/>
            <pc:sldMk cId="2364299347" sldId="2147473116"/>
            <ac:spMk id="55" creationId="{371A6754-7AC2-446D-827E-9C5E1A1FE1DC}"/>
          </ac:spMkLst>
        </pc:spChg>
        <pc:spChg chg="del">
          <ac:chgData name="Mick Mooney" userId="e6518e4e-af4a-4bea-b39c-20489a1e5519" providerId="ADAL" clId="{3014DE50-B07B-4776-BEAC-0F779D92A13E}" dt="2023-07-22T09:55:27.715" v="211" actId="478"/>
          <ac:spMkLst>
            <pc:docMk/>
            <pc:sldMk cId="2364299347" sldId="2147473116"/>
            <ac:spMk id="61" creationId="{0359F9F4-1D5C-4941-812C-2A6BA773CA70}"/>
          </ac:spMkLst>
        </pc:spChg>
        <pc:spChg chg="del replST">
          <ac:chgData name="Mick Mooney" userId="e6518e4e-af4a-4bea-b39c-20489a1e5519" providerId="ADAL" clId="{3014DE50-B07B-4776-BEAC-0F779D92A13E}" dt="2023-07-22T09:55:23.129" v="208" actId="478"/>
          <ac:spMkLst>
            <pc:docMk/>
            <pc:sldMk cId="2364299347" sldId="2147473116"/>
            <ac:spMk id="65" creationId="{E7AD2437-F9E6-415A-95E8-3A7DB433A315}"/>
          </ac:spMkLst>
        </pc:spChg>
        <pc:spChg chg="del">
          <ac:chgData name="Mick Mooney" userId="e6518e4e-af4a-4bea-b39c-20489a1e5519" providerId="ADAL" clId="{3014DE50-B07B-4776-BEAC-0F779D92A13E}" dt="2023-07-22T09:55:27.715" v="211" actId="478"/>
          <ac:spMkLst>
            <pc:docMk/>
            <pc:sldMk cId="2364299347" sldId="2147473116"/>
            <ac:spMk id="71" creationId="{E6FC9E52-5A1E-42F6-98B2-E3289C1A5494}"/>
          </ac:spMkLst>
        </pc:spChg>
        <pc:spChg chg="del">
          <ac:chgData name="Mick Mooney" userId="e6518e4e-af4a-4bea-b39c-20489a1e5519" providerId="ADAL" clId="{3014DE50-B07B-4776-BEAC-0F779D92A13E}" dt="2023-07-22T09:55:27.715" v="211" actId="478"/>
          <ac:spMkLst>
            <pc:docMk/>
            <pc:sldMk cId="2364299347" sldId="2147473116"/>
            <ac:spMk id="72" creationId="{C13D2F4D-33F4-4445-B71A-699310EE77CB}"/>
          </ac:spMkLst>
        </pc:spChg>
        <pc:spChg chg="del">
          <ac:chgData name="Mick Mooney" userId="e6518e4e-af4a-4bea-b39c-20489a1e5519" providerId="ADAL" clId="{3014DE50-B07B-4776-BEAC-0F779D92A13E}" dt="2023-07-22T09:55:27.715" v="211" actId="478"/>
          <ac:spMkLst>
            <pc:docMk/>
            <pc:sldMk cId="2364299347" sldId="2147473116"/>
            <ac:spMk id="102" creationId="{C26A9A50-19C5-47E2-8845-7C12E47E9EC2}"/>
          </ac:spMkLst>
        </pc:spChg>
        <pc:spChg chg="del">
          <ac:chgData name="Mick Mooney" userId="e6518e4e-af4a-4bea-b39c-20489a1e5519" providerId="ADAL" clId="{3014DE50-B07B-4776-BEAC-0F779D92A13E}" dt="2023-07-22T09:55:27.715" v="211" actId="478"/>
          <ac:spMkLst>
            <pc:docMk/>
            <pc:sldMk cId="2364299347" sldId="2147473116"/>
            <ac:spMk id="104" creationId="{13BABCC2-0EDE-45E3-948E-0C4107749E10}"/>
          </ac:spMkLst>
        </pc:spChg>
        <pc:spChg chg="del">
          <ac:chgData name="Mick Mooney" userId="e6518e4e-af4a-4bea-b39c-20489a1e5519" providerId="ADAL" clId="{3014DE50-B07B-4776-BEAC-0F779D92A13E}" dt="2023-07-22T09:55:27.715" v="211" actId="478"/>
          <ac:spMkLst>
            <pc:docMk/>
            <pc:sldMk cId="2364299347" sldId="2147473116"/>
            <ac:spMk id="126" creationId="{3EF01B1D-AB34-4705-92BE-8E587EFD0865}"/>
          </ac:spMkLst>
        </pc:spChg>
        <pc:spChg chg="del replST delST">
          <ac:chgData name="Mick Mooney" userId="e6518e4e-af4a-4bea-b39c-20489a1e5519" providerId="ADAL" clId="{3014DE50-B07B-4776-BEAC-0F779D92A13E}" dt="2023-07-22T09:55:21.910" v="206" actId="478"/>
          <ac:spMkLst>
            <pc:docMk/>
            <pc:sldMk cId="2364299347" sldId="2147473116"/>
            <ac:spMk id="130" creationId="{B8DC10C4-A1C4-49FD-B231-3A537A772D94}"/>
          </ac:spMkLst>
        </pc:spChg>
        <pc:grpChg chg="del">
          <ac:chgData name="Mick Mooney" userId="e6518e4e-af4a-4bea-b39c-20489a1e5519" providerId="ADAL" clId="{3014DE50-B07B-4776-BEAC-0F779D92A13E}" dt="2023-07-22T09:55:27.715" v="211" actId="478"/>
          <ac:grpSpMkLst>
            <pc:docMk/>
            <pc:sldMk cId="2364299347" sldId="2147473116"/>
            <ac:grpSpMk id="11" creationId="{0B3E8D0A-69EF-492D-9E09-726EB427D471}"/>
          </ac:grpSpMkLst>
        </pc:grpChg>
        <pc:grpChg chg="del">
          <ac:chgData name="Mick Mooney" userId="e6518e4e-af4a-4bea-b39c-20489a1e5519" providerId="ADAL" clId="{3014DE50-B07B-4776-BEAC-0F779D92A13E}" dt="2023-07-22T09:55:27.715" v="211" actId="478"/>
          <ac:grpSpMkLst>
            <pc:docMk/>
            <pc:sldMk cId="2364299347" sldId="2147473116"/>
            <ac:grpSpMk id="22" creationId="{BB16D233-B03B-4B74-A2FD-AB6264FA3C15}"/>
          </ac:grpSpMkLst>
        </pc:grpChg>
        <pc:grpChg chg="del">
          <ac:chgData name="Mick Mooney" userId="e6518e4e-af4a-4bea-b39c-20489a1e5519" providerId="ADAL" clId="{3014DE50-B07B-4776-BEAC-0F779D92A13E}" dt="2023-07-22T09:55:27.715" v="211" actId="478"/>
          <ac:grpSpMkLst>
            <pc:docMk/>
            <pc:sldMk cId="2364299347" sldId="2147473116"/>
            <ac:grpSpMk id="36" creationId="{40BD9D2C-8BE3-48A1-B260-8556C270ADBA}"/>
          </ac:grpSpMkLst>
        </pc:grpChg>
        <pc:grpChg chg="del">
          <ac:chgData name="Mick Mooney" userId="e6518e4e-af4a-4bea-b39c-20489a1e5519" providerId="ADAL" clId="{3014DE50-B07B-4776-BEAC-0F779D92A13E}" dt="2023-07-22T09:55:27.715" v="211" actId="478"/>
          <ac:grpSpMkLst>
            <pc:docMk/>
            <pc:sldMk cId="2364299347" sldId="2147473116"/>
            <ac:grpSpMk id="38" creationId="{91757244-02F7-4C8E-8E32-89228EF28977}"/>
          </ac:grpSpMkLst>
        </pc:grpChg>
        <pc:grpChg chg="del">
          <ac:chgData name="Mick Mooney" userId="e6518e4e-af4a-4bea-b39c-20489a1e5519" providerId="ADAL" clId="{3014DE50-B07B-4776-BEAC-0F779D92A13E}" dt="2023-07-22T09:55:27.715" v="211" actId="478"/>
          <ac:grpSpMkLst>
            <pc:docMk/>
            <pc:sldMk cId="2364299347" sldId="2147473116"/>
            <ac:grpSpMk id="43" creationId="{B1D58D2D-6FF2-4705-93AA-4795B39C6451}"/>
          </ac:grpSpMkLst>
        </pc:grpChg>
        <pc:grpChg chg="del">
          <ac:chgData name="Mick Mooney" userId="e6518e4e-af4a-4bea-b39c-20489a1e5519" providerId="ADAL" clId="{3014DE50-B07B-4776-BEAC-0F779D92A13E}" dt="2023-07-22T09:55:27.715" v="211" actId="478"/>
          <ac:grpSpMkLst>
            <pc:docMk/>
            <pc:sldMk cId="2364299347" sldId="2147473116"/>
            <ac:grpSpMk id="48" creationId="{14D959A2-4EA6-4AAF-8690-EDCA62EBEF0B}"/>
          </ac:grpSpMkLst>
        </pc:grpChg>
        <pc:grpChg chg="del">
          <ac:chgData name="Mick Mooney" userId="e6518e4e-af4a-4bea-b39c-20489a1e5519" providerId="ADAL" clId="{3014DE50-B07B-4776-BEAC-0F779D92A13E}" dt="2023-07-22T09:55:27.715" v="211" actId="478"/>
          <ac:grpSpMkLst>
            <pc:docMk/>
            <pc:sldMk cId="2364299347" sldId="2147473116"/>
            <ac:grpSpMk id="53" creationId="{9016282A-EDBD-40CF-AF62-4D5EEDB680B5}"/>
          </ac:grpSpMkLst>
        </pc:grpChg>
        <pc:grpChg chg="del">
          <ac:chgData name="Mick Mooney" userId="e6518e4e-af4a-4bea-b39c-20489a1e5519" providerId="ADAL" clId="{3014DE50-B07B-4776-BEAC-0F779D92A13E}" dt="2023-07-22T09:55:27.715" v="211" actId="478"/>
          <ac:grpSpMkLst>
            <pc:docMk/>
            <pc:sldMk cId="2364299347" sldId="2147473116"/>
            <ac:grpSpMk id="56" creationId="{B3325E0A-2EA0-4C60-86D2-96A3A4A7F2CF}"/>
          </ac:grpSpMkLst>
        </pc:grpChg>
        <pc:grpChg chg="del">
          <ac:chgData name="Mick Mooney" userId="e6518e4e-af4a-4bea-b39c-20489a1e5519" providerId="ADAL" clId="{3014DE50-B07B-4776-BEAC-0F779D92A13E}" dt="2023-07-22T09:55:27.715" v="211" actId="478"/>
          <ac:grpSpMkLst>
            <pc:docMk/>
            <pc:sldMk cId="2364299347" sldId="2147473116"/>
            <ac:grpSpMk id="62" creationId="{22C284DD-5D82-430B-BB19-CCBAD2CE1CB6}"/>
          </ac:grpSpMkLst>
        </pc:grpChg>
        <pc:grpChg chg="del">
          <ac:chgData name="Mick Mooney" userId="e6518e4e-af4a-4bea-b39c-20489a1e5519" providerId="ADAL" clId="{3014DE50-B07B-4776-BEAC-0F779D92A13E}" dt="2023-07-22T09:55:27.715" v="211" actId="478"/>
          <ac:grpSpMkLst>
            <pc:docMk/>
            <pc:sldMk cId="2364299347" sldId="2147473116"/>
            <ac:grpSpMk id="63" creationId="{7D1D5251-5AFB-4C67-8016-20A909AADA64}"/>
          </ac:grpSpMkLst>
        </pc:grpChg>
        <pc:grpChg chg="del">
          <ac:chgData name="Mick Mooney" userId="e6518e4e-af4a-4bea-b39c-20489a1e5519" providerId="ADAL" clId="{3014DE50-B07B-4776-BEAC-0F779D92A13E}" dt="2023-07-22T09:55:27.715" v="211" actId="478"/>
          <ac:grpSpMkLst>
            <pc:docMk/>
            <pc:sldMk cId="2364299347" sldId="2147473116"/>
            <ac:grpSpMk id="64" creationId="{1AC14BB7-F65A-4A4B-8AB3-52CBB9979588}"/>
          </ac:grpSpMkLst>
        </pc:grpChg>
        <pc:grpChg chg="del">
          <ac:chgData name="Mick Mooney" userId="e6518e4e-af4a-4bea-b39c-20489a1e5519" providerId="ADAL" clId="{3014DE50-B07B-4776-BEAC-0F779D92A13E}" dt="2023-07-22T09:55:27.715" v="211" actId="478"/>
          <ac:grpSpMkLst>
            <pc:docMk/>
            <pc:sldMk cId="2364299347" sldId="2147473116"/>
            <ac:grpSpMk id="84" creationId="{7B9A016B-EB99-4042-96D4-485A990E22BF}"/>
          </ac:grpSpMkLst>
        </pc:grpChg>
        <pc:grpChg chg="del">
          <ac:chgData name="Mick Mooney" userId="e6518e4e-af4a-4bea-b39c-20489a1e5519" providerId="ADAL" clId="{3014DE50-B07B-4776-BEAC-0F779D92A13E}" dt="2023-07-22T09:55:27.715" v="211" actId="478"/>
          <ac:grpSpMkLst>
            <pc:docMk/>
            <pc:sldMk cId="2364299347" sldId="2147473116"/>
            <ac:grpSpMk id="112" creationId="{8E85D69B-B8B3-4424-98A3-BB47C83B31AD}"/>
          </ac:grpSpMkLst>
        </pc:grpChg>
        <pc:grpChg chg="del">
          <ac:chgData name="Mick Mooney" userId="e6518e4e-af4a-4bea-b39c-20489a1e5519" providerId="ADAL" clId="{3014DE50-B07B-4776-BEAC-0F779D92A13E}" dt="2023-07-22T09:56:14.449" v="221" actId="478"/>
          <ac:grpSpMkLst>
            <pc:docMk/>
            <pc:sldMk cId="2364299347" sldId="2147473116"/>
            <ac:grpSpMk id="139" creationId="{F6E74C4E-2FF7-4C41-A8CD-006A7CE8A26D}"/>
          </ac:grpSpMkLst>
        </pc:grpChg>
        <pc:picChg chg="add del mod">
          <ac:chgData name="Mick Mooney" userId="e6518e4e-af4a-4bea-b39c-20489a1e5519" providerId="ADAL" clId="{3014DE50-B07B-4776-BEAC-0F779D92A13E}" dt="2023-07-24T15:44:22.873" v="8553" actId="478"/>
          <ac:picMkLst>
            <pc:docMk/>
            <pc:sldMk cId="2364299347" sldId="2147473116"/>
            <ac:picMk id="2" creationId="{F7891686-3955-DF3E-2CAD-73A6B240A64B}"/>
          </ac:picMkLst>
        </pc:picChg>
        <pc:picChg chg="add del mod">
          <ac:chgData name="Mick Mooney" userId="e6518e4e-af4a-4bea-b39c-20489a1e5519" providerId="ADAL" clId="{3014DE50-B07B-4776-BEAC-0F779D92A13E}" dt="2023-07-24T15:45:56.087" v="8566" actId="478"/>
          <ac:picMkLst>
            <pc:docMk/>
            <pc:sldMk cId="2364299347" sldId="2147473116"/>
            <ac:picMk id="5" creationId="{951F4DDC-8A3D-6D38-B013-9CAC510CAE03}"/>
          </ac:picMkLst>
        </pc:picChg>
        <pc:picChg chg="add del mod">
          <ac:chgData name="Mick Mooney" userId="e6518e4e-af4a-4bea-b39c-20489a1e5519" providerId="ADAL" clId="{3014DE50-B07B-4776-BEAC-0F779D92A13E}" dt="2023-07-24T16:00:11.404" v="8572" actId="478"/>
          <ac:picMkLst>
            <pc:docMk/>
            <pc:sldMk cId="2364299347" sldId="2147473116"/>
            <ac:picMk id="7" creationId="{0EBF5341-2A1B-67A9-82EF-AA8CF12F8AC7}"/>
          </ac:picMkLst>
        </pc:picChg>
        <pc:picChg chg="add mod">
          <ac:chgData name="Mick Mooney" userId="e6518e4e-af4a-4bea-b39c-20489a1e5519" providerId="ADAL" clId="{3014DE50-B07B-4776-BEAC-0F779D92A13E}" dt="2023-07-24T18:32:55.806" v="8580" actId="1076"/>
          <ac:picMkLst>
            <pc:docMk/>
            <pc:sldMk cId="2364299347" sldId="2147473116"/>
            <ac:picMk id="10" creationId="{96C46AEF-9125-B875-9BE2-712E3A29605B}"/>
          </ac:picMkLst>
        </pc:picChg>
        <pc:picChg chg="del">
          <ac:chgData name="Mick Mooney" userId="e6518e4e-af4a-4bea-b39c-20489a1e5519" providerId="ADAL" clId="{3014DE50-B07B-4776-BEAC-0F779D92A13E}" dt="2023-07-22T09:55:27.715" v="211" actId="478"/>
          <ac:picMkLst>
            <pc:docMk/>
            <pc:sldMk cId="2364299347" sldId="2147473116"/>
            <ac:picMk id="14" creationId="{50C24E5A-90E2-4D89-937E-CF5DFA4A862C}"/>
          </ac:picMkLst>
        </pc:picChg>
        <pc:picChg chg="del">
          <ac:chgData name="Mick Mooney" userId="e6518e4e-af4a-4bea-b39c-20489a1e5519" providerId="ADAL" clId="{3014DE50-B07B-4776-BEAC-0F779D92A13E}" dt="2023-07-22T09:55:28.723" v="212" actId="478"/>
          <ac:picMkLst>
            <pc:docMk/>
            <pc:sldMk cId="2364299347" sldId="2147473116"/>
            <ac:picMk id="37" creationId="{7DCBA5E1-4CAF-5E06-FA23-876307D7AB1B}"/>
          </ac:picMkLst>
        </pc:picChg>
        <pc:picChg chg="del">
          <ac:chgData name="Mick Mooney" userId="e6518e4e-af4a-4bea-b39c-20489a1e5519" providerId="ADAL" clId="{3014DE50-B07B-4776-BEAC-0F779D92A13E}" dt="2023-07-22T09:55:27.715" v="211" actId="478"/>
          <ac:picMkLst>
            <pc:docMk/>
            <pc:sldMk cId="2364299347" sldId="2147473116"/>
            <ac:picMk id="19466" creationId="{7E0978AC-7C92-4F82-AAEA-4A16D7216A38}"/>
          </ac:picMkLst>
        </pc:picChg>
        <pc:picChg chg="del">
          <ac:chgData name="Mick Mooney" userId="e6518e4e-af4a-4bea-b39c-20489a1e5519" providerId="ADAL" clId="{3014DE50-B07B-4776-BEAC-0F779D92A13E}" dt="2023-07-22T09:55:27.715" v="211" actId="478"/>
          <ac:picMkLst>
            <pc:docMk/>
            <pc:sldMk cId="2364299347" sldId="2147473116"/>
            <ac:picMk id="19474" creationId="{2211E4FD-54F9-480F-B64C-BD1A1C1447A4}"/>
          </ac:picMkLst>
        </pc:picChg>
        <pc:cxnChg chg="del">
          <ac:chgData name="Mick Mooney" userId="e6518e4e-af4a-4bea-b39c-20489a1e5519" providerId="ADAL" clId="{3014DE50-B07B-4776-BEAC-0F779D92A13E}" dt="2023-07-22T09:55:27.715" v="211" actId="478"/>
          <ac:cxnSpMkLst>
            <pc:docMk/>
            <pc:sldMk cId="2364299347" sldId="2147473116"/>
            <ac:cxnSpMk id="111" creationId="{B5FB65F9-5E48-4560-B781-2BAC82257344}"/>
          </ac:cxnSpMkLst>
        </pc:cxnChg>
        <pc:cxnChg chg="del">
          <ac:chgData name="Mick Mooney" userId="e6518e4e-af4a-4bea-b39c-20489a1e5519" providerId="ADAL" clId="{3014DE50-B07B-4776-BEAC-0F779D92A13E}" dt="2023-07-22T09:55:27.715" v="211" actId="478"/>
          <ac:cxnSpMkLst>
            <pc:docMk/>
            <pc:sldMk cId="2364299347" sldId="2147473116"/>
            <ac:cxnSpMk id="122" creationId="{92E99F93-AD9E-480A-A736-2D2A288F5778}"/>
          </ac:cxnSpMkLst>
        </pc:cxnChg>
        <pc:cxnChg chg="del">
          <ac:chgData name="Mick Mooney" userId="e6518e4e-af4a-4bea-b39c-20489a1e5519" providerId="ADAL" clId="{3014DE50-B07B-4776-BEAC-0F779D92A13E}" dt="2023-07-22T09:55:27.715" v="211" actId="478"/>
          <ac:cxnSpMkLst>
            <pc:docMk/>
            <pc:sldMk cId="2364299347" sldId="2147473116"/>
            <ac:cxnSpMk id="125" creationId="{B63EBD3A-8094-48EE-876C-EA83F5E3E892}"/>
          </ac:cxnSpMkLst>
        </pc:cxnChg>
        <pc:cxnChg chg="del">
          <ac:chgData name="Mick Mooney" userId="e6518e4e-af4a-4bea-b39c-20489a1e5519" providerId="ADAL" clId="{3014DE50-B07B-4776-BEAC-0F779D92A13E}" dt="2023-07-22T09:55:27.715" v="211" actId="478"/>
          <ac:cxnSpMkLst>
            <pc:docMk/>
            <pc:sldMk cId="2364299347" sldId="2147473116"/>
            <ac:cxnSpMk id="128" creationId="{D859410C-B725-406D-993B-CEEF73F88750}"/>
          </ac:cxnSpMkLst>
        </pc:cxnChg>
        <pc:cxnChg chg="del">
          <ac:chgData name="Mick Mooney" userId="e6518e4e-af4a-4bea-b39c-20489a1e5519" providerId="ADAL" clId="{3014DE50-B07B-4776-BEAC-0F779D92A13E}" dt="2023-07-22T09:55:27.715" v="211" actId="478"/>
          <ac:cxnSpMkLst>
            <pc:docMk/>
            <pc:sldMk cId="2364299347" sldId="2147473116"/>
            <ac:cxnSpMk id="137" creationId="{460359A9-80C6-4109-9438-AB79DE8807A1}"/>
          </ac:cxnSpMkLst>
        </pc:cxnChg>
        <pc:cxnChg chg="del">
          <ac:chgData name="Mick Mooney" userId="e6518e4e-af4a-4bea-b39c-20489a1e5519" providerId="ADAL" clId="{3014DE50-B07B-4776-BEAC-0F779D92A13E}" dt="2023-07-22T09:55:27.715" v="211" actId="478"/>
          <ac:cxnSpMkLst>
            <pc:docMk/>
            <pc:sldMk cId="2364299347" sldId="2147473116"/>
            <ac:cxnSpMk id="138" creationId="{A60E41B8-E64A-42BD-A9C2-CE15E30210C9}"/>
          </ac:cxnSpMkLst>
        </pc:cxnChg>
        <pc:cxnChg chg="del">
          <ac:chgData name="Mick Mooney" userId="e6518e4e-af4a-4bea-b39c-20489a1e5519" providerId="ADAL" clId="{3014DE50-B07B-4776-BEAC-0F779D92A13E}" dt="2023-07-22T09:55:27.715" v="211" actId="478"/>
          <ac:cxnSpMkLst>
            <pc:docMk/>
            <pc:sldMk cId="2364299347" sldId="2147473116"/>
            <ac:cxnSpMk id="140" creationId="{76C0B258-94BA-4FC7-88A5-4D7E1D8DA634}"/>
          </ac:cxnSpMkLst>
        </pc:cxnChg>
        <pc:cxnChg chg="del">
          <ac:chgData name="Mick Mooney" userId="e6518e4e-af4a-4bea-b39c-20489a1e5519" providerId="ADAL" clId="{3014DE50-B07B-4776-BEAC-0F779D92A13E}" dt="2023-07-22T09:55:27.715" v="211" actId="478"/>
          <ac:cxnSpMkLst>
            <pc:docMk/>
            <pc:sldMk cId="2364299347" sldId="2147473116"/>
            <ac:cxnSpMk id="142" creationId="{8A1B5AB4-1763-4BB9-A7CF-EE29D995EF55}"/>
          </ac:cxnSpMkLst>
        </pc:cxnChg>
        <pc:cxnChg chg="del">
          <ac:chgData name="Mick Mooney" userId="e6518e4e-af4a-4bea-b39c-20489a1e5519" providerId="ADAL" clId="{3014DE50-B07B-4776-BEAC-0F779D92A13E}" dt="2023-07-22T09:55:27.715" v="211" actId="478"/>
          <ac:cxnSpMkLst>
            <pc:docMk/>
            <pc:sldMk cId="2364299347" sldId="2147473116"/>
            <ac:cxnSpMk id="156" creationId="{530F4F77-7E47-4E39-A0CE-190F89713E2E}"/>
          </ac:cxnSpMkLst>
        </pc:cxnChg>
        <pc:cxnChg chg="del">
          <ac:chgData name="Mick Mooney" userId="e6518e4e-af4a-4bea-b39c-20489a1e5519" providerId="ADAL" clId="{3014DE50-B07B-4776-BEAC-0F779D92A13E}" dt="2023-07-22T09:55:27.715" v="211" actId="478"/>
          <ac:cxnSpMkLst>
            <pc:docMk/>
            <pc:sldMk cId="2364299347" sldId="2147473116"/>
            <ac:cxnSpMk id="157" creationId="{742E1493-3BAD-47DD-8469-F055326319DF}"/>
          </ac:cxnSpMkLst>
        </pc:cxnChg>
      </pc:sldChg>
      <pc:sldChg chg="modSp mod">
        <pc:chgData name="Mick Mooney" userId="e6518e4e-af4a-4bea-b39c-20489a1e5519" providerId="ADAL" clId="{3014DE50-B07B-4776-BEAC-0F779D92A13E}" dt="2023-07-31T15:35:53.955" v="33224" actId="2711"/>
        <pc:sldMkLst>
          <pc:docMk/>
          <pc:sldMk cId="899793934" sldId="2147473120"/>
        </pc:sldMkLst>
        <pc:spChg chg="mod replST delST">
          <ac:chgData name="Mick Mooney" userId="e6518e4e-af4a-4bea-b39c-20489a1e5519" providerId="ADAL" clId="{3014DE50-B07B-4776-BEAC-0F779D92A13E}" dt="2023-07-31T15:35:53.955" v="33224" actId="2711"/>
          <ac:spMkLst>
            <pc:docMk/>
            <pc:sldMk cId="899793934" sldId="2147473120"/>
            <ac:spMk id="4" creationId="{E432C490-8501-4DEB-9800-36DD8F00D9DA}"/>
          </ac:spMkLst>
        </pc:spChg>
      </pc:sldChg>
      <pc:sldChg chg="delSp modSp add mod addCm">
        <pc:chgData name="Mick Mooney" userId="e6518e4e-af4a-4bea-b39c-20489a1e5519" providerId="ADAL" clId="{3014DE50-B07B-4776-BEAC-0F779D92A13E}" dt="2023-07-22T14:31:12.039" v="8476"/>
        <pc:sldMkLst>
          <pc:docMk/>
          <pc:sldMk cId="3677451330" sldId="2147473122"/>
        </pc:sldMkLst>
        <pc:spChg chg="mod replST delST">
          <ac:chgData name="Mick Mooney" userId="e6518e4e-af4a-4bea-b39c-20489a1e5519" providerId="ADAL" clId="{3014DE50-B07B-4776-BEAC-0F779D92A13E}" dt="2023-07-22T12:31:25.793" v="4016"/>
          <ac:spMkLst>
            <pc:docMk/>
            <pc:sldMk cId="3677451330" sldId="2147473122"/>
            <ac:spMk id="8" creationId="{7824D54C-15D2-467C-A016-166944D0781C}"/>
          </ac:spMkLst>
        </pc:spChg>
        <pc:spChg chg="del replST delST">
          <ac:chgData name="Mick Mooney" userId="e6518e4e-af4a-4bea-b39c-20489a1e5519" providerId="ADAL" clId="{3014DE50-B07B-4776-BEAC-0F779D92A13E}" dt="2023-07-22T11:26:12.733" v="3071" actId="478"/>
          <ac:spMkLst>
            <pc:docMk/>
            <pc:sldMk cId="3677451330" sldId="2147473122"/>
            <ac:spMk id="73" creationId="{248C2463-F2A8-4853-9555-1A0A2326E064}"/>
          </ac:spMkLst>
        </pc:spChg>
        <pc:spChg chg="del">
          <ac:chgData name="Mick Mooney" userId="e6518e4e-af4a-4bea-b39c-20489a1e5519" providerId="ADAL" clId="{3014DE50-B07B-4776-BEAC-0F779D92A13E}" dt="2023-07-22T11:26:12.733" v="3071" actId="478"/>
          <ac:spMkLst>
            <pc:docMk/>
            <pc:sldMk cId="3677451330" sldId="2147473122"/>
            <ac:spMk id="79" creationId="{9434CA67-DB2D-4F98-95D7-2E805A26D21F}"/>
          </ac:spMkLst>
        </pc:spChg>
        <pc:spChg chg="del">
          <ac:chgData name="Mick Mooney" userId="e6518e4e-af4a-4bea-b39c-20489a1e5519" providerId="ADAL" clId="{3014DE50-B07B-4776-BEAC-0F779D92A13E}" dt="2023-07-22T11:26:12.733" v="3071" actId="478"/>
          <ac:spMkLst>
            <pc:docMk/>
            <pc:sldMk cId="3677451330" sldId="2147473122"/>
            <ac:spMk id="80" creationId="{6C3EC4D9-EC22-4CC6-B94E-0C98AF870B4E}"/>
          </ac:spMkLst>
        </pc:spChg>
        <pc:spChg chg="del">
          <ac:chgData name="Mick Mooney" userId="e6518e4e-af4a-4bea-b39c-20489a1e5519" providerId="ADAL" clId="{3014DE50-B07B-4776-BEAC-0F779D92A13E}" dt="2023-07-22T11:26:12.733" v="3071" actId="478"/>
          <ac:spMkLst>
            <pc:docMk/>
            <pc:sldMk cId="3677451330" sldId="2147473122"/>
            <ac:spMk id="81" creationId="{51A74D43-D392-4910-ADAB-BC25FD94471B}"/>
          </ac:spMkLst>
        </pc:spChg>
        <pc:spChg chg="del">
          <ac:chgData name="Mick Mooney" userId="e6518e4e-af4a-4bea-b39c-20489a1e5519" providerId="ADAL" clId="{3014DE50-B07B-4776-BEAC-0F779D92A13E}" dt="2023-07-22T11:26:12.733" v="3071" actId="478"/>
          <ac:spMkLst>
            <pc:docMk/>
            <pc:sldMk cId="3677451330" sldId="2147473122"/>
            <ac:spMk id="82" creationId="{E021FE84-1638-4450-B522-E199488815C1}"/>
          </ac:spMkLst>
        </pc:spChg>
        <pc:spChg chg="mod">
          <ac:chgData name="Mick Mooney" userId="e6518e4e-af4a-4bea-b39c-20489a1e5519" providerId="ADAL" clId="{3014DE50-B07B-4776-BEAC-0F779D92A13E}" dt="2023-07-22T14:31:12.039" v="8476"/>
          <ac:spMkLst>
            <pc:docMk/>
            <pc:sldMk cId="3677451330" sldId="2147473122"/>
            <ac:spMk id="83" creationId="{38BA1687-496F-4C8F-AF0B-DB160EEA7CE5}"/>
          </ac:spMkLst>
        </pc:spChg>
        <pc:spChg chg="del">
          <ac:chgData name="Mick Mooney" userId="e6518e4e-af4a-4bea-b39c-20489a1e5519" providerId="ADAL" clId="{3014DE50-B07B-4776-BEAC-0F779D92A13E}" dt="2023-07-22T11:26:12.733" v="3071" actId="478"/>
          <ac:spMkLst>
            <pc:docMk/>
            <pc:sldMk cId="3677451330" sldId="2147473122"/>
            <ac:spMk id="84" creationId="{C05E45F3-092B-4118-B204-AA6F4B632559}"/>
          </ac:spMkLst>
        </pc:spChg>
        <pc:grpChg chg="del">
          <ac:chgData name="Mick Mooney" userId="e6518e4e-af4a-4bea-b39c-20489a1e5519" providerId="ADAL" clId="{3014DE50-B07B-4776-BEAC-0F779D92A13E}" dt="2023-07-22T11:26:12.733" v="3071" actId="478"/>
          <ac:grpSpMkLst>
            <pc:docMk/>
            <pc:sldMk cId="3677451330" sldId="2147473122"/>
            <ac:grpSpMk id="76" creationId="{BE1D34BA-D91A-49FD-AB73-6CA21E425613}"/>
          </ac:grpSpMkLst>
        </pc:grpChg>
        <pc:picChg chg="del">
          <ac:chgData name="Mick Mooney" userId="e6518e4e-af4a-4bea-b39c-20489a1e5519" providerId="ADAL" clId="{3014DE50-B07B-4776-BEAC-0F779D92A13E}" dt="2023-07-22T11:26:12.733" v="3071" actId="478"/>
          <ac:picMkLst>
            <pc:docMk/>
            <pc:sldMk cId="3677451330" sldId="2147473122"/>
            <ac:picMk id="17" creationId="{28901ABC-009F-41F2-8FC9-AD5ED3A8DA65}"/>
          </ac:picMkLst>
        </pc:picChg>
        <pc:picChg chg="del">
          <ac:chgData name="Mick Mooney" userId="e6518e4e-af4a-4bea-b39c-20489a1e5519" providerId="ADAL" clId="{3014DE50-B07B-4776-BEAC-0F779D92A13E}" dt="2023-07-22T11:48:28.715" v="3285" actId="478"/>
          <ac:picMkLst>
            <pc:docMk/>
            <pc:sldMk cId="3677451330" sldId="2147473122"/>
            <ac:picMk id="23" creationId="{88116CF1-88C9-4159-B7EF-0FFC212FFE91}"/>
          </ac:picMkLst>
        </pc:picChg>
        <pc:picChg chg="del">
          <ac:chgData name="Mick Mooney" userId="e6518e4e-af4a-4bea-b39c-20489a1e5519" providerId="ADAL" clId="{3014DE50-B07B-4776-BEAC-0F779D92A13E}" dt="2023-07-22T11:48:33.422" v="3286" actId="478"/>
          <ac:picMkLst>
            <pc:docMk/>
            <pc:sldMk cId="3677451330" sldId="2147473122"/>
            <ac:picMk id="37" creationId="{7DCBA5E1-4CAF-5E06-FA23-876307D7AB1B}"/>
          </ac:picMkLst>
        </pc:picChg>
        <pc:picChg chg="del">
          <ac:chgData name="Mick Mooney" userId="e6518e4e-af4a-4bea-b39c-20489a1e5519" providerId="ADAL" clId="{3014DE50-B07B-4776-BEAC-0F779D92A13E}" dt="2023-07-22T11:26:12.733" v="3071" actId="478"/>
          <ac:picMkLst>
            <pc:docMk/>
            <pc:sldMk cId="3677451330" sldId="2147473122"/>
            <ac:picMk id="86" creationId="{9EFD775B-942E-456A-B207-B80A24F069C5}"/>
          </ac:picMkLst>
        </pc:picChg>
      </pc:sldChg>
      <pc:sldChg chg="addSp delSp modSp del">
        <pc:chgData name="Mick Mooney" userId="e6518e4e-af4a-4bea-b39c-20489a1e5519" providerId="ADAL" clId="{3014DE50-B07B-4776-BEAC-0F779D92A13E}" dt="2023-07-22T11:37:18.322" v="3259" actId="47"/>
        <pc:sldMkLst>
          <pc:docMk/>
          <pc:sldMk cId="1537638012" sldId="2147473137"/>
        </pc:sldMkLst>
        <pc:spChg chg="add del mod">
          <ac:chgData name="Mick Mooney" userId="e6518e4e-af4a-4bea-b39c-20489a1e5519" providerId="ADAL" clId="{3014DE50-B07B-4776-BEAC-0F779D92A13E}" dt="2023-07-22T11:24:58.152" v="3049"/>
          <ac:spMkLst>
            <pc:docMk/>
            <pc:sldMk cId="1537638012" sldId="2147473137"/>
            <ac:spMk id="2" creationId="{C5E0661D-E3FC-D385-2A62-706A8C6AE0C5}"/>
          </ac:spMkLst>
        </pc:spChg>
        <pc:spChg chg="add del mod">
          <ac:chgData name="Mick Mooney" userId="e6518e4e-af4a-4bea-b39c-20489a1e5519" providerId="ADAL" clId="{3014DE50-B07B-4776-BEAC-0F779D92A13E}" dt="2023-07-22T11:24:58.152" v="3049"/>
          <ac:spMkLst>
            <pc:docMk/>
            <pc:sldMk cId="1537638012" sldId="2147473137"/>
            <ac:spMk id="3" creationId="{913039AF-3BC0-4F13-9862-BF1DA3F03620}"/>
          </ac:spMkLst>
        </pc:spChg>
        <pc:spChg chg="add del mod">
          <ac:chgData name="Mick Mooney" userId="e6518e4e-af4a-4bea-b39c-20489a1e5519" providerId="ADAL" clId="{3014DE50-B07B-4776-BEAC-0F779D92A13E}" dt="2023-07-22T11:24:58.152" v="3049"/>
          <ac:spMkLst>
            <pc:docMk/>
            <pc:sldMk cId="1537638012" sldId="2147473137"/>
            <ac:spMk id="5" creationId="{8EFD8710-E3CF-A354-1832-9FC8B83F5D15}"/>
          </ac:spMkLst>
        </pc:spChg>
      </pc:sldChg>
      <pc:sldChg chg="addSp delSp modSp mod">
        <pc:chgData name="Mick Mooney" userId="e6518e4e-af4a-4bea-b39c-20489a1e5519" providerId="ADAL" clId="{3014DE50-B07B-4776-BEAC-0F779D92A13E}" dt="2023-07-31T15:37:31.936" v="33289"/>
        <pc:sldMkLst>
          <pc:docMk/>
          <pc:sldMk cId="2703490332" sldId="2147473150"/>
        </pc:sldMkLst>
        <pc:spChg chg="add del mod">
          <ac:chgData name="Mick Mooney" userId="e6518e4e-af4a-4bea-b39c-20489a1e5519" providerId="ADAL" clId="{3014DE50-B07B-4776-BEAC-0F779D92A13E}" dt="2023-07-22T11:25:08.249" v="3051"/>
          <ac:spMkLst>
            <pc:docMk/>
            <pc:sldMk cId="2703490332" sldId="2147473150"/>
            <ac:spMk id="2" creationId="{DD4D9E9A-91CF-E9D1-58AD-29449E2BBDCB}"/>
          </ac:spMkLst>
        </pc:spChg>
        <pc:spChg chg="add del mod">
          <ac:chgData name="Mick Mooney" userId="e6518e4e-af4a-4bea-b39c-20489a1e5519" providerId="ADAL" clId="{3014DE50-B07B-4776-BEAC-0F779D92A13E}" dt="2023-07-22T11:25:08.249" v="3051"/>
          <ac:spMkLst>
            <pc:docMk/>
            <pc:sldMk cId="2703490332" sldId="2147473150"/>
            <ac:spMk id="3" creationId="{23D54803-68A1-A33F-4A1D-E54B31CF2D64}"/>
          </ac:spMkLst>
        </pc:spChg>
        <pc:spChg chg="del replST delST">
          <ac:chgData name="Mick Mooney" userId="e6518e4e-af4a-4bea-b39c-20489a1e5519" providerId="ADAL" clId="{3014DE50-B07B-4776-BEAC-0F779D92A13E}" dt="2023-07-22T14:20:09.785" v="8108" actId="478"/>
          <ac:spMkLst>
            <pc:docMk/>
            <pc:sldMk cId="2703490332" sldId="2147473150"/>
            <ac:spMk id="4" creationId="{E432C490-8501-4DEB-9800-36DD8F00D9DA}"/>
          </ac:spMkLst>
        </pc:spChg>
        <pc:spChg chg="del mod replST delST">
          <ac:chgData name="Mick Mooney" userId="e6518e4e-af4a-4bea-b39c-20489a1e5519" providerId="ADAL" clId="{3014DE50-B07B-4776-BEAC-0F779D92A13E}" dt="2023-07-22T14:20:09.785" v="8108" actId="478"/>
          <ac:spMkLst>
            <pc:docMk/>
            <pc:sldMk cId="2703490332" sldId="2147473150"/>
            <ac:spMk id="5" creationId="{82ACE101-9079-4B28-90D1-41FFC709BAB0}"/>
          </ac:spMkLst>
        </pc:spChg>
        <pc:spChg chg="add del mod">
          <ac:chgData name="Mick Mooney" userId="e6518e4e-af4a-4bea-b39c-20489a1e5519" providerId="ADAL" clId="{3014DE50-B07B-4776-BEAC-0F779D92A13E}" dt="2023-07-22T11:25:08.249" v="3051"/>
          <ac:spMkLst>
            <pc:docMk/>
            <pc:sldMk cId="2703490332" sldId="2147473150"/>
            <ac:spMk id="6" creationId="{79313B07-8554-04A1-E5F7-41C27658FF44}"/>
          </ac:spMkLst>
        </pc:spChg>
        <pc:spChg chg="add del mod replST delST">
          <ac:chgData name="Mick Mooney" userId="e6518e4e-af4a-4bea-b39c-20489a1e5519" providerId="ADAL" clId="{3014DE50-B07B-4776-BEAC-0F779D92A13E}" dt="2023-07-22T14:20:12.755" v="8111" actId="478"/>
          <ac:spMkLst>
            <pc:docMk/>
            <pc:sldMk cId="2703490332" sldId="2147473150"/>
            <ac:spMk id="9" creationId="{39E7EFDC-5677-7454-C5FC-B19374846DC7}"/>
          </ac:spMkLst>
        </pc:spChg>
        <pc:spChg chg="add del mod replST">
          <ac:chgData name="Mick Mooney" userId="e6518e4e-af4a-4bea-b39c-20489a1e5519" providerId="ADAL" clId="{3014DE50-B07B-4776-BEAC-0F779D92A13E}" dt="2023-07-22T14:20:14.406" v="8113" actId="478"/>
          <ac:spMkLst>
            <pc:docMk/>
            <pc:sldMk cId="2703490332" sldId="2147473150"/>
            <ac:spMk id="11" creationId="{20AEA376-E612-36B2-4994-9FE166A88FE9}"/>
          </ac:spMkLst>
        </pc:spChg>
        <pc:spChg chg="add mod replST delST">
          <ac:chgData name="Mick Mooney" userId="e6518e4e-af4a-4bea-b39c-20489a1e5519" providerId="ADAL" clId="{3014DE50-B07B-4776-BEAC-0F779D92A13E}" dt="2023-07-31T15:37:13.499" v="33267" actId="2711"/>
          <ac:spMkLst>
            <pc:docMk/>
            <pc:sldMk cId="2703490332" sldId="2147473150"/>
            <ac:spMk id="12" creationId="{F6E8B279-1398-B4F2-2F45-A63F0E17D8AD}"/>
          </ac:spMkLst>
        </pc:spChg>
        <pc:spChg chg="add mod replST delST">
          <ac:chgData name="Mick Mooney" userId="e6518e4e-af4a-4bea-b39c-20489a1e5519" providerId="ADAL" clId="{3014DE50-B07B-4776-BEAC-0F779D92A13E}" dt="2023-07-31T15:37:19.916" v="33272" actId="2711"/>
          <ac:spMkLst>
            <pc:docMk/>
            <pc:sldMk cId="2703490332" sldId="2147473150"/>
            <ac:spMk id="13" creationId="{520F0468-A3AA-F93D-4825-530FAB52C9CB}"/>
          </ac:spMkLst>
        </pc:spChg>
        <pc:spChg chg="add mod replST delST">
          <ac:chgData name="Mick Mooney" userId="e6518e4e-af4a-4bea-b39c-20489a1e5519" providerId="ADAL" clId="{3014DE50-B07B-4776-BEAC-0F779D92A13E}" dt="2023-07-31T15:37:31.936" v="33289"/>
          <ac:spMkLst>
            <pc:docMk/>
            <pc:sldMk cId="2703490332" sldId="2147473150"/>
            <ac:spMk id="14" creationId="{B4783593-C7C6-BC3F-9B70-D8CAB693396E}"/>
          </ac:spMkLst>
        </pc:spChg>
      </pc:sldChg>
      <pc:sldChg chg="modSp add mod ord addCm delCm">
        <pc:chgData name="Mick Mooney" userId="e6518e4e-af4a-4bea-b39c-20489a1e5519" providerId="ADAL" clId="{3014DE50-B07B-4776-BEAC-0F779D92A13E}" dt="2023-07-31T15:36:35.707" v="33249" actId="2711"/>
        <pc:sldMkLst>
          <pc:docMk/>
          <pc:sldMk cId="2959291759" sldId="2147473151"/>
        </pc:sldMkLst>
        <pc:spChg chg="mod replST delST">
          <ac:chgData name="Mick Mooney" userId="e6518e4e-af4a-4bea-b39c-20489a1e5519" providerId="ADAL" clId="{3014DE50-B07B-4776-BEAC-0F779D92A13E}" dt="2023-07-31T15:36:35.707" v="33249" actId="2711"/>
          <ac:spMkLst>
            <pc:docMk/>
            <pc:sldMk cId="2959291759" sldId="2147473151"/>
            <ac:spMk id="4" creationId="{E432C490-8501-4DEB-9800-36DD8F00D9DA}"/>
          </ac:spMkLst>
        </pc:spChg>
      </pc:sldChg>
      <pc:sldChg chg="modSp mod">
        <pc:chgData name="Mick Mooney" userId="e6518e4e-af4a-4bea-b39c-20489a1e5519" providerId="ADAL" clId="{3014DE50-B07B-4776-BEAC-0F779D92A13E}" dt="2023-07-31T12:28:06.699" v="25374" actId="2711"/>
        <pc:sldMkLst>
          <pc:docMk/>
          <pc:sldMk cId="236134785" sldId="2147473160"/>
        </pc:sldMkLst>
        <pc:spChg chg="mod">
          <ac:chgData name="Mick Mooney" userId="e6518e4e-af4a-4bea-b39c-20489a1e5519" providerId="ADAL" clId="{3014DE50-B07B-4776-BEAC-0F779D92A13E}" dt="2023-07-31T12:28:06.699" v="25374" actId="2711"/>
          <ac:spMkLst>
            <pc:docMk/>
            <pc:sldMk cId="236134785" sldId="2147473160"/>
            <ac:spMk id="2" creationId="{4C0D5EA6-C599-F45A-0097-6FEC2DF12ED1}"/>
          </ac:spMkLst>
        </pc:spChg>
        <pc:spChg chg="mod">
          <ac:chgData name="Mick Mooney" userId="e6518e4e-af4a-4bea-b39c-20489a1e5519" providerId="ADAL" clId="{3014DE50-B07B-4776-BEAC-0F779D92A13E}" dt="2023-07-31T12:28:06.699" v="25374" actId="2711"/>
          <ac:spMkLst>
            <pc:docMk/>
            <pc:sldMk cId="236134785" sldId="2147473160"/>
            <ac:spMk id="15" creationId="{0618CDD8-7AF3-4229-B722-4B849071212A}"/>
          </ac:spMkLst>
        </pc:spChg>
        <pc:spChg chg="mod">
          <ac:chgData name="Mick Mooney" userId="e6518e4e-af4a-4bea-b39c-20489a1e5519" providerId="ADAL" clId="{3014DE50-B07B-4776-BEAC-0F779D92A13E}" dt="2023-07-31T12:28:06.699" v="25374" actId="2711"/>
          <ac:spMkLst>
            <pc:docMk/>
            <pc:sldMk cId="236134785" sldId="2147473160"/>
            <ac:spMk id="18" creationId="{7FB0034B-3602-4404-86B3-BD2E635CBFD9}"/>
          </ac:spMkLst>
        </pc:spChg>
        <pc:spChg chg="mod replST delST">
          <ac:chgData name="Mick Mooney" userId="e6518e4e-af4a-4bea-b39c-20489a1e5519" providerId="ADAL" clId="{3014DE50-B07B-4776-BEAC-0F779D92A13E}" dt="2023-07-31T12:28:06.699" v="25374" actId="2711"/>
          <ac:spMkLst>
            <pc:docMk/>
            <pc:sldMk cId="236134785" sldId="2147473160"/>
            <ac:spMk id="21" creationId="{014E59DE-9899-4AB4-9565-64D35AE09C49}"/>
          </ac:spMkLst>
        </pc:spChg>
        <pc:spChg chg="mod">
          <ac:chgData name="Mick Mooney" userId="e6518e4e-af4a-4bea-b39c-20489a1e5519" providerId="ADAL" clId="{3014DE50-B07B-4776-BEAC-0F779D92A13E}" dt="2023-07-31T12:28:06.699" v="25374" actId="2711"/>
          <ac:spMkLst>
            <pc:docMk/>
            <pc:sldMk cId="236134785" sldId="2147473160"/>
            <ac:spMk id="25" creationId="{4A4B2E5C-FC9B-4FB8-AA63-8409EA58DDCA}"/>
          </ac:spMkLst>
        </pc:spChg>
        <pc:spChg chg="mod">
          <ac:chgData name="Mick Mooney" userId="e6518e4e-af4a-4bea-b39c-20489a1e5519" providerId="ADAL" clId="{3014DE50-B07B-4776-BEAC-0F779D92A13E}" dt="2023-07-31T12:28:06.699" v="25374" actId="2711"/>
          <ac:spMkLst>
            <pc:docMk/>
            <pc:sldMk cId="236134785" sldId="2147473160"/>
            <ac:spMk id="31" creationId="{49B05FDE-10A0-4673-AF8E-BD272C2B834A}"/>
          </ac:spMkLst>
        </pc:spChg>
        <pc:spChg chg="mod">
          <ac:chgData name="Mick Mooney" userId="e6518e4e-af4a-4bea-b39c-20489a1e5519" providerId="ADAL" clId="{3014DE50-B07B-4776-BEAC-0F779D92A13E}" dt="2023-07-31T12:28:06.699" v="25374" actId="2711"/>
          <ac:spMkLst>
            <pc:docMk/>
            <pc:sldMk cId="236134785" sldId="2147473160"/>
            <ac:spMk id="32" creationId="{E48B5631-7ADE-40FD-8720-06F2A2D74132}"/>
          </ac:spMkLst>
        </pc:spChg>
        <pc:spChg chg="mod">
          <ac:chgData name="Mick Mooney" userId="e6518e4e-af4a-4bea-b39c-20489a1e5519" providerId="ADAL" clId="{3014DE50-B07B-4776-BEAC-0F779D92A13E}" dt="2023-07-31T12:28:06.699" v="25374" actId="2711"/>
          <ac:spMkLst>
            <pc:docMk/>
            <pc:sldMk cId="236134785" sldId="2147473160"/>
            <ac:spMk id="33" creationId="{F4423919-B865-48B0-8331-ECADBFE7D6FE}"/>
          </ac:spMkLst>
        </pc:spChg>
        <pc:spChg chg="mod">
          <ac:chgData name="Mick Mooney" userId="e6518e4e-af4a-4bea-b39c-20489a1e5519" providerId="ADAL" clId="{3014DE50-B07B-4776-BEAC-0F779D92A13E}" dt="2023-07-31T12:28:06.699" v="25374" actId="2711"/>
          <ac:spMkLst>
            <pc:docMk/>
            <pc:sldMk cId="236134785" sldId="2147473160"/>
            <ac:spMk id="34" creationId="{7C76F4C1-7ECE-439D-93FC-E64D8B29B392}"/>
          </ac:spMkLst>
        </pc:spChg>
        <pc:spChg chg="mod">
          <ac:chgData name="Mick Mooney" userId="e6518e4e-af4a-4bea-b39c-20489a1e5519" providerId="ADAL" clId="{3014DE50-B07B-4776-BEAC-0F779D92A13E}" dt="2023-07-31T12:28:06.699" v="25374" actId="2711"/>
          <ac:spMkLst>
            <pc:docMk/>
            <pc:sldMk cId="236134785" sldId="2147473160"/>
            <ac:spMk id="37" creationId="{02FB6310-6D18-4C23-A92B-0CC42809491D}"/>
          </ac:spMkLst>
        </pc:spChg>
        <pc:spChg chg="mod">
          <ac:chgData name="Mick Mooney" userId="e6518e4e-af4a-4bea-b39c-20489a1e5519" providerId="ADAL" clId="{3014DE50-B07B-4776-BEAC-0F779D92A13E}" dt="2023-07-31T12:28:06.699" v="25374" actId="2711"/>
          <ac:spMkLst>
            <pc:docMk/>
            <pc:sldMk cId="236134785" sldId="2147473160"/>
            <ac:spMk id="40" creationId="{FDB73202-AAFA-4398-A29A-83DEEB9F67A5}"/>
          </ac:spMkLst>
        </pc:spChg>
        <pc:spChg chg="mod">
          <ac:chgData name="Mick Mooney" userId="e6518e4e-af4a-4bea-b39c-20489a1e5519" providerId="ADAL" clId="{3014DE50-B07B-4776-BEAC-0F779D92A13E}" dt="2023-07-31T12:28:06.699" v="25374" actId="2711"/>
          <ac:spMkLst>
            <pc:docMk/>
            <pc:sldMk cId="236134785" sldId="2147473160"/>
            <ac:spMk id="48" creationId="{CA51C545-28ED-4B37-9829-ED19C05848DE}"/>
          </ac:spMkLst>
        </pc:spChg>
        <pc:spChg chg="mod">
          <ac:chgData name="Mick Mooney" userId="e6518e4e-af4a-4bea-b39c-20489a1e5519" providerId="ADAL" clId="{3014DE50-B07B-4776-BEAC-0F779D92A13E}" dt="2023-07-31T12:28:06.699" v="25374" actId="2711"/>
          <ac:spMkLst>
            <pc:docMk/>
            <pc:sldMk cId="236134785" sldId="2147473160"/>
            <ac:spMk id="56" creationId="{27AEBF83-7F7A-4DFF-84A0-9767167FE88C}"/>
          </ac:spMkLst>
        </pc:spChg>
      </pc:sldChg>
      <pc:sldChg chg="delSp modSp add mod">
        <pc:chgData name="Mick Mooney" userId="e6518e4e-af4a-4bea-b39c-20489a1e5519" providerId="ADAL" clId="{3014DE50-B07B-4776-BEAC-0F779D92A13E}" dt="2023-07-31T13:07:59.777" v="28863" actId="207"/>
        <pc:sldMkLst>
          <pc:docMk/>
          <pc:sldMk cId="1597229887" sldId="2147473161"/>
        </pc:sldMkLst>
        <pc:spChg chg="mod">
          <ac:chgData name="Mick Mooney" userId="e6518e4e-af4a-4bea-b39c-20489a1e5519" providerId="ADAL" clId="{3014DE50-B07B-4776-BEAC-0F779D92A13E}" dt="2023-07-31T09:51:20.640" v="23342" actId="2711"/>
          <ac:spMkLst>
            <pc:docMk/>
            <pc:sldMk cId="1597229887" sldId="2147473161"/>
            <ac:spMk id="8" creationId="{7824D54C-15D2-467C-A016-166944D0781C}"/>
          </ac:spMkLst>
        </pc:spChg>
        <pc:graphicFrameChg chg="mod modGraphic">
          <ac:chgData name="Mick Mooney" userId="e6518e4e-af4a-4bea-b39c-20489a1e5519" providerId="ADAL" clId="{3014DE50-B07B-4776-BEAC-0F779D92A13E}" dt="2023-07-31T13:07:59.777" v="28863" actId="207"/>
          <ac:graphicFrameMkLst>
            <pc:docMk/>
            <pc:sldMk cId="1597229887" sldId="2147473161"/>
            <ac:graphicFrameMk id="10" creationId="{DEF1C875-55F5-40A5-AF79-1EF6B560E6B8}"/>
          </ac:graphicFrameMkLst>
        </pc:graphicFrameChg>
        <pc:picChg chg="del">
          <ac:chgData name="Mick Mooney" userId="e6518e4e-af4a-4bea-b39c-20489a1e5519" providerId="ADAL" clId="{3014DE50-B07B-4776-BEAC-0F779D92A13E}" dt="2023-07-28T09:30:19.666" v="19320" actId="478"/>
          <ac:picMkLst>
            <pc:docMk/>
            <pc:sldMk cId="1597229887" sldId="2147473161"/>
            <ac:picMk id="37" creationId="{7DCBA5E1-4CAF-5E06-FA23-876307D7AB1B}"/>
          </ac:picMkLst>
        </pc:picChg>
      </pc:sldChg>
      <pc:sldChg chg="delSp modSp add mod">
        <pc:chgData name="Mick Mooney" userId="e6518e4e-af4a-4bea-b39c-20489a1e5519" providerId="ADAL" clId="{3014DE50-B07B-4776-BEAC-0F779D92A13E}" dt="2023-07-31T13:08:05.572" v="28864" actId="207"/>
        <pc:sldMkLst>
          <pc:docMk/>
          <pc:sldMk cId="653093163" sldId="2147473164"/>
        </pc:sldMkLst>
        <pc:spChg chg="mod replST delST">
          <ac:chgData name="Mick Mooney" userId="e6518e4e-af4a-4bea-b39c-20489a1e5519" providerId="ADAL" clId="{3014DE50-B07B-4776-BEAC-0F779D92A13E}" dt="2023-07-31T09:51:46.530" v="23346" actId="2711"/>
          <ac:spMkLst>
            <pc:docMk/>
            <pc:sldMk cId="653093163" sldId="2147473164"/>
            <ac:spMk id="8" creationId="{7824D54C-15D2-467C-A016-166944D0781C}"/>
          </ac:spMkLst>
        </pc:spChg>
        <pc:graphicFrameChg chg="mod modGraphic">
          <ac:chgData name="Mick Mooney" userId="e6518e4e-af4a-4bea-b39c-20489a1e5519" providerId="ADAL" clId="{3014DE50-B07B-4776-BEAC-0F779D92A13E}" dt="2023-07-31T13:08:05.572" v="28864" actId="207"/>
          <ac:graphicFrameMkLst>
            <pc:docMk/>
            <pc:sldMk cId="653093163" sldId="2147473164"/>
            <ac:graphicFrameMk id="10" creationId="{DEF1C875-55F5-40A5-AF79-1EF6B560E6B8}"/>
          </ac:graphicFrameMkLst>
        </pc:graphicFrameChg>
        <pc:picChg chg="del">
          <ac:chgData name="Mick Mooney" userId="e6518e4e-af4a-4bea-b39c-20489a1e5519" providerId="ADAL" clId="{3014DE50-B07B-4776-BEAC-0F779D92A13E}" dt="2023-07-28T09:30:22.230" v="19321" actId="478"/>
          <ac:picMkLst>
            <pc:docMk/>
            <pc:sldMk cId="653093163" sldId="2147473164"/>
            <ac:picMk id="37" creationId="{7DCBA5E1-4CAF-5E06-FA23-876307D7AB1B}"/>
          </ac:picMkLst>
        </pc:picChg>
      </pc:sldChg>
      <pc:sldChg chg="modSp mod">
        <pc:chgData name="Mick Mooney" userId="e6518e4e-af4a-4bea-b39c-20489a1e5519" providerId="ADAL" clId="{3014DE50-B07B-4776-BEAC-0F779D92A13E}" dt="2023-07-31T16:05:11.412" v="33409"/>
        <pc:sldMkLst>
          <pc:docMk/>
          <pc:sldMk cId="3107324555" sldId="2147473173"/>
        </pc:sldMkLst>
        <pc:spChg chg="mod replST delST">
          <ac:chgData name="Mick Mooney" userId="e6518e4e-af4a-4bea-b39c-20489a1e5519" providerId="ADAL" clId="{3014DE50-B07B-4776-BEAC-0F779D92A13E}" dt="2023-07-31T12:29:28.157" v="25393" actId="2711"/>
          <ac:spMkLst>
            <pc:docMk/>
            <pc:sldMk cId="3107324555" sldId="2147473173"/>
            <ac:spMk id="4" creationId="{C4380547-9137-4B49-91FE-92718AB8FDBD}"/>
          </ac:spMkLst>
        </pc:spChg>
        <pc:spChg chg="mod">
          <ac:chgData name="Mick Mooney" userId="e6518e4e-af4a-4bea-b39c-20489a1e5519" providerId="ADAL" clId="{3014DE50-B07B-4776-BEAC-0F779D92A13E}" dt="2023-07-31T12:29:28.157" v="25393" actId="2711"/>
          <ac:spMkLst>
            <pc:docMk/>
            <pc:sldMk cId="3107324555" sldId="2147473173"/>
            <ac:spMk id="5" creationId="{242793DE-A96D-4BD0-A86A-8082B3CAE589}"/>
          </ac:spMkLst>
        </pc:spChg>
        <pc:spChg chg="mod">
          <ac:chgData name="Mick Mooney" userId="e6518e4e-af4a-4bea-b39c-20489a1e5519" providerId="ADAL" clId="{3014DE50-B07B-4776-BEAC-0F779D92A13E}" dt="2023-07-31T12:29:28.157" v="25393" actId="2711"/>
          <ac:spMkLst>
            <pc:docMk/>
            <pc:sldMk cId="3107324555" sldId="2147473173"/>
            <ac:spMk id="6" creationId="{FA0200F9-E002-2731-4205-F750ABDCA6F9}"/>
          </ac:spMkLst>
        </pc:spChg>
        <pc:spChg chg="mod">
          <ac:chgData name="Mick Mooney" userId="e6518e4e-af4a-4bea-b39c-20489a1e5519" providerId="ADAL" clId="{3014DE50-B07B-4776-BEAC-0F779D92A13E}" dt="2023-07-31T12:29:28.157" v="25393" actId="2711"/>
          <ac:spMkLst>
            <pc:docMk/>
            <pc:sldMk cId="3107324555" sldId="2147473173"/>
            <ac:spMk id="7" creationId="{CC82D0FD-5CAF-FDC1-ED30-0C5776218BA5}"/>
          </ac:spMkLst>
        </pc:spChg>
        <pc:spChg chg="mod">
          <ac:chgData name="Mick Mooney" userId="e6518e4e-af4a-4bea-b39c-20489a1e5519" providerId="ADAL" clId="{3014DE50-B07B-4776-BEAC-0F779D92A13E}" dt="2023-07-31T12:29:28.157" v="25393" actId="2711"/>
          <ac:spMkLst>
            <pc:docMk/>
            <pc:sldMk cId="3107324555" sldId="2147473173"/>
            <ac:spMk id="8" creationId="{7824D54C-15D2-467C-A016-166944D0781C}"/>
          </ac:spMkLst>
        </pc:spChg>
        <pc:spChg chg="mod replST delST">
          <ac:chgData name="Mick Mooney" userId="e6518e4e-af4a-4bea-b39c-20489a1e5519" providerId="ADAL" clId="{3014DE50-B07B-4776-BEAC-0F779D92A13E}" dt="2023-07-31T16:05:11.412" v="33409"/>
          <ac:spMkLst>
            <pc:docMk/>
            <pc:sldMk cId="3107324555" sldId="2147473173"/>
            <ac:spMk id="16" creationId="{99598303-3493-44C8-A697-2DB710DCD143}"/>
          </ac:spMkLst>
        </pc:spChg>
        <pc:spChg chg="mod">
          <ac:chgData name="Mick Mooney" userId="e6518e4e-af4a-4bea-b39c-20489a1e5519" providerId="ADAL" clId="{3014DE50-B07B-4776-BEAC-0F779D92A13E}" dt="2023-07-31T12:29:28.157" v="25393" actId="2711"/>
          <ac:spMkLst>
            <pc:docMk/>
            <pc:sldMk cId="3107324555" sldId="2147473173"/>
            <ac:spMk id="40" creationId="{D76B222C-769B-43FD-A5BD-1900879116BC}"/>
          </ac:spMkLst>
        </pc:spChg>
        <pc:spChg chg="mod">
          <ac:chgData name="Mick Mooney" userId="e6518e4e-af4a-4bea-b39c-20489a1e5519" providerId="ADAL" clId="{3014DE50-B07B-4776-BEAC-0F779D92A13E}" dt="2023-07-31T12:29:28.157" v="25393" actId="2711"/>
          <ac:spMkLst>
            <pc:docMk/>
            <pc:sldMk cId="3107324555" sldId="2147473173"/>
            <ac:spMk id="45" creationId="{606070E4-F71A-4A28-BC52-885AC960DA76}"/>
          </ac:spMkLst>
        </pc:spChg>
      </pc:sldChg>
      <pc:sldChg chg="modSp mod">
        <pc:chgData name="Mick Mooney" userId="e6518e4e-af4a-4bea-b39c-20489a1e5519" providerId="ADAL" clId="{3014DE50-B07B-4776-BEAC-0F779D92A13E}" dt="2023-07-31T13:08:27.228" v="28885" actId="207"/>
        <pc:sldMkLst>
          <pc:docMk/>
          <pc:sldMk cId="1370127621" sldId="2147479552"/>
        </pc:sldMkLst>
        <pc:spChg chg="mod replST delST">
          <ac:chgData name="Mick Mooney" userId="e6518e4e-af4a-4bea-b39c-20489a1e5519" providerId="ADAL" clId="{3014DE50-B07B-4776-BEAC-0F779D92A13E}" dt="2023-07-22T14:20:54.265" v="8167"/>
          <ac:spMkLst>
            <pc:docMk/>
            <pc:sldMk cId="1370127621" sldId="2147479552"/>
            <ac:spMk id="8" creationId="{7824D54C-15D2-467C-A016-166944D0781C}"/>
          </ac:spMkLst>
        </pc:spChg>
        <pc:spChg chg="mod replST delST">
          <ac:chgData name="Mick Mooney" userId="e6518e4e-af4a-4bea-b39c-20489a1e5519" providerId="ADAL" clId="{3014DE50-B07B-4776-BEAC-0F779D92A13E}" dt="2023-07-31T13:08:27.228" v="28885" actId="207"/>
          <ac:spMkLst>
            <pc:docMk/>
            <pc:sldMk cId="1370127621" sldId="2147479552"/>
            <ac:spMk id="20" creationId="{4233EFC8-C57D-439B-97EA-634EC2902006}"/>
          </ac:spMkLst>
        </pc:spChg>
      </pc:sldChg>
      <pc:sldChg chg="addSp delSp modSp add mod ord addCm delCm">
        <pc:chgData name="Mick Mooney" userId="e6518e4e-af4a-4bea-b39c-20489a1e5519" providerId="ADAL" clId="{3014DE50-B07B-4776-BEAC-0F779D92A13E}" dt="2023-08-15T09:11:26.606" v="36969" actId="20577"/>
        <pc:sldMkLst>
          <pc:docMk/>
          <pc:sldMk cId="3168648727" sldId="2147479555"/>
        </pc:sldMkLst>
        <pc:spChg chg="mod replST delST">
          <ac:chgData name="Mick Mooney" userId="e6518e4e-af4a-4bea-b39c-20489a1e5519" providerId="ADAL" clId="{3014DE50-B07B-4776-BEAC-0F779D92A13E}" dt="2023-07-31T09:47:36.761" v="23319" actId="2711"/>
          <ac:spMkLst>
            <pc:docMk/>
            <pc:sldMk cId="3168648727" sldId="2147479555"/>
            <ac:spMk id="5" creationId="{3E272F8B-A589-4B44-A9E9-C55D342D51D5}"/>
          </ac:spMkLst>
        </pc:spChg>
        <pc:spChg chg="mod replST delST">
          <ac:chgData name="Mick Mooney" userId="e6518e4e-af4a-4bea-b39c-20489a1e5519" providerId="ADAL" clId="{3014DE50-B07B-4776-BEAC-0F779D92A13E}" dt="2023-07-31T09:47:36.761" v="23319" actId="2711"/>
          <ac:spMkLst>
            <pc:docMk/>
            <pc:sldMk cId="3168648727" sldId="2147479555"/>
            <ac:spMk id="8" creationId="{7824D54C-15D2-467C-A016-166944D0781C}"/>
          </ac:spMkLst>
        </pc:spChg>
        <pc:spChg chg="add del mod replST delST">
          <ac:chgData name="Mick Mooney" userId="e6518e4e-af4a-4bea-b39c-20489a1e5519" providerId="ADAL" clId="{3014DE50-B07B-4776-BEAC-0F779D92A13E}" dt="2023-08-15T09:11:07.669" v="36964" actId="20577"/>
          <ac:spMkLst>
            <pc:docMk/>
            <pc:sldMk cId="3168648727" sldId="2147479555"/>
            <ac:spMk id="9" creationId="{79177ECC-6A7E-B2DF-13D5-1CCE7AD74B93}"/>
          </ac:spMkLst>
        </pc:spChg>
        <pc:spChg chg="add del mod replST delST">
          <ac:chgData name="Mick Mooney" userId="e6518e4e-af4a-4bea-b39c-20489a1e5519" providerId="ADAL" clId="{3014DE50-B07B-4776-BEAC-0F779D92A13E}" dt="2023-07-22T10:20:20.286" v="983" actId="478"/>
          <ac:spMkLst>
            <pc:docMk/>
            <pc:sldMk cId="3168648727" sldId="2147479555"/>
            <ac:spMk id="12" creationId="{4B80A30D-DB68-FE6A-9BD9-3E3F21B91274}"/>
          </ac:spMkLst>
        </pc:spChg>
        <pc:spChg chg="add mod replST delST">
          <ac:chgData name="Mick Mooney" userId="e6518e4e-af4a-4bea-b39c-20489a1e5519" providerId="ADAL" clId="{3014DE50-B07B-4776-BEAC-0F779D92A13E}" dt="2023-08-15T09:11:16.394" v="36966" actId="20577"/>
          <ac:spMkLst>
            <pc:docMk/>
            <pc:sldMk cId="3168648727" sldId="2147479555"/>
            <ac:spMk id="13" creationId="{6405E600-64E0-C4EB-5A92-76DCA76E8513}"/>
          </ac:spMkLst>
        </pc:spChg>
        <pc:spChg chg="add mod replST delST">
          <ac:chgData name="Mick Mooney" userId="e6518e4e-af4a-4bea-b39c-20489a1e5519" providerId="ADAL" clId="{3014DE50-B07B-4776-BEAC-0F779D92A13E}" dt="2023-08-15T09:11:19.143" v="36967" actId="20577"/>
          <ac:spMkLst>
            <pc:docMk/>
            <pc:sldMk cId="3168648727" sldId="2147479555"/>
            <ac:spMk id="15" creationId="{4DECC569-DBBF-0790-E103-48D936C0D536}"/>
          </ac:spMkLst>
        </pc:spChg>
        <pc:spChg chg="add mod replST delST">
          <ac:chgData name="Mick Mooney" userId="e6518e4e-af4a-4bea-b39c-20489a1e5519" providerId="ADAL" clId="{3014DE50-B07B-4776-BEAC-0F779D92A13E}" dt="2023-08-15T09:11:21.738" v="36968" actId="20577"/>
          <ac:spMkLst>
            <pc:docMk/>
            <pc:sldMk cId="3168648727" sldId="2147479555"/>
            <ac:spMk id="18" creationId="{2E301891-63F5-5FC0-6809-9C3B57403284}"/>
          </ac:spMkLst>
        </pc:spChg>
        <pc:spChg chg="add del mod replST delST">
          <ac:chgData name="Mick Mooney" userId="e6518e4e-af4a-4bea-b39c-20489a1e5519" providerId="ADAL" clId="{3014DE50-B07B-4776-BEAC-0F779D92A13E}" dt="2023-07-22T10:32:58.636" v="1198" actId="478"/>
          <ac:spMkLst>
            <pc:docMk/>
            <pc:sldMk cId="3168648727" sldId="2147479555"/>
            <ac:spMk id="19" creationId="{1D649FFE-61E9-BC9D-958A-BCF3308D05B7}"/>
          </ac:spMkLst>
        </pc:spChg>
        <pc:spChg chg="add mod replST delST">
          <ac:chgData name="Mick Mooney" userId="e6518e4e-af4a-4bea-b39c-20489a1e5519" providerId="ADAL" clId="{3014DE50-B07B-4776-BEAC-0F779D92A13E}" dt="2023-08-15T09:11:26.606" v="36969" actId="20577"/>
          <ac:spMkLst>
            <pc:docMk/>
            <pc:sldMk cId="3168648727" sldId="2147479555"/>
            <ac:spMk id="20" creationId="{7C863E37-6A71-7B22-E91D-90BDE37EFA79}"/>
          </ac:spMkLst>
        </pc:spChg>
        <pc:spChg chg="add mod replST delST">
          <ac:chgData name="Mick Mooney" userId="e6518e4e-af4a-4bea-b39c-20489a1e5519" providerId="ADAL" clId="{3014DE50-B07B-4776-BEAC-0F779D92A13E}" dt="2023-08-03T08:56:02.131" v="34240" actId="1076"/>
          <ac:spMkLst>
            <pc:docMk/>
            <pc:sldMk cId="3168648727" sldId="2147479555"/>
            <ac:spMk id="29" creationId="{E91498E1-0BBB-20D5-12E5-8CB3EA72E62B}"/>
          </ac:spMkLst>
        </pc:spChg>
        <pc:spChg chg="add mod replST delST">
          <ac:chgData name="Mick Mooney" userId="e6518e4e-af4a-4bea-b39c-20489a1e5519" providerId="ADAL" clId="{3014DE50-B07B-4776-BEAC-0F779D92A13E}" dt="2023-08-03T08:56:02.131" v="34240" actId="1076"/>
          <ac:spMkLst>
            <pc:docMk/>
            <pc:sldMk cId="3168648727" sldId="2147479555"/>
            <ac:spMk id="31" creationId="{0EB0489F-4DD9-4930-BD59-F943DF86DE3C}"/>
          </ac:spMkLst>
        </pc:spChg>
        <pc:spChg chg="mod replST delST">
          <ac:chgData name="Mick Mooney" userId="e6518e4e-af4a-4bea-b39c-20489a1e5519" providerId="ADAL" clId="{3014DE50-B07B-4776-BEAC-0F779D92A13E}" dt="2023-08-03T08:56:28.615" v="34244" actId="1076"/>
          <ac:spMkLst>
            <pc:docMk/>
            <pc:sldMk cId="3168648727" sldId="2147479555"/>
            <ac:spMk id="32" creationId="{68AFBBC2-7F7E-4854-BE55-04CEE013C0FB}"/>
          </ac:spMkLst>
        </pc:spChg>
        <pc:spChg chg="mod replST delST">
          <ac:chgData name="Mick Mooney" userId="e6518e4e-af4a-4bea-b39c-20489a1e5519" providerId="ADAL" clId="{3014DE50-B07B-4776-BEAC-0F779D92A13E}" dt="2023-08-03T08:56:28.615" v="34244" actId="1076"/>
          <ac:spMkLst>
            <pc:docMk/>
            <pc:sldMk cId="3168648727" sldId="2147479555"/>
            <ac:spMk id="33" creationId="{76FF3A7A-4620-449C-83EC-18099BD7DC42}"/>
          </ac:spMkLst>
        </pc:spChg>
        <pc:spChg chg="mod">
          <ac:chgData name="Mick Mooney" userId="e6518e4e-af4a-4bea-b39c-20489a1e5519" providerId="ADAL" clId="{3014DE50-B07B-4776-BEAC-0F779D92A13E}" dt="2023-07-22T10:05:53.775" v="456" actId="478"/>
          <ac:spMkLst>
            <pc:docMk/>
            <pc:sldMk cId="3168648727" sldId="2147479555"/>
            <ac:spMk id="34" creationId="{C5B88D2D-D8DD-44C8-96E0-DB3040DC36E1}"/>
          </ac:spMkLst>
        </pc:spChg>
        <pc:spChg chg="mod">
          <ac:chgData name="Mick Mooney" userId="e6518e4e-af4a-4bea-b39c-20489a1e5519" providerId="ADAL" clId="{3014DE50-B07B-4776-BEAC-0F779D92A13E}" dt="2023-07-22T10:05:53.775" v="456" actId="478"/>
          <ac:spMkLst>
            <pc:docMk/>
            <pc:sldMk cId="3168648727" sldId="2147479555"/>
            <ac:spMk id="35" creationId="{BD547820-3A3B-4B80-A6A8-B1716D0DD750}"/>
          </ac:spMkLst>
        </pc:spChg>
        <pc:spChg chg="mod">
          <ac:chgData name="Mick Mooney" userId="e6518e4e-af4a-4bea-b39c-20489a1e5519" providerId="ADAL" clId="{3014DE50-B07B-4776-BEAC-0F779D92A13E}" dt="2023-07-22T10:05:53.775" v="456" actId="478"/>
          <ac:spMkLst>
            <pc:docMk/>
            <pc:sldMk cId="3168648727" sldId="2147479555"/>
            <ac:spMk id="36" creationId="{F1DA1E46-D194-4A60-B56C-D8F7E233B654}"/>
          </ac:spMkLst>
        </pc:spChg>
        <pc:spChg chg="mod">
          <ac:chgData name="Mick Mooney" userId="e6518e4e-af4a-4bea-b39c-20489a1e5519" providerId="ADAL" clId="{3014DE50-B07B-4776-BEAC-0F779D92A13E}" dt="2023-07-22T10:05:53.775" v="456" actId="478"/>
          <ac:spMkLst>
            <pc:docMk/>
            <pc:sldMk cId="3168648727" sldId="2147479555"/>
            <ac:spMk id="37" creationId="{87D52794-0E20-4825-9291-B57836A61F84}"/>
          </ac:spMkLst>
        </pc:spChg>
        <pc:spChg chg="del mod">
          <ac:chgData name="Mick Mooney" userId="e6518e4e-af4a-4bea-b39c-20489a1e5519" providerId="ADAL" clId="{3014DE50-B07B-4776-BEAC-0F779D92A13E}" dt="2023-07-22T10:05:57.218" v="458" actId="478"/>
          <ac:spMkLst>
            <pc:docMk/>
            <pc:sldMk cId="3168648727" sldId="2147479555"/>
            <ac:spMk id="51" creationId="{5C4FE02F-84D2-423F-892C-F661B40533C0}"/>
          </ac:spMkLst>
        </pc:spChg>
        <pc:spChg chg="mod">
          <ac:chgData name="Mick Mooney" userId="e6518e4e-af4a-4bea-b39c-20489a1e5519" providerId="ADAL" clId="{3014DE50-B07B-4776-BEAC-0F779D92A13E}" dt="2023-07-22T10:05:11.794" v="446" actId="1076"/>
          <ac:spMkLst>
            <pc:docMk/>
            <pc:sldMk cId="3168648727" sldId="2147479555"/>
            <ac:spMk id="54" creationId="{E0045FAF-00B5-41A2-8175-90B76F8010A8}"/>
          </ac:spMkLst>
        </pc:spChg>
        <pc:spChg chg="mod">
          <ac:chgData name="Mick Mooney" userId="e6518e4e-af4a-4bea-b39c-20489a1e5519" providerId="ADAL" clId="{3014DE50-B07B-4776-BEAC-0F779D92A13E}" dt="2023-07-22T10:13:06.760" v="473" actId="14100"/>
          <ac:spMkLst>
            <pc:docMk/>
            <pc:sldMk cId="3168648727" sldId="2147479555"/>
            <ac:spMk id="57" creationId="{DF9BB7D4-5807-4A1E-82CB-013A52AB9DD5}"/>
          </ac:spMkLst>
        </pc:spChg>
        <pc:spChg chg="add mod replST delST">
          <ac:chgData name="Mick Mooney" userId="e6518e4e-af4a-4bea-b39c-20489a1e5519" providerId="ADAL" clId="{3014DE50-B07B-4776-BEAC-0F779D92A13E}" dt="2023-08-03T08:56:38.951" v="34246" actId="14100"/>
          <ac:spMkLst>
            <pc:docMk/>
            <pc:sldMk cId="3168648727" sldId="2147479555"/>
            <ac:spMk id="59" creationId="{9700A555-2C50-4CBA-5D41-215F49B0C889}"/>
          </ac:spMkLst>
        </pc:spChg>
        <pc:spChg chg="del">
          <ac:chgData name="Mick Mooney" userId="e6518e4e-af4a-4bea-b39c-20489a1e5519" providerId="ADAL" clId="{3014DE50-B07B-4776-BEAC-0F779D92A13E}" dt="2023-07-22T10:05:43.329" v="453" actId="478"/>
          <ac:spMkLst>
            <pc:docMk/>
            <pc:sldMk cId="3168648727" sldId="2147479555"/>
            <ac:spMk id="60" creationId="{50FFFD9A-8B3D-4203-843F-C0922ED8BB50}"/>
          </ac:spMkLst>
        </pc:spChg>
        <pc:spChg chg="add mod replST delST">
          <ac:chgData name="Mick Mooney" userId="e6518e4e-af4a-4bea-b39c-20489a1e5519" providerId="ADAL" clId="{3014DE50-B07B-4776-BEAC-0F779D92A13E}" dt="2023-08-03T08:56:45.503" v="34248" actId="14100"/>
          <ac:spMkLst>
            <pc:docMk/>
            <pc:sldMk cId="3168648727" sldId="2147479555"/>
            <ac:spMk id="61" creationId="{3CDFCF25-B05B-975F-FCF0-A925EE347B2B}"/>
          </ac:spMkLst>
        </pc:spChg>
        <pc:spChg chg="add mod replST delST">
          <ac:chgData name="Mick Mooney" userId="e6518e4e-af4a-4bea-b39c-20489a1e5519" providerId="ADAL" clId="{3014DE50-B07B-4776-BEAC-0F779D92A13E}" dt="2023-08-03T08:56:02.131" v="34240" actId="1076"/>
          <ac:spMkLst>
            <pc:docMk/>
            <pc:sldMk cId="3168648727" sldId="2147479555"/>
            <ac:spMk id="62" creationId="{7D789C92-723E-FC5B-CD32-366B551536E0}"/>
          </ac:spMkLst>
        </pc:spChg>
        <pc:spChg chg="add mod replST delST">
          <ac:chgData name="Mick Mooney" userId="e6518e4e-af4a-4bea-b39c-20489a1e5519" providerId="ADAL" clId="{3014DE50-B07B-4776-BEAC-0F779D92A13E}" dt="2023-08-03T08:56:02.131" v="34240" actId="1076"/>
          <ac:spMkLst>
            <pc:docMk/>
            <pc:sldMk cId="3168648727" sldId="2147479555"/>
            <ac:spMk id="63" creationId="{9B89B4C3-4D40-A681-25CA-EDA155BA59FB}"/>
          </ac:spMkLst>
        </pc:spChg>
        <pc:spChg chg="add mod replST delST">
          <ac:chgData name="Mick Mooney" userId="e6518e4e-af4a-4bea-b39c-20489a1e5519" providerId="ADAL" clId="{3014DE50-B07B-4776-BEAC-0F779D92A13E}" dt="2023-08-03T08:56:02.131" v="34240" actId="1076"/>
          <ac:spMkLst>
            <pc:docMk/>
            <pc:sldMk cId="3168648727" sldId="2147479555"/>
            <ac:spMk id="1024" creationId="{067299EF-3EB0-A66A-D97F-D1A917FBCE87}"/>
          </ac:spMkLst>
        </pc:spChg>
        <pc:spChg chg="add mod replST delST">
          <ac:chgData name="Mick Mooney" userId="e6518e4e-af4a-4bea-b39c-20489a1e5519" providerId="ADAL" clId="{3014DE50-B07B-4776-BEAC-0F779D92A13E}" dt="2023-08-03T08:56:02.131" v="34240" actId="1076"/>
          <ac:spMkLst>
            <pc:docMk/>
            <pc:sldMk cId="3168648727" sldId="2147479555"/>
            <ac:spMk id="1025" creationId="{D8354445-5D96-1F53-7EC0-8DF376A27AEA}"/>
          </ac:spMkLst>
        </pc:spChg>
        <pc:spChg chg="add mod replST delST">
          <ac:chgData name="Mick Mooney" userId="e6518e4e-af4a-4bea-b39c-20489a1e5519" providerId="ADAL" clId="{3014DE50-B07B-4776-BEAC-0F779D92A13E}" dt="2023-08-03T08:56:02.131" v="34240" actId="1076"/>
          <ac:spMkLst>
            <pc:docMk/>
            <pc:sldMk cId="3168648727" sldId="2147479555"/>
            <ac:spMk id="1027" creationId="{0C3475B8-9541-BE05-AF3A-24F898D414EB}"/>
          </ac:spMkLst>
        </pc:spChg>
        <pc:spChg chg="add mod replST delST">
          <ac:chgData name="Mick Mooney" userId="e6518e4e-af4a-4bea-b39c-20489a1e5519" providerId="ADAL" clId="{3014DE50-B07B-4776-BEAC-0F779D92A13E}" dt="2023-08-03T08:56:02.131" v="34240" actId="1076"/>
          <ac:spMkLst>
            <pc:docMk/>
            <pc:sldMk cId="3168648727" sldId="2147479555"/>
            <ac:spMk id="1028" creationId="{681A0358-4E2C-67D7-5807-4EFC7CC37A39}"/>
          </ac:spMkLst>
        </pc:spChg>
        <pc:spChg chg="add mod replST delST">
          <ac:chgData name="Mick Mooney" userId="e6518e4e-af4a-4bea-b39c-20489a1e5519" providerId="ADAL" clId="{3014DE50-B07B-4776-BEAC-0F779D92A13E}" dt="2023-08-03T08:56:02.131" v="34240" actId="1076"/>
          <ac:spMkLst>
            <pc:docMk/>
            <pc:sldMk cId="3168648727" sldId="2147479555"/>
            <ac:spMk id="1031" creationId="{F34B1A3B-43D1-3BB3-3686-C533AC5F9F8F}"/>
          </ac:spMkLst>
        </pc:spChg>
        <pc:spChg chg="add mod replST delST">
          <ac:chgData name="Mick Mooney" userId="e6518e4e-af4a-4bea-b39c-20489a1e5519" providerId="ADAL" clId="{3014DE50-B07B-4776-BEAC-0F779D92A13E}" dt="2023-08-03T08:56:02.131" v="34240" actId="1076"/>
          <ac:spMkLst>
            <pc:docMk/>
            <pc:sldMk cId="3168648727" sldId="2147479555"/>
            <ac:spMk id="1032" creationId="{6BBA9B2B-0DD8-4091-6E69-B3AAB820AEAC}"/>
          </ac:spMkLst>
        </pc:spChg>
        <pc:spChg chg="add mod replST delST">
          <ac:chgData name="Mick Mooney" userId="e6518e4e-af4a-4bea-b39c-20489a1e5519" providerId="ADAL" clId="{3014DE50-B07B-4776-BEAC-0F779D92A13E}" dt="2023-08-03T08:56:02.131" v="34240" actId="1076"/>
          <ac:spMkLst>
            <pc:docMk/>
            <pc:sldMk cId="3168648727" sldId="2147479555"/>
            <ac:spMk id="1033" creationId="{80DE412C-1E16-0B01-7B44-285DD87703BE}"/>
          </ac:spMkLst>
        </pc:spChg>
        <pc:spChg chg="add mod replST delST">
          <ac:chgData name="Mick Mooney" userId="e6518e4e-af4a-4bea-b39c-20489a1e5519" providerId="ADAL" clId="{3014DE50-B07B-4776-BEAC-0F779D92A13E}" dt="2023-08-03T08:56:02.131" v="34240" actId="1076"/>
          <ac:spMkLst>
            <pc:docMk/>
            <pc:sldMk cId="3168648727" sldId="2147479555"/>
            <ac:spMk id="1034" creationId="{F2605CCF-1AF8-288E-3682-6B41C83B710F}"/>
          </ac:spMkLst>
        </pc:spChg>
        <pc:grpChg chg="del mod">
          <ac:chgData name="Mick Mooney" userId="e6518e4e-af4a-4bea-b39c-20489a1e5519" providerId="ADAL" clId="{3014DE50-B07B-4776-BEAC-0F779D92A13E}" dt="2023-07-22T10:13:18.843" v="475" actId="478"/>
          <ac:grpSpMkLst>
            <pc:docMk/>
            <pc:sldMk cId="3168648727" sldId="2147479555"/>
            <ac:grpSpMk id="2" creationId="{EAC15BFC-ADE0-48B5-ADB1-BF40F8224DBF}"/>
          </ac:grpSpMkLst>
        </pc:grpChg>
        <pc:grpChg chg="add del">
          <ac:chgData name="Mick Mooney" userId="e6518e4e-af4a-4bea-b39c-20489a1e5519" providerId="ADAL" clId="{3014DE50-B07B-4776-BEAC-0F779D92A13E}" dt="2023-07-22T10:43:48.232" v="1403" actId="478"/>
          <ac:grpSpMkLst>
            <pc:docMk/>
            <pc:sldMk cId="3168648727" sldId="2147479555"/>
            <ac:grpSpMk id="3" creationId="{E66CAD5F-99FD-43D9-8F7F-0E2FC7FF1937}"/>
          </ac:grpSpMkLst>
        </pc:grpChg>
        <pc:grpChg chg="add del">
          <ac:chgData name="Mick Mooney" userId="e6518e4e-af4a-4bea-b39c-20489a1e5519" providerId="ADAL" clId="{3014DE50-B07B-4776-BEAC-0F779D92A13E}" dt="2023-07-22T10:06:16.491" v="460" actId="478"/>
          <ac:grpSpMkLst>
            <pc:docMk/>
            <pc:sldMk cId="3168648727" sldId="2147479555"/>
            <ac:grpSpMk id="4" creationId="{6D8CAD92-A26C-47F3-860C-8206F27F5DB8}"/>
          </ac:grpSpMkLst>
        </pc:grpChg>
        <pc:grpChg chg="add del">
          <ac:chgData name="Mick Mooney" userId="e6518e4e-af4a-4bea-b39c-20489a1e5519" providerId="ADAL" clId="{3014DE50-B07B-4776-BEAC-0F779D92A13E}" dt="2023-07-22T10:06:15.287" v="459" actId="478"/>
          <ac:grpSpMkLst>
            <pc:docMk/>
            <pc:sldMk cId="3168648727" sldId="2147479555"/>
            <ac:grpSpMk id="6" creationId="{34148BA5-F562-4A90-9D63-2F250FEB46D7}"/>
          </ac:grpSpMkLst>
        </pc:grpChg>
        <pc:grpChg chg="del mod">
          <ac:chgData name="Mick Mooney" userId="e6518e4e-af4a-4bea-b39c-20489a1e5519" providerId="ADAL" clId="{3014DE50-B07B-4776-BEAC-0F779D92A13E}" dt="2023-07-22T10:13:18.843" v="475" actId="478"/>
          <ac:grpSpMkLst>
            <pc:docMk/>
            <pc:sldMk cId="3168648727" sldId="2147479555"/>
            <ac:grpSpMk id="7" creationId="{78B08CBE-E0E6-414F-9B00-84488ACD0F5D}"/>
          </ac:grpSpMkLst>
        </pc:grpChg>
        <pc:grpChg chg="del mod">
          <ac:chgData name="Mick Mooney" userId="e6518e4e-af4a-4bea-b39c-20489a1e5519" providerId="ADAL" clId="{3014DE50-B07B-4776-BEAC-0F779D92A13E}" dt="2023-07-22T10:05:55.411" v="457" actId="478"/>
          <ac:grpSpMkLst>
            <pc:docMk/>
            <pc:sldMk cId="3168648727" sldId="2147479555"/>
            <ac:grpSpMk id="50" creationId="{F3BDE8F2-EA24-479F-AD96-57C09CBAB15F}"/>
          </ac:grpSpMkLst>
        </pc:grpChg>
        <pc:picChg chg="add del mod">
          <ac:chgData name="Mick Mooney" userId="e6518e4e-af4a-4bea-b39c-20489a1e5519" providerId="ADAL" clId="{3014DE50-B07B-4776-BEAC-0F779D92A13E}" dt="2023-08-15T09:11:14.286" v="36965" actId="1076"/>
          <ac:picMkLst>
            <pc:docMk/>
            <pc:sldMk cId="3168648727" sldId="2147479555"/>
            <ac:picMk id="11" creationId="{080E695E-D376-AFFA-91DA-07D304BD0A69}"/>
          </ac:picMkLst>
        </pc:picChg>
        <pc:picChg chg="add mod">
          <ac:chgData name="Mick Mooney" userId="e6518e4e-af4a-4bea-b39c-20489a1e5519" providerId="ADAL" clId="{3014DE50-B07B-4776-BEAC-0F779D92A13E}" dt="2023-08-03T08:56:02.131" v="34240" actId="1076"/>
          <ac:picMkLst>
            <pc:docMk/>
            <pc:sldMk cId="3168648727" sldId="2147479555"/>
            <ac:picMk id="14" creationId="{563EB22B-A575-91F4-0B27-5BE428AE5329}"/>
          </ac:picMkLst>
        </pc:picChg>
        <pc:picChg chg="add del mod">
          <ac:chgData name="Mick Mooney" userId="e6518e4e-af4a-4bea-b39c-20489a1e5519" providerId="ADAL" clId="{3014DE50-B07B-4776-BEAC-0F779D92A13E}" dt="2023-07-22T10:27:23.455" v="1111" actId="478"/>
          <ac:picMkLst>
            <pc:docMk/>
            <pc:sldMk cId="3168648727" sldId="2147479555"/>
            <ac:picMk id="17" creationId="{4F7C6667-D309-4150-372B-2DD2C81562BE}"/>
          </ac:picMkLst>
        </pc:picChg>
        <pc:picChg chg="add mod">
          <ac:chgData name="Mick Mooney" userId="e6518e4e-af4a-4bea-b39c-20489a1e5519" providerId="ADAL" clId="{3014DE50-B07B-4776-BEAC-0F779D92A13E}" dt="2023-08-03T08:56:28.615" v="34244" actId="1076"/>
          <ac:picMkLst>
            <pc:docMk/>
            <pc:sldMk cId="3168648727" sldId="2147479555"/>
            <ac:picMk id="22" creationId="{0D45F66F-7218-C1A8-C7D1-E8C383D1FD64}"/>
          </ac:picMkLst>
        </pc:picChg>
        <pc:picChg chg="add del mod">
          <ac:chgData name="Mick Mooney" userId="e6518e4e-af4a-4bea-b39c-20489a1e5519" providerId="ADAL" clId="{3014DE50-B07B-4776-BEAC-0F779D92A13E}" dt="2023-07-22T10:27:54.572" v="1116" actId="478"/>
          <ac:picMkLst>
            <pc:docMk/>
            <pc:sldMk cId="3168648727" sldId="2147479555"/>
            <ac:picMk id="24" creationId="{3D05574F-4DD1-166E-1D70-C8383A8761D2}"/>
          </ac:picMkLst>
        </pc:picChg>
        <pc:picChg chg="add mod">
          <ac:chgData name="Mick Mooney" userId="e6518e4e-af4a-4bea-b39c-20489a1e5519" providerId="ADAL" clId="{3014DE50-B07B-4776-BEAC-0F779D92A13E}" dt="2023-08-03T08:56:02.131" v="34240" actId="1076"/>
          <ac:picMkLst>
            <pc:docMk/>
            <pc:sldMk cId="3168648727" sldId="2147479555"/>
            <ac:picMk id="26" creationId="{3EF17092-CBBE-EB7A-7860-895FC0384CF5}"/>
          </ac:picMkLst>
        </pc:picChg>
        <pc:picChg chg="add mod">
          <ac:chgData name="Mick Mooney" userId="e6518e4e-af4a-4bea-b39c-20489a1e5519" providerId="ADAL" clId="{3014DE50-B07B-4776-BEAC-0F779D92A13E}" dt="2023-08-03T08:56:02.131" v="34240" actId="1076"/>
          <ac:picMkLst>
            <pc:docMk/>
            <pc:sldMk cId="3168648727" sldId="2147479555"/>
            <ac:picMk id="28" creationId="{506300A8-BD69-8F3F-459D-F83012C334C5}"/>
          </ac:picMkLst>
        </pc:picChg>
        <pc:picChg chg="del">
          <ac:chgData name="Mick Mooney" userId="e6518e4e-af4a-4bea-b39c-20489a1e5519" providerId="ADAL" clId="{3014DE50-B07B-4776-BEAC-0F779D92A13E}" dt="2023-07-22T09:55:33.942" v="214" actId="478"/>
          <ac:picMkLst>
            <pc:docMk/>
            <pc:sldMk cId="3168648727" sldId="2147479555"/>
            <ac:picMk id="30" creationId="{152CD035-34E5-4C43-A3F8-31C25E30E87F}"/>
          </ac:picMkLst>
        </pc:picChg>
        <pc:picChg chg="add del mod">
          <ac:chgData name="Mick Mooney" userId="e6518e4e-af4a-4bea-b39c-20489a1e5519" providerId="ADAL" clId="{3014DE50-B07B-4776-BEAC-0F779D92A13E}" dt="2023-07-22T10:35:01.094" v="1228" actId="931"/>
          <ac:picMkLst>
            <pc:docMk/>
            <pc:sldMk cId="3168648727" sldId="2147479555"/>
            <ac:picMk id="45" creationId="{03AF07D2-3042-44D6-3D55-830B1B6754A1}"/>
          </ac:picMkLst>
        </pc:picChg>
        <pc:picChg chg="add mod">
          <ac:chgData name="Mick Mooney" userId="e6518e4e-af4a-4bea-b39c-20489a1e5519" providerId="ADAL" clId="{3014DE50-B07B-4776-BEAC-0F779D92A13E}" dt="2023-08-03T08:56:02.131" v="34240" actId="1076"/>
          <ac:picMkLst>
            <pc:docMk/>
            <pc:sldMk cId="3168648727" sldId="2147479555"/>
            <ac:picMk id="47" creationId="{EDC4AF1A-A977-B5B3-0750-0F9D0A22B665}"/>
          </ac:picMkLst>
        </pc:picChg>
        <pc:picChg chg="add mod">
          <ac:chgData name="Mick Mooney" userId="e6518e4e-af4a-4bea-b39c-20489a1e5519" providerId="ADAL" clId="{3014DE50-B07B-4776-BEAC-0F779D92A13E}" dt="2023-08-03T08:56:02.131" v="34240" actId="1076"/>
          <ac:picMkLst>
            <pc:docMk/>
            <pc:sldMk cId="3168648727" sldId="2147479555"/>
            <ac:picMk id="49" creationId="{C4C2D7E3-6051-6A60-C765-CCDD4BF74D87}"/>
          </ac:picMkLst>
        </pc:picChg>
        <pc:picChg chg="del mod">
          <ac:chgData name="Mick Mooney" userId="e6518e4e-af4a-4bea-b39c-20489a1e5519" providerId="ADAL" clId="{3014DE50-B07B-4776-BEAC-0F779D92A13E}" dt="2023-07-22T10:05:55.411" v="457" actId="478"/>
          <ac:picMkLst>
            <pc:docMk/>
            <pc:sldMk cId="3168648727" sldId="2147479555"/>
            <ac:picMk id="52" creationId="{6E7BC555-FEF0-4755-9DA4-84784E2712A4}"/>
          </ac:picMkLst>
        </pc:picChg>
        <pc:picChg chg="del">
          <ac:chgData name="Mick Mooney" userId="e6518e4e-af4a-4bea-b39c-20489a1e5519" providerId="ADAL" clId="{3014DE50-B07B-4776-BEAC-0F779D92A13E}" dt="2023-07-22T10:05:53.775" v="456" actId="478"/>
          <ac:picMkLst>
            <pc:docMk/>
            <pc:sldMk cId="3168648727" sldId="2147479555"/>
            <ac:picMk id="53" creationId="{577B6C30-B2D6-46C5-821E-7157462C2253}"/>
          </ac:picMkLst>
        </pc:picChg>
        <pc:picChg chg="del">
          <ac:chgData name="Mick Mooney" userId="e6518e4e-af4a-4bea-b39c-20489a1e5519" providerId="ADAL" clId="{3014DE50-B07B-4776-BEAC-0F779D92A13E}" dt="2023-07-22T10:04:49.996" v="440" actId="478"/>
          <ac:picMkLst>
            <pc:docMk/>
            <pc:sldMk cId="3168648727" sldId="2147479555"/>
            <ac:picMk id="56" creationId="{EE7676AC-2854-4409-BAE3-8F17E33A426C}"/>
          </ac:picMkLst>
        </pc:picChg>
        <pc:picChg chg="del">
          <ac:chgData name="Mick Mooney" userId="e6518e4e-af4a-4bea-b39c-20489a1e5519" providerId="ADAL" clId="{3014DE50-B07B-4776-BEAC-0F779D92A13E}" dt="2023-07-22T10:04:42.837" v="437" actId="478"/>
          <ac:picMkLst>
            <pc:docMk/>
            <pc:sldMk cId="3168648727" sldId="2147479555"/>
            <ac:picMk id="1026" creationId="{C99AA5E2-F1D5-4DBC-869B-7ABE6B8A5505}"/>
          </ac:picMkLst>
        </pc:picChg>
        <pc:picChg chg="add del">
          <ac:chgData name="Mick Mooney" userId="e6518e4e-af4a-4bea-b39c-20489a1e5519" providerId="ADAL" clId="{3014DE50-B07B-4776-BEAC-0F779D92A13E}" dt="2023-07-22T12:07:25.376" v="3320" actId="22"/>
          <ac:picMkLst>
            <pc:docMk/>
            <pc:sldMk cId="3168648727" sldId="2147479555"/>
            <ac:picMk id="1030" creationId="{AD651395-A69A-ADA9-8C24-5A1F7A5AF95C}"/>
          </ac:picMkLst>
        </pc:picChg>
      </pc:sldChg>
      <pc:sldChg chg="modSp mod">
        <pc:chgData name="Mick Mooney" userId="e6518e4e-af4a-4bea-b39c-20489a1e5519" providerId="ADAL" clId="{3014DE50-B07B-4776-BEAC-0F779D92A13E}" dt="2023-07-31T13:12:40.388" v="29069" actId="2711"/>
        <pc:sldMkLst>
          <pc:docMk/>
          <pc:sldMk cId="311767825" sldId="2147479556"/>
        </pc:sldMkLst>
        <pc:spChg chg="mod replST delST">
          <ac:chgData name="Mick Mooney" userId="e6518e4e-af4a-4bea-b39c-20489a1e5519" providerId="ADAL" clId="{3014DE50-B07B-4776-BEAC-0F779D92A13E}" dt="2023-07-31T13:12:40.388" v="29069" actId="2711"/>
          <ac:spMkLst>
            <pc:docMk/>
            <pc:sldMk cId="311767825" sldId="2147479556"/>
            <ac:spMk id="8" creationId="{7824D54C-15D2-467C-A016-166944D0781C}"/>
          </ac:spMkLst>
        </pc:spChg>
        <pc:spChg chg="mod">
          <ac:chgData name="Mick Mooney" userId="e6518e4e-af4a-4bea-b39c-20489a1e5519" providerId="ADAL" clId="{3014DE50-B07B-4776-BEAC-0F779D92A13E}" dt="2023-07-31T13:12:40.388" v="29069" actId="2711"/>
          <ac:spMkLst>
            <pc:docMk/>
            <pc:sldMk cId="311767825" sldId="2147479556"/>
            <ac:spMk id="111" creationId="{5DDDBC40-9B8E-4D6C-AD2B-E197B2F5FFB4}"/>
          </ac:spMkLst>
        </pc:spChg>
        <pc:spChg chg="mod">
          <ac:chgData name="Mick Mooney" userId="e6518e4e-af4a-4bea-b39c-20489a1e5519" providerId="ADAL" clId="{3014DE50-B07B-4776-BEAC-0F779D92A13E}" dt="2023-07-31T13:12:40.388" v="29069" actId="2711"/>
          <ac:spMkLst>
            <pc:docMk/>
            <pc:sldMk cId="311767825" sldId="2147479556"/>
            <ac:spMk id="112" creationId="{B317464D-D903-4435-BF9C-CE1964C93647}"/>
          </ac:spMkLst>
        </pc:spChg>
        <pc:spChg chg="mod">
          <ac:chgData name="Mick Mooney" userId="e6518e4e-af4a-4bea-b39c-20489a1e5519" providerId="ADAL" clId="{3014DE50-B07B-4776-BEAC-0F779D92A13E}" dt="2023-07-31T13:12:40.388" v="29069" actId="2711"/>
          <ac:spMkLst>
            <pc:docMk/>
            <pc:sldMk cId="311767825" sldId="2147479556"/>
            <ac:spMk id="113" creationId="{98424209-E8DE-4336-A6AC-6BF5F815331F}"/>
          </ac:spMkLst>
        </pc:spChg>
        <pc:spChg chg="mod">
          <ac:chgData name="Mick Mooney" userId="e6518e4e-af4a-4bea-b39c-20489a1e5519" providerId="ADAL" clId="{3014DE50-B07B-4776-BEAC-0F779D92A13E}" dt="2023-07-31T13:12:40.388" v="29069" actId="2711"/>
          <ac:spMkLst>
            <pc:docMk/>
            <pc:sldMk cId="311767825" sldId="2147479556"/>
            <ac:spMk id="114" creationId="{F96894A2-1E69-4325-9D2E-EFFF65C19CF9}"/>
          </ac:spMkLst>
        </pc:spChg>
        <pc:spChg chg="mod">
          <ac:chgData name="Mick Mooney" userId="e6518e4e-af4a-4bea-b39c-20489a1e5519" providerId="ADAL" clId="{3014DE50-B07B-4776-BEAC-0F779D92A13E}" dt="2023-07-31T13:12:40.388" v="29069" actId="2711"/>
          <ac:spMkLst>
            <pc:docMk/>
            <pc:sldMk cId="311767825" sldId="2147479556"/>
            <ac:spMk id="115" creationId="{B5E73087-9C98-4678-8DCA-E0E10835647A}"/>
          </ac:spMkLst>
        </pc:spChg>
        <pc:spChg chg="mod">
          <ac:chgData name="Mick Mooney" userId="e6518e4e-af4a-4bea-b39c-20489a1e5519" providerId="ADAL" clId="{3014DE50-B07B-4776-BEAC-0F779D92A13E}" dt="2023-07-31T13:12:40.388" v="29069" actId="2711"/>
          <ac:spMkLst>
            <pc:docMk/>
            <pc:sldMk cId="311767825" sldId="2147479556"/>
            <ac:spMk id="116" creationId="{30E115A0-EF3A-4ECE-81DC-09C0DC2CC94D}"/>
          </ac:spMkLst>
        </pc:spChg>
        <pc:spChg chg="mod">
          <ac:chgData name="Mick Mooney" userId="e6518e4e-af4a-4bea-b39c-20489a1e5519" providerId="ADAL" clId="{3014DE50-B07B-4776-BEAC-0F779D92A13E}" dt="2023-07-31T13:12:40.388" v="29069" actId="2711"/>
          <ac:spMkLst>
            <pc:docMk/>
            <pc:sldMk cId="311767825" sldId="2147479556"/>
            <ac:spMk id="117" creationId="{08D771D4-C251-44CB-AA43-88557D98CA48}"/>
          </ac:spMkLst>
        </pc:spChg>
        <pc:spChg chg="mod">
          <ac:chgData name="Mick Mooney" userId="e6518e4e-af4a-4bea-b39c-20489a1e5519" providerId="ADAL" clId="{3014DE50-B07B-4776-BEAC-0F779D92A13E}" dt="2023-07-31T13:12:40.388" v="29069" actId="2711"/>
          <ac:spMkLst>
            <pc:docMk/>
            <pc:sldMk cId="311767825" sldId="2147479556"/>
            <ac:spMk id="118" creationId="{10928C69-FA62-4ECA-849F-CCDBE0153AB9}"/>
          </ac:spMkLst>
        </pc:spChg>
        <pc:spChg chg="mod">
          <ac:chgData name="Mick Mooney" userId="e6518e4e-af4a-4bea-b39c-20489a1e5519" providerId="ADAL" clId="{3014DE50-B07B-4776-BEAC-0F779D92A13E}" dt="2023-07-31T13:12:40.388" v="29069" actId="2711"/>
          <ac:spMkLst>
            <pc:docMk/>
            <pc:sldMk cId="311767825" sldId="2147479556"/>
            <ac:spMk id="119" creationId="{44D53EC4-EA07-406D-8AE9-39E6E3F741EC}"/>
          </ac:spMkLst>
        </pc:spChg>
        <pc:spChg chg="mod">
          <ac:chgData name="Mick Mooney" userId="e6518e4e-af4a-4bea-b39c-20489a1e5519" providerId="ADAL" clId="{3014DE50-B07B-4776-BEAC-0F779D92A13E}" dt="2023-07-31T13:12:40.388" v="29069" actId="2711"/>
          <ac:spMkLst>
            <pc:docMk/>
            <pc:sldMk cId="311767825" sldId="2147479556"/>
            <ac:spMk id="120" creationId="{7636FBD1-134C-48C1-934C-DD3AD45C04EE}"/>
          </ac:spMkLst>
        </pc:spChg>
        <pc:spChg chg="mod replST delST">
          <ac:chgData name="Mick Mooney" userId="e6518e4e-af4a-4bea-b39c-20489a1e5519" providerId="ADAL" clId="{3014DE50-B07B-4776-BEAC-0F779D92A13E}" dt="2023-07-31T13:12:40.388" v="29069" actId="2711"/>
          <ac:spMkLst>
            <pc:docMk/>
            <pc:sldMk cId="311767825" sldId="2147479556"/>
            <ac:spMk id="121" creationId="{8A54A23C-6EAE-4B7B-8160-DD8856D5F382}"/>
          </ac:spMkLst>
        </pc:spChg>
        <pc:spChg chg="mod replST delST">
          <ac:chgData name="Mick Mooney" userId="e6518e4e-af4a-4bea-b39c-20489a1e5519" providerId="ADAL" clId="{3014DE50-B07B-4776-BEAC-0F779D92A13E}" dt="2023-07-31T13:12:40.388" v="29069" actId="2711"/>
          <ac:spMkLst>
            <pc:docMk/>
            <pc:sldMk cId="311767825" sldId="2147479556"/>
            <ac:spMk id="122" creationId="{710E8CDF-D624-4E80-AE64-0EB3AE0E63BF}"/>
          </ac:spMkLst>
        </pc:spChg>
        <pc:spChg chg="mod replST delST">
          <ac:chgData name="Mick Mooney" userId="e6518e4e-af4a-4bea-b39c-20489a1e5519" providerId="ADAL" clId="{3014DE50-B07B-4776-BEAC-0F779D92A13E}" dt="2023-07-31T13:12:40.388" v="29069" actId="2711"/>
          <ac:spMkLst>
            <pc:docMk/>
            <pc:sldMk cId="311767825" sldId="2147479556"/>
            <ac:spMk id="123" creationId="{EF06EB81-097E-498D-B849-9A23108EC3F4}"/>
          </ac:spMkLst>
        </pc:spChg>
        <pc:spChg chg="mod replST delST">
          <ac:chgData name="Mick Mooney" userId="e6518e4e-af4a-4bea-b39c-20489a1e5519" providerId="ADAL" clId="{3014DE50-B07B-4776-BEAC-0F779D92A13E}" dt="2023-07-31T13:12:40.388" v="29069" actId="2711"/>
          <ac:spMkLst>
            <pc:docMk/>
            <pc:sldMk cId="311767825" sldId="2147479556"/>
            <ac:spMk id="124" creationId="{F82A8C0A-79D5-41ED-AF57-0A4D155DCD11}"/>
          </ac:spMkLst>
        </pc:spChg>
        <pc:spChg chg="mod replST delST">
          <ac:chgData name="Mick Mooney" userId="e6518e4e-af4a-4bea-b39c-20489a1e5519" providerId="ADAL" clId="{3014DE50-B07B-4776-BEAC-0F779D92A13E}" dt="2023-07-31T13:12:40.388" v="29069" actId="2711"/>
          <ac:spMkLst>
            <pc:docMk/>
            <pc:sldMk cId="311767825" sldId="2147479556"/>
            <ac:spMk id="125" creationId="{3B611589-8F72-469A-BF72-74CEDC5415A8}"/>
          </ac:spMkLst>
        </pc:spChg>
        <pc:spChg chg="mod">
          <ac:chgData name="Mick Mooney" userId="e6518e4e-af4a-4bea-b39c-20489a1e5519" providerId="ADAL" clId="{3014DE50-B07B-4776-BEAC-0F779D92A13E}" dt="2023-07-31T13:12:40.388" v="29069" actId="2711"/>
          <ac:spMkLst>
            <pc:docMk/>
            <pc:sldMk cId="311767825" sldId="2147479556"/>
            <ac:spMk id="126" creationId="{A11D53FF-5003-48B1-A460-EF3B621904ED}"/>
          </ac:spMkLst>
        </pc:spChg>
        <pc:spChg chg="mod">
          <ac:chgData name="Mick Mooney" userId="e6518e4e-af4a-4bea-b39c-20489a1e5519" providerId="ADAL" clId="{3014DE50-B07B-4776-BEAC-0F779D92A13E}" dt="2023-07-31T13:12:40.388" v="29069" actId="2711"/>
          <ac:spMkLst>
            <pc:docMk/>
            <pc:sldMk cId="311767825" sldId="2147479556"/>
            <ac:spMk id="127" creationId="{B9BDCA0F-8BE4-4117-9272-DA9712FD5DB7}"/>
          </ac:spMkLst>
        </pc:spChg>
        <pc:spChg chg="mod">
          <ac:chgData name="Mick Mooney" userId="e6518e4e-af4a-4bea-b39c-20489a1e5519" providerId="ADAL" clId="{3014DE50-B07B-4776-BEAC-0F779D92A13E}" dt="2023-07-31T13:12:40.388" v="29069" actId="2711"/>
          <ac:spMkLst>
            <pc:docMk/>
            <pc:sldMk cId="311767825" sldId="2147479556"/>
            <ac:spMk id="128" creationId="{B92F68CF-8312-4AA6-A006-4289A07DC4C6}"/>
          </ac:spMkLst>
        </pc:spChg>
        <pc:spChg chg="mod">
          <ac:chgData name="Mick Mooney" userId="e6518e4e-af4a-4bea-b39c-20489a1e5519" providerId="ADAL" clId="{3014DE50-B07B-4776-BEAC-0F779D92A13E}" dt="2023-07-31T13:12:40.388" v="29069" actId="2711"/>
          <ac:spMkLst>
            <pc:docMk/>
            <pc:sldMk cId="311767825" sldId="2147479556"/>
            <ac:spMk id="129" creationId="{E18FAE32-37EA-4CD7-BCD6-769F8902D886}"/>
          </ac:spMkLst>
        </pc:spChg>
        <pc:spChg chg="mod">
          <ac:chgData name="Mick Mooney" userId="e6518e4e-af4a-4bea-b39c-20489a1e5519" providerId="ADAL" clId="{3014DE50-B07B-4776-BEAC-0F779D92A13E}" dt="2023-07-31T13:12:40.388" v="29069" actId="2711"/>
          <ac:spMkLst>
            <pc:docMk/>
            <pc:sldMk cId="311767825" sldId="2147479556"/>
            <ac:spMk id="161" creationId="{6CB23770-02CE-4048-B278-E359E423560C}"/>
          </ac:spMkLst>
        </pc:spChg>
        <pc:spChg chg="mod">
          <ac:chgData name="Mick Mooney" userId="e6518e4e-af4a-4bea-b39c-20489a1e5519" providerId="ADAL" clId="{3014DE50-B07B-4776-BEAC-0F779D92A13E}" dt="2023-07-31T13:12:40.388" v="29069" actId="2711"/>
          <ac:spMkLst>
            <pc:docMk/>
            <pc:sldMk cId="311767825" sldId="2147479556"/>
            <ac:spMk id="162" creationId="{7632D687-90B5-4932-B438-52EEB3F123EC}"/>
          </ac:spMkLst>
        </pc:spChg>
        <pc:spChg chg="mod">
          <ac:chgData name="Mick Mooney" userId="e6518e4e-af4a-4bea-b39c-20489a1e5519" providerId="ADAL" clId="{3014DE50-B07B-4776-BEAC-0F779D92A13E}" dt="2023-07-31T13:12:40.388" v="29069" actId="2711"/>
          <ac:spMkLst>
            <pc:docMk/>
            <pc:sldMk cId="311767825" sldId="2147479556"/>
            <ac:spMk id="163" creationId="{AC297E4D-8DB6-47E8-8F6E-4301F6447D8C}"/>
          </ac:spMkLst>
        </pc:spChg>
        <pc:spChg chg="mod">
          <ac:chgData name="Mick Mooney" userId="e6518e4e-af4a-4bea-b39c-20489a1e5519" providerId="ADAL" clId="{3014DE50-B07B-4776-BEAC-0F779D92A13E}" dt="2023-07-31T13:12:40.388" v="29069" actId="2711"/>
          <ac:spMkLst>
            <pc:docMk/>
            <pc:sldMk cId="311767825" sldId="2147479556"/>
            <ac:spMk id="164" creationId="{E6199B97-D8BB-418C-A6CF-282B262AD3FE}"/>
          </ac:spMkLst>
        </pc:spChg>
        <pc:spChg chg="mod">
          <ac:chgData name="Mick Mooney" userId="e6518e4e-af4a-4bea-b39c-20489a1e5519" providerId="ADAL" clId="{3014DE50-B07B-4776-BEAC-0F779D92A13E}" dt="2023-07-31T13:12:40.388" v="29069" actId="2711"/>
          <ac:spMkLst>
            <pc:docMk/>
            <pc:sldMk cId="311767825" sldId="2147479556"/>
            <ac:spMk id="165" creationId="{DF2454B5-02D3-4993-B6A7-155AD02AA897}"/>
          </ac:spMkLst>
        </pc:spChg>
        <pc:spChg chg="mod">
          <ac:chgData name="Mick Mooney" userId="e6518e4e-af4a-4bea-b39c-20489a1e5519" providerId="ADAL" clId="{3014DE50-B07B-4776-BEAC-0F779D92A13E}" dt="2023-07-31T13:12:40.388" v="29069" actId="2711"/>
          <ac:spMkLst>
            <pc:docMk/>
            <pc:sldMk cId="311767825" sldId="2147479556"/>
            <ac:spMk id="166" creationId="{43ED7D1E-592F-4DBB-ABF7-2E5202F2E626}"/>
          </ac:spMkLst>
        </pc:spChg>
        <pc:spChg chg="mod">
          <ac:chgData name="Mick Mooney" userId="e6518e4e-af4a-4bea-b39c-20489a1e5519" providerId="ADAL" clId="{3014DE50-B07B-4776-BEAC-0F779D92A13E}" dt="2023-07-31T13:12:40.388" v="29069" actId="2711"/>
          <ac:spMkLst>
            <pc:docMk/>
            <pc:sldMk cId="311767825" sldId="2147479556"/>
            <ac:spMk id="167" creationId="{97A2F5EE-5F36-4B93-88A6-344F12BD0C3E}"/>
          </ac:spMkLst>
        </pc:spChg>
        <pc:spChg chg="mod">
          <ac:chgData name="Mick Mooney" userId="e6518e4e-af4a-4bea-b39c-20489a1e5519" providerId="ADAL" clId="{3014DE50-B07B-4776-BEAC-0F779D92A13E}" dt="2023-07-31T13:12:40.388" v="29069" actId="2711"/>
          <ac:spMkLst>
            <pc:docMk/>
            <pc:sldMk cId="311767825" sldId="2147479556"/>
            <ac:spMk id="168" creationId="{DD8AE104-7662-487E-AC58-554F8D3A6442}"/>
          </ac:spMkLst>
        </pc:spChg>
        <pc:spChg chg="mod replST delST">
          <ac:chgData name="Mick Mooney" userId="e6518e4e-af4a-4bea-b39c-20489a1e5519" providerId="ADAL" clId="{3014DE50-B07B-4776-BEAC-0F779D92A13E}" dt="2023-07-31T13:12:40.388" v="29069" actId="2711"/>
          <ac:spMkLst>
            <pc:docMk/>
            <pc:sldMk cId="311767825" sldId="2147479556"/>
            <ac:spMk id="169" creationId="{F12A2F92-C24F-4533-A230-E3C054073DB6}"/>
          </ac:spMkLst>
        </pc:spChg>
        <pc:spChg chg="mod replST delST">
          <ac:chgData name="Mick Mooney" userId="e6518e4e-af4a-4bea-b39c-20489a1e5519" providerId="ADAL" clId="{3014DE50-B07B-4776-BEAC-0F779D92A13E}" dt="2023-07-31T13:12:40.388" v="29069" actId="2711"/>
          <ac:spMkLst>
            <pc:docMk/>
            <pc:sldMk cId="311767825" sldId="2147479556"/>
            <ac:spMk id="170" creationId="{BF398F96-B980-4757-BD8E-55AA665DB949}"/>
          </ac:spMkLst>
        </pc:spChg>
        <pc:spChg chg="mod replST delST">
          <ac:chgData name="Mick Mooney" userId="e6518e4e-af4a-4bea-b39c-20489a1e5519" providerId="ADAL" clId="{3014DE50-B07B-4776-BEAC-0F779D92A13E}" dt="2023-07-31T13:12:40.388" v="29069" actId="2711"/>
          <ac:spMkLst>
            <pc:docMk/>
            <pc:sldMk cId="311767825" sldId="2147479556"/>
            <ac:spMk id="171" creationId="{9E367438-4779-4104-AEE9-80B3397C0E63}"/>
          </ac:spMkLst>
        </pc:spChg>
        <pc:spChg chg="mod replST delST">
          <ac:chgData name="Mick Mooney" userId="e6518e4e-af4a-4bea-b39c-20489a1e5519" providerId="ADAL" clId="{3014DE50-B07B-4776-BEAC-0F779D92A13E}" dt="2023-07-31T13:12:40.388" v="29069" actId="2711"/>
          <ac:spMkLst>
            <pc:docMk/>
            <pc:sldMk cId="311767825" sldId="2147479556"/>
            <ac:spMk id="172" creationId="{47C0A683-7EE4-4829-8F05-C17DAB038589}"/>
          </ac:spMkLst>
        </pc:spChg>
        <pc:spChg chg="mod">
          <ac:chgData name="Mick Mooney" userId="e6518e4e-af4a-4bea-b39c-20489a1e5519" providerId="ADAL" clId="{3014DE50-B07B-4776-BEAC-0F779D92A13E}" dt="2023-07-31T13:12:40.388" v="29069" actId="2711"/>
          <ac:spMkLst>
            <pc:docMk/>
            <pc:sldMk cId="311767825" sldId="2147479556"/>
            <ac:spMk id="173" creationId="{30FCCAD5-928A-4FA9-BD5C-0B5C6C548439}"/>
          </ac:spMkLst>
        </pc:spChg>
        <pc:spChg chg="mod">
          <ac:chgData name="Mick Mooney" userId="e6518e4e-af4a-4bea-b39c-20489a1e5519" providerId="ADAL" clId="{3014DE50-B07B-4776-BEAC-0F779D92A13E}" dt="2023-07-31T13:12:40.388" v="29069" actId="2711"/>
          <ac:spMkLst>
            <pc:docMk/>
            <pc:sldMk cId="311767825" sldId="2147479556"/>
            <ac:spMk id="174" creationId="{23B9D44F-EFE6-4A39-8166-9A0603414C4A}"/>
          </ac:spMkLst>
        </pc:spChg>
        <pc:spChg chg="mod">
          <ac:chgData name="Mick Mooney" userId="e6518e4e-af4a-4bea-b39c-20489a1e5519" providerId="ADAL" clId="{3014DE50-B07B-4776-BEAC-0F779D92A13E}" dt="2023-07-31T13:12:40.388" v="29069" actId="2711"/>
          <ac:spMkLst>
            <pc:docMk/>
            <pc:sldMk cId="311767825" sldId="2147479556"/>
            <ac:spMk id="175" creationId="{B8897ED1-71E9-4B57-888A-4FFEC1510170}"/>
          </ac:spMkLst>
        </pc:spChg>
        <pc:spChg chg="mod">
          <ac:chgData name="Mick Mooney" userId="e6518e4e-af4a-4bea-b39c-20489a1e5519" providerId="ADAL" clId="{3014DE50-B07B-4776-BEAC-0F779D92A13E}" dt="2023-07-31T13:12:40.388" v="29069" actId="2711"/>
          <ac:spMkLst>
            <pc:docMk/>
            <pc:sldMk cId="311767825" sldId="2147479556"/>
            <ac:spMk id="176" creationId="{5A7E9314-544B-4125-8DA3-9D313B0162B3}"/>
          </ac:spMkLst>
        </pc:spChg>
        <pc:spChg chg="mod">
          <ac:chgData name="Mick Mooney" userId="e6518e4e-af4a-4bea-b39c-20489a1e5519" providerId="ADAL" clId="{3014DE50-B07B-4776-BEAC-0F779D92A13E}" dt="2023-07-31T13:12:40.388" v="29069" actId="2711"/>
          <ac:spMkLst>
            <pc:docMk/>
            <pc:sldMk cId="311767825" sldId="2147479556"/>
            <ac:spMk id="177" creationId="{9B6DB94E-3BB2-49EC-8810-0E79DADB6CB1}"/>
          </ac:spMkLst>
        </pc:spChg>
        <pc:spChg chg="mod">
          <ac:chgData name="Mick Mooney" userId="e6518e4e-af4a-4bea-b39c-20489a1e5519" providerId="ADAL" clId="{3014DE50-B07B-4776-BEAC-0F779D92A13E}" dt="2023-07-31T13:12:40.388" v="29069" actId="2711"/>
          <ac:spMkLst>
            <pc:docMk/>
            <pc:sldMk cId="311767825" sldId="2147479556"/>
            <ac:spMk id="178" creationId="{FEA92D4C-3F5E-45E0-9EC3-AA56AF6B6FA1}"/>
          </ac:spMkLst>
        </pc:spChg>
        <pc:spChg chg="mod">
          <ac:chgData name="Mick Mooney" userId="e6518e4e-af4a-4bea-b39c-20489a1e5519" providerId="ADAL" clId="{3014DE50-B07B-4776-BEAC-0F779D92A13E}" dt="2023-07-31T13:12:40.388" v="29069" actId="2711"/>
          <ac:spMkLst>
            <pc:docMk/>
            <pc:sldMk cId="311767825" sldId="2147479556"/>
            <ac:spMk id="179" creationId="{3BE45AE7-E670-4418-A2A1-23F989D3E283}"/>
          </ac:spMkLst>
        </pc:spChg>
        <pc:spChg chg="mod">
          <ac:chgData name="Mick Mooney" userId="e6518e4e-af4a-4bea-b39c-20489a1e5519" providerId="ADAL" clId="{3014DE50-B07B-4776-BEAC-0F779D92A13E}" dt="2023-07-31T13:12:40.388" v="29069" actId="2711"/>
          <ac:spMkLst>
            <pc:docMk/>
            <pc:sldMk cId="311767825" sldId="2147479556"/>
            <ac:spMk id="180" creationId="{24A1D7EF-707E-4110-BFE8-2673753701C4}"/>
          </ac:spMkLst>
        </pc:spChg>
      </pc:sldChg>
      <pc:sldChg chg="modSp mod">
        <pc:chgData name="Mick Mooney" userId="e6518e4e-af4a-4bea-b39c-20489a1e5519" providerId="ADAL" clId="{3014DE50-B07B-4776-BEAC-0F779D92A13E}" dt="2023-07-31T13:12:01.109" v="29063" actId="2711"/>
        <pc:sldMkLst>
          <pc:docMk/>
          <pc:sldMk cId="2149490646" sldId="2147479558"/>
        </pc:sldMkLst>
        <pc:spChg chg="mod replST delST">
          <ac:chgData name="Mick Mooney" userId="e6518e4e-af4a-4bea-b39c-20489a1e5519" providerId="ADAL" clId="{3014DE50-B07B-4776-BEAC-0F779D92A13E}" dt="2023-07-31T13:12:01.109" v="29063" actId="2711"/>
          <ac:spMkLst>
            <pc:docMk/>
            <pc:sldMk cId="2149490646" sldId="2147479558"/>
            <ac:spMk id="5" creationId="{C4C24851-0BFB-4EAC-9EFA-216B7E0A7C41}"/>
          </ac:spMkLst>
        </pc:spChg>
        <pc:spChg chg="mod replST delST">
          <ac:chgData name="Mick Mooney" userId="e6518e4e-af4a-4bea-b39c-20489a1e5519" providerId="ADAL" clId="{3014DE50-B07B-4776-BEAC-0F779D92A13E}" dt="2023-07-31T13:12:01.109" v="29063" actId="2711"/>
          <ac:spMkLst>
            <pc:docMk/>
            <pc:sldMk cId="2149490646" sldId="2147479558"/>
            <ac:spMk id="7" creationId="{75AE26E8-D7A0-4F25-953F-76C58086051B}"/>
          </ac:spMkLst>
        </pc:spChg>
        <pc:spChg chg="mod replST delST">
          <ac:chgData name="Mick Mooney" userId="e6518e4e-af4a-4bea-b39c-20489a1e5519" providerId="ADAL" clId="{3014DE50-B07B-4776-BEAC-0F779D92A13E}" dt="2023-07-31T13:12:01.109" v="29063" actId="2711"/>
          <ac:spMkLst>
            <pc:docMk/>
            <pc:sldMk cId="2149490646" sldId="2147479558"/>
            <ac:spMk id="8" creationId="{7824D54C-15D2-467C-A016-166944D0781C}"/>
          </ac:spMkLst>
        </pc:spChg>
      </pc:sldChg>
      <pc:sldChg chg="delSp modSp add mod ord">
        <pc:chgData name="Mick Mooney" userId="e6518e4e-af4a-4bea-b39c-20489a1e5519" providerId="ADAL" clId="{3014DE50-B07B-4776-BEAC-0F779D92A13E}" dt="2023-07-31T16:30:09.412" v="33440"/>
        <pc:sldMkLst>
          <pc:docMk/>
          <pc:sldMk cId="869705999" sldId="2147479559"/>
        </pc:sldMkLst>
        <pc:spChg chg="mod replST delST">
          <ac:chgData name="Mick Mooney" userId="e6518e4e-af4a-4bea-b39c-20489a1e5519" providerId="ADAL" clId="{3014DE50-B07B-4776-BEAC-0F779D92A13E}" dt="2023-07-31T13:05:45.769" v="28763"/>
          <ac:spMkLst>
            <pc:docMk/>
            <pc:sldMk cId="869705999" sldId="2147479559"/>
            <ac:spMk id="5" creationId="{813B1C43-2AEA-4172-9E36-48BBA8301F9E}"/>
          </ac:spMkLst>
        </pc:spChg>
        <pc:spChg chg="mod replST delST">
          <ac:chgData name="Mick Mooney" userId="e6518e4e-af4a-4bea-b39c-20489a1e5519" providerId="ADAL" clId="{3014DE50-B07B-4776-BEAC-0F779D92A13E}" dt="2023-07-31T16:30:09.412" v="33440"/>
          <ac:spMkLst>
            <pc:docMk/>
            <pc:sldMk cId="869705999" sldId="2147479559"/>
            <ac:spMk id="8" creationId="{7824D54C-15D2-467C-A016-166944D0781C}"/>
          </ac:spMkLst>
        </pc:spChg>
        <pc:spChg chg="mod">
          <ac:chgData name="Mick Mooney" userId="e6518e4e-af4a-4bea-b39c-20489a1e5519" providerId="ADAL" clId="{3014DE50-B07B-4776-BEAC-0F779D92A13E}" dt="2023-07-31T09:48:52.570" v="23325" actId="2711"/>
          <ac:spMkLst>
            <pc:docMk/>
            <pc:sldMk cId="869705999" sldId="2147479559"/>
            <ac:spMk id="27" creationId="{93F79525-FA35-436C-97F9-2B7036ABF201}"/>
          </ac:spMkLst>
        </pc:spChg>
        <pc:spChg chg="mod replST delST">
          <ac:chgData name="Mick Mooney" userId="e6518e4e-af4a-4bea-b39c-20489a1e5519" providerId="ADAL" clId="{3014DE50-B07B-4776-BEAC-0F779D92A13E}" dt="2023-07-31T13:05:19.595" v="28726" actId="207"/>
          <ac:spMkLst>
            <pc:docMk/>
            <pc:sldMk cId="869705999" sldId="2147479559"/>
            <ac:spMk id="29" creationId="{BB3B4067-6405-47D0-AA66-D894A60EC84C}"/>
          </ac:spMkLst>
        </pc:spChg>
        <pc:spChg chg="mod">
          <ac:chgData name="Mick Mooney" userId="e6518e4e-af4a-4bea-b39c-20489a1e5519" providerId="ADAL" clId="{3014DE50-B07B-4776-BEAC-0F779D92A13E}" dt="2023-07-31T09:48:52.570" v="23325" actId="2711"/>
          <ac:spMkLst>
            <pc:docMk/>
            <pc:sldMk cId="869705999" sldId="2147479559"/>
            <ac:spMk id="30" creationId="{27DEE0E8-7497-484F-A42A-E057AC314262}"/>
          </ac:spMkLst>
        </pc:spChg>
        <pc:spChg chg="mod replST delST">
          <ac:chgData name="Mick Mooney" userId="e6518e4e-af4a-4bea-b39c-20489a1e5519" providerId="ADAL" clId="{3014DE50-B07B-4776-BEAC-0F779D92A13E}" dt="2023-07-31T13:05:23.193" v="28733" actId="207"/>
          <ac:spMkLst>
            <pc:docMk/>
            <pc:sldMk cId="869705999" sldId="2147479559"/>
            <ac:spMk id="31" creationId="{9411D9F3-7F66-4F20-B982-BFC963824790}"/>
          </ac:spMkLst>
        </pc:spChg>
        <pc:spChg chg="mod">
          <ac:chgData name="Mick Mooney" userId="e6518e4e-af4a-4bea-b39c-20489a1e5519" providerId="ADAL" clId="{3014DE50-B07B-4776-BEAC-0F779D92A13E}" dt="2023-07-31T09:48:52.570" v="23325" actId="2711"/>
          <ac:spMkLst>
            <pc:docMk/>
            <pc:sldMk cId="869705999" sldId="2147479559"/>
            <ac:spMk id="32" creationId="{D2671382-C5DB-4226-9A50-A01792A9FA06}"/>
          </ac:spMkLst>
        </pc:spChg>
        <pc:spChg chg="mod replST delST">
          <ac:chgData name="Mick Mooney" userId="e6518e4e-af4a-4bea-b39c-20489a1e5519" providerId="ADAL" clId="{3014DE50-B07B-4776-BEAC-0F779D92A13E}" dt="2023-07-31T13:05:25.984" v="28738" actId="207"/>
          <ac:spMkLst>
            <pc:docMk/>
            <pc:sldMk cId="869705999" sldId="2147479559"/>
            <ac:spMk id="33" creationId="{999B776F-6EC9-4F29-B058-5503A5B54B90}"/>
          </ac:spMkLst>
        </pc:spChg>
        <pc:spChg chg="mod">
          <ac:chgData name="Mick Mooney" userId="e6518e4e-af4a-4bea-b39c-20489a1e5519" providerId="ADAL" clId="{3014DE50-B07B-4776-BEAC-0F779D92A13E}" dt="2023-07-31T09:48:52.570" v="23325" actId="2711"/>
          <ac:spMkLst>
            <pc:docMk/>
            <pc:sldMk cId="869705999" sldId="2147479559"/>
            <ac:spMk id="34" creationId="{E7AE88EF-76A4-4FBC-A4C6-5A45FFD1E312}"/>
          </ac:spMkLst>
        </pc:spChg>
        <pc:spChg chg="mod replST delST">
          <ac:chgData name="Mick Mooney" userId="e6518e4e-af4a-4bea-b39c-20489a1e5519" providerId="ADAL" clId="{3014DE50-B07B-4776-BEAC-0F779D92A13E}" dt="2023-07-31T13:05:29.345" v="28743" actId="207"/>
          <ac:spMkLst>
            <pc:docMk/>
            <pc:sldMk cId="869705999" sldId="2147479559"/>
            <ac:spMk id="35" creationId="{45419B2E-DFA0-4A28-9518-524950E46B57}"/>
          </ac:spMkLst>
        </pc:spChg>
        <pc:spChg chg="mod">
          <ac:chgData name="Mick Mooney" userId="e6518e4e-af4a-4bea-b39c-20489a1e5519" providerId="ADAL" clId="{3014DE50-B07B-4776-BEAC-0F779D92A13E}" dt="2023-07-31T09:48:52.570" v="23325" actId="2711"/>
          <ac:spMkLst>
            <pc:docMk/>
            <pc:sldMk cId="869705999" sldId="2147479559"/>
            <ac:spMk id="36" creationId="{4F22DAF6-704A-4BFF-BBB3-9DE506C148E1}"/>
          </ac:spMkLst>
        </pc:spChg>
        <pc:spChg chg="mod replST delST">
          <ac:chgData name="Mick Mooney" userId="e6518e4e-af4a-4bea-b39c-20489a1e5519" providerId="ADAL" clId="{3014DE50-B07B-4776-BEAC-0F779D92A13E}" dt="2023-07-31T13:05:32.689" v="28748" actId="207"/>
          <ac:spMkLst>
            <pc:docMk/>
            <pc:sldMk cId="869705999" sldId="2147479559"/>
            <ac:spMk id="37" creationId="{3B1A594E-A020-464C-9102-3AA63A8212A7}"/>
          </ac:spMkLst>
        </pc:spChg>
        <pc:spChg chg="mod">
          <ac:chgData name="Mick Mooney" userId="e6518e4e-af4a-4bea-b39c-20489a1e5519" providerId="ADAL" clId="{3014DE50-B07B-4776-BEAC-0F779D92A13E}" dt="2023-07-31T09:48:52.570" v="23325" actId="2711"/>
          <ac:spMkLst>
            <pc:docMk/>
            <pc:sldMk cId="869705999" sldId="2147479559"/>
            <ac:spMk id="38" creationId="{0F3F3889-2D39-421A-9083-DA8DF3672AFA}"/>
          </ac:spMkLst>
        </pc:spChg>
        <pc:spChg chg="mod replST delST">
          <ac:chgData name="Mick Mooney" userId="e6518e4e-af4a-4bea-b39c-20489a1e5519" providerId="ADAL" clId="{3014DE50-B07B-4776-BEAC-0F779D92A13E}" dt="2023-07-31T13:05:36.798" v="28755" actId="207"/>
          <ac:spMkLst>
            <pc:docMk/>
            <pc:sldMk cId="869705999" sldId="2147479559"/>
            <ac:spMk id="39" creationId="{54C936DA-C4AC-4255-8308-4B44A8CDCFD1}"/>
          </ac:spMkLst>
        </pc:spChg>
        <pc:spChg chg="mod">
          <ac:chgData name="Mick Mooney" userId="e6518e4e-af4a-4bea-b39c-20489a1e5519" providerId="ADAL" clId="{3014DE50-B07B-4776-BEAC-0F779D92A13E}" dt="2023-07-31T09:48:52.570" v="23325" actId="2711"/>
          <ac:spMkLst>
            <pc:docMk/>
            <pc:sldMk cId="869705999" sldId="2147479559"/>
            <ac:spMk id="41" creationId="{3EE13FCB-02F5-4DE9-912A-BB2214CBCEE0}"/>
          </ac:spMkLst>
        </pc:spChg>
        <pc:spChg chg="mod">
          <ac:chgData name="Mick Mooney" userId="e6518e4e-af4a-4bea-b39c-20489a1e5519" providerId="ADAL" clId="{3014DE50-B07B-4776-BEAC-0F779D92A13E}" dt="2023-07-31T09:48:52.570" v="23325" actId="2711"/>
          <ac:spMkLst>
            <pc:docMk/>
            <pc:sldMk cId="869705999" sldId="2147479559"/>
            <ac:spMk id="42" creationId="{0CBD56BE-2E8F-49FB-B3F3-E987C20595DA}"/>
          </ac:spMkLst>
        </pc:spChg>
        <pc:spChg chg="mod">
          <ac:chgData name="Mick Mooney" userId="e6518e4e-af4a-4bea-b39c-20489a1e5519" providerId="ADAL" clId="{3014DE50-B07B-4776-BEAC-0F779D92A13E}" dt="2023-07-31T09:48:52.570" v="23325" actId="2711"/>
          <ac:spMkLst>
            <pc:docMk/>
            <pc:sldMk cId="869705999" sldId="2147479559"/>
            <ac:spMk id="43" creationId="{5CB46CDC-3F65-4E87-8AB5-DED5AB10C969}"/>
          </ac:spMkLst>
        </pc:spChg>
        <pc:spChg chg="mod">
          <ac:chgData name="Mick Mooney" userId="e6518e4e-af4a-4bea-b39c-20489a1e5519" providerId="ADAL" clId="{3014DE50-B07B-4776-BEAC-0F779D92A13E}" dt="2023-07-31T09:48:52.570" v="23325" actId="2711"/>
          <ac:spMkLst>
            <pc:docMk/>
            <pc:sldMk cId="869705999" sldId="2147479559"/>
            <ac:spMk id="44" creationId="{F6F86CE0-772A-4C30-823B-7C9518AB59A7}"/>
          </ac:spMkLst>
        </pc:spChg>
        <pc:spChg chg="mod">
          <ac:chgData name="Mick Mooney" userId="e6518e4e-af4a-4bea-b39c-20489a1e5519" providerId="ADAL" clId="{3014DE50-B07B-4776-BEAC-0F779D92A13E}" dt="2023-07-31T09:48:52.570" v="23325" actId="2711"/>
          <ac:spMkLst>
            <pc:docMk/>
            <pc:sldMk cId="869705999" sldId="2147479559"/>
            <ac:spMk id="45" creationId="{D67C987A-636A-4766-B5D7-4D4DC3DCF056}"/>
          </ac:spMkLst>
        </pc:spChg>
        <pc:spChg chg="mod">
          <ac:chgData name="Mick Mooney" userId="e6518e4e-af4a-4bea-b39c-20489a1e5519" providerId="ADAL" clId="{3014DE50-B07B-4776-BEAC-0F779D92A13E}" dt="2023-07-31T09:48:52.570" v="23325" actId="2711"/>
          <ac:spMkLst>
            <pc:docMk/>
            <pc:sldMk cId="869705999" sldId="2147479559"/>
            <ac:spMk id="46" creationId="{9F434B94-B863-4E08-A1B7-59FDB0C6C318}"/>
          </ac:spMkLst>
        </pc:spChg>
        <pc:spChg chg="mod">
          <ac:chgData name="Mick Mooney" userId="e6518e4e-af4a-4bea-b39c-20489a1e5519" providerId="ADAL" clId="{3014DE50-B07B-4776-BEAC-0F779D92A13E}" dt="2023-07-31T09:48:52.570" v="23325" actId="2711"/>
          <ac:spMkLst>
            <pc:docMk/>
            <pc:sldMk cId="869705999" sldId="2147479559"/>
            <ac:spMk id="47" creationId="{53BA1F2F-C60E-4CD6-AADD-46BA05C7FDA9}"/>
          </ac:spMkLst>
        </pc:spChg>
        <pc:spChg chg="mod">
          <ac:chgData name="Mick Mooney" userId="e6518e4e-af4a-4bea-b39c-20489a1e5519" providerId="ADAL" clId="{3014DE50-B07B-4776-BEAC-0F779D92A13E}" dt="2023-07-31T09:48:52.570" v="23325" actId="2711"/>
          <ac:spMkLst>
            <pc:docMk/>
            <pc:sldMk cId="869705999" sldId="2147479559"/>
            <ac:spMk id="48" creationId="{42DF54A5-EFCC-4F48-81C6-9FD27DD333D9}"/>
          </ac:spMkLst>
        </pc:spChg>
        <pc:spChg chg="mod">
          <ac:chgData name="Mick Mooney" userId="e6518e4e-af4a-4bea-b39c-20489a1e5519" providerId="ADAL" clId="{3014DE50-B07B-4776-BEAC-0F779D92A13E}" dt="2023-07-31T09:48:52.570" v="23325" actId="2711"/>
          <ac:spMkLst>
            <pc:docMk/>
            <pc:sldMk cId="869705999" sldId="2147479559"/>
            <ac:spMk id="49" creationId="{30A93C80-25CB-435B-B7F0-00067FBC6D6C}"/>
          </ac:spMkLst>
        </pc:spChg>
        <pc:spChg chg="mod">
          <ac:chgData name="Mick Mooney" userId="e6518e4e-af4a-4bea-b39c-20489a1e5519" providerId="ADAL" clId="{3014DE50-B07B-4776-BEAC-0F779D92A13E}" dt="2023-07-31T09:48:52.570" v="23325" actId="2711"/>
          <ac:spMkLst>
            <pc:docMk/>
            <pc:sldMk cId="869705999" sldId="2147479559"/>
            <ac:spMk id="50" creationId="{E58FCDB4-1CC5-4BAC-9225-3E3DBC4CEDC8}"/>
          </ac:spMkLst>
        </pc:spChg>
        <pc:spChg chg="mod">
          <ac:chgData name="Mick Mooney" userId="e6518e4e-af4a-4bea-b39c-20489a1e5519" providerId="ADAL" clId="{3014DE50-B07B-4776-BEAC-0F779D92A13E}" dt="2023-07-31T09:48:52.570" v="23325" actId="2711"/>
          <ac:spMkLst>
            <pc:docMk/>
            <pc:sldMk cId="869705999" sldId="2147479559"/>
            <ac:spMk id="51" creationId="{F68D8C37-819B-46EE-BD64-7735AB618CE9}"/>
          </ac:spMkLst>
        </pc:spChg>
        <pc:spChg chg="mod">
          <ac:chgData name="Mick Mooney" userId="e6518e4e-af4a-4bea-b39c-20489a1e5519" providerId="ADAL" clId="{3014DE50-B07B-4776-BEAC-0F779D92A13E}" dt="2023-07-31T09:48:52.570" v="23325" actId="2711"/>
          <ac:spMkLst>
            <pc:docMk/>
            <pc:sldMk cId="869705999" sldId="2147479559"/>
            <ac:spMk id="52" creationId="{6AA6C069-E559-444A-9061-90E9A0F9321A}"/>
          </ac:spMkLst>
        </pc:spChg>
        <pc:spChg chg="mod">
          <ac:chgData name="Mick Mooney" userId="e6518e4e-af4a-4bea-b39c-20489a1e5519" providerId="ADAL" clId="{3014DE50-B07B-4776-BEAC-0F779D92A13E}" dt="2023-07-31T09:48:52.570" v="23325" actId="2711"/>
          <ac:spMkLst>
            <pc:docMk/>
            <pc:sldMk cId="869705999" sldId="2147479559"/>
            <ac:spMk id="54" creationId="{9FB175D3-148A-48BB-8465-E8BF7FDC5FF4}"/>
          </ac:spMkLst>
        </pc:spChg>
        <pc:spChg chg="mod">
          <ac:chgData name="Mick Mooney" userId="e6518e4e-af4a-4bea-b39c-20489a1e5519" providerId="ADAL" clId="{3014DE50-B07B-4776-BEAC-0F779D92A13E}" dt="2023-07-31T09:48:52.570" v="23325" actId="2711"/>
          <ac:spMkLst>
            <pc:docMk/>
            <pc:sldMk cId="869705999" sldId="2147479559"/>
            <ac:spMk id="55" creationId="{CCB58EF3-DAF5-487E-8988-23EB7A8FE538}"/>
          </ac:spMkLst>
        </pc:spChg>
        <pc:spChg chg="mod">
          <ac:chgData name="Mick Mooney" userId="e6518e4e-af4a-4bea-b39c-20489a1e5519" providerId="ADAL" clId="{3014DE50-B07B-4776-BEAC-0F779D92A13E}" dt="2023-07-31T09:48:52.570" v="23325" actId="2711"/>
          <ac:spMkLst>
            <pc:docMk/>
            <pc:sldMk cId="869705999" sldId="2147479559"/>
            <ac:spMk id="56" creationId="{15944843-1B9B-470D-8BD0-D2105DCFB870}"/>
          </ac:spMkLst>
        </pc:spChg>
        <pc:spChg chg="mod">
          <ac:chgData name="Mick Mooney" userId="e6518e4e-af4a-4bea-b39c-20489a1e5519" providerId="ADAL" clId="{3014DE50-B07B-4776-BEAC-0F779D92A13E}" dt="2023-07-31T09:48:52.570" v="23325" actId="2711"/>
          <ac:spMkLst>
            <pc:docMk/>
            <pc:sldMk cId="869705999" sldId="2147479559"/>
            <ac:spMk id="57" creationId="{F420379A-8088-4A4D-B638-0C17037F73AB}"/>
          </ac:spMkLst>
        </pc:spChg>
        <pc:spChg chg="mod">
          <ac:chgData name="Mick Mooney" userId="e6518e4e-af4a-4bea-b39c-20489a1e5519" providerId="ADAL" clId="{3014DE50-B07B-4776-BEAC-0F779D92A13E}" dt="2023-07-31T09:48:52.570" v="23325" actId="2711"/>
          <ac:spMkLst>
            <pc:docMk/>
            <pc:sldMk cId="869705999" sldId="2147479559"/>
            <ac:spMk id="58" creationId="{B6F54DA3-5D6C-4037-B906-59A706ED6AE7}"/>
          </ac:spMkLst>
        </pc:spChg>
        <pc:spChg chg="mod">
          <ac:chgData name="Mick Mooney" userId="e6518e4e-af4a-4bea-b39c-20489a1e5519" providerId="ADAL" clId="{3014DE50-B07B-4776-BEAC-0F779D92A13E}" dt="2023-07-31T09:48:52.570" v="23325" actId="2711"/>
          <ac:spMkLst>
            <pc:docMk/>
            <pc:sldMk cId="869705999" sldId="2147479559"/>
            <ac:spMk id="59" creationId="{D7F09212-6410-41ED-8EDF-3BA48FEA3E07}"/>
          </ac:spMkLst>
        </pc:spChg>
        <pc:spChg chg="mod">
          <ac:chgData name="Mick Mooney" userId="e6518e4e-af4a-4bea-b39c-20489a1e5519" providerId="ADAL" clId="{3014DE50-B07B-4776-BEAC-0F779D92A13E}" dt="2023-07-31T09:48:52.570" v="23325" actId="2711"/>
          <ac:spMkLst>
            <pc:docMk/>
            <pc:sldMk cId="869705999" sldId="2147479559"/>
            <ac:spMk id="60" creationId="{1C4578CA-BD5C-4B44-BE06-68704B2EA348}"/>
          </ac:spMkLst>
        </pc:spChg>
        <pc:spChg chg="mod">
          <ac:chgData name="Mick Mooney" userId="e6518e4e-af4a-4bea-b39c-20489a1e5519" providerId="ADAL" clId="{3014DE50-B07B-4776-BEAC-0F779D92A13E}" dt="2023-07-31T09:48:52.570" v="23325" actId="2711"/>
          <ac:spMkLst>
            <pc:docMk/>
            <pc:sldMk cId="869705999" sldId="2147479559"/>
            <ac:spMk id="61" creationId="{4F8454BF-220B-4C9A-9467-90990BB146A7}"/>
          </ac:spMkLst>
        </pc:spChg>
        <pc:spChg chg="mod">
          <ac:chgData name="Mick Mooney" userId="e6518e4e-af4a-4bea-b39c-20489a1e5519" providerId="ADAL" clId="{3014DE50-B07B-4776-BEAC-0F779D92A13E}" dt="2023-07-31T09:48:52.570" v="23325" actId="2711"/>
          <ac:spMkLst>
            <pc:docMk/>
            <pc:sldMk cId="869705999" sldId="2147479559"/>
            <ac:spMk id="62" creationId="{00B511E7-8564-4F09-9964-D975F495A7FB}"/>
          </ac:spMkLst>
        </pc:spChg>
        <pc:spChg chg="mod">
          <ac:chgData name="Mick Mooney" userId="e6518e4e-af4a-4bea-b39c-20489a1e5519" providerId="ADAL" clId="{3014DE50-B07B-4776-BEAC-0F779D92A13E}" dt="2023-07-31T09:48:52.570" v="23325" actId="2711"/>
          <ac:spMkLst>
            <pc:docMk/>
            <pc:sldMk cId="869705999" sldId="2147479559"/>
            <ac:spMk id="63" creationId="{23874C27-80F0-4FB8-9638-86B606787E1E}"/>
          </ac:spMkLst>
        </pc:spChg>
        <pc:spChg chg="mod">
          <ac:chgData name="Mick Mooney" userId="e6518e4e-af4a-4bea-b39c-20489a1e5519" providerId="ADAL" clId="{3014DE50-B07B-4776-BEAC-0F779D92A13E}" dt="2023-07-31T09:48:52.570" v="23325" actId="2711"/>
          <ac:spMkLst>
            <pc:docMk/>
            <pc:sldMk cId="869705999" sldId="2147479559"/>
            <ac:spMk id="64" creationId="{57D12E16-D80E-461F-9DF8-398B05483571}"/>
          </ac:spMkLst>
        </pc:spChg>
        <pc:spChg chg="mod">
          <ac:chgData name="Mick Mooney" userId="e6518e4e-af4a-4bea-b39c-20489a1e5519" providerId="ADAL" clId="{3014DE50-B07B-4776-BEAC-0F779D92A13E}" dt="2023-07-31T09:48:52.570" v="23325" actId="2711"/>
          <ac:spMkLst>
            <pc:docMk/>
            <pc:sldMk cId="869705999" sldId="2147479559"/>
            <ac:spMk id="66" creationId="{B74366AA-D9A4-4666-9585-F285AD7423C6}"/>
          </ac:spMkLst>
        </pc:spChg>
        <pc:spChg chg="mod">
          <ac:chgData name="Mick Mooney" userId="e6518e4e-af4a-4bea-b39c-20489a1e5519" providerId="ADAL" clId="{3014DE50-B07B-4776-BEAC-0F779D92A13E}" dt="2023-07-31T09:48:52.570" v="23325" actId="2711"/>
          <ac:spMkLst>
            <pc:docMk/>
            <pc:sldMk cId="869705999" sldId="2147479559"/>
            <ac:spMk id="67" creationId="{0DC34F1D-78CF-4A79-8910-7AE33F8D4964}"/>
          </ac:spMkLst>
        </pc:spChg>
        <pc:spChg chg="mod">
          <ac:chgData name="Mick Mooney" userId="e6518e4e-af4a-4bea-b39c-20489a1e5519" providerId="ADAL" clId="{3014DE50-B07B-4776-BEAC-0F779D92A13E}" dt="2023-07-31T09:48:52.570" v="23325" actId="2711"/>
          <ac:spMkLst>
            <pc:docMk/>
            <pc:sldMk cId="869705999" sldId="2147479559"/>
            <ac:spMk id="68" creationId="{B5C06442-863F-4ACB-B91D-560F229D2999}"/>
          </ac:spMkLst>
        </pc:spChg>
        <pc:spChg chg="mod">
          <ac:chgData name="Mick Mooney" userId="e6518e4e-af4a-4bea-b39c-20489a1e5519" providerId="ADAL" clId="{3014DE50-B07B-4776-BEAC-0F779D92A13E}" dt="2023-07-31T09:48:52.570" v="23325" actId="2711"/>
          <ac:spMkLst>
            <pc:docMk/>
            <pc:sldMk cId="869705999" sldId="2147479559"/>
            <ac:spMk id="69" creationId="{01C8EF9C-610A-41C0-9B13-280A2B71F4F5}"/>
          </ac:spMkLst>
        </pc:spChg>
        <pc:spChg chg="mod">
          <ac:chgData name="Mick Mooney" userId="e6518e4e-af4a-4bea-b39c-20489a1e5519" providerId="ADAL" clId="{3014DE50-B07B-4776-BEAC-0F779D92A13E}" dt="2023-07-31T09:48:52.570" v="23325" actId="2711"/>
          <ac:spMkLst>
            <pc:docMk/>
            <pc:sldMk cId="869705999" sldId="2147479559"/>
            <ac:spMk id="70" creationId="{56FE68A5-AC12-4910-93F3-821CE3F6B4BE}"/>
          </ac:spMkLst>
        </pc:spChg>
        <pc:spChg chg="mod">
          <ac:chgData name="Mick Mooney" userId="e6518e4e-af4a-4bea-b39c-20489a1e5519" providerId="ADAL" clId="{3014DE50-B07B-4776-BEAC-0F779D92A13E}" dt="2023-07-31T09:48:52.570" v="23325" actId="2711"/>
          <ac:spMkLst>
            <pc:docMk/>
            <pc:sldMk cId="869705999" sldId="2147479559"/>
            <ac:spMk id="71" creationId="{3A313DF6-BB15-4959-8F57-745298A4ECF7}"/>
          </ac:spMkLst>
        </pc:spChg>
        <pc:spChg chg="mod">
          <ac:chgData name="Mick Mooney" userId="e6518e4e-af4a-4bea-b39c-20489a1e5519" providerId="ADAL" clId="{3014DE50-B07B-4776-BEAC-0F779D92A13E}" dt="2023-07-31T09:48:52.570" v="23325" actId="2711"/>
          <ac:spMkLst>
            <pc:docMk/>
            <pc:sldMk cId="869705999" sldId="2147479559"/>
            <ac:spMk id="72" creationId="{0934EE0E-0CB6-483E-96CC-20538AC7B108}"/>
          </ac:spMkLst>
        </pc:spChg>
        <pc:spChg chg="mod">
          <ac:chgData name="Mick Mooney" userId="e6518e4e-af4a-4bea-b39c-20489a1e5519" providerId="ADAL" clId="{3014DE50-B07B-4776-BEAC-0F779D92A13E}" dt="2023-07-31T09:48:52.570" v="23325" actId="2711"/>
          <ac:spMkLst>
            <pc:docMk/>
            <pc:sldMk cId="869705999" sldId="2147479559"/>
            <ac:spMk id="73" creationId="{F3CE07DF-B644-449A-BE07-0C3F4CF27538}"/>
          </ac:spMkLst>
        </pc:spChg>
        <pc:spChg chg="mod">
          <ac:chgData name="Mick Mooney" userId="e6518e4e-af4a-4bea-b39c-20489a1e5519" providerId="ADAL" clId="{3014DE50-B07B-4776-BEAC-0F779D92A13E}" dt="2023-07-31T09:48:52.570" v="23325" actId="2711"/>
          <ac:spMkLst>
            <pc:docMk/>
            <pc:sldMk cId="869705999" sldId="2147479559"/>
            <ac:spMk id="74" creationId="{0C2ED4FF-D3AE-4614-93A8-114DFF696FEF}"/>
          </ac:spMkLst>
        </pc:spChg>
        <pc:spChg chg="mod">
          <ac:chgData name="Mick Mooney" userId="e6518e4e-af4a-4bea-b39c-20489a1e5519" providerId="ADAL" clId="{3014DE50-B07B-4776-BEAC-0F779D92A13E}" dt="2023-07-31T09:48:52.570" v="23325" actId="2711"/>
          <ac:spMkLst>
            <pc:docMk/>
            <pc:sldMk cId="869705999" sldId="2147479559"/>
            <ac:spMk id="75" creationId="{27A8B3A7-2172-4232-A6FF-EAC83F588E73}"/>
          </ac:spMkLst>
        </pc:spChg>
        <pc:spChg chg="mod">
          <ac:chgData name="Mick Mooney" userId="e6518e4e-af4a-4bea-b39c-20489a1e5519" providerId="ADAL" clId="{3014DE50-B07B-4776-BEAC-0F779D92A13E}" dt="2023-07-31T09:48:52.570" v="23325" actId="2711"/>
          <ac:spMkLst>
            <pc:docMk/>
            <pc:sldMk cId="869705999" sldId="2147479559"/>
            <ac:spMk id="76" creationId="{5155E57B-5D1A-41E6-827B-E12D1E309E72}"/>
          </ac:spMkLst>
        </pc:spChg>
        <pc:spChg chg="mod">
          <ac:chgData name="Mick Mooney" userId="e6518e4e-af4a-4bea-b39c-20489a1e5519" providerId="ADAL" clId="{3014DE50-B07B-4776-BEAC-0F779D92A13E}" dt="2023-07-31T09:48:52.570" v="23325" actId="2711"/>
          <ac:spMkLst>
            <pc:docMk/>
            <pc:sldMk cId="869705999" sldId="2147479559"/>
            <ac:spMk id="77" creationId="{CDF68FF6-84BC-474D-AADA-D9F32E097B8D}"/>
          </ac:spMkLst>
        </pc:spChg>
        <pc:spChg chg="mod">
          <ac:chgData name="Mick Mooney" userId="e6518e4e-af4a-4bea-b39c-20489a1e5519" providerId="ADAL" clId="{3014DE50-B07B-4776-BEAC-0F779D92A13E}" dt="2023-07-31T09:48:52.570" v="23325" actId="2711"/>
          <ac:spMkLst>
            <pc:docMk/>
            <pc:sldMk cId="869705999" sldId="2147479559"/>
            <ac:spMk id="78" creationId="{80A6239E-38C6-4013-BA58-412F4E5659ED}"/>
          </ac:spMkLst>
        </pc:spChg>
        <pc:spChg chg="mod">
          <ac:chgData name="Mick Mooney" userId="e6518e4e-af4a-4bea-b39c-20489a1e5519" providerId="ADAL" clId="{3014DE50-B07B-4776-BEAC-0F779D92A13E}" dt="2023-07-31T09:48:52.570" v="23325" actId="2711"/>
          <ac:spMkLst>
            <pc:docMk/>
            <pc:sldMk cId="869705999" sldId="2147479559"/>
            <ac:spMk id="79" creationId="{14E5A17B-2B51-49EA-A999-DCEEF6FAF974}"/>
          </ac:spMkLst>
        </pc:spChg>
        <pc:spChg chg="mod">
          <ac:chgData name="Mick Mooney" userId="e6518e4e-af4a-4bea-b39c-20489a1e5519" providerId="ADAL" clId="{3014DE50-B07B-4776-BEAC-0F779D92A13E}" dt="2023-07-31T09:48:52.570" v="23325" actId="2711"/>
          <ac:spMkLst>
            <pc:docMk/>
            <pc:sldMk cId="869705999" sldId="2147479559"/>
            <ac:spMk id="80" creationId="{F84B2711-0C92-46F3-96E0-EE193929C66D}"/>
          </ac:spMkLst>
        </pc:spChg>
        <pc:spChg chg="mod">
          <ac:chgData name="Mick Mooney" userId="e6518e4e-af4a-4bea-b39c-20489a1e5519" providerId="ADAL" clId="{3014DE50-B07B-4776-BEAC-0F779D92A13E}" dt="2023-07-31T09:48:52.570" v="23325" actId="2711"/>
          <ac:spMkLst>
            <pc:docMk/>
            <pc:sldMk cId="869705999" sldId="2147479559"/>
            <ac:spMk id="81" creationId="{6CD834D4-9910-4B0A-8634-79C7210A514D}"/>
          </ac:spMkLst>
        </pc:spChg>
        <pc:spChg chg="mod">
          <ac:chgData name="Mick Mooney" userId="e6518e4e-af4a-4bea-b39c-20489a1e5519" providerId="ADAL" clId="{3014DE50-B07B-4776-BEAC-0F779D92A13E}" dt="2023-07-31T09:48:52.570" v="23325" actId="2711"/>
          <ac:spMkLst>
            <pc:docMk/>
            <pc:sldMk cId="869705999" sldId="2147479559"/>
            <ac:spMk id="82" creationId="{C94FDD3E-4B7A-4658-B43F-F270EF0CFA99}"/>
          </ac:spMkLst>
        </pc:spChg>
        <pc:spChg chg="mod">
          <ac:chgData name="Mick Mooney" userId="e6518e4e-af4a-4bea-b39c-20489a1e5519" providerId="ADAL" clId="{3014DE50-B07B-4776-BEAC-0F779D92A13E}" dt="2023-07-31T09:48:52.570" v="23325" actId="2711"/>
          <ac:spMkLst>
            <pc:docMk/>
            <pc:sldMk cId="869705999" sldId="2147479559"/>
            <ac:spMk id="84" creationId="{B6A976D4-150D-4D8B-A0C4-7BA7FD30683E}"/>
          </ac:spMkLst>
        </pc:spChg>
        <pc:spChg chg="mod">
          <ac:chgData name="Mick Mooney" userId="e6518e4e-af4a-4bea-b39c-20489a1e5519" providerId="ADAL" clId="{3014DE50-B07B-4776-BEAC-0F779D92A13E}" dt="2023-07-31T09:48:52.570" v="23325" actId="2711"/>
          <ac:spMkLst>
            <pc:docMk/>
            <pc:sldMk cId="869705999" sldId="2147479559"/>
            <ac:spMk id="85" creationId="{DAD77129-7E4A-4E0A-A0C7-907A1316AA0C}"/>
          </ac:spMkLst>
        </pc:spChg>
        <pc:spChg chg="mod">
          <ac:chgData name="Mick Mooney" userId="e6518e4e-af4a-4bea-b39c-20489a1e5519" providerId="ADAL" clId="{3014DE50-B07B-4776-BEAC-0F779D92A13E}" dt="2023-07-31T09:48:52.570" v="23325" actId="2711"/>
          <ac:spMkLst>
            <pc:docMk/>
            <pc:sldMk cId="869705999" sldId="2147479559"/>
            <ac:spMk id="86" creationId="{12D321C4-4A73-4FCA-9445-70F3FB99D7FD}"/>
          </ac:spMkLst>
        </pc:spChg>
        <pc:spChg chg="mod">
          <ac:chgData name="Mick Mooney" userId="e6518e4e-af4a-4bea-b39c-20489a1e5519" providerId="ADAL" clId="{3014DE50-B07B-4776-BEAC-0F779D92A13E}" dt="2023-07-31T09:48:52.570" v="23325" actId="2711"/>
          <ac:spMkLst>
            <pc:docMk/>
            <pc:sldMk cId="869705999" sldId="2147479559"/>
            <ac:spMk id="87" creationId="{A8ACD041-FE4F-41A5-88BC-0D9CE871618C}"/>
          </ac:spMkLst>
        </pc:spChg>
        <pc:spChg chg="mod">
          <ac:chgData name="Mick Mooney" userId="e6518e4e-af4a-4bea-b39c-20489a1e5519" providerId="ADAL" clId="{3014DE50-B07B-4776-BEAC-0F779D92A13E}" dt="2023-07-31T09:48:52.570" v="23325" actId="2711"/>
          <ac:spMkLst>
            <pc:docMk/>
            <pc:sldMk cId="869705999" sldId="2147479559"/>
            <ac:spMk id="88" creationId="{5F891B81-A89F-4DDA-B96F-5589F50E953B}"/>
          </ac:spMkLst>
        </pc:spChg>
        <pc:spChg chg="mod">
          <ac:chgData name="Mick Mooney" userId="e6518e4e-af4a-4bea-b39c-20489a1e5519" providerId="ADAL" clId="{3014DE50-B07B-4776-BEAC-0F779D92A13E}" dt="2023-07-31T09:48:52.570" v="23325" actId="2711"/>
          <ac:spMkLst>
            <pc:docMk/>
            <pc:sldMk cId="869705999" sldId="2147479559"/>
            <ac:spMk id="89" creationId="{C2763FB1-EC33-45BF-889A-0E8E42BA5B90}"/>
          </ac:spMkLst>
        </pc:spChg>
        <pc:spChg chg="mod">
          <ac:chgData name="Mick Mooney" userId="e6518e4e-af4a-4bea-b39c-20489a1e5519" providerId="ADAL" clId="{3014DE50-B07B-4776-BEAC-0F779D92A13E}" dt="2023-07-31T09:48:52.570" v="23325" actId="2711"/>
          <ac:spMkLst>
            <pc:docMk/>
            <pc:sldMk cId="869705999" sldId="2147479559"/>
            <ac:spMk id="90" creationId="{F4EFA197-ACA1-4B08-BBA7-E94F2AF91324}"/>
          </ac:spMkLst>
        </pc:spChg>
        <pc:spChg chg="mod">
          <ac:chgData name="Mick Mooney" userId="e6518e4e-af4a-4bea-b39c-20489a1e5519" providerId="ADAL" clId="{3014DE50-B07B-4776-BEAC-0F779D92A13E}" dt="2023-07-31T09:48:52.570" v="23325" actId="2711"/>
          <ac:spMkLst>
            <pc:docMk/>
            <pc:sldMk cId="869705999" sldId="2147479559"/>
            <ac:spMk id="91" creationId="{9919E2EA-4606-4151-8925-2C096E7B2AF1}"/>
          </ac:spMkLst>
        </pc:spChg>
        <pc:spChg chg="mod">
          <ac:chgData name="Mick Mooney" userId="e6518e4e-af4a-4bea-b39c-20489a1e5519" providerId="ADAL" clId="{3014DE50-B07B-4776-BEAC-0F779D92A13E}" dt="2023-07-31T09:48:52.570" v="23325" actId="2711"/>
          <ac:spMkLst>
            <pc:docMk/>
            <pc:sldMk cId="869705999" sldId="2147479559"/>
            <ac:spMk id="92" creationId="{A0C0242A-BA49-41ED-BDF7-60B9EAEAC887}"/>
          </ac:spMkLst>
        </pc:spChg>
        <pc:spChg chg="mod">
          <ac:chgData name="Mick Mooney" userId="e6518e4e-af4a-4bea-b39c-20489a1e5519" providerId="ADAL" clId="{3014DE50-B07B-4776-BEAC-0F779D92A13E}" dt="2023-07-31T09:48:52.570" v="23325" actId="2711"/>
          <ac:spMkLst>
            <pc:docMk/>
            <pc:sldMk cId="869705999" sldId="2147479559"/>
            <ac:spMk id="93" creationId="{F422089F-5F58-4D1E-BE8E-AC450C779D4C}"/>
          </ac:spMkLst>
        </pc:spChg>
        <pc:spChg chg="mod">
          <ac:chgData name="Mick Mooney" userId="e6518e4e-af4a-4bea-b39c-20489a1e5519" providerId="ADAL" clId="{3014DE50-B07B-4776-BEAC-0F779D92A13E}" dt="2023-07-31T09:48:52.570" v="23325" actId="2711"/>
          <ac:spMkLst>
            <pc:docMk/>
            <pc:sldMk cId="869705999" sldId="2147479559"/>
            <ac:spMk id="94" creationId="{A3C9D0BF-3E0E-4BD8-9C60-C9FAEE1E4D52}"/>
          </ac:spMkLst>
        </pc:spChg>
        <pc:spChg chg="mod">
          <ac:chgData name="Mick Mooney" userId="e6518e4e-af4a-4bea-b39c-20489a1e5519" providerId="ADAL" clId="{3014DE50-B07B-4776-BEAC-0F779D92A13E}" dt="2023-07-31T09:48:52.570" v="23325" actId="2711"/>
          <ac:spMkLst>
            <pc:docMk/>
            <pc:sldMk cId="869705999" sldId="2147479559"/>
            <ac:spMk id="95" creationId="{5B778795-973C-4D81-B1A0-211BF532487F}"/>
          </ac:spMkLst>
        </pc:spChg>
        <pc:spChg chg="mod">
          <ac:chgData name="Mick Mooney" userId="e6518e4e-af4a-4bea-b39c-20489a1e5519" providerId="ADAL" clId="{3014DE50-B07B-4776-BEAC-0F779D92A13E}" dt="2023-07-31T09:48:52.570" v="23325" actId="2711"/>
          <ac:spMkLst>
            <pc:docMk/>
            <pc:sldMk cId="869705999" sldId="2147479559"/>
            <ac:spMk id="96" creationId="{73BAAF46-2649-4AC1-A163-3E65848B0CED}"/>
          </ac:spMkLst>
        </pc:spChg>
        <pc:spChg chg="mod">
          <ac:chgData name="Mick Mooney" userId="e6518e4e-af4a-4bea-b39c-20489a1e5519" providerId="ADAL" clId="{3014DE50-B07B-4776-BEAC-0F779D92A13E}" dt="2023-07-31T09:48:52.570" v="23325" actId="2711"/>
          <ac:spMkLst>
            <pc:docMk/>
            <pc:sldMk cId="869705999" sldId="2147479559"/>
            <ac:spMk id="97" creationId="{880271A4-69F9-4DCD-A18A-32541AC9BE82}"/>
          </ac:spMkLst>
        </pc:spChg>
        <pc:spChg chg="mod">
          <ac:chgData name="Mick Mooney" userId="e6518e4e-af4a-4bea-b39c-20489a1e5519" providerId="ADAL" clId="{3014DE50-B07B-4776-BEAC-0F779D92A13E}" dt="2023-07-31T09:48:52.570" v="23325" actId="2711"/>
          <ac:spMkLst>
            <pc:docMk/>
            <pc:sldMk cId="869705999" sldId="2147479559"/>
            <ac:spMk id="98" creationId="{D7F13EB6-E358-45AF-B297-68F69A11AAF8}"/>
          </ac:spMkLst>
        </pc:spChg>
        <pc:spChg chg="mod">
          <ac:chgData name="Mick Mooney" userId="e6518e4e-af4a-4bea-b39c-20489a1e5519" providerId="ADAL" clId="{3014DE50-B07B-4776-BEAC-0F779D92A13E}" dt="2023-07-31T09:48:52.570" v="23325" actId="2711"/>
          <ac:spMkLst>
            <pc:docMk/>
            <pc:sldMk cId="869705999" sldId="2147479559"/>
            <ac:spMk id="100" creationId="{79C0C784-8872-48B1-A543-7652200A8524}"/>
          </ac:spMkLst>
        </pc:spChg>
        <pc:spChg chg="mod">
          <ac:chgData name="Mick Mooney" userId="e6518e4e-af4a-4bea-b39c-20489a1e5519" providerId="ADAL" clId="{3014DE50-B07B-4776-BEAC-0F779D92A13E}" dt="2023-07-31T09:48:52.570" v="23325" actId="2711"/>
          <ac:spMkLst>
            <pc:docMk/>
            <pc:sldMk cId="869705999" sldId="2147479559"/>
            <ac:spMk id="101" creationId="{40B9DEE3-6218-4066-B2F6-F4B175CDF55D}"/>
          </ac:spMkLst>
        </pc:spChg>
        <pc:spChg chg="mod">
          <ac:chgData name="Mick Mooney" userId="e6518e4e-af4a-4bea-b39c-20489a1e5519" providerId="ADAL" clId="{3014DE50-B07B-4776-BEAC-0F779D92A13E}" dt="2023-07-31T09:48:52.570" v="23325" actId="2711"/>
          <ac:spMkLst>
            <pc:docMk/>
            <pc:sldMk cId="869705999" sldId="2147479559"/>
            <ac:spMk id="102" creationId="{4DBB1EB0-AEB3-4FFE-B102-4CEC671B7EA8}"/>
          </ac:spMkLst>
        </pc:spChg>
        <pc:spChg chg="mod">
          <ac:chgData name="Mick Mooney" userId="e6518e4e-af4a-4bea-b39c-20489a1e5519" providerId="ADAL" clId="{3014DE50-B07B-4776-BEAC-0F779D92A13E}" dt="2023-07-31T09:48:52.570" v="23325" actId="2711"/>
          <ac:spMkLst>
            <pc:docMk/>
            <pc:sldMk cId="869705999" sldId="2147479559"/>
            <ac:spMk id="103" creationId="{69803BA8-2807-49FA-BA95-CD503339FDB8}"/>
          </ac:spMkLst>
        </pc:spChg>
        <pc:spChg chg="mod">
          <ac:chgData name="Mick Mooney" userId="e6518e4e-af4a-4bea-b39c-20489a1e5519" providerId="ADAL" clId="{3014DE50-B07B-4776-BEAC-0F779D92A13E}" dt="2023-07-31T09:48:52.570" v="23325" actId="2711"/>
          <ac:spMkLst>
            <pc:docMk/>
            <pc:sldMk cId="869705999" sldId="2147479559"/>
            <ac:spMk id="104" creationId="{99C4CE95-0F69-4A4E-8638-A8C95BEBB545}"/>
          </ac:spMkLst>
        </pc:spChg>
        <pc:spChg chg="mod">
          <ac:chgData name="Mick Mooney" userId="e6518e4e-af4a-4bea-b39c-20489a1e5519" providerId="ADAL" clId="{3014DE50-B07B-4776-BEAC-0F779D92A13E}" dt="2023-07-31T09:48:52.570" v="23325" actId="2711"/>
          <ac:spMkLst>
            <pc:docMk/>
            <pc:sldMk cId="869705999" sldId="2147479559"/>
            <ac:spMk id="105" creationId="{F7B87E56-3D26-491C-90BA-5730527F19AF}"/>
          </ac:spMkLst>
        </pc:spChg>
        <pc:spChg chg="mod">
          <ac:chgData name="Mick Mooney" userId="e6518e4e-af4a-4bea-b39c-20489a1e5519" providerId="ADAL" clId="{3014DE50-B07B-4776-BEAC-0F779D92A13E}" dt="2023-07-31T09:48:52.570" v="23325" actId="2711"/>
          <ac:spMkLst>
            <pc:docMk/>
            <pc:sldMk cId="869705999" sldId="2147479559"/>
            <ac:spMk id="106" creationId="{DA447FB1-743E-4FF9-987D-3B16655CBA82}"/>
          </ac:spMkLst>
        </pc:spChg>
        <pc:spChg chg="mod">
          <ac:chgData name="Mick Mooney" userId="e6518e4e-af4a-4bea-b39c-20489a1e5519" providerId="ADAL" clId="{3014DE50-B07B-4776-BEAC-0F779D92A13E}" dt="2023-07-31T09:48:52.570" v="23325" actId="2711"/>
          <ac:spMkLst>
            <pc:docMk/>
            <pc:sldMk cId="869705999" sldId="2147479559"/>
            <ac:spMk id="107" creationId="{71D2D3F7-8C1F-488F-B8DB-A0AA66069C41}"/>
          </ac:spMkLst>
        </pc:spChg>
        <pc:spChg chg="mod">
          <ac:chgData name="Mick Mooney" userId="e6518e4e-af4a-4bea-b39c-20489a1e5519" providerId="ADAL" clId="{3014DE50-B07B-4776-BEAC-0F779D92A13E}" dt="2023-07-31T09:48:52.570" v="23325" actId="2711"/>
          <ac:spMkLst>
            <pc:docMk/>
            <pc:sldMk cId="869705999" sldId="2147479559"/>
            <ac:spMk id="108" creationId="{26ED86B3-D525-4B69-B5D2-C4FB52FB838E}"/>
          </ac:spMkLst>
        </pc:spChg>
        <pc:spChg chg="mod">
          <ac:chgData name="Mick Mooney" userId="e6518e4e-af4a-4bea-b39c-20489a1e5519" providerId="ADAL" clId="{3014DE50-B07B-4776-BEAC-0F779D92A13E}" dt="2023-07-31T09:48:52.570" v="23325" actId="2711"/>
          <ac:spMkLst>
            <pc:docMk/>
            <pc:sldMk cId="869705999" sldId="2147479559"/>
            <ac:spMk id="109" creationId="{F0A3F137-7073-4F6D-9091-98A10F5D8E3A}"/>
          </ac:spMkLst>
        </pc:spChg>
        <pc:spChg chg="mod">
          <ac:chgData name="Mick Mooney" userId="e6518e4e-af4a-4bea-b39c-20489a1e5519" providerId="ADAL" clId="{3014DE50-B07B-4776-BEAC-0F779D92A13E}" dt="2023-07-31T09:48:52.570" v="23325" actId="2711"/>
          <ac:spMkLst>
            <pc:docMk/>
            <pc:sldMk cId="869705999" sldId="2147479559"/>
            <ac:spMk id="110" creationId="{80565D7C-3D83-4C28-BED0-5F07B72053A2}"/>
          </ac:spMkLst>
        </pc:spChg>
        <pc:spChg chg="mod">
          <ac:chgData name="Mick Mooney" userId="e6518e4e-af4a-4bea-b39c-20489a1e5519" providerId="ADAL" clId="{3014DE50-B07B-4776-BEAC-0F779D92A13E}" dt="2023-07-31T09:48:52.570" v="23325" actId="2711"/>
          <ac:spMkLst>
            <pc:docMk/>
            <pc:sldMk cId="869705999" sldId="2147479559"/>
            <ac:spMk id="111" creationId="{DCCDC823-95C6-4502-A2C8-9CF2EC7485B2}"/>
          </ac:spMkLst>
        </pc:spChg>
        <pc:spChg chg="mod">
          <ac:chgData name="Mick Mooney" userId="e6518e4e-af4a-4bea-b39c-20489a1e5519" providerId="ADAL" clId="{3014DE50-B07B-4776-BEAC-0F779D92A13E}" dt="2023-07-31T09:48:52.570" v="23325" actId="2711"/>
          <ac:spMkLst>
            <pc:docMk/>
            <pc:sldMk cId="869705999" sldId="2147479559"/>
            <ac:spMk id="112" creationId="{09915CF2-879D-4095-BAFE-F138B4DEC23B}"/>
          </ac:spMkLst>
        </pc:spChg>
        <pc:spChg chg="mod">
          <ac:chgData name="Mick Mooney" userId="e6518e4e-af4a-4bea-b39c-20489a1e5519" providerId="ADAL" clId="{3014DE50-B07B-4776-BEAC-0F779D92A13E}" dt="2023-07-31T09:48:52.570" v="23325" actId="2711"/>
          <ac:spMkLst>
            <pc:docMk/>
            <pc:sldMk cId="869705999" sldId="2147479559"/>
            <ac:spMk id="113" creationId="{4E304A14-F3C0-4A5A-8128-FA758458B3BA}"/>
          </ac:spMkLst>
        </pc:spChg>
        <pc:spChg chg="mod">
          <ac:chgData name="Mick Mooney" userId="e6518e4e-af4a-4bea-b39c-20489a1e5519" providerId="ADAL" clId="{3014DE50-B07B-4776-BEAC-0F779D92A13E}" dt="2023-07-31T09:48:52.570" v="23325" actId="2711"/>
          <ac:spMkLst>
            <pc:docMk/>
            <pc:sldMk cId="869705999" sldId="2147479559"/>
            <ac:spMk id="114" creationId="{0EC6DEC9-1435-485D-9D37-D4ACB3593AC4}"/>
          </ac:spMkLst>
        </pc:spChg>
        <pc:spChg chg="mod">
          <ac:chgData name="Mick Mooney" userId="e6518e4e-af4a-4bea-b39c-20489a1e5519" providerId="ADAL" clId="{3014DE50-B07B-4776-BEAC-0F779D92A13E}" dt="2023-07-31T09:48:52.570" v="23325" actId="2711"/>
          <ac:spMkLst>
            <pc:docMk/>
            <pc:sldMk cId="869705999" sldId="2147479559"/>
            <ac:spMk id="115" creationId="{0558B725-7D6C-4AFB-A36E-AEBABC0686F2}"/>
          </ac:spMkLst>
        </pc:spChg>
        <pc:spChg chg="mod">
          <ac:chgData name="Mick Mooney" userId="e6518e4e-af4a-4bea-b39c-20489a1e5519" providerId="ADAL" clId="{3014DE50-B07B-4776-BEAC-0F779D92A13E}" dt="2023-07-31T09:48:52.570" v="23325" actId="2711"/>
          <ac:spMkLst>
            <pc:docMk/>
            <pc:sldMk cId="869705999" sldId="2147479559"/>
            <ac:spMk id="116" creationId="{291922A4-A416-4F2F-9D4D-D53046312242}"/>
          </ac:spMkLst>
        </pc:spChg>
        <pc:spChg chg="mod">
          <ac:chgData name="Mick Mooney" userId="e6518e4e-af4a-4bea-b39c-20489a1e5519" providerId="ADAL" clId="{3014DE50-B07B-4776-BEAC-0F779D92A13E}" dt="2023-07-31T09:48:52.570" v="23325" actId="2711"/>
          <ac:spMkLst>
            <pc:docMk/>
            <pc:sldMk cId="869705999" sldId="2147479559"/>
            <ac:spMk id="118" creationId="{3704325B-5C9C-4FAE-84AC-C284DD6695BA}"/>
          </ac:spMkLst>
        </pc:spChg>
        <pc:spChg chg="mod">
          <ac:chgData name="Mick Mooney" userId="e6518e4e-af4a-4bea-b39c-20489a1e5519" providerId="ADAL" clId="{3014DE50-B07B-4776-BEAC-0F779D92A13E}" dt="2023-07-31T09:48:52.570" v="23325" actId="2711"/>
          <ac:spMkLst>
            <pc:docMk/>
            <pc:sldMk cId="869705999" sldId="2147479559"/>
            <ac:spMk id="119" creationId="{0888FC56-05BE-4227-9863-C5330F466C72}"/>
          </ac:spMkLst>
        </pc:spChg>
        <pc:spChg chg="mod">
          <ac:chgData name="Mick Mooney" userId="e6518e4e-af4a-4bea-b39c-20489a1e5519" providerId="ADAL" clId="{3014DE50-B07B-4776-BEAC-0F779D92A13E}" dt="2023-07-31T09:48:52.570" v="23325" actId="2711"/>
          <ac:spMkLst>
            <pc:docMk/>
            <pc:sldMk cId="869705999" sldId="2147479559"/>
            <ac:spMk id="120" creationId="{2FB3C575-AEEC-4303-9A27-5048BEC17192}"/>
          </ac:spMkLst>
        </pc:spChg>
        <pc:spChg chg="mod">
          <ac:chgData name="Mick Mooney" userId="e6518e4e-af4a-4bea-b39c-20489a1e5519" providerId="ADAL" clId="{3014DE50-B07B-4776-BEAC-0F779D92A13E}" dt="2023-07-31T09:48:52.570" v="23325" actId="2711"/>
          <ac:spMkLst>
            <pc:docMk/>
            <pc:sldMk cId="869705999" sldId="2147479559"/>
            <ac:spMk id="121" creationId="{DFEA3DA9-6597-40A1-8A5B-376735621449}"/>
          </ac:spMkLst>
        </pc:spChg>
        <pc:spChg chg="mod">
          <ac:chgData name="Mick Mooney" userId="e6518e4e-af4a-4bea-b39c-20489a1e5519" providerId="ADAL" clId="{3014DE50-B07B-4776-BEAC-0F779D92A13E}" dt="2023-07-31T09:48:52.570" v="23325" actId="2711"/>
          <ac:spMkLst>
            <pc:docMk/>
            <pc:sldMk cId="869705999" sldId="2147479559"/>
            <ac:spMk id="122" creationId="{A6AD95EB-63DB-4511-860A-218215FE0899}"/>
          </ac:spMkLst>
        </pc:spChg>
        <pc:spChg chg="mod">
          <ac:chgData name="Mick Mooney" userId="e6518e4e-af4a-4bea-b39c-20489a1e5519" providerId="ADAL" clId="{3014DE50-B07B-4776-BEAC-0F779D92A13E}" dt="2023-07-31T09:48:52.570" v="23325" actId="2711"/>
          <ac:spMkLst>
            <pc:docMk/>
            <pc:sldMk cId="869705999" sldId="2147479559"/>
            <ac:spMk id="123" creationId="{4031284D-69AA-4AC0-9B85-DCB5B258C89B}"/>
          </ac:spMkLst>
        </pc:spChg>
        <pc:spChg chg="mod">
          <ac:chgData name="Mick Mooney" userId="e6518e4e-af4a-4bea-b39c-20489a1e5519" providerId="ADAL" clId="{3014DE50-B07B-4776-BEAC-0F779D92A13E}" dt="2023-07-31T09:48:52.570" v="23325" actId="2711"/>
          <ac:spMkLst>
            <pc:docMk/>
            <pc:sldMk cId="869705999" sldId="2147479559"/>
            <ac:spMk id="124" creationId="{202B4B26-A25A-4388-AD33-87A350C43A53}"/>
          </ac:spMkLst>
        </pc:spChg>
        <pc:spChg chg="mod">
          <ac:chgData name="Mick Mooney" userId="e6518e4e-af4a-4bea-b39c-20489a1e5519" providerId="ADAL" clId="{3014DE50-B07B-4776-BEAC-0F779D92A13E}" dt="2023-07-31T09:48:52.570" v="23325" actId="2711"/>
          <ac:spMkLst>
            <pc:docMk/>
            <pc:sldMk cId="869705999" sldId="2147479559"/>
            <ac:spMk id="125" creationId="{C2379F76-E665-4F22-9895-D24875B2B073}"/>
          </ac:spMkLst>
        </pc:spChg>
        <pc:spChg chg="mod">
          <ac:chgData name="Mick Mooney" userId="e6518e4e-af4a-4bea-b39c-20489a1e5519" providerId="ADAL" clId="{3014DE50-B07B-4776-BEAC-0F779D92A13E}" dt="2023-07-31T09:48:52.570" v="23325" actId="2711"/>
          <ac:spMkLst>
            <pc:docMk/>
            <pc:sldMk cId="869705999" sldId="2147479559"/>
            <ac:spMk id="126" creationId="{DD91EA10-C008-4EF1-B682-71BA60F574A6}"/>
          </ac:spMkLst>
        </pc:spChg>
        <pc:spChg chg="mod">
          <ac:chgData name="Mick Mooney" userId="e6518e4e-af4a-4bea-b39c-20489a1e5519" providerId="ADAL" clId="{3014DE50-B07B-4776-BEAC-0F779D92A13E}" dt="2023-07-31T09:48:52.570" v="23325" actId="2711"/>
          <ac:spMkLst>
            <pc:docMk/>
            <pc:sldMk cId="869705999" sldId="2147479559"/>
            <ac:spMk id="127" creationId="{CEF928CE-C72E-4D4A-B959-97975FBA3B76}"/>
          </ac:spMkLst>
        </pc:spChg>
        <pc:spChg chg="mod">
          <ac:chgData name="Mick Mooney" userId="e6518e4e-af4a-4bea-b39c-20489a1e5519" providerId="ADAL" clId="{3014DE50-B07B-4776-BEAC-0F779D92A13E}" dt="2023-07-31T09:48:52.570" v="23325" actId="2711"/>
          <ac:spMkLst>
            <pc:docMk/>
            <pc:sldMk cId="869705999" sldId="2147479559"/>
            <ac:spMk id="128" creationId="{1717DE44-8782-47F3-8C2D-A687F1A3A2FC}"/>
          </ac:spMkLst>
        </pc:spChg>
        <pc:spChg chg="mod">
          <ac:chgData name="Mick Mooney" userId="e6518e4e-af4a-4bea-b39c-20489a1e5519" providerId="ADAL" clId="{3014DE50-B07B-4776-BEAC-0F779D92A13E}" dt="2023-07-31T09:48:52.570" v="23325" actId="2711"/>
          <ac:spMkLst>
            <pc:docMk/>
            <pc:sldMk cId="869705999" sldId="2147479559"/>
            <ac:spMk id="129" creationId="{C4CC0DC6-C788-449F-A95F-ABC4B8DC62EB}"/>
          </ac:spMkLst>
        </pc:spChg>
        <pc:spChg chg="mod">
          <ac:chgData name="Mick Mooney" userId="e6518e4e-af4a-4bea-b39c-20489a1e5519" providerId="ADAL" clId="{3014DE50-B07B-4776-BEAC-0F779D92A13E}" dt="2023-07-31T09:48:52.570" v="23325" actId="2711"/>
          <ac:spMkLst>
            <pc:docMk/>
            <pc:sldMk cId="869705999" sldId="2147479559"/>
            <ac:spMk id="130" creationId="{196DFE78-26FA-499C-BBE5-AD3ACF29E953}"/>
          </ac:spMkLst>
        </pc:spChg>
        <pc:spChg chg="mod">
          <ac:chgData name="Mick Mooney" userId="e6518e4e-af4a-4bea-b39c-20489a1e5519" providerId="ADAL" clId="{3014DE50-B07B-4776-BEAC-0F779D92A13E}" dt="2023-07-31T09:48:52.570" v="23325" actId="2711"/>
          <ac:spMkLst>
            <pc:docMk/>
            <pc:sldMk cId="869705999" sldId="2147479559"/>
            <ac:spMk id="131" creationId="{287C6111-E000-4040-80B9-BE29F0ED74AE}"/>
          </ac:spMkLst>
        </pc:spChg>
        <pc:spChg chg="mod">
          <ac:chgData name="Mick Mooney" userId="e6518e4e-af4a-4bea-b39c-20489a1e5519" providerId="ADAL" clId="{3014DE50-B07B-4776-BEAC-0F779D92A13E}" dt="2023-07-31T09:48:52.570" v="23325" actId="2711"/>
          <ac:spMkLst>
            <pc:docMk/>
            <pc:sldMk cId="869705999" sldId="2147479559"/>
            <ac:spMk id="132" creationId="{76C3354B-3FBE-4725-8D9A-642C028FBFF3}"/>
          </ac:spMkLst>
        </pc:spChg>
        <pc:spChg chg="mod replST delST">
          <ac:chgData name="Mick Mooney" userId="e6518e4e-af4a-4bea-b39c-20489a1e5519" providerId="ADAL" clId="{3014DE50-B07B-4776-BEAC-0F779D92A13E}" dt="2023-07-31T13:05:57.270" v="28769"/>
          <ac:spMkLst>
            <pc:docMk/>
            <pc:sldMk cId="869705999" sldId="2147479559"/>
            <ac:spMk id="133" creationId="{EF89BEC2-0F73-4E60-BB3B-50D851253B69}"/>
          </ac:spMkLst>
        </pc:spChg>
        <pc:spChg chg="mod replST delST">
          <ac:chgData name="Mick Mooney" userId="e6518e4e-af4a-4bea-b39c-20489a1e5519" providerId="ADAL" clId="{3014DE50-B07B-4776-BEAC-0F779D92A13E}" dt="2023-07-31T13:06:04.046" v="28774" actId="1076"/>
          <ac:spMkLst>
            <pc:docMk/>
            <pc:sldMk cId="869705999" sldId="2147479559"/>
            <ac:spMk id="134" creationId="{C6FDF5D4-D6D4-4019-BB78-6C1A16E94160}"/>
          </ac:spMkLst>
        </pc:spChg>
        <pc:spChg chg="mod replST delST">
          <ac:chgData name="Mick Mooney" userId="e6518e4e-af4a-4bea-b39c-20489a1e5519" providerId="ADAL" clId="{3014DE50-B07B-4776-BEAC-0F779D92A13E}" dt="2023-07-31T13:06:09.179" v="28777" actId="1076"/>
          <ac:spMkLst>
            <pc:docMk/>
            <pc:sldMk cId="869705999" sldId="2147479559"/>
            <ac:spMk id="135" creationId="{4392058A-7785-4989-87C3-FF33A7345CFC}"/>
          </ac:spMkLst>
        </pc:spChg>
        <pc:spChg chg="mod replST delST">
          <ac:chgData name="Mick Mooney" userId="e6518e4e-af4a-4bea-b39c-20489a1e5519" providerId="ADAL" clId="{3014DE50-B07B-4776-BEAC-0F779D92A13E}" dt="2023-07-31T13:06:13.545" v="28782" actId="1076"/>
          <ac:spMkLst>
            <pc:docMk/>
            <pc:sldMk cId="869705999" sldId="2147479559"/>
            <ac:spMk id="136" creationId="{3C49F8C8-C246-4AE4-88F0-DC1C052602D0}"/>
          </ac:spMkLst>
        </pc:spChg>
        <pc:spChg chg="mod replST delST">
          <ac:chgData name="Mick Mooney" userId="e6518e4e-af4a-4bea-b39c-20489a1e5519" providerId="ADAL" clId="{3014DE50-B07B-4776-BEAC-0F779D92A13E}" dt="2023-07-31T13:06:16.463" v="28785" actId="14100"/>
          <ac:spMkLst>
            <pc:docMk/>
            <pc:sldMk cId="869705999" sldId="2147479559"/>
            <ac:spMk id="137" creationId="{B51CC133-C72C-40AC-8D37-B7AA95129E52}"/>
          </ac:spMkLst>
        </pc:spChg>
        <pc:spChg chg="mod">
          <ac:chgData name="Mick Mooney" userId="e6518e4e-af4a-4bea-b39c-20489a1e5519" providerId="ADAL" clId="{3014DE50-B07B-4776-BEAC-0F779D92A13E}" dt="2023-07-31T09:48:52.570" v="23325" actId="2711"/>
          <ac:spMkLst>
            <pc:docMk/>
            <pc:sldMk cId="869705999" sldId="2147479559"/>
            <ac:spMk id="191" creationId="{A60E4E8F-C185-43CB-B46D-D2A389AC55FF}"/>
          </ac:spMkLst>
        </pc:spChg>
        <pc:spChg chg="mod replST delST">
          <ac:chgData name="Mick Mooney" userId="e6518e4e-af4a-4bea-b39c-20489a1e5519" providerId="ADAL" clId="{3014DE50-B07B-4776-BEAC-0F779D92A13E}" dt="2023-07-31T09:48:52.570" v="23325" actId="2711"/>
          <ac:spMkLst>
            <pc:docMk/>
            <pc:sldMk cId="869705999" sldId="2147479559"/>
            <ac:spMk id="207" creationId="{6A5412A3-B550-407F-96AA-AD856BC718FB}"/>
          </ac:spMkLst>
        </pc:spChg>
        <pc:grpChg chg="mod">
          <ac:chgData name="Mick Mooney" userId="e6518e4e-af4a-4bea-b39c-20489a1e5519" providerId="ADAL" clId="{3014DE50-B07B-4776-BEAC-0F779D92A13E}" dt="2023-07-26T09:23:07.405" v="17372" actId="1076"/>
          <ac:grpSpMkLst>
            <pc:docMk/>
            <pc:sldMk cId="869705999" sldId="2147479559"/>
            <ac:grpSpMk id="40" creationId="{FD5EF340-1383-4440-9686-F960CE871F5D}"/>
          </ac:grpSpMkLst>
        </pc:grpChg>
        <pc:grpChg chg="mod">
          <ac:chgData name="Mick Mooney" userId="e6518e4e-af4a-4bea-b39c-20489a1e5519" providerId="ADAL" clId="{3014DE50-B07B-4776-BEAC-0F779D92A13E}" dt="2023-07-26T09:23:07.405" v="17372" actId="1076"/>
          <ac:grpSpMkLst>
            <pc:docMk/>
            <pc:sldMk cId="869705999" sldId="2147479559"/>
            <ac:grpSpMk id="53" creationId="{A9555641-9511-4C94-BEA0-A5E4EC6CF8DF}"/>
          </ac:grpSpMkLst>
        </pc:grpChg>
        <pc:grpChg chg="mod">
          <ac:chgData name="Mick Mooney" userId="e6518e4e-af4a-4bea-b39c-20489a1e5519" providerId="ADAL" clId="{3014DE50-B07B-4776-BEAC-0F779D92A13E}" dt="2023-07-26T09:23:07.405" v="17372" actId="1076"/>
          <ac:grpSpMkLst>
            <pc:docMk/>
            <pc:sldMk cId="869705999" sldId="2147479559"/>
            <ac:grpSpMk id="65" creationId="{D01CDE07-1898-44E5-8C42-A599E8E39C5E}"/>
          </ac:grpSpMkLst>
        </pc:grpChg>
        <pc:grpChg chg="mod">
          <ac:chgData name="Mick Mooney" userId="e6518e4e-af4a-4bea-b39c-20489a1e5519" providerId="ADAL" clId="{3014DE50-B07B-4776-BEAC-0F779D92A13E}" dt="2023-07-26T09:23:07.405" v="17372" actId="1076"/>
          <ac:grpSpMkLst>
            <pc:docMk/>
            <pc:sldMk cId="869705999" sldId="2147479559"/>
            <ac:grpSpMk id="83" creationId="{1D464E95-87AE-484D-AEAF-CA4FE8F505C3}"/>
          </ac:grpSpMkLst>
        </pc:grpChg>
        <pc:grpChg chg="mod">
          <ac:chgData name="Mick Mooney" userId="e6518e4e-af4a-4bea-b39c-20489a1e5519" providerId="ADAL" clId="{3014DE50-B07B-4776-BEAC-0F779D92A13E}" dt="2023-07-26T09:23:07.405" v="17372" actId="1076"/>
          <ac:grpSpMkLst>
            <pc:docMk/>
            <pc:sldMk cId="869705999" sldId="2147479559"/>
            <ac:grpSpMk id="99" creationId="{D58700D8-2A18-4A77-8FD1-DDFD1ACA1F6D}"/>
          </ac:grpSpMkLst>
        </pc:grpChg>
        <pc:grpChg chg="mod">
          <ac:chgData name="Mick Mooney" userId="e6518e4e-af4a-4bea-b39c-20489a1e5519" providerId="ADAL" clId="{3014DE50-B07B-4776-BEAC-0F779D92A13E}" dt="2023-07-26T09:23:07.405" v="17372" actId="1076"/>
          <ac:grpSpMkLst>
            <pc:docMk/>
            <pc:sldMk cId="869705999" sldId="2147479559"/>
            <ac:grpSpMk id="117" creationId="{78019E90-AAC4-4702-BF30-5AB8110AA8B8}"/>
          </ac:grpSpMkLst>
        </pc:grpChg>
        <pc:picChg chg="del">
          <ac:chgData name="Mick Mooney" userId="e6518e4e-af4a-4bea-b39c-20489a1e5519" providerId="ADAL" clId="{3014DE50-B07B-4776-BEAC-0F779D92A13E}" dt="2023-07-25T16:08:58.760" v="13747" actId="478"/>
          <ac:picMkLst>
            <pc:docMk/>
            <pc:sldMk cId="869705999" sldId="2147479559"/>
            <ac:picMk id="139" creationId="{5ABB8A5B-5525-4B05-91C4-5E84E050915C}"/>
          </ac:picMkLst>
        </pc:picChg>
      </pc:sldChg>
      <pc:sldChg chg="modSp mod">
        <pc:chgData name="Mick Mooney" userId="e6518e4e-af4a-4bea-b39c-20489a1e5519" providerId="ADAL" clId="{3014DE50-B07B-4776-BEAC-0F779D92A13E}" dt="2023-07-31T13:12:48.579" v="29070" actId="2711"/>
        <pc:sldMkLst>
          <pc:docMk/>
          <pc:sldMk cId="1224251522" sldId="2147479563"/>
        </pc:sldMkLst>
        <pc:spChg chg="mod">
          <ac:chgData name="Mick Mooney" userId="e6518e4e-af4a-4bea-b39c-20489a1e5519" providerId="ADAL" clId="{3014DE50-B07B-4776-BEAC-0F779D92A13E}" dt="2023-07-31T13:12:48.579" v="29070" actId="2711"/>
          <ac:spMkLst>
            <pc:docMk/>
            <pc:sldMk cId="1224251522" sldId="2147479563"/>
            <ac:spMk id="2" creationId="{51D2C762-5A0B-48A9-BC9F-55AC7C592728}"/>
          </ac:spMkLst>
        </pc:spChg>
        <pc:spChg chg="mod replST delST">
          <ac:chgData name="Mick Mooney" userId="e6518e4e-af4a-4bea-b39c-20489a1e5519" providerId="ADAL" clId="{3014DE50-B07B-4776-BEAC-0F779D92A13E}" dt="2023-07-31T13:12:48.579" v="29070" actId="2711"/>
          <ac:spMkLst>
            <pc:docMk/>
            <pc:sldMk cId="1224251522" sldId="2147479563"/>
            <ac:spMk id="8" creationId="{7824D54C-15D2-467C-A016-166944D0781C}"/>
          </ac:spMkLst>
        </pc:spChg>
        <pc:spChg chg="mod">
          <ac:chgData name="Mick Mooney" userId="e6518e4e-af4a-4bea-b39c-20489a1e5519" providerId="ADAL" clId="{3014DE50-B07B-4776-BEAC-0F779D92A13E}" dt="2023-07-31T13:12:48.579" v="29070" actId="2711"/>
          <ac:spMkLst>
            <pc:docMk/>
            <pc:sldMk cId="1224251522" sldId="2147479563"/>
            <ac:spMk id="42" creationId="{F03EB910-712A-4D82-980E-C34D5F5B8E18}"/>
          </ac:spMkLst>
        </pc:spChg>
        <pc:grpChg chg="mod">
          <ac:chgData name="Mick Mooney" userId="e6518e4e-af4a-4bea-b39c-20489a1e5519" providerId="ADAL" clId="{3014DE50-B07B-4776-BEAC-0F779D92A13E}" dt="2023-07-31T13:12:48.579" v="29070" actId="2711"/>
          <ac:grpSpMkLst>
            <pc:docMk/>
            <pc:sldMk cId="1224251522" sldId="2147479563"/>
            <ac:grpSpMk id="3" creationId="{E968DFF2-ACB2-4A53-9A6F-14B497B7F726}"/>
          </ac:grpSpMkLst>
        </pc:grpChg>
        <pc:grpChg chg="mod">
          <ac:chgData name="Mick Mooney" userId="e6518e4e-af4a-4bea-b39c-20489a1e5519" providerId="ADAL" clId="{3014DE50-B07B-4776-BEAC-0F779D92A13E}" dt="2023-07-31T13:12:48.579" v="29070" actId="2711"/>
          <ac:grpSpMkLst>
            <pc:docMk/>
            <pc:sldMk cId="1224251522" sldId="2147479563"/>
            <ac:grpSpMk id="86" creationId="{26352A1F-9830-46FA-90C6-34058BFE186F}"/>
          </ac:grpSpMkLst>
        </pc:grpChg>
        <pc:grpChg chg="mod">
          <ac:chgData name="Mick Mooney" userId="e6518e4e-af4a-4bea-b39c-20489a1e5519" providerId="ADAL" clId="{3014DE50-B07B-4776-BEAC-0F779D92A13E}" dt="2023-07-31T13:12:48.579" v="29070" actId="2711"/>
          <ac:grpSpMkLst>
            <pc:docMk/>
            <pc:sldMk cId="1224251522" sldId="2147479563"/>
            <ac:grpSpMk id="89" creationId="{215B06D9-5CAF-4704-8B10-F713DD105A81}"/>
          </ac:grpSpMkLst>
        </pc:grpChg>
        <pc:grpChg chg="mod">
          <ac:chgData name="Mick Mooney" userId="e6518e4e-af4a-4bea-b39c-20489a1e5519" providerId="ADAL" clId="{3014DE50-B07B-4776-BEAC-0F779D92A13E}" dt="2023-07-31T13:12:48.579" v="29070" actId="2711"/>
          <ac:grpSpMkLst>
            <pc:docMk/>
            <pc:sldMk cId="1224251522" sldId="2147479563"/>
            <ac:grpSpMk id="92" creationId="{3C4FFF0E-1886-43FB-95DB-42AAEB3961C9}"/>
          </ac:grpSpMkLst>
        </pc:grpChg>
        <pc:grpChg chg="mod">
          <ac:chgData name="Mick Mooney" userId="e6518e4e-af4a-4bea-b39c-20489a1e5519" providerId="ADAL" clId="{3014DE50-B07B-4776-BEAC-0F779D92A13E}" dt="2023-07-31T13:12:48.579" v="29070" actId="2711"/>
          <ac:grpSpMkLst>
            <pc:docMk/>
            <pc:sldMk cId="1224251522" sldId="2147479563"/>
            <ac:grpSpMk id="95" creationId="{C07E5554-CCDD-4299-9C35-5327E71CFDD3}"/>
          </ac:grpSpMkLst>
        </pc:grpChg>
        <pc:grpChg chg="mod">
          <ac:chgData name="Mick Mooney" userId="e6518e4e-af4a-4bea-b39c-20489a1e5519" providerId="ADAL" clId="{3014DE50-B07B-4776-BEAC-0F779D92A13E}" dt="2023-07-31T13:12:48.579" v="29070" actId="2711"/>
          <ac:grpSpMkLst>
            <pc:docMk/>
            <pc:sldMk cId="1224251522" sldId="2147479563"/>
            <ac:grpSpMk id="98" creationId="{8077ADD8-DDA4-4C59-A2D9-54CBBB416335}"/>
          </ac:grpSpMkLst>
        </pc:grpChg>
        <pc:grpChg chg="mod">
          <ac:chgData name="Mick Mooney" userId="e6518e4e-af4a-4bea-b39c-20489a1e5519" providerId="ADAL" clId="{3014DE50-B07B-4776-BEAC-0F779D92A13E}" dt="2023-07-31T13:12:48.579" v="29070" actId="2711"/>
          <ac:grpSpMkLst>
            <pc:docMk/>
            <pc:sldMk cId="1224251522" sldId="2147479563"/>
            <ac:grpSpMk id="101" creationId="{8D7BFD3D-EED3-48A6-9873-57B46275397C}"/>
          </ac:grpSpMkLst>
        </pc:grpChg>
        <pc:grpChg chg="mod">
          <ac:chgData name="Mick Mooney" userId="e6518e4e-af4a-4bea-b39c-20489a1e5519" providerId="ADAL" clId="{3014DE50-B07B-4776-BEAC-0F779D92A13E}" dt="2023-07-31T13:12:48.579" v="29070" actId="2711"/>
          <ac:grpSpMkLst>
            <pc:docMk/>
            <pc:sldMk cId="1224251522" sldId="2147479563"/>
            <ac:grpSpMk id="104" creationId="{92236326-7CA9-4ED0-BE64-FBD29919F735}"/>
          </ac:grpSpMkLst>
        </pc:grpChg>
        <pc:grpChg chg="mod">
          <ac:chgData name="Mick Mooney" userId="e6518e4e-af4a-4bea-b39c-20489a1e5519" providerId="ADAL" clId="{3014DE50-B07B-4776-BEAC-0F779D92A13E}" dt="2023-07-31T13:12:48.579" v="29070" actId="2711"/>
          <ac:grpSpMkLst>
            <pc:docMk/>
            <pc:sldMk cId="1224251522" sldId="2147479563"/>
            <ac:grpSpMk id="110" creationId="{AF5B9EF0-A5CE-4E35-97B1-1224097D13A1}"/>
          </ac:grpSpMkLst>
        </pc:grpChg>
        <pc:picChg chg="mod">
          <ac:chgData name="Mick Mooney" userId="e6518e4e-af4a-4bea-b39c-20489a1e5519" providerId="ADAL" clId="{3014DE50-B07B-4776-BEAC-0F779D92A13E}" dt="2023-07-31T13:12:48.579" v="29070" actId="2711"/>
          <ac:picMkLst>
            <pc:docMk/>
            <pc:sldMk cId="1224251522" sldId="2147479563"/>
            <ac:picMk id="111" creationId="{28C244F5-FD94-40DC-A706-E634CEAF43C3}"/>
          </ac:picMkLst>
        </pc:picChg>
        <pc:picChg chg="mod">
          <ac:chgData name="Mick Mooney" userId="e6518e4e-af4a-4bea-b39c-20489a1e5519" providerId="ADAL" clId="{3014DE50-B07B-4776-BEAC-0F779D92A13E}" dt="2023-07-31T13:12:48.579" v="29070" actId="2711"/>
          <ac:picMkLst>
            <pc:docMk/>
            <pc:sldMk cId="1224251522" sldId="2147479563"/>
            <ac:picMk id="119" creationId="{20200937-FEE2-43FA-814D-F5DAFE0F61E7}"/>
          </ac:picMkLst>
        </pc:picChg>
      </pc:sldChg>
      <pc:sldChg chg="modSp mod">
        <pc:chgData name="Mick Mooney" userId="e6518e4e-af4a-4bea-b39c-20489a1e5519" providerId="ADAL" clId="{3014DE50-B07B-4776-BEAC-0F779D92A13E}" dt="2023-07-31T13:11:53.330" v="29060" actId="2711"/>
        <pc:sldMkLst>
          <pc:docMk/>
          <pc:sldMk cId="2042349048" sldId="2147479564"/>
        </pc:sldMkLst>
        <pc:spChg chg="mod replST delST">
          <ac:chgData name="Mick Mooney" userId="e6518e4e-af4a-4bea-b39c-20489a1e5519" providerId="ADAL" clId="{3014DE50-B07B-4776-BEAC-0F779D92A13E}" dt="2023-07-31T13:11:53.330" v="29060" actId="2711"/>
          <ac:spMkLst>
            <pc:docMk/>
            <pc:sldMk cId="2042349048" sldId="2147479564"/>
            <ac:spMk id="8" creationId="{7824D54C-15D2-467C-A016-166944D0781C}"/>
          </ac:spMkLst>
        </pc:spChg>
        <pc:spChg chg="mod replST delST">
          <ac:chgData name="Mick Mooney" userId="e6518e4e-af4a-4bea-b39c-20489a1e5519" providerId="ADAL" clId="{3014DE50-B07B-4776-BEAC-0F779D92A13E}" dt="2023-07-31T13:11:53.330" v="29060" actId="2711"/>
          <ac:spMkLst>
            <pc:docMk/>
            <pc:sldMk cId="2042349048" sldId="2147479564"/>
            <ac:spMk id="9" creationId="{239F2B45-0ACC-423D-B497-F4FF2974EB21}"/>
          </ac:spMkLst>
        </pc:spChg>
        <pc:spChg chg="mod replST delST">
          <ac:chgData name="Mick Mooney" userId="e6518e4e-af4a-4bea-b39c-20489a1e5519" providerId="ADAL" clId="{3014DE50-B07B-4776-BEAC-0F779D92A13E}" dt="2023-07-31T13:11:53.330" v="29060" actId="2711"/>
          <ac:spMkLst>
            <pc:docMk/>
            <pc:sldMk cId="2042349048" sldId="2147479564"/>
            <ac:spMk id="10" creationId="{A9EDA381-ECB6-4D2A-AA02-437545DB7196}"/>
          </ac:spMkLst>
        </pc:spChg>
        <pc:picChg chg="mod">
          <ac:chgData name="Mick Mooney" userId="e6518e4e-af4a-4bea-b39c-20489a1e5519" providerId="ADAL" clId="{3014DE50-B07B-4776-BEAC-0F779D92A13E}" dt="2023-07-31T13:11:53.330" v="29060" actId="2711"/>
          <ac:picMkLst>
            <pc:docMk/>
            <pc:sldMk cId="2042349048" sldId="2147479564"/>
            <ac:picMk id="111" creationId="{28C244F5-FD94-40DC-A706-E634CEAF43C3}"/>
          </ac:picMkLst>
        </pc:picChg>
      </pc:sldChg>
      <pc:sldChg chg="addSp delSp modSp mod addCm delCm">
        <pc:chgData name="Mick Mooney" userId="e6518e4e-af4a-4bea-b39c-20489a1e5519" providerId="ADAL" clId="{3014DE50-B07B-4776-BEAC-0F779D92A13E}" dt="2023-07-31T13:22:25.504" v="29652" actId="1076"/>
        <pc:sldMkLst>
          <pc:docMk/>
          <pc:sldMk cId="2959984300" sldId="2147479565"/>
        </pc:sldMkLst>
        <pc:spChg chg="del">
          <ac:chgData name="Mick Mooney" userId="e6518e4e-af4a-4bea-b39c-20489a1e5519" providerId="ADAL" clId="{3014DE50-B07B-4776-BEAC-0F779D92A13E}" dt="2023-07-22T11:33:48.043" v="3202" actId="478"/>
          <ac:spMkLst>
            <pc:docMk/>
            <pc:sldMk cId="2959984300" sldId="2147479565"/>
            <ac:spMk id="2" creationId="{0D4997D1-7765-48AA-924C-D6412FA7BCF3}"/>
          </ac:spMkLst>
        </pc:spChg>
        <pc:spChg chg="add mod replST delST">
          <ac:chgData name="Mick Mooney" userId="e6518e4e-af4a-4bea-b39c-20489a1e5519" providerId="ADAL" clId="{3014DE50-B07B-4776-BEAC-0F779D92A13E}" dt="2023-07-31T13:22:25.504" v="29652" actId="1076"/>
          <ac:spMkLst>
            <pc:docMk/>
            <pc:sldMk cId="2959984300" sldId="2147479565"/>
            <ac:spMk id="2" creationId="{F823B4A3-1062-1D45-9338-684324AFDE4A}"/>
          </ac:spMkLst>
        </pc:spChg>
        <pc:spChg chg="add mod replST delST">
          <ac:chgData name="Mick Mooney" userId="e6518e4e-af4a-4bea-b39c-20489a1e5519" providerId="ADAL" clId="{3014DE50-B07B-4776-BEAC-0F779D92A13E}" dt="2023-07-31T09:48:21.381" v="23322" actId="2711"/>
          <ac:spMkLst>
            <pc:docMk/>
            <pc:sldMk cId="2959984300" sldId="2147479565"/>
            <ac:spMk id="5" creationId="{028A3550-D135-CCB6-04AC-CF80B93B0621}"/>
          </ac:spMkLst>
        </pc:spChg>
        <pc:spChg chg="mod replST delST">
          <ac:chgData name="Mick Mooney" userId="e6518e4e-af4a-4bea-b39c-20489a1e5519" providerId="ADAL" clId="{3014DE50-B07B-4776-BEAC-0F779D92A13E}" dt="2023-07-31T09:48:21.381" v="23322" actId="2711"/>
          <ac:spMkLst>
            <pc:docMk/>
            <pc:sldMk cId="2959984300" sldId="2147479565"/>
            <ac:spMk id="8" creationId="{7824D54C-15D2-467C-A016-166944D0781C}"/>
          </ac:spMkLst>
        </pc:spChg>
        <pc:spChg chg="del">
          <ac:chgData name="Mick Mooney" userId="e6518e4e-af4a-4bea-b39c-20489a1e5519" providerId="ADAL" clId="{3014DE50-B07B-4776-BEAC-0F779D92A13E}" dt="2023-07-22T11:33:48.043" v="3202" actId="478"/>
          <ac:spMkLst>
            <pc:docMk/>
            <pc:sldMk cId="2959984300" sldId="2147479565"/>
            <ac:spMk id="15" creationId="{38F5E1B3-DD85-45D2-A9CB-9203B84D1955}"/>
          </ac:spMkLst>
        </pc:spChg>
        <pc:spChg chg="del">
          <ac:chgData name="Mick Mooney" userId="e6518e4e-af4a-4bea-b39c-20489a1e5519" providerId="ADAL" clId="{3014DE50-B07B-4776-BEAC-0F779D92A13E}" dt="2023-07-22T11:33:48.043" v="3202" actId="478"/>
          <ac:spMkLst>
            <pc:docMk/>
            <pc:sldMk cId="2959984300" sldId="2147479565"/>
            <ac:spMk id="60" creationId="{5FD4F996-4703-4807-A196-8EBEFF0E4D0C}"/>
          </ac:spMkLst>
        </pc:spChg>
        <pc:spChg chg="del">
          <ac:chgData name="Mick Mooney" userId="e6518e4e-af4a-4bea-b39c-20489a1e5519" providerId="ADAL" clId="{3014DE50-B07B-4776-BEAC-0F779D92A13E}" dt="2023-07-22T11:33:48.043" v="3202" actId="478"/>
          <ac:spMkLst>
            <pc:docMk/>
            <pc:sldMk cId="2959984300" sldId="2147479565"/>
            <ac:spMk id="61" creationId="{EDB73CF0-76C8-46A5-9C74-DEB0D40A6862}"/>
          </ac:spMkLst>
        </pc:spChg>
        <pc:spChg chg="del">
          <ac:chgData name="Mick Mooney" userId="e6518e4e-af4a-4bea-b39c-20489a1e5519" providerId="ADAL" clId="{3014DE50-B07B-4776-BEAC-0F779D92A13E}" dt="2023-07-22T11:33:48.043" v="3202" actId="478"/>
          <ac:spMkLst>
            <pc:docMk/>
            <pc:sldMk cId="2959984300" sldId="2147479565"/>
            <ac:spMk id="62" creationId="{9FD7B515-9120-4FE1-8FBD-FD06C848CBD3}"/>
          </ac:spMkLst>
        </pc:spChg>
        <pc:spChg chg="del">
          <ac:chgData name="Mick Mooney" userId="e6518e4e-af4a-4bea-b39c-20489a1e5519" providerId="ADAL" clId="{3014DE50-B07B-4776-BEAC-0F779D92A13E}" dt="2023-07-22T11:33:48.043" v="3202" actId="478"/>
          <ac:spMkLst>
            <pc:docMk/>
            <pc:sldMk cId="2959984300" sldId="2147479565"/>
            <ac:spMk id="63" creationId="{003679B0-78D6-4A30-B9A8-E729D83ECDDE}"/>
          </ac:spMkLst>
        </pc:spChg>
        <pc:spChg chg="del">
          <ac:chgData name="Mick Mooney" userId="e6518e4e-af4a-4bea-b39c-20489a1e5519" providerId="ADAL" clId="{3014DE50-B07B-4776-BEAC-0F779D92A13E}" dt="2023-07-22T11:33:48.043" v="3202" actId="478"/>
          <ac:spMkLst>
            <pc:docMk/>
            <pc:sldMk cId="2959984300" sldId="2147479565"/>
            <ac:spMk id="64" creationId="{86C52E4F-D068-4CAE-A8C2-EB5B3530F5B9}"/>
          </ac:spMkLst>
        </pc:spChg>
        <pc:spChg chg="del">
          <ac:chgData name="Mick Mooney" userId="e6518e4e-af4a-4bea-b39c-20489a1e5519" providerId="ADAL" clId="{3014DE50-B07B-4776-BEAC-0F779D92A13E}" dt="2023-07-22T11:33:48.043" v="3202" actId="478"/>
          <ac:spMkLst>
            <pc:docMk/>
            <pc:sldMk cId="2959984300" sldId="2147479565"/>
            <ac:spMk id="65" creationId="{B8BE428C-8AE7-49FC-9BA6-AE88B8D3E047}"/>
          </ac:spMkLst>
        </pc:spChg>
        <pc:spChg chg="del">
          <ac:chgData name="Mick Mooney" userId="e6518e4e-af4a-4bea-b39c-20489a1e5519" providerId="ADAL" clId="{3014DE50-B07B-4776-BEAC-0F779D92A13E}" dt="2023-07-22T11:33:48.043" v="3202" actId="478"/>
          <ac:spMkLst>
            <pc:docMk/>
            <pc:sldMk cId="2959984300" sldId="2147479565"/>
            <ac:spMk id="66" creationId="{F3F742D9-31EA-4812-A9F9-B29EDD285C41}"/>
          </ac:spMkLst>
        </pc:spChg>
        <pc:spChg chg="del">
          <ac:chgData name="Mick Mooney" userId="e6518e4e-af4a-4bea-b39c-20489a1e5519" providerId="ADAL" clId="{3014DE50-B07B-4776-BEAC-0F779D92A13E}" dt="2023-07-22T11:33:48.043" v="3202" actId="478"/>
          <ac:spMkLst>
            <pc:docMk/>
            <pc:sldMk cId="2959984300" sldId="2147479565"/>
            <ac:spMk id="67" creationId="{59E59BA5-80D7-44D7-92F5-BEAB931D9B2A}"/>
          </ac:spMkLst>
        </pc:spChg>
        <pc:spChg chg="del">
          <ac:chgData name="Mick Mooney" userId="e6518e4e-af4a-4bea-b39c-20489a1e5519" providerId="ADAL" clId="{3014DE50-B07B-4776-BEAC-0F779D92A13E}" dt="2023-07-22T11:33:48.043" v="3202" actId="478"/>
          <ac:spMkLst>
            <pc:docMk/>
            <pc:sldMk cId="2959984300" sldId="2147479565"/>
            <ac:spMk id="75" creationId="{EE3B33AF-CA93-425A-9AB8-62D698B412C9}"/>
          </ac:spMkLst>
        </pc:spChg>
        <pc:spChg chg="del">
          <ac:chgData name="Mick Mooney" userId="e6518e4e-af4a-4bea-b39c-20489a1e5519" providerId="ADAL" clId="{3014DE50-B07B-4776-BEAC-0F779D92A13E}" dt="2023-07-22T11:33:48.043" v="3202" actId="478"/>
          <ac:spMkLst>
            <pc:docMk/>
            <pc:sldMk cId="2959984300" sldId="2147479565"/>
            <ac:spMk id="77" creationId="{8CD2B851-E12A-40D3-81C4-81685BDB50D2}"/>
          </ac:spMkLst>
        </pc:spChg>
        <pc:spChg chg="del">
          <ac:chgData name="Mick Mooney" userId="e6518e4e-af4a-4bea-b39c-20489a1e5519" providerId="ADAL" clId="{3014DE50-B07B-4776-BEAC-0F779D92A13E}" dt="2023-07-22T11:33:48.043" v="3202" actId="478"/>
          <ac:spMkLst>
            <pc:docMk/>
            <pc:sldMk cId="2959984300" sldId="2147479565"/>
            <ac:spMk id="82" creationId="{857976EF-AB3E-4B76-A483-6AC2CFD736FA}"/>
          </ac:spMkLst>
        </pc:spChg>
        <pc:spChg chg="del">
          <ac:chgData name="Mick Mooney" userId="e6518e4e-af4a-4bea-b39c-20489a1e5519" providerId="ADAL" clId="{3014DE50-B07B-4776-BEAC-0F779D92A13E}" dt="2023-07-22T11:33:48.043" v="3202" actId="478"/>
          <ac:spMkLst>
            <pc:docMk/>
            <pc:sldMk cId="2959984300" sldId="2147479565"/>
            <ac:spMk id="83" creationId="{B24CAAA0-182B-4AFB-AB85-B40272070A7F}"/>
          </ac:spMkLst>
        </pc:spChg>
        <pc:spChg chg="del">
          <ac:chgData name="Mick Mooney" userId="e6518e4e-af4a-4bea-b39c-20489a1e5519" providerId="ADAL" clId="{3014DE50-B07B-4776-BEAC-0F779D92A13E}" dt="2023-07-22T11:33:48.043" v="3202" actId="478"/>
          <ac:spMkLst>
            <pc:docMk/>
            <pc:sldMk cId="2959984300" sldId="2147479565"/>
            <ac:spMk id="84" creationId="{094A912F-3988-493B-9CFE-4A527FF2B477}"/>
          </ac:spMkLst>
        </pc:spChg>
        <pc:spChg chg="del">
          <ac:chgData name="Mick Mooney" userId="e6518e4e-af4a-4bea-b39c-20489a1e5519" providerId="ADAL" clId="{3014DE50-B07B-4776-BEAC-0F779D92A13E}" dt="2023-07-22T11:33:48.043" v="3202" actId="478"/>
          <ac:spMkLst>
            <pc:docMk/>
            <pc:sldMk cId="2959984300" sldId="2147479565"/>
            <ac:spMk id="85" creationId="{B95A80EE-9582-4EA3-B099-0224DDA9650D}"/>
          </ac:spMkLst>
        </pc:spChg>
        <pc:spChg chg="del">
          <ac:chgData name="Mick Mooney" userId="e6518e4e-af4a-4bea-b39c-20489a1e5519" providerId="ADAL" clId="{3014DE50-B07B-4776-BEAC-0F779D92A13E}" dt="2023-07-22T11:33:48.043" v="3202" actId="478"/>
          <ac:spMkLst>
            <pc:docMk/>
            <pc:sldMk cId="2959984300" sldId="2147479565"/>
            <ac:spMk id="86" creationId="{D965D798-928F-476C-A47C-0A84BF4C44FC}"/>
          </ac:spMkLst>
        </pc:spChg>
        <pc:spChg chg="del">
          <ac:chgData name="Mick Mooney" userId="e6518e4e-af4a-4bea-b39c-20489a1e5519" providerId="ADAL" clId="{3014DE50-B07B-4776-BEAC-0F779D92A13E}" dt="2023-07-22T11:33:48.043" v="3202" actId="478"/>
          <ac:spMkLst>
            <pc:docMk/>
            <pc:sldMk cId="2959984300" sldId="2147479565"/>
            <ac:spMk id="88" creationId="{3857E352-AB34-4911-9D69-FFC304B6BFE9}"/>
          </ac:spMkLst>
        </pc:spChg>
        <pc:spChg chg="del">
          <ac:chgData name="Mick Mooney" userId="e6518e4e-af4a-4bea-b39c-20489a1e5519" providerId="ADAL" clId="{3014DE50-B07B-4776-BEAC-0F779D92A13E}" dt="2023-07-22T11:33:48.043" v="3202" actId="478"/>
          <ac:spMkLst>
            <pc:docMk/>
            <pc:sldMk cId="2959984300" sldId="2147479565"/>
            <ac:spMk id="90" creationId="{F5FC7FBE-957D-4346-A0FB-8F87229435F5}"/>
          </ac:spMkLst>
        </pc:spChg>
        <pc:spChg chg="del">
          <ac:chgData name="Mick Mooney" userId="e6518e4e-af4a-4bea-b39c-20489a1e5519" providerId="ADAL" clId="{3014DE50-B07B-4776-BEAC-0F779D92A13E}" dt="2023-07-22T11:33:48.043" v="3202" actId="478"/>
          <ac:spMkLst>
            <pc:docMk/>
            <pc:sldMk cId="2959984300" sldId="2147479565"/>
            <ac:spMk id="91" creationId="{B6E9A45A-AFFA-4D5F-A356-8F1E9A376A91}"/>
          </ac:spMkLst>
        </pc:spChg>
        <pc:spChg chg="del replST delST">
          <ac:chgData name="Mick Mooney" userId="e6518e4e-af4a-4bea-b39c-20489a1e5519" providerId="ADAL" clId="{3014DE50-B07B-4776-BEAC-0F779D92A13E}" dt="2023-07-22T11:33:48.043" v="3202" actId="478"/>
          <ac:spMkLst>
            <pc:docMk/>
            <pc:sldMk cId="2959984300" sldId="2147479565"/>
            <ac:spMk id="92" creationId="{28B8F3E6-1F4F-4601-811E-A8976D0E3205}"/>
          </ac:spMkLst>
        </pc:spChg>
        <pc:spChg chg="del">
          <ac:chgData name="Mick Mooney" userId="e6518e4e-af4a-4bea-b39c-20489a1e5519" providerId="ADAL" clId="{3014DE50-B07B-4776-BEAC-0F779D92A13E}" dt="2023-07-22T11:33:48.043" v="3202" actId="478"/>
          <ac:spMkLst>
            <pc:docMk/>
            <pc:sldMk cId="2959984300" sldId="2147479565"/>
            <ac:spMk id="93" creationId="{6242D831-100C-4C6A-8F9F-036B76FF1D3C}"/>
          </ac:spMkLst>
        </pc:spChg>
        <pc:spChg chg="del">
          <ac:chgData name="Mick Mooney" userId="e6518e4e-af4a-4bea-b39c-20489a1e5519" providerId="ADAL" clId="{3014DE50-B07B-4776-BEAC-0F779D92A13E}" dt="2023-07-22T11:33:48.043" v="3202" actId="478"/>
          <ac:spMkLst>
            <pc:docMk/>
            <pc:sldMk cId="2959984300" sldId="2147479565"/>
            <ac:spMk id="94" creationId="{3358724F-B3F0-41E2-8FF6-2D5283516B42}"/>
          </ac:spMkLst>
        </pc:spChg>
        <pc:spChg chg="del replST delST">
          <ac:chgData name="Mick Mooney" userId="e6518e4e-af4a-4bea-b39c-20489a1e5519" providerId="ADAL" clId="{3014DE50-B07B-4776-BEAC-0F779D92A13E}" dt="2023-07-22T11:33:48.043" v="3202" actId="478"/>
          <ac:spMkLst>
            <pc:docMk/>
            <pc:sldMk cId="2959984300" sldId="2147479565"/>
            <ac:spMk id="96" creationId="{AC9CD18C-9FED-4E75-97ED-E3FA886A6051}"/>
          </ac:spMkLst>
        </pc:spChg>
        <pc:spChg chg="del">
          <ac:chgData name="Mick Mooney" userId="e6518e4e-af4a-4bea-b39c-20489a1e5519" providerId="ADAL" clId="{3014DE50-B07B-4776-BEAC-0F779D92A13E}" dt="2023-07-22T11:33:48.043" v="3202" actId="478"/>
          <ac:spMkLst>
            <pc:docMk/>
            <pc:sldMk cId="2959984300" sldId="2147479565"/>
            <ac:spMk id="97" creationId="{BA01E847-D613-46E2-B8A3-D411479FAAD2}"/>
          </ac:spMkLst>
        </pc:spChg>
        <pc:spChg chg="del replST delST">
          <ac:chgData name="Mick Mooney" userId="e6518e4e-af4a-4bea-b39c-20489a1e5519" providerId="ADAL" clId="{3014DE50-B07B-4776-BEAC-0F779D92A13E}" dt="2023-07-22T11:33:48.043" v="3202" actId="478"/>
          <ac:spMkLst>
            <pc:docMk/>
            <pc:sldMk cId="2959984300" sldId="2147479565"/>
            <ac:spMk id="98" creationId="{A095FA9D-8950-481B-A4E3-3DD237F5DAEC}"/>
          </ac:spMkLst>
        </pc:spChg>
        <pc:spChg chg="del">
          <ac:chgData name="Mick Mooney" userId="e6518e4e-af4a-4bea-b39c-20489a1e5519" providerId="ADAL" clId="{3014DE50-B07B-4776-BEAC-0F779D92A13E}" dt="2023-07-22T11:33:48.043" v="3202" actId="478"/>
          <ac:spMkLst>
            <pc:docMk/>
            <pc:sldMk cId="2959984300" sldId="2147479565"/>
            <ac:spMk id="105" creationId="{0CED134C-6575-4DCA-8DCE-C1561F52147F}"/>
          </ac:spMkLst>
        </pc:spChg>
        <pc:spChg chg="del replST delST">
          <ac:chgData name="Mick Mooney" userId="e6518e4e-af4a-4bea-b39c-20489a1e5519" providerId="ADAL" clId="{3014DE50-B07B-4776-BEAC-0F779D92A13E}" dt="2023-07-22T11:33:48.043" v="3202" actId="478"/>
          <ac:spMkLst>
            <pc:docMk/>
            <pc:sldMk cId="2959984300" sldId="2147479565"/>
            <ac:spMk id="106" creationId="{F8065D0F-A83E-4972-B609-81DA3F9F5DC2}"/>
          </ac:spMkLst>
        </pc:spChg>
        <pc:spChg chg="del">
          <ac:chgData name="Mick Mooney" userId="e6518e4e-af4a-4bea-b39c-20489a1e5519" providerId="ADAL" clId="{3014DE50-B07B-4776-BEAC-0F779D92A13E}" dt="2023-07-22T11:33:48.043" v="3202" actId="478"/>
          <ac:spMkLst>
            <pc:docMk/>
            <pc:sldMk cId="2959984300" sldId="2147479565"/>
            <ac:spMk id="107" creationId="{F09A7671-556C-48FB-BDD3-91F0E4A914EC}"/>
          </ac:spMkLst>
        </pc:spChg>
        <pc:spChg chg="del replST delST">
          <ac:chgData name="Mick Mooney" userId="e6518e4e-af4a-4bea-b39c-20489a1e5519" providerId="ADAL" clId="{3014DE50-B07B-4776-BEAC-0F779D92A13E}" dt="2023-07-22T11:33:48.043" v="3202" actId="478"/>
          <ac:spMkLst>
            <pc:docMk/>
            <pc:sldMk cId="2959984300" sldId="2147479565"/>
            <ac:spMk id="108" creationId="{13119B0A-23B2-4509-B567-CF853EE48676}"/>
          </ac:spMkLst>
        </pc:spChg>
        <pc:spChg chg="del">
          <ac:chgData name="Mick Mooney" userId="e6518e4e-af4a-4bea-b39c-20489a1e5519" providerId="ADAL" clId="{3014DE50-B07B-4776-BEAC-0F779D92A13E}" dt="2023-07-22T11:33:48.043" v="3202" actId="478"/>
          <ac:spMkLst>
            <pc:docMk/>
            <pc:sldMk cId="2959984300" sldId="2147479565"/>
            <ac:spMk id="110" creationId="{A7700A3E-BF72-48EF-9769-3AE84CDF1B40}"/>
          </ac:spMkLst>
        </pc:spChg>
        <pc:spChg chg="del">
          <ac:chgData name="Mick Mooney" userId="e6518e4e-af4a-4bea-b39c-20489a1e5519" providerId="ADAL" clId="{3014DE50-B07B-4776-BEAC-0F779D92A13E}" dt="2023-07-22T11:33:48.043" v="3202" actId="478"/>
          <ac:spMkLst>
            <pc:docMk/>
            <pc:sldMk cId="2959984300" sldId="2147479565"/>
            <ac:spMk id="112" creationId="{6B019F97-CBDD-4D7F-AC48-DF72E88D1B2A}"/>
          </ac:spMkLst>
        </pc:spChg>
        <pc:spChg chg="del">
          <ac:chgData name="Mick Mooney" userId="e6518e4e-af4a-4bea-b39c-20489a1e5519" providerId="ADAL" clId="{3014DE50-B07B-4776-BEAC-0F779D92A13E}" dt="2023-07-22T11:33:48.043" v="3202" actId="478"/>
          <ac:spMkLst>
            <pc:docMk/>
            <pc:sldMk cId="2959984300" sldId="2147479565"/>
            <ac:spMk id="115" creationId="{D76F56BD-F9A2-4E24-9AA5-FFE0C200B6E3}"/>
          </ac:spMkLst>
        </pc:spChg>
        <pc:spChg chg="del replST delST">
          <ac:chgData name="Mick Mooney" userId="e6518e4e-af4a-4bea-b39c-20489a1e5519" providerId="ADAL" clId="{3014DE50-B07B-4776-BEAC-0F779D92A13E}" dt="2023-07-22T11:33:48.043" v="3202" actId="478"/>
          <ac:spMkLst>
            <pc:docMk/>
            <pc:sldMk cId="2959984300" sldId="2147479565"/>
            <ac:spMk id="116" creationId="{F4321F32-9C7D-42D1-8F87-18195F7FA551}"/>
          </ac:spMkLst>
        </pc:spChg>
        <pc:spChg chg="del replST delST">
          <ac:chgData name="Mick Mooney" userId="e6518e4e-af4a-4bea-b39c-20489a1e5519" providerId="ADAL" clId="{3014DE50-B07B-4776-BEAC-0F779D92A13E}" dt="2023-07-22T11:33:48.043" v="3202" actId="478"/>
          <ac:spMkLst>
            <pc:docMk/>
            <pc:sldMk cId="2959984300" sldId="2147479565"/>
            <ac:spMk id="119" creationId="{D8AD85E2-55E3-4F56-816C-16FB42BB34C6}"/>
          </ac:spMkLst>
        </pc:spChg>
        <pc:spChg chg="del replST delST">
          <ac:chgData name="Mick Mooney" userId="e6518e4e-af4a-4bea-b39c-20489a1e5519" providerId="ADAL" clId="{3014DE50-B07B-4776-BEAC-0F779D92A13E}" dt="2023-07-22T11:33:48.043" v="3202" actId="478"/>
          <ac:spMkLst>
            <pc:docMk/>
            <pc:sldMk cId="2959984300" sldId="2147479565"/>
            <ac:spMk id="120" creationId="{DB6C45EC-B8F6-4A0A-B3BE-7450396303E7}"/>
          </ac:spMkLst>
        </pc:spChg>
        <pc:spChg chg="del">
          <ac:chgData name="Mick Mooney" userId="e6518e4e-af4a-4bea-b39c-20489a1e5519" providerId="ADAL" clId="{3014DE50-B07B-4776-BEAC-0F779D92A13E}" dt="2023-07-22T11:33:48.043" v="3202" actId="478"/>
          <ac:spMkLst>
            <pc:docMk/>
            <pc:sldMk cId="2959984300" sldId="2147479565"/>
            <ac:spMk id="121" creationId="{052E49FB-C0EB-4DBF-8E36-E2ED55BCCF23}"/>
          </ac:spMkLst>
        </pc:spChg>
        <pc:spChg chg="del replST delST">
          <ac:chgData name="Mick Mooney" userId="e6518e4e-af4a-4bea-b39c-20489a1e5519" providerId="ADAL" clId="{3014DE50-B07B-4776-BEAC-0F779D92A13E}" dt="2023-07-22T11:33:48.043" v="3202" actId="478"/>
          <ac:spMkLst>
            <pc:docMk/>
            <pc:sldMk cId="2959984300" sldId="2147479565"/>
            <ac:spMk id="122" creationId="{AA4EDDA0-50B4-4160-82E6-552BF2E12649}"/>
          </ac:spMkLst>
        </pc:spChg>
        <pc:spChg chg="del">
          <ac:chgData name="Mick Mooney" userId="e6518e4e-af4a-4bea-b39c-20489a1e5519" providerId="ADAL" clId="{3014DE50-B07B-4776-BEAC-0F779D92A13E}" dt="2023-07-22T11:33:48.043" v="3202" actId="478"/>
          <ac:spMkLst>
            <pc:docMk/>
            <pc:sldMk cId="2959984300" sldId="2147479565"/>
            <ac:spMk id="123" creationId="{0CE06CC6-8E78-4AFA-971D-550C384DE12E}"/>
          </ac:spMkLst>
        </pc:spChg>
        <pc:spChg chg="del replST delST">
          <ac:chgData name="Mick Mooney" userId="e6518e4e-af4a-4bea-b39c-20489a1e5519" providerId="ADAL" clId="{3014DE50-B07B-4776-BEAC-0F779D92A13E}" dt="2023-07-22T11:33:48.043" v="3202" actId="478"/>
          <ac:spMkLst>
            <pc:docMk/>
            <pc:sldMk cId="2959984300" sldId="2147479565"/>
            <ac:spMk id="125" creationId="{A7B673BE-94F1-43BF-BDE1-FFD65B92C5C5}"/>
          </ac:spMkLst>
        </pc:spChg>
        <pc:spChg chg="del">
          <ac:chgData name="Mick Mooney" userId="e6518e4e-af4a-4bea-b39c-20489a1e5519" providerId="ADAL" clId="{3014DE50-B07B-4776-BEAC-0F779D92A13E}" dt="2023-07-22T11:33:48.043" v="3202" actId="478"/>
          <ac:spMkLst>
            <pc:docMk/>
            <pc:sldMk cId="2959984300" sldId="2147479565"/>
            <ac:spMk id="130" creationId="{F6C5E84F-1D93-4E0A-9561-5147873FBA86}"/>
          </ac:spMkLst>
        </pc:spChg>
        <pc:spChg chg="del">
          <ac:chgData name="Mick Mooney" userId="e6518e4e-af4a-4bea-b39c-20489a1e5519" providerId="ADAL" clId="{3014DE50-B07B-4776-BEAC-0F779D92A13E}" dt="2023-07-22T11:33:48.043" v="3202" actId="478"/>
          <ac:spMkLst>
            <pc:docMk/>
            <pc:sldMk cId="2959984300" sldId="2147479565"/>
            <ac:spMk id="131" creationId="{123F31FC-7D6A-4BA5-BBDB-0C8D04DB3BE1}"/>
          </ac:spMkLst>
        </pc:spChg>
        <pc:spChg chg="del">
          <ac:chgData name="Mick Mooney" userId="e6518e4e-af4a-4bea-b39c-20489a1e5519" providerId="ADAL" clId="{3014DE50-B07B-4776-BEAC-0F779D92A13E}" dt="2023-07-22T11:33:48.043" v="3202" actId="478"/>
          <ac:spMkLst>
            <pc:docMk/>
            <pc:sldMk cId="2959984300" sldId="2147479565"/>
            <ac:spMk id="134" creationId="{AC154E72-4C7E-4C1F-8DD6-11E698C9FC3A}"/>
          </ac:spMkLst>
        </pc:spChg>
        <pc:spChg chg="del">
          <ac:chgData name="Mick Mooney" userId="e6518e4e-af4a-4bea-b39c-20489a1e5519" providerId="ADAL" clId="{3014DE50-B07B-4776-BEAC-0F779D92A13E}" dt="2023-07-22T11:33:48.043" v="3202" actId="478"/>
          <ac:spMkLst>
            <pc:docMk/>
            <pc:sldMk cId="2959984300" sldId="2147479565"/>
            <ac:spMk id="135" creationId="{2913E483-5549-4749-B46E-9C4F9CC03AFE}"/>
          </ac:spMkLst>
        </pc:spChg>
        <pc:spChg chg="del">
          <ac:chgData name="Mick Mooney" userId="e6518e4e-af4a-4bea-b39c-20489a1e5519" providerId="ADAL" clId="{3014DE50-B07B-4776-BEAC-0F779D92A13E}" dt="2023-07-22T11:33:48.043" v="3202" actId="478"/>
          <ac:spMkLst>
            <pc:docMk/>
            <pc:sldMk cId="2959984300" sldId="2147479565"/>
            <ac:spMk id="136" creationId="{C59A6CF4-A67B-4D80-B9F5-2B6703CD8EDB}"/>
          </ac:spMkLst>
        </pc:spChg>
        <pc:spChg chg="del">
          <ac:chgData name="Mick Mooney" userId="e6518e4e-af4a-4bea-b39c-20489a1e5519" providerId="ADAL" clId="{3014DE50-B07B-4776-BEAC-0F779D92A13E}" dt="2023-07-22T11:33:48.043" v="3202" actId="478"/>
          <ac:spMkLst>
            <pc:docMk/>
            <pc:sldMk cId="2959984300" sldId="2147479565"/>
            <ac:spMk id="137" creationId="{425CA407-33AE-4F04-A646-BB0143FE2022}"/>
          </ac:spMkLst>
        </pc:spChg>
        <pc:spChg chg="del">
          <ac:chgData name="Mick Mooney" userId="e6518e4e-af4a-4bea-b39c-20489a1e5519" providerId="ADAL" clId="{3014DE50-B07B-4776-BEAC-0F779D92A13E}" dt="2023-07-22T11:33:48.043" v="3202" actId="478"/>
          <ac:spMkLst>
            <pc:docMk/>
            <pc:sldMk cId="2959984300" sldId="2147479565"/>
            <ac:spMk id="142" creationId="{04F8AD1E-A019-409C-8941-6E5D79D5E58F}"/>
          </ac:spMkLst>
        </pc:spChg>
        <pc:spChg chg="del">
          <ac:chgData name="Mick Mooney" userId="e6518e4e-af4a-4bea-b39c-20489a1e5519" providerId="ADAL" clId="{3014DE50-B07B-4776-BEAC-0F779D92A13E}" dt="2023-07-22T11:33:48.043" v="3202" actId="478"/>
          <ac:spMkLst>
            <pc:docMk/>
            <pc:sldMk cId="2959984300" sldId="2147479565"/>
            <ac:spMk id="143" creationId="{2EF5E136-AF9C-4128-84A7-E037B511E7AA}"/>
          </ac:spMkLst>
        </pc:spChg>
        <pc:spChg chg="del">
          <ac:chgData name="Mick Mooney" userId="e6518e4e-af4a-4bea-b39c-20489a1e5519" providerId="ADAL" clId="{3014DE50-B07B-4776-BEAC-0F779D92A13E}" dt="2023-07-22T11:33:48.043" v="3202" actId="478"/>
          <ac:spMkLst>
            <pc:docMk/>
            <pc:sldMk cId="2959984300" sldId="2147479565"/>
            <ac:spMk id="144" creationId="{D9280D99-FEF2-4B87-AA1F-DAB483433F70}"/>
          </ac:spMkLst>
        </pc:spChg>
        <pc:spChg chg="del">
          <ac:chgData name="Mick Mooney" userId="e6518e4e-af4a-4bea-b39c-20489a1e5519" providerId="ADAL" clId="{3014DE50-B07B-4776-BEAC-0F779D92A13E}" dt="2023-07-22T11:33:48.043" v="3202" actId="478"/>
          <ac:spMkLst>
            <pc:docMk/>
            <pc:sldMk cId="2959984300" sldId="2147479565"/>
            <ac:spMk id="145" creationId="{A94D9D5F-9198-4F86-9F42-7A9AFABA67F2}"/>
          </ac:spMkLst>
        </pc:spChg>
        <pc:spChg chg="del">
          <ac:chgData name="Mick Mooney" userId="e6518e4e-af4a-4bea-b39c-20489a1e5519" providerId="ADAL" clId="{3014DE50-B07B-4776-BEAC-0F779D92A13E}" dt="2023-07-22T11:33:48.043" v="3202" actId="478"/>
          <ac:spMkLst>
            <pc:docMk/>
            <pc:sldMk cId="2959984300" sldId="2147479565"/>
            <ac:spMk id="147" creationId="{B5126396-560A-4C88-9A60-020FA8E180F6}"/>
          </ac:spMkLst>
        </pc:spChg>
        <pc:spChg chg="del">
          <ac:chgData name="Mick Mooney" userId="e6518e4e-af4a-4bea-b39c-20489a1e5519" providerId="ADAL" clId="{3014DE50-B07B-4776-BEAC-0F779D92A13E}" dt="2023-07-22T11:33:48.043" v="3202" actId="478"/>
          <ac:spMkLst>
            <pc:docMk/>
            <pc:sldMk cId="2959984300" sldId="2147479565"/>
            <ac:spMk id="148" creationId="{CE3F4FEE-7695-4629-ABE2-B54473C11F94}"/>
          </ac:spMkLst>
        </pc:spChg>
        <pc:spChg chg="del">
          <ac:chgData name="Mick Mooney" userId="e6518e4e-af4a-4bea-b39c-20489a1e5519" providerId="ADAL" clId="{3014DE50-B07B-4776-BEAC-0F779D92A13E}" dt="2023-07-22T11:33:48.043" v="3202" actId="478"/>
          <ac:spMkLst>
            <pc:docMk/>
            <pc:sldMk cId="2959984300" sldId="2147479565"/>
            <ac:spMk id="149" creationId="{D194A499-DFF7-4A14-ABAF-08B54C7A62B0}"/>
          </ac:spMkLst>
        </pc:spChg>
        <pc:spChg chg="del">
          <ac:chgData name="Mick Mooney" userId="e6518e4e-af4a-4bea-b39c-20489a1e5519" providerId="ADAL" clId="{3014DE50-B07B-4776-BEAC-0F779D92A13E}" dt="2023-07-22T11:33:48.043" v="3202" actId="478"/>
          <ac:spMkLst>
            <pc:docMk/>
            <pc:sldMk cId="2959984300" sldId="2147479565"/>
            <ac:spMk id="150" creationId="{5E28980D-37A7-4296-9364-DC0F7378910E}"/>
          </ac:spMkLst>
        </pc:spChg>
        <pc:spChg chg="del">
          <ac:chgData name="Mick Mooney" userId="e6518e4e-af4a-4bea-b39c-20489a1e5519" providerId="ADAL" clId="{3014DE50-B07B-4776-BEAC-0F779D92A13E}" dt="2023-07-22T11:33:48.043" v="3202" actId="478"/>
          <ac:spMkLst>
            <pc:docMk/>
            <pc:sldMk cId="2959984300" sldId="2147479565"/>
            <ac:spMk id="152" creationId="{EFBC7371-9476-4A98-AD35-DB0385D258D5}"/>
          </ac:spMkLst>
        </pc:spChg>
        <pc:spChg chg="del replST delST">
          <ac:chgData name="Mick Mooney" userId="e6518e4e-af4a-4bea-b39c-20489a1e5519" providerId="ADAL" clId="{3014DE50-B07B-4776-BEAC-0F779D92A13E}" dt="2023-07-22T11:33:48.043" v="3202" actId="478"/>
          <ac:spMkLst>
            <pc:docMk/>
            <pc:sldMk cId="2959984300" sldId="2147479565"/>
            <ac:spMk id="154" creationId="{7729B5F0-AB8D-4247-9733-60C39C6D9272}"/>
          </ac:spMkLst>
        </pc:spChg>
        <pc:spChg chg="del">
          <ac:chgData name="Mick Mooney" userId="e6518e4e-af4a-4bea-b39c-20489a1e5519" providerId="ADAL" clId="{3014DE50-B07B-4776-BEAC-0F779D92A13E}" dt="2023-07-22T11:33:48.043" v="3202" actId="478"/>
          <ac:spMkLst>
            <pc:docMk/>
            <pc:sldMk cId="2959984300" sldId="2147479565"/>
            <ac:spMk id="155" creationId="{AB97A74F-155C-48D9-98EE-C134164A7F1F}"/>
          </ac:spMkLst>
        </pc:spChg>
        <pc:spChg chg="del replST delST">
          <ac:chgData name="Mick Mooney" userId="e6518e4e-af4a-4bea-b39c-20489a1e5519" providerId="ADAL" clId="{3014DE50-B07B-4776-BEAC-0F779D92A13E}" dt="2023-07-22T11:33:48.043" v="3202" actId="478"/>
          <ac:spMkLst>
            <pc:docMk/>
            <pc:sldMk cId="2959984300" sldId="2147479565"/>
            <ac:spMk id="156" creationId="{49480E3F-C72F-4CF2-AE93-768826D154E2}"/>
          </ac:spMkLst>
        </pc:spChg>
        <pc:spChg chg="del">
          <ac:chgData name="Mick Mooney" userId="e6518e4e-af4a-4bea-b39c-20489a1e5519" providerId="ADAL" clId="{3014DE50-B07B-4776-BEAC-0F779D92A13E}" dt="2023-07-22T11:33:48.043" v="3202" actId="478"/>
          <ac:spMkLst>
            <pc:docMk/>
            <pc:sldMk cId="2959984300" sldId="2147479565"/>
            <ac:spMk id="157" creationId="{1A2FB8C4-5BEA-405B-BFFE-8B65C0BA244D}"/>
          </ac:spMkLst>
        </pc:spChg>
        <pc:spChg chg="del">
          <ac:chgData name="Mick Mooney" userId="e6518e4e-af4a-4bea-b39c-20489a1e5519" providerId="ADAL" clId="{3014DE50-B07B-4776-BEAC-0F779D92A13E}" dt="2023-07-22T11:33:48.043" v="3202" actId="478"/>
          <ac:spMkLst>
            <pc:docMk/>
            <pc:sldMk cId="2959984300" sldId="2147479565"/>
            <ac:spMk id="158" creationId="{3232C906-214F-4637-B5C2-4A40E4E67E99}"/>
          </ac:spMkLst>
        </pc:spChg>
        <pc:spChg chg="del">
          <ac:chgData name="Mick Mooney" userId="e6518e4e-af4a-4bea-b39c-20489a1e5519" providerId="ADAL" clId="{3014DE50-B07B-4776-BEAC-0F779D92A13E}" dt="2023-07-22T11:33:48.043" v="3202" actId="478"/>
          <ac:spMkLst>
            <pc:docMk/>
            <pc:sldMk cId="2959984300" sldId="2147479565"/>
            <ac:spMk id="197" creationId="{D3CA6431-80E3-411E-A579-BDACFB448A62}"/>
          </ac:spMkLst>
        </pc:spChg>
        <pc:spChg chg="del">
          <ac:chgData name="Mick Mooney" userId="e6518e4e-af4a-4bea-b39c-20489a1e5519" providerId="ADAL" clId="{3014DE50-B07B-4776-BEAC-0F779D92A13E}" dt="2023-07-22T11:33:48.043" v="3202" actId="478"/>
          <ac:spMkLst>
            <pc:docMk/>
            <pc:sldMk cId="2959984300" sldId="2147479565"/>
            <ac:spMk id="223" creationId="{287652C3-6059-44C4-BE74-3C4FF31F9BA8}"/>
          </ac:spMkLst>
        </pc:spChg>
        <pc:spChg chg="del">
          <ac:chgData name="Mick Mooney" userId="e6518e4e-af4a-4bea-b39c-20489a1e5519" providerId="ADAL" clId="{3014DE50-B07B-4776-BEAC-0F779D92A13E}" dt="2023-07-22T11:33:48.043" v="3202" actId="478"/>
          <ac:spMkLst>
            <pc:docMk/>
            <pc:sldMk cId="2959984300" sldId="2147479565"/>
            <ac:spMk id="224" creationId="{3FAC2BDB-FA0E-4A96-B629-576F46461868}"/>
          </ac:spMkLst>
        </pc:spChg>
        <pc:spChg chg="del">
          <ac:chgData name="Mick Mooney" userId="e6518e4e-af4a-4bea-b39c-20489a1e5519" providerId="ADAL" clId="{3014DE50-B07B-4776-BEAC-0F779D92A13E}" dt="2023-07-22T11:33:48.043" v="3202" actId="478"/>
          <ac:spMkLst>
            <pc:docMk/>
            <pc:sldMk cId="2959984300" sldId="2147479565"/>
            <ac:spMk id="225" creationId="{03D91CB3-7E0F-4EDA-BBC9-690B3ADB29BA}"/>
          </ac:spMkLst>
        </pc:spChg>
        <pc:spChg chg="del">
          <ac:chgData name="Mick Mooney" userId="e6518e4e-af4a-4bea-b39c-20489a1e5519" providerId="ADAL" clId="{3014DE50-B07B-4776-BEAC-0F779D92A13E}" dt="2023-07-22T11:33:48.043" v="3202" actId="478"/>
          <ac:spMkLst>
            <pc:docMk/>
            <pc:sldMk cId="2959984300" sldId="2147479565"/>
            <ac:spMk id="226" creationId="{EA56E630-39BE-4D2B-A424-142DDA1FD13F}"/>
          </ac:spMkLst>
        </pc:spChg>
        <pc:spChg chg="del">
          <ac:chgData name="Mick Mooney" userId="e6518e4e-af4a-4bea-b39c-20489a1e5519" providerId="ADAL" clId="{3014DE50-B07B-4776-BEAC-0F779D92A13E}" dt="2023-07-22T11:33:48.043" v="3202" actId="478"/>
          <ac:spMkLst>
            <pc:docMk/>
            <pc:sldMk cId="2959984300" sldId="2147479565"/>
            <ac:spMk id="227" creationId="{75A59357-C9FC-4262-A199-A76F67210559}"/>
          </ac:spMkLst>
        </pc:spChg>
        <pc:spChg chg="del">
          <ac:chgData name="Mick Mooney" userId="e6518e4e-af4a-4bea-b39c-20489a1e5519" providerId="ADAL" clId="{3014DE50-B07B-4776-BEAC-0F779D92A13E}" dt="2023-07-22T11:33:48.043" v="3202" actId="478"/>
          <ac:spMkLst>
            <pc:docMk/>
            <pc:sldMk cId="2959984300" sldId="2147479565"/>
            <ac:spMk id="228" creationId="{D4E21489-DA04-4628-8AF4-7DE409E5BB61}"/>
          </ac:spMkLst>
        </pc:spChg>
        <pc:spChg chg="del">
          <ac:chgData name="Mick Mooney" userId="e6518e4e-af4a-4bea-b39c-20489a1e5519" providerId="ADAL" clId="{3014DE50-B07B-4776-BEAC-0F779D92A13E}" dt="2023-07-22T11:33:48.043" v="3202" actId="478"/>
          <ac:spMkLst>
            <pc:docMk/>
            <pc:sldMk cId="2959984300" sldId="2147479565"/>
            <ac:spMk id="229" creationId="{ABD33973-2BD4-4D88-8134-31E5BC587885}"/>
          </ac:spMkLst>
        </pc:spChg>
        <pc:spChg chg="del">
          <ac:chgData name="Mick Mooney" userId="e6518e4e-af4a-4bea-b39c-20489a1e5519" providerId="ADAL" clId="{3014DE50-B07B-4776-BEAC-0F779D92A13E}" dt="2023-07-22T11:33:48.043" v="3202" actId="478"/>
          <ac:spMkLst>
            <pc:docMk/>
            <pc:sldMk cId="2959984300" sldId="2147479565"/>
            <ac:spMk id="230" creationId="{7CB98892-B8ED-45A8-96F7-46FD01A11B76}"/>
          </ac:spMkLst>
        </pc:spChg>
        <pc:spChg chg="del">
          <ac:chgData name="Mick Mooney" userId="e6518e4e-af4a-4bea-b39c-20489a1e5519" providerId="ADAL" clId="{3014DE50-B07B-4776-BEAC-0F779D92A13E}" dt="2023-07-22T11:33:48.043" v="3202" actId="478"/>
          <ac:spMkLst>
            <pc:docMk/>
            <pc:sldMk cId="2959984300" sldId="2147479565"/>
            <ac:spMk id="231" creationId="{19580012-46A2-48F2-A530-63BF6C314EE3}"/>
          </ac:spMkLst>
        </pc:spChg>
        <pc:spChg chg="del replST delST">
          <ac:chgData name="Mick Mooney" userId="e6518e4e-af4a-4bea-b39c-20489a1e5519" providerId="ADAL" clId="{3014DE50-B07B-4776-BEAC-0F779D92A13E}" dt="2023-07-22T11:33:48.043" v="3202" actId="478"/>
          <ac:spMkLst>
            <pc:docMk/>
            <pc:sldMk cId="2959984300" sldId="2147479565"/>
            <ac:spMk id="232" creationId="{37B30702-606C-4020-A71E-0B7F57A7202F}"/>
          </ac:spMkLst>
        </pc:spChg>
        <pc:spChg chg="del">
          <ac:chgData name="Mick Mooney" userId="e6518e4e-af4a-4bea-b39c-20489a1e5519" providerId="ADAL" clId="{3014DE50-B07B-4776-BEAC-0F779D92A13E}" dt="2023-07-22T11:33:48.043" v="3202" actId="478"/>
          <ac:spMkLst>
            <pc:docMk/>
            <pc:sldMk cId="2959984300" sldId="2147479565"/>
            <ac:spMk id="233" creationId="{E31CD129-283A-453B-86E8-847A409B7725}"/>
          </ac:spMkLst>
        </pc:spChg>
        <pc:spChg chg="del replST delST">
          <ac:chgData name="Mick Mooney" userId="e6518e4e-af4a-4bea-b39c-20489a1e5519" providerId="ADAL" clId="{3014DE50-B07B-4776-BEAC-0F779D92A13E}" dt="2023-07-22T11:33:48.043" v="3202" actId="478"/>
          <ac:spMkLst>
            <pc:docMk/>
            <pc:sldMk cId="2959984300" sldId="2147479565"/>
            <ac:spMk id="234" creationId="{E23601C6-8873-4D1E-B057-1760F9F988F4}"/>
          </ac:spMkLst>
        </pc:spChg>
        <pc:spChg chg="del">
          <ac:chgData name="Mick Mooney" userId="e6518e4e-af4a-4bea-b39c-20489a1e5519" providerId="ADAL" clId="{3014DE50-B07B-4776-BEAC-0F779D92A13E}" dt="2023-07-22T11:33:48.043" v="3202" actId="478"/>
          <ac:spMkLst>
            <pc:docMk/>
            <pc:sldMk cId="2959984300" sldId="2147479565"/>
            <ac:spMk id="235" creationId="{858D0BDB-ED29-42B1-A0CB-89F691D64982}"/>
          </ac:spMkLst>
        </pc:spChg>
        <pc:spChg chg="del">
          <ac:chgData name="Mick Mooney" userId="e6518e4e-af4a-4bea-b39c-20489a1e5519" providerId="ADAL" clId="{3014DE50-B07B-4776-BEAC-0F779D92A13E}" dt="2023-07-22T11:33:48.043" v="3202" actId="478"/>
          <ac:spMkLst>
            <pc:docMk/>
            <pc:sldMk cId="2959984300" sldId="2147479565"/>
            <ac:spMk id="236" creationId="{D5D8CF76-E86E-4D7C-BF4D-C2ADCF117DF0}"/>
          </ac:spMkLst>
        </pc:spChg>
        <pc:picChg chg="add del mod">
          <ac:chgData name="Mick Mooney" userId="e6518e4e-af4a-4bea-b39c-20489a1e5519" providerId="ADAL" clId="{3014DE50-B07B-4776-BEAC-0F779D92A13E}" dt="2023-07-22T11:39:39.303" v="3261" actId="478"/>
          <ac:picMkLst>
            <pc:docMk/>
            <pc:sldMk cId="2959984300" sldId="2147479565"/>
            <ac:picMk id="4" creationId="{EEC65416-FA26-0808-69BD-B132EB9C4F9D}"/>
          </ac:picMkLst>
        </pc:picChg>
        <pc:picChg chg="add mod">
          <ac:chgData name="Mick Mooney" userId="e6518e4e-af4a-4bea-b39c-20489a1e5519" providerId="ADAL" clId="{3014DE50-B07B-4776-BEAC-0F779D92A13E}" dt="2023-07-25T18:22:03.689" v="15999" actId="14100"/>
          <ac:picMkLst>
            <pc:docMk/>
            <pc:sldMk cId="2959984300" sldId="2147479565"/>
            <ac:picMk id="7" creationId="{F407BF68-6BD0-FC3A-F379-4FC314B66CF1}"/>
          </ac:picMkLst>
        </pc:picChg>
        <pc:picChg chg="del">
          <ac:chgData name="Mick Mooney" userId="e6518e4e-af4a-4bea-b39c-20489a1e5519" providerId="ADAL" clId="{3014DE50-B07B-4776-BEAC-0F779D92A13E}" dt="2023-07-22T11:33:48.043" v="3202" actId="478"/>
          <ac:picMkLst>
            <pc:docMk/>
            <pc:sldMk cId="2959984300" sldId="2147479565"/>
            <ac:picMk id="87" creationId="{F057686A-24CC-4044-BBCF-2DABC8B39781}"/>
          </ac:picMkLst>
        </pc:picChg>
        <pc:picChg chg="del">
          <ac:chgData name="Mick Mooney" userId="e6518e4e-af4a-4bea-b39c-20489a1e5519" providerId="ADAL" clId="{3014DE50-B07B-4776-BEAC-0F779D92A13E}" dt="2023-07-22T11:33:48.043" v="3202" actId="478"/>
          <ac:picMkLst>
            <pc:docMk/>
            <pc:sldMk cId="2959984300" sldId="2147479565"/>
            <ac:picMk id="102" creationId="{4D61CE64-4634-4FF6-97A8-01C268980DC0}"/>
          </ac:picMkLst>
        </pc:picChg>
        <pc:picChg chg="del">
          <ac:chgData name="Mick Mooney" userId="e6518e4e-af4a-4bea-b39c-20489a1e5519" providerId="ADAL" clId="{3014DE50-B07B-4776-BEAC-0F779D92A13E}" dt="2023-07-22T11:33:48.043" v="3202" actId="478"/>
          <ac:picMkLst>
            <pc:docMk/>
            <pc:sldMk cId="2959984300" sldId="2147479565"/>
            <ac:picMk id="103" creationId="{9CAB2CC5-E366-41A9-9DF0-95DAA577F2E0}"/>
          </ac:picMkLst>
        </pc:picChg>
        <pc:picChg chg="del">
          <ac:chgData name="Mick Mooney" userId="e6518e4e-af4a-4bea-b39c-20489a1e5519" providerId="ADAL" clId="{3014DE50-B07B-4776-BEAC-0F779D92A13E}" dt="2023-07-22T11:33:48.043" v="3202" actId="478"/>
          <ac:picMkLst>
            <pc:docMk/>
            <pc:sldMk cId="2959984300" sldId="2147479565"/>
            <ac:picMk id="104" creationId="{73312242-8242-4636-AA35-402D3E8CF3A9}"/>
          </ac:picMkLst>
        </pc:picChg>
        <pc:picChg chg="del">
          <ac:chgData name="Mick Mooney" userId="e6518e4e-af4a-4bea-b39c-20489a1e5519" providerId="ADAL" clId="{3014DE50-B07B-4776-BEAC-0F779D92A13E}" dt="2023-07-22T11:33:48.043" v="3202" actId="478"/>
          <ac:picMkLst>
            <pc:docMk/>
            <pc:sldMk cId="2959984300" sldId="2147479565"/>
            <ac:picMk id="109" creationId="{0CA1B9DF-7146-46AA-A3DA-5064EB296989}"/>
          </ac:picMkLst>
        </pc:picChg>
        <pc:picChg chg="del">
          <ac:chgData name="Mick Mooney" userId="e6518e4e-af4a-4bea-b39c-20489a1e5519" providerId="ADAL" clId="{3014DE50-B07B-4776-BEAC-0F779D92A13E}" dt="2023-07-22T11:33:48.043" v="3202" actId="478"/>
          <ac:picMkLst>
            <pc:docMk/>
            <pc:sldMk cId="2959984300" sldId="2147479565"/>
            <ac:picMk id="111" creationId="{3617674C-DAAF-4E30-AB15-E0CD621B0E1D}"/>
          </ac:picMkLst>
        </pc:picChg>
        <pc:picChg chg="del">
          <ac:chgData name="Mick Mooney" userId="e6518e4e-af4a-4bea-b39c-20489a1e5519" providerId="ADAL" clId="{3014DE50-B07B-4776-BEAC-0F779D92A13E}" dt="2023-07-22T11:33:48.043" v="3202" actId="478"/>
          <ac:picMkLst>
            <pc:docMk/>
            <pc:sldMk cId="2959984300" sldId="2147479565"/>
            <ac:picMk id="128" creationId="{D35D6FDB-E014-49C4-8BFD-B1212B40FE4C}"/>
          </ac:picMkLst>
        </pc:picChg>
        <pc:picChg chg="del">
          <ac:chgData name="Mick Mooney" userId="e6518e4e-af4a-4bea-b39c-20489a1e5519" providerId="ADAL" clId="{3014DE50-B07B-4776-BEAC-0F779D92A13E}" dt="2023-07-22T11:33:48.043" v="3202" actId="478"/>
          <ac:picMkLst>
            <pc:docMk/>
            <pc:sldMk cId="2959984300" sldId="2147479565"/>
            <ac:picMk id="129" creationId="{19486F5A-734A-4708-94EF-F5C70E8CAF3B}"/>
          </ac:picMkLst>
        </pc:picChg>
        <pc:picChg chg="del">
          <ac:chgData name="Mick Mooney" userId="e6518e4e-af4a-4bea-b39c-20489a1e5519" providerId="ADAL" clId="{3014DE50-B07B-4776-BEAC-0F779D92A13E}" dt="2023-07-22T11:33:48.043" v="3202" actId="478"/>
          <ac:picMkLst>
            <pc:docMk/>
            <pc:sldMk cId="2959984300" sldId="2147479565"/>
            <ac:picMk id="132" creationId="{FF161414-1E45-4763-927E-E707A2D02F9D}"/>
          </ac:picMkLst>
        </pc:picChg>
        <pc:picChg chg="del">
          <ac:chgData name="Mick Mooney" userId="e6518e4e-af4a-4bea-b39c-20489a1e5519" providerId="ADAL" clId="{3014DE50-B07B-4776-BEAC-0F779D92A13E}" dt="2023-07-22T11:33:48.043" v="3202" actId="478"/>
          <ac:picMkLst>
            <pc:docMk/>
            <pc:sldMk cId="2959984300" sldId="2147479565"/>
            <ac:picMk id="138" creationId="{DB999D5D-9CFB-43A1-94A9-BAB0E60EF7CE}"/>
          </ac:picMkLst>
        </pc:picChg>
        <pc:picChg chg="del">
          <ac:chgData name="Mick Mooney" userId="e6518e4e-af4a-4bea-b39c-20489a1e5519" providerId="ADAL" clId="{3014DE50-B07B-4776-BEAC-0F779D92A13E}" dt="2023-07-22T11:33:48.043" v="3202" actId="478"/>
          <ac:picMkLst>
            <pc:docMk/>
            <pc:sldMk cId="2959984300" sldId="2147479565"/>
            <ac:picMk id="239" creationId="{B31D954F-8D93-4B4E-88B7-DDAF5E079BD7}"/>
          </ac:picMkLst>
        </pc:picChg>
        <pc:cxnChg chg="del">
          <ac:chgData name="Mick Mooney" userId="e6518e4e-af4a-4bea-b39c-20489a1e5519" providerId="ADAL" clId="{3014DE50-B07B-4776-BEAC-0F779D92A13E}" dt="2023-07-22T11:33:48.043" v="3202" actId="478"/>
          <ac:cxnSpMkLst>
            <pc:docMk/>
            <pc:sldMk cId="2959984300" sldId="2147479565"/>
            <ac:cxnSpMk id="20" creationId="{15BB86BA-40A2-40F4-9BC5-67D779A80232}"/>
          </ac:cxnSpMkLst>
        </pc:cxnChg>
        <pc:cxnChg chg="del">
          <ac:chgData name="Mick Mooney" userId="e6518e4e-af4a-4bea-b39c-20489a1e5519" providerId="ADAL" clId="{3014DE50-B07B-4776-BEAC-0F779D92A13E}" dt="2023-07-22T11:33:48.043" v="3202" actId="478"/>
          <ac:cxnSpMkLst>
            <pc:docMk/>
            <pc:sldMk cId="2959984300" sldId="2147479565"/>
            <ac:cxnSpMk id="21" creationId="{A5BF21FD-AC29-4AE0-89BA-21B30E8899CD}"/>
          </ac:cxnSpMkLst>
        </pc:cxnChg>
        <pc:cxnChg chg="del">
          <ac:chgData name="Mick Mooney" userId="e6518e4e-af4a-4bea-b39c-20489a1e5519" providerId="ADAL" clId="{3014DE50-B07B-4776-BEAC-0F779D92A13E}" dt="2023-07-22T11:33:48.043" v="3202" actId="478"/>
          <ac:cxnSpMkLst>
            <pc:docMk/>
            <pc:sldMk cId="2959984300" sldId="2147479565"/>
            <ac:cxnSpMk id="81" creationId="{D564B4DB-50B0-4614-8986-8E45437D8607}"/>
          </ac:cxnSpMkLst>
        </pc:cxnChg>
        <pc:cxnChg chg="del">
          <ac:chgData name="Mick Mooney" userId="e6518e4e-af4a-4bea-b39c-20489a1e5519" providerId="ADAL" clId="{3014DE50-B07B-4776-BEAC-0F779D92A13E}" dt="2023-07-22T11:33:48.043" v="3202" actId="478"/>
          <ac:cxnSpMkLst>
            <pc:docMk/>
            <pc:sldMk cId="2959984300" sldId="2147479565"/>
            <ac:cxnSpMk id="95" creationId="{D6F7CF6D-773A-49A5-B33F-A1D02248A6B4}"/>
          </ac:cxnSpMkLst>
        </pc:cxnChg>
        <pc:cxnChg chg="del">
          <ac:chgData name="Mick Mooney" userId="e6518e4e-af4a-4bea-b39c-20489a1e5519" providerId="ADAL" clId="{3014DE50-B07B-4776-BEAC-0F779D92A13E}" dt="2023-07-22T11:33:48.043" v="3202" actId="478"/>
          <ac:cxnSpMkLst>
            <pc:docMk/>
            <pc:sldMk cId="2959984300" sldId="2147479565"/>
            <ac:cxnSpMk id="113" creationId="{FCE86C2C-DD2A-46A5-BADF-343EB4045293}"/>
          </ac:cxnSpMkLst>
        </pc:cxnChg>
        <pc:cxnChg chg="del">
          <ac:chgData name="Mick Mooney" userId="e6518e4e-af4a-4bea-b39c-20489a1e5519" providerId="ADAL" clId="{3014DE50-B07B-4776-BEAC-0F779D92A13E}" dt="2023-07-22T11:33:48.043" v="3202" actId="478"/>
          <ac:cxnSpMkLst>
            <pc:docMk/>
            <pc:sldMk cId="2959984300" sldId="2147479565"/>
            <ac:cxnSpMk id="146" creationId="{ECF46D0F-F63F-4FBA-9D75-42D06E1D1AC0}"/>
          </ac:cxnSpMkLst>
        </pc:cxnChg>
        <pc:cxnChg chg="del">
          <ac:chgData name="Mick Mooney" userId="e6518e4e-af4a-4bea-b39c-20489a1e5519" providerId="ADAL" clId="{3014DE50-B07B-4776-BEAC-0F779D92A13E}" dt="2023-07-22T11:33:48.043" v="3202" actId="478"/>
          <ac:cxnSpMkLst>
            <pc:docMk/>
            <pc:sldMk cId="2959984300" sldId="2147479565"/>
            <ac:cxnSpMk id="199" creationId="{D30EB107-77E1-4F76-BBAC-ADC96D0EEB3F}"/>
          </ac:cxnSpMkLst>
        </pc:cxnChg>
        <pc:cxnChg chg="del">
          <ac:chgData name="Mick Mooney" userId="e6518e4e-af4a-4bea-b39c-20489a1e5519" providerId="ADAL" clId="{3014DE50-B07B-4776-BEAC-0F779D92A13E}" dt="2023-07-22T11:33:48.043" v="3202" actId="478"/>
          <ac:cxnSpMkLst>
            <pc:docMk/>
            <pc:sldMk cId="2959984300" sldId="2147479565"/>
            <ac:cxnSpMk id="200" creationId="{3447CE90-5A10-450F-A33A-BD15216472D2}"/>
          </ac:cxnSpMkLst>
        </pc:cxnChg>
        <pc:cxnChg chg="del">
          <ac:chgData name="Mick Mooney" userId="e6518e4e-af4a-4bea-b39c-20489a1e5519" providerId="ADAL" clId="{3014DE50-B07B-4776-BEAC-0F779D92A13E}" dt="2023-07-22T11:33:48.043" v="3202" actId="478"/>
          <ac:cxnSpMkLst>
            <pc:docMk/>
            <pc:sldMk cId="2959984300" sldId="2147479565"/>
            <ac:cxnSpMk id="204" creationId="{CE5774F5-4E62-408D-AA8F-2561852DAE70}"/>
          </ac:cxnSpMkLst>
        </pc:cxnChg>
        <pc:cxnChg chg="del">
          <ac:chgData name="Mick Mooney" userId="e6518e4e-af4a-4bea-b39c-20489a1e5519" providerId="ADAL" clId="{3014DE50-B07B-4776-BEAC-0F779D92A13E}" dt="2023-07-22T11:33:48.043" v="3202" actId="478"/>
          <ac:cxnSpMkLst>
            <pc:docMk/>
            <pc:sldMk cId="2959984300" sldId="2147479565"/>
            <ac:cxnSpMk id="205" creationId="{1D41C442-5090-4E54-864C-A68217E213FC}"/>
          </ac:cxnSpMkLst>
        </pc:cxnChg>
        <pc:cxnChg chg="del">
          <ac:chgData name="Mick Mooney" userId="e6518e4e-af4a-4bea-b39c-20489a1e5519" providerId="ADAL" clId="{3014DE50-B07B-4776-BEAC-0F779D92A13E}" dt="2023-07-22T11:33:48.043" v="3202" actId="478"/>
          <ac:cxnSpMkLst>
            <pc:docMk/>
            <pc:sldMk cId="2959984300" sldId="2147479565"/>
            <ac:cxnSpMk id="206" creationId="{B605AD6B-1677-49A7-8F77-FE6D0A7C6542}"/>
          </ac:cxnSpMkLst>
        </pc:cxnChg>
        <pc:cxnChg chg="del">
          <ac:chgData name="Mick Mooney" userId="e6518e4e-af4a-4bea-b39c-20489a1e5519" providerId="ADAL" clId="{3014DE50-B07B-4776-BEAC-0F779D92A13E}" dt="2023-07-22T11:33:48.043" v="3202" actId="478"/>
          <ac:cxnSpMkLst>
            <pc:docMk/>
            <pc:sldMk cId="2959984300" sldId="2147479565"/>
            <ac:cxnSpMk id="207" creationId="{1630885F-F664-4090-97B1-56C116B70F3E}"/>
          </ac:cxnSpMkLst>
        </pc:cxnChg>
        <pc:cxnChg chg="del">
          <ac:chgData name="Mick Mooney" userId="e6518e4e-af4a-4bea-b39c-20489a1e5519" providerId="ADAL" clId="{3014DE50-B07B-4776-BEAC-0F779D92A13E}" dt="2023-07-22T11:33:48.043" v="3202" actId="478"/>
          <ac:cxnSpMkLst>
            <pc:docMk/>
            <pc:sldMk cId="2959984300" sldId="2147479565"/>
            <ac:cxnSpMk id="208" creationId="{AA28490A-8139-41CC-B49F-98C4B84F4E20}"/>
          </ac:cxnSpMkLst>
        </pc:cxnChg>
        <pc:cxnChg chg="del">
          <ac:chgData name="Mick Mooney" userId="e6518e4e-af4a-4bea-b39c-20489a1e5519" providerId="ADAL" clId="{3014DE50-B07B-4776-BEAC-0F779D92A13E}" dt="2023-07-22T11:33:48.043" v="3202" actId="478"/>
          <ac:cxnSpMkLst>
            <pc:docMk/>
            <pc:sldMk cId="2959984300" sldId="2147479565"/>
            <ac:cxnSpMk id="209" creationId="{994E2C7A-CD5D-44E8-A70F-51D544CB1041}"/>
          </ac:cxnSpMkLst>
        </pc:cxnChg>
        <pc:cxnChg chg="del">
          <ac:chgData name="Mick Mooney" userId="e6518e4e-af4a-4bea-b39c-20489a1e5519" providerId="ADAL" clId="{3014DE50-B07B-4776-BEAC-0F779D92A13E}" dt="2023-07-22T11:33:48.043" v="3202" actId="478"/>
          <ac:cxnSpMkLst>
            <pc:docMk/>
            <pc:sldMk cId="2959984300" sldId="2147479565"/>
            <ac:cxnSpMk id="210" creationId="{263E4BF2-DC1E-4467-AEE0-3B272701DCF0}"/>
          </ac:cxnSpMkLst>
        </pc:cxnChg>
      </pc:sldChg>
      <pc:sldChg chg="modSp mod">
        <pc:chgData name="Mick Mooney" userId="e6518e4e-af4a-4bea-b39c-20489a1e5519" providerId="ADAL" clId="{3014DE50-B07B-4776-BEAC-0F779D92A13E}" dt="2023-07-31T13:12:18.712" v="29065" actId="2711"/>
        <pc:sldMkLst>
          <pc:docMk/>
          <pc:sldMk cId="2740582591" sldId="2147479566"/>
        </pc:sldMkLst>
        <pc:spChg chg="mod replST delST">
          <ac:chgData name="Mick Mooney" userId="e6518e4e-af4a-4bea-b39c-20489a1e5519" providerId="ADAL" clId="{3014DE50-B07B-4776-BEAC-0F779D92A13E}" dt="2023-07-31T13:12:18.712" v="29065" actId="2711"/>
          <ac:spMkLst>
            <pc:docMk/>
            <pc:sldMk cId="2740582591" sldId="2147479566"/>
            <ac:spMk id="8" creationId="{7824D54C-15D2-467C-A016-166944D0781C}"/>
          </ac:spMkLst>
        </pc:spChg>
        <pc:spChg chg="mod">
          <ac:chgData name="Mick Mooney" userId="e6518e4e-af4a-4bea-b39c-20489a1e5519" providerId="ADAL" clId="{3014DE50-B07B-4776-BEAC-0F779D92A13E}" dt="2023-07-31T13:12:18.712" v="29065" actId="2711"/>
          <ac:spMkLst>
            <pc:docMk/>
            <pc:sldMk cId="2740582591" sldId="2147479566"/>
            <ac:spMk id="14" creationId="{E90D4127-E7DD-4EB3-9A32-4D39A09583E4}"/>
          </ac:spMkLst>
        </pc:spChg>
        <pc:spChg chg="mod">
          <ac:chgData name="Mick Mooney" userId="e6518e4e-af4a-4bea-b39c-20489a1e5519" providerId="ADAL" clId="{3014DE50-B07B-4776-BEAC-0F779D92A13E}" dt="2023-07-31T13:12:18.712" v="29065" actId="2711"/>
          <ac:spMkLst>
            <pc:docMk/>
            <pc:sldMk cId="2740582591" sldId="2147479566"/>
            <ac:spMk id="22" creationId="{CD980043-A890-4F09-B149-A4B343C89198}"/>
          </ac:spMkLst>
        </pc:spChg>
        <pc:spChg chg="mod">
          <ac:chgData name="Mick Mooney" userId="e6518e4e-af4a-4bea-b39c-20489a1e5519" providerId="ADAL" clId="{3014DE50-B07B-4776-BEAC-0F779D92A13E}" dt="2023-07-31T13:12:18.712" v="29065" actId="2711"/>
          <ac:spMkLst>
            <pc:docMk/>
            <pc:sldMk cId="2740582591" sldId="2147479566"/>
            <ac:spMk id="33" creationId="{A065609D-0D70-4A8D-BDB1-2E2386A84C44}"/>
          </ac:spMkLst>
        </pc:spChg>
        <pc:spChg chg="mod">
          <ac:chgData name="Mick Mooney" userId="e6518e4e-af4a-4bea-b39c-20489a1e5519" providerId="ADAL" clId="{3014DE50-B07B-4776-BEAC-0F779D92A13E}" dt="2023-07-31T13:12:18.712" v="29065" actId="2711"/>
          <ac:spMkLst>
            <pc:docMk/>
            <pc:sldMk cId="2740582591" sldId="2147479566"/>
            <ac:spMk id="38" creationId="{DE23B106-3786-475F-857C-227BB56F82E7}"/>
          </ac:spMkLst>
        </pc:spChg>
        <pc:spChg chg="mod">
          <ac:chgData name="Mick Mooney" userId="e6518e4e-af4a-4bea-b39c-20489a1e5519" providerId="ADAL" clId="{3014DE50-B07B-4776-BEAC-0F779D92A13E}" dt="2023-07-31T13:12:18.712" v="29065" actId="2711"/>
          <ac:spMkLst>
            <pc:docMk/>
            <pc:sldMk cId="2740582591" sldId="2147479566"/>
            <ac:spMk id="42" creationId="{F03EB910-712A-4D82-980E-C34D5F5B8E18}"/>
          </ac:spMkLst>
        </pc:spChg>
        <pc:spChg chg="mod replST delST">
          <ac:chgData name="Mick Mooney" userId="e6518e4e-af4a-4bea-b39c-20489a1e5519" providerId="ADAL" clId="{3014DE50-B07B-4776-BEAC-0F779D92A13E}" dt="2023-07-31T13:12:18.712" v="29065" actId="2711"/>
          <ac:spMkLst>
            <pc:docMk/>
            <pc:sldMk cId="2740582591" sldId="2147479566"/>
            <ac:spMk id="43" creationId="{FB83D1E7-DC34-4AC4-BCA8-C163C4B05037}"/>
          </ac:spMkLst>
        </pc:spChg>
        <pc:spChg chg="mod replST delST">
          <ac:chgData name="Mick Mooney" userId="e6518e4e-af4a-4bea-b39c-20489a1e5519" providerId="ADAL" clId="{3014DE50-B07B-4776-BEAC-0F779D92A13E}" dt="2023-07-31T13:12:18.712" v="29065" actId="2711"/>
          <ac:spMkLst>
            <pc:docMk/>
            <pc:sldMk cId="2740582591" sldId="2147479566"/>
            <ac:spMk id="44" creationId="{5869F941-731F-493E-AD26-F31C06DCD1E1}"/>
          </ac:spMkLst>
        </pc:spChg>
        <pc:spChg chg="mod replST delST">
          <ac:chgData name="Mick Mooney" userId="e6518e4e-af4a-4bea-b39c-20489a1e5519" providerId="ADAL" clId="{3014DE50-B07B-4776-BEAC-0F779D92A13E}" dt="2023-07-31T13:12:18.712" v="29065" actId="2711"/>
          <ac:spMkLst>
            <pc:docMk/>
            <pc:sldMk cId="2740582591" sldId="2147479566"/>
            <ac:spMk id="45" creationId="{1AA4DE9B-AD5D-447A-9BEB-AE2E3752C523}"/>
          </ac:spMkLst>
        </pc:spChg>
        <pc:spChg chg="mod replST delST">
          <ac:chgData name="Mick Mooney" userId="e6518e4e-af4a-4bea-b39c-20489a1e5519" providerId="ADAL" clId="{3014DE50-B07B-4776-BEAC-0F779D92A13E}" dt="2023-07-31T13:12:18.712" v="29065" actId="2711"/>
          <ac:spMkLst>
            <pc:docMk/>
            <pc:sldMk cId="2740582591" sldId="2147479566"/>
            <ac:spMk id="46" creationId="{FD6CB2A1-BBC2-423D-98C3-B84868E2258A}"/>
          </ac:spMkLst>
        </pc:spChg>
      </pc:sldChg>
      <pc:sldChg chg="modSp mod">
        <pc:chgData name="Mick Mooney" userId="e6518e4e-af4a-4bea-b39c-20489a1e5519" providerId="ADAL" clId="{3014DE50-B07B-4776-BEAC-0F779D92A13E}" dt="2023-07-31T13:17:40.826" v="29108"/>
        <pc:sldMkLst>
          <pc:docMk/>
          <pc:sldMk cId="1563776" sldId="2147479568"/>
        </pc:sldMkLst>
        <pc:spChg chg="mod replST delST">
          <ac:chgData name="Mick Mooney" userId="e6518e4e-af4a-4bea-b39c-20489a1e5519" providerId="ADAL" clId="{3014DE50-B07B-4776-BEAC-0F779D92A13E}" dt="2023-07-31T13:13:05.561" v="29072" actId="2711"/>
          <ac:spMkLst>
            <pc:docMk/>
            <pc:sldMk cId="1563776" sldId="2147479568"/>
            <ac:spMk id="8" creationId="{7824D54C-15D2-467C-A016-166944D0781C}"/>
          </ac:spMkLst>
        </pc:spChg>
        <pc:spChg chg="mod replST delST">
          <ac:chgData name="Mick Mooney" userId="e6518e4e-af4a-4bea-b39c-20489a1e5519" providerId="ADAL" clId="{3014DE50-B07B-4776-BEAC-0F779D92A13E}" dt="2023-07-31T13:13:05.561" v="29072" actId="2711"/>
          <ac:spMkLst>
            <pc:docMk/>
            <pc:sldMk cId="1563776" sldId="2147479568"/>
            <ac:spMk id="43" creationId="{FE606071-20E3-4EA6-B706-663CF065F3C7}"/>
          </ac:spMkLst>
        </pc:spChg>
        <pc:spChg chg="mod replST delST">
          <ac:chgData name="Mick Mooney" userId="e6518e4e-af4a-4bea-b39c-20489a1e5519" providerId="ADAL" clId="{3014DE50-B07B-4776-BEAC-0F779D92A13E}" dt="2023-07-31T13:13:14.201" v="29075" actId="207"/>
          <ac:spMkLst>
            <pc:docMk/>
            <pc:sldMk cId="1563776" sldId="2147479568"/>
            <ac:spMk id="50" creationId="{62BA95A9-B080-4FA1-BB17-4170C5C1BC74}"/>
          </ac:spMkLst>
        </pc:spChg>
        <pc:spChg chg="mod replST delST">
          <ac:chgData name="Mick Mooney" userId="e6518e4e-af4a-4bea-b39c-20489a1e5519" providerId="ADAL" clId="{3014DE50-B07B-4776-BEAC-0F779D92A13E}" dt="2023-07-31T13:17:40.826" v="29108"/>
          <ac:spMkLst>
            <pc:docMk/>
            <pc:sldMk cId="1563776" sldId="2147479568"/>
            <ac:spMk id="52" creationId="{C82C8AE1-B805-4FE4-8DEF-67DC48134DFB}"/>
          </ac:spMkLst>
        </pc:spChg>
        <pc:picChg chg="mod">
          <ac:chgData name="Mick Mooney" userId="e6518e4e-af4a-4bea-b39c-20489a1e5519" providerId="ADAL" clId="{3014DE50-B07B-4776-BEAC-0F779D92A13E}" dt="2023-07-26T09:06:59.004" v="16941" actId="1076"/>
          <ac:picMkLst>
            <pc:docMk/>
            <pc:sldMk cId="1563776" sldId="2147479568"/>
            <ac:picMk id="7" creationId="{1E3AFBF1-3415-4042-8E03-CCC83257117A}"/>
          </ac:picMkLst>
        </pc:picChg>
      </pc:sldChg>
      <pc:sldChg chg="modSp mod">
        <pc:chgData name="Mick Mooney" userId="e6518e4e-af4a-4bea-b39c-20489a1e5519" providerId="ADAL" clId="{3014DE50-B07B-4776-BEAC-0F779D92A13E}" dt="2023-07-31T13:12:55.655" v="29071" actId="2711"/>
        <pc:sldMkLst>
          <pc:docMk/>
          <pc:sldMk cId="4263117584" sldId="2147479569"/>
        </pc:sldMkLst>
        <pc:spChg chg="mod replST delST">
          <ac:chgData name="Mick Mooney" userId="e6518e4e-af4a-4bea-b39c-20489a1e5519" providerId="ADAL" clId="{3014DE50-B07B-4776-BEAC-0F779D92A13E}" dt="2023-07-31T13:12:55.655" v="29071" actId="2711"/>
          <ac:spMkLst>
            <pc:docMk/>
            <pc:sldMk cId="4263117584" sldId="2147479569"/>
            <ac:spMk id="8" creationId="{7824D54C-15D2-467C-A016-166944D0781C}"/>
          </ac:spMkLst>
        </pc:spChg>
        <pc:spChg chg="mod replST delST">
          <ac:chgData name="Mick Mooney" userId="e6518e4e-af4a-4bea-b39c-20489a1e5519" providerId="ADAL" clId="{3014DE50-B07B-4776-BEAC-0F779D92A13E}" dt="2023-07-31T13:12:55.655" v="29071" actId="2711"/>
          <ac:spMkLst>
            <pc:docMk/>
            <pc:sldMk cId="4263117584" sldId="2147479569"/>
            <ac:spMk id="13" creationId="{5BBDB96C-4232-4ED2-AD72-24CEF352629F}"/>
          </ac:spMkLst>
        </pc:spChg>
        <pc:spChg chg="mod replST delST">
          <ac:chgData name="Mick Mooney" userId="e6518e4e-af4a-4bea-b39c-20489a1e5519" providerId="ADAL" clId="{3014DE50-B07B-4776-BEAC-0F779D92A13E}" dt="2023-07-31T13:12:55.655" v="29071" actId="2711"/>
          <ac:spMkLst>
            <pc:docMk/>
            <pc:sldMk cId="4263117584" sldId="2147479569"/>
            <ac:spMk id="39" creationId="{7D1581B4-1896-4BC3-B1AB-8D0E53946CDA}"/>
          </ac:spMkLst>
        </pc:spChg>
        <pc:spChg chg="mod replST delST">
          <ac:chgData name="Mick Mooney" userId="e6518e4e-af4a-4bea-b39c-20489a1e5519" providerId="ADAL" clId="{3014DE50-B07B-4776-BEAC-0F779D92A13E}" dt="2023-07-31T13:12:55.655" v="29071" actId="2711"/>
          <ac:spMkLst>
            <pc:docMk/>
            <pc:sldMk cId="4263117584" sldId="2147479569"/>
            <ac:spMk id="40" creationId="{1B9619C2-220D-41B8-81F2-FFD38A8682F1}"/>
          </ac:spMkLst>
        </pc:spChg>
        <pc:spChg chg="mod">
          <ac:chgData name="Mick Mooney" userId="e6518e4e-af4a-4bea-b39c-20489a1e5519" providerId="ADAL" clId="{3014DE50-B07B-4776-BEAC-0F779D92A13E}" dt="2023-07-31T13:12:55.655" v="29071" actId="2711"/>
          <ac:spMkLst>
            <pc:docMk/>
            <pc:sldMk cId="4263117584" sldId="2147479569"/>
            <ac:spMk id="42" creationId="{F03EB910-712A-4D82-980E-C34D5F5B8E18}"/>
          </ac:spMkLst>
        </pc:spChg>
        <pc:graphicFrameChg chg="mod modGraphic">
          <ac:chgData name="Mick Mooney" userId="e6518e4e-af4a-4bea-b39c-20489a1e5519" providerId="ADAL" clId="{3014DE50-B07B-4776-BEAC-0F779D92A13E}" dt="2023-07-31T13:09:48.351" v="28965" actId="207"/>
          <ac:graphicFrameMkLst>
            <pc:docMk/>
            <pc:sldMk cId="4263117584" sldId="2147479569"/>
            <ac:graphicFrameMk id="14" creationId="{D298456E-9E24-4226-B2F7-84FC23B92767}"/>
          </ac:graphicFrameMkLst>
        </pc:graphicFrameChg>
      </pc:sldChg>
      <pc:sldChg chg="modSp mod">
        <pc:chgData name="Mick Mooney" userId="e6518e4e-af4a-4bea-b39c-20489a1e5519" providerId="ADAL" clId="{3014DE50-B07B-4776-BEAC-0F779D92A13E}" dt="2023-07-31T12:31:22.230" v="25408" actId="2711"/>
        <pc:sldMkLst>
          <pc:docMk/>
          <pc:sldMk cId="2093568246" sldId="2147479583"/>
        </pc:sldMkLst>
        <pc:spChg chg="mod">
          <ac:chgData name="Mick Mooney" userId="e6518e4e-af4a-4bea-b39c-20489a1e5519" providerId="ADAL" clId="{3014DE50-B07B-4776-BEAC-0F779D92A13E}" dt="2023-07-31T12:31:12.974" v="25407" actId="2711"/>
          <ac:spMkLst>
            <pc:docMk/>
            <pc:sldMk cId="2093568246" sldId="2147479583"/>
            <ac:spMk id="584" creationId="{40905946-CFE4-41EA-A185-43109D0C6B70}"/>
          </ac:spMkLst>
        </pc:spChg>
        <pc:spChg chg="mod">
          <ac:chgData name="Mick Mooney" userId="e6518e4e-af4a-4bea-b39c-20489a1e5519" providerId="ADAL" clId="{3014DE50-B07B-4776-BEAC-0F779D92A13E}" dt="2023-07-31T12:31:12.974" v="25407" actId="2711"/>
          <ac:spMkLst>
            <pc:docMk/>
            <pc:sldMk cId="2093568246" sldId="2147479583"/>
            <ac:spMk id="585" creationId="{C5B711DA-453E-436F-BF72-BD5D6CC14E16}"/>
          </ac:spMkLst>
        </pc:spChg>
        <pc:spChg chg="mod">
          <ac:chgData name="Mick Mooney" userId="e6518e4e-af4a-4bea-b39c-20489a1e5519" providerId="ADAL" clId="{3014DE50-B07B-4776-BEAC-0F779D92A13E}" dt="2023-07-31T12:31:12.974" v="25407" actId="2711"/>
          <ac:spMkLst>
            <pc:docMk/>
            <pc:sldMk cId="2093568246" sldId="2147479583"/>
            <ac:spMk id="586" creationId="{0217492B-8C1C-4B81-ACAC-9728A86C6BD6}"/>
          </ac:spMkLst>
        </pc:spChg>
        <pc:spChg chg="mod">
          <ac:chgData name="Mick Mooney" userId="e6518e4e-af4a-4bea-b39c-20489a1e5519" providerId="ADAL" clId="{3014DE50-B07B-4776-BEAC-0F779D92A13E}" dt="2023-07-31T12:31:12.974" v="25407" actId="2711"/>
          <ac:spMkLst>
            <pc:docMk/>
            <pc:sldMk cId="2093568246" sldId="2147479583"/>
            <ac:spMk id="587" creationId="{23B55ECC-0332-4453-BF86-F95A469B85EB}"/>
          </ac:spMkLst>
        </pc:spChg>
        <pc:spChg chg="mod replST delST">
          <ac:chgData name="Mick Mooney" userId="e6518e4e-af4a-4bea-b39c-20489a1e5519" providerId="ADAL" clId="{3014DE50-B07B-4776-BEAC-0F779D92A13E}" dt="2023-07-31T12:31:12.974" v="25407" actId="2711"/>
          <ac:spMkLst>
            <pc:docMk/>
            <pc:sldMk cId="2093568246" sldId="2147479583"/>
            <ac:spMk id="600" creationId="{2AA94246-8368-404F-918C-AE07DFAB06C2}"/>
          </ac:spMkLst>
        </pc:spChg>
        <pc:spChg chg="mod">
          <ac:chgData name="Mick Mooney" userId="e6518e4e-af4a-4bea-b39c-20489a1e5519" providerId="ADAL" clId="{3014DE50-B07B-4776-BEAC-0F779D92A13E}" dt="2023-07-31T12:31:12.974" v="25407" actId="2711"/>
          <ac:spMkLst>
            <pc:docMk/>
            <pc:sldMk cId="2093568246" sldId="2147479583"/>
            <ac:spMk id="602" creationId="{B5742737-DEF1-41C0-9421-9023A31ABAE8}"/>
          </ac:spMkLst>
        </pc:spChg>
        <pc:spChg chg="mod replST delST">
          <ac:chgData name="Mick Mooney" userId="e6518e4e-af4a-4bea-b39c-20489a1e5519" providerId="ADAL" clId="{3014DE50-B07B-4776-BEAC-0F779D92A13E}" dt="2023-07-31T12:31:12.974" v="25407" actId="2711"/>
          <ac:spMkLst>
            <pc:docMk/>
            <pc:sldMk cId="2093568246" sldId="2147479583"/>
            <ac:spMk id="604" creationId="{A8067DFA-4220-488F-8D06-BEBE21413D6B}"/>
          </ac:spMkLst>
        </pc:spChg>
        <pc:spChg chg="mod">
          <ac:chgData name="Mick Mooney" userId="e6518e4e-af4a-4bea-b39c-20489a1e5519" providerId="ADAL" clId="{3014DE50-B07B-4776-BEAC-0F779D92A13E}" dt="2023-07-31T12:31:12.974" v="25407" actId="2711"/>
          <ac:spMkLst>
            <pc:docMk/>
            <pc:sldMk cId="2093568246" sldId="2147479583"/>
            <ac:spMk id="605" creationId="{C3DF1BC8-AB63-4DF1-90B4-1F940BA788AC}"/>
          </ac:spMkLst>
        </pc:spChg>
        <pc:spChg chg="mod">
          <ac:chgData name="Mick Mooney" userId="e6518e4e-af4a-4bea-b39c-20489a1e5519" providerId="ADAL" clId="{3014DE50-B07B-4776-BEAC-0F779D92A13E}" dt="2023-07-31T12:31:12.974" v="25407" actId="2711"/>
          <ac:spMkLst>
            <pc:docMk/>
            <pc:sldMk cId="2093568246" sldId="2147479583"/>
            <ac:spMk id="606" creationId="{D1CF7F85-18D2-46F2-8D6E-D19546404185}"/>
          </ac:spMkLst>
        </pc:spChg>
        <pc:spChg chg="mod replST delST">
          <ac:chgData name="Mick Mooney" userId="e6518e4e-af4a-4bea-b39c-20489a1e5519" providerId="ADAL" clId="{3014DE50-B07B-4776-BEAC-0F779D92A13E}" dt="2023-07-31T12:31:12.974" v="25407" actId="2711"/>
          <ac:spMkLst>
            <pc:docMk/>
            <pc:sldMk cId="2093568246" sldId="2147479583"/>
            <ac:spMk id="607" creationId="{5E9DB7C5-E35B-4819-BA5E-AA78F9826259}"/>
          </ac:spMkLst>
        </pc:spChg>
        <pc:spChg chg="mod">
          <ac:chgData name="Mick Mooney" userId="e6518e4e-af4a-4bea-b39c-20489a1e5519" providerId="ADAL" clId="{3014DE50-B07B-4776-BEAC-0F779D92A13E}" dt="2023-07-31T12:31:12.974" v="25407" actId="2711"/>
          <ac:spMkLst>
            <pc:docMk/>
            <pc:sldMk cId="2093568246" sldId="2147479583"/>
            <ac:spMk id="609" creationId="{C1AB0CC7-B1CB-439F-A91C-EADAF28CB80E}"/>
          </ac:spMkLst>
        </pc:spChg>
        <pc:spChg chg="mod">
          <ac:chgData name="Mick Mooney" userId="e6518e4e-af4a-4bea-b39c-20489a1e5519" providerId="ADAL" clId="{3014DE50-B07B-4776-BEAC-0F779D92A13E}" dt="2023-07-31T12:31:12.974" v="25407" actId="2711"/>
          <ac:spMkLst>
            <pc:docMk/>
            <pc:sldMk cId="2093568246" sldId="2147479583"/>
            <ac:spMk id="615" creationId="{4AE9AC28-4F85-476C-B916-43F3FE0641B4}"/>
          </ac:spMkLst>
        </pc:spChg>
        <pc:spChg chg="mod">
          <ac:chgData name="Mick Mooney" userId="e6518e4e-af4a-4bea-b39c-20489a1e5519" providerId="ADAL" clId="{3014DE50-B07B-4776-BEAC-0F779D92A13E}" dt="2023-07-31T12:31:12.974" v="25407" actId="2711"/>
          <ac:spMkLst>
            <pc:docMk/>
            <pc:sldMk cId="2093568246" sldId="2147479583"/>
            <ac:spMk id="628" creationId="{E56C3305-7660-4686-AD5C-44094ECC0CD0}"/>
          </ac:spMkLst>
        </pc:spChg>
        <pc:spChg chg="mod replST delST">
          <ac:chgData name="Mick Mooney" userId="e6518e4e-af4a-4bea-b39c-20489a1e5519" providerId="ADAL" clId="{3014DE50-B07B-4776-BEAC-0F779D92A13E}" dt="2023-07-31T12:31:12.974" v="25407" actId="2711"/>
          <ac:spMkLst>
            <pc:docMk/>
            <pc:sldMk cId="2093568246" sldId="2147479583"/>
            <ac:spMk id="629" creationId="{08887785-A9B5-4486-9EF4-9E426BAE17F8}"/>
          </ac:spMkLst>
        </pc:spChg>
        <pc:spChg chg="mod replST delST">
          <ac:chgData name="Mick Mooney" userId="e6518e4e-af4a-4bea-b39c-20489a1e5519" providerId="ADAL" clId="{3014DE50-B07B-4776-BEAC-0F779D92A13E}" dt="2023-07-31T12:31:12.974" v="25407" actId="2711"/>
          <ac:spMkLst>
            <pc:docMk/>
            <pc:sldMk cId="2093568246" sldId="2147479583"/>
            <ac:spMk id="630" creationId="{701FEC38-DB70-4BA0-8ED6-E5BEC6DB842B}"/>
          </ac:spMkLst>
        </pc:spChg>
        <pc:spChg chg="mod">
          <ac:chgData name="Mick Mooney" userId="e6518e4e-af4a-4bea-b39c-20489a1e5519" providerId="ADAL" clId="{3014DE50-B07B-4776-BEAC-0F779D92A13E}" dt="2023-07-31T12:31:12.974" v="25407" actId="2711"/>
          <ac:spMkLst>
            <pc:docMk/>
            <pc:sldMk cId="2093568246" sldId="2147479583"/>
            <ac:spMk id="643" creationId="{1270E322-8EDD-4E86-A872-E1FE6A896269}"/>
          </ac:spMkLst>
        </pc:spChg>
        <pc:spChg chg="mod">
          <ac:chgData name="Mick Mooney" userId="e6518e4e-af4a-4bea-b39c-20489a1e5519" providerId="ADAL" clId="{3014DE50-B07B-4776-BEAC-0F779D92A13E}" dt="2023-07-31T12:31:12.974" v="25407" actId="2711"/>
          <ac:spMkLst>
            <pc:docMk/>
            <pc:sldMk cId="2093568246" sldId="2147479583"/>
            <ac:spMk id="644" creationId="{68044398-8EB1-4FFB-9F3D-ABE2C5E21A47}"/>
          </ac:spMkLst>
        </pc:spChg>
        <pc:spChg chg="mod">
          <ac:chgData name="Mick Mooney" userId="e6518e4e-af4a-4bea-b39c-20489a1e5519" providerId="ADAL" clId="{3014DE50-B07B-4776-BEAC-0F779D92A13E}" dt="2023-07-31T12:31:12.974" v="25407" actId="2711"/>
          <ac:spMkLst>
            <pc:docMk/>
            <pc:sldMk cId="2093568246" sldId="2147479583"/>
            <ac:spMk id="645" creationId="{E29A78DF-C417-4D0A-A7CC-9E13823468A3}"/>
          </ac:spMkLst>
        </pc:spChg>
        <pc:spChg chg="mod">
          <ac:chgData name="Mick Mooney" userId="e6518e4e-af4a-4bea-b39c-20489a1e5519" providerId="ADAL" clId="{3014DE50-B07B-4776-BEAC-0F779D92A13E}" dt="2023-07-31T12:31:12.974" v="25407" actId="2711"/>
          <ac:spMkLst>
            <pc:docMk/>
            <pc:sldMk cId="2093568246" sldId="2147479583"/>
            <ac:spMk id="646" creationId="{E6BBB50D-0F72-42FF-A9B5-8D555CDA4932}"/>
          </ac:spMkLst>
        </pc:spChg>
        <pc:spChg chg="mod">
          <ac:chgData name="Mick Mooney" userId="e6518e4e-af4a-4bea-b39c-20489a1e5519" providerId="ADAL" clId="{3014DE50-B07B-4776-BEAC-0F779D92A13E}" dt="2023-07-31T12:31:12.974" v="25407" actId="2711"/>
          <ac:spMkLst>
            <pc:docMk/>
            <pc:sldMk cId="2093568246" sldId="2147479583"/>
            <ac:spMk id="647" creationId="{20CB2F9C-9E71-4E6E-BB50-4B42327FE52A}"/>
          </ac:spMkLst>
        </pc:spChg>
        <pc:spChg chg="mod">
          <ac:chgData name="Mick Mooney" userId="e6518e4e-af4a-4bea-b39c-20489a1e5519" providerId="ADAL" clId="{3014DE50-B07B-4776-BEAC-0F779D92A13E}" dt="2023-07-31T12:31:12.974" v="25407" actId="2711"/>
          <ac:spMkLst>
            <pc:docMk/>
            <pc:sldMk cId="2093568246" sldId="2147479583"/>
            <ac:spMk id="648" creationId="{88B8076E-2732-468E-92AC-1D7CF4D1E541}"/>
          </ac:spMkLst>
        </pc:spChg>
        <pc:spChg chg="mod">
          <ac:chgData name="Mick Mooney" userId="e6518e4e-af4a-4bea-b39c-20489a1e5519" providerId="ADAL" clId="{3014DE50-B07B-4776-BEAC-0F779D92A13E}" dt="2023-07-31T12:31:12.974" v="25407" actId="2711"/>
          <ac:spMkLst>
            <pc:docMk/>
            <pc:sldMk cId="2093568246" sldId="2147479583"/>
            <ac:spMk id="649" creationId="{5DF40DEA-D0CF-4CD4-B9CE-975AC343454B}"/>
          </ac:spMkLst>
        </pc:spChg>
        <pc:spChg chg="mod">
          <ac:chgData name="Mick Mooney" userId="e6518e4e-af4a-4bea-b39c-20489a1e5519" providerId="ADAL" clId="{3014DE50-B07B-4776-BEAC-0F779D92A13E}" dt="2023-07-31T12:31:12.974" v="25407" actId="2711"/>
          <ac:spMkLst>
            <pc:docMk/>
            <pc:sldMk cId="2093568246" sldId="2147479583"/>
            <ac:spMk id="650" creationId="{0EE212DA-99B1-4742-8E4C-21DDFA34A079}"/>
          </ac:spMkLst>
        </pc:spChg>
        <pc:spChg chg="mod">
          <ac:chgData name="Mick Mooney" userId="e6518e4e-af4a-4bea-b39c-20489a1e5519" providerId="ADAL" clId="{3014DE50-B07B-4776-BEAC-0F779D92A13E}" dt="2023-07-31T12:31:12.974" v="25407" actId="2711"/>
          <ac:spMkLst>
            <pc:docMk/>
            <pc:sldMk cId="2093568246" sldId="2147479583"/>
            <ac:spMk id="651" creationId="{6F3F6635-CDE2-443B-9686-2EB72F6CCDC4}"/>
          </ac:spMkLst>
        </pc:spChg>
        <pc:spChg chg="mod">
          <ac:chgData name="Mick Mooney" userId="e6518e4e-af4a-4bea-b39c-20489a1e5519" providerId="ADAL" clId="{3014DE50-B07B-4776-BEAC-0F779D92A13E}" dt="2023-07-31T12:31:12.974" v="25407" actId="2711"/>
          <ac:spMkLst>
            <pc:docMk/>
            <pc:sldMk cId="2093568246" sldId="2147479583"/>
            <ac:spMk id="652" creationId="{32ADD4B8-0B24-42D1-AEC2-4A51C567FA84}"/>
          </ac:spMkLst>
        </pc:spChg>
        <pc:spChg chg="mod">
          <ac:chgData name="Mick Mooney" userId="e6518e4e-af4a-4bea-b39c-20489a1e5519" providerId="ADAL" clId="{3014DE50-B07B-4776-BEAC-0F779D92A13E}" dt="2023-07-31T12:31:12.974" v="25407" actId="2711"/>
          <ac:spMkLst>
            <pc:docMk/>
            <pc:sldMk cId="2093568246" sldId="2147479583"/>
            <ac:spMk id="653" creationId="{ED97B6EA-534B-4A81-A63D-C9EFA460E042}"/>
          </ac:spMkLst>
        </pc:spChg>
        <pc:spChg chg="mod">
          <ac:chgData name="Mick Mooney" userId="e6518e4e-af4a-4bea-b39c-20489a1e5519" providerId="ADAL" clId="{3014DE50-B07B-4776-BEAC-0F779D92A13E}" dt="2023-07-31T12:31:12.974" v="25407" actId="2711"/>
          <ac:spMkLst>
            <pc:docMk/>
            <pc:sldMk cId="2093568246" sldId="2147479583"/>
            <ac:spMk id="654" creationId="{D6008FAA-AE90-4B68-91E2-1FF1EE885417}"/>
          </ac:spMkLst>
        </pc:spChg>
        <pc:spChg chg="mod">
          <ac:chgData name="Mick Mooney" userId="e6518e4e-af4a-4bea-b39c-20489a1e5519" providerId="ADAL" clId="{3014DE50-B07B-4776-BEAC-0F779D92A13E}" dt="2023-07-31T12:31:12.974" v="25407" actId="2711"/>
          <ac:spMkLst>
            <pc:docMk/>
            <pc:sldMk cId="2093568246" sldId="2147479583"/>
            <ac:spMk id="655" creationId="{146B1C5B-1150-4237-9672-EC66A66E4590}"/>
          </ac:spMkLst>
        </pc:spChg>
        <pc:spChg chg="mod">
          <ac:chgData name="Mick Mooney" userId="e6518e4e-af4a-4bea-b39c-20489a1e5519" providerId="ADAL" clId="{3014DE50-B07B-4776-BEAC-0F779D92A13E}" dt="2023-07-31T12:31:12.974" v="25407" actId="2711"/>
          <ac:spMkLst>
            <pc:docMk/>
            <pc:sldMk cId="2093568246" sldId="2147479583"/>
            <ac:spMk id="656" creationId="{5AD9B9F0-F3CF-447D-B691-31358DEBAE89}"/>
          </ac:spMkLst>
        </pc:spChg>
        <pc:spChg chg="mod">
          <ac:chgData name="Mick Mooney" userId="e6518e4e-af4a-4bea-b39c-20489a1e5519" providerId="ADAL" clId="{3014DE50-B07B-4776-BEAC-0F779D92A13E}" dt="2023-07-31T12:31:12.974" v="25407" actId="2711"/>
          <ac:spMkLst>
            <pc:docMk/>
            <pc:sldMk cId="2093568246" sldId="2147479583"/>
            <ac:spMk id="657" creationId="{3221F085-0FEA-4155-8DCB-F568020924BC}"/>
          </ac:spMkLst>
        </pc:spChg>
        <pc:spChg chg="mod">
          <ac:chgData name="Mick Mooney" userId="e6518e4e-af4a-4bea-b39c-20489a1e5519" providerId="ADAL" clId="{3014DE50-B07B-4776-BEAC-0F779D92A13E}" dt="2023-07-31T12:31:12.974" v="25407" actId="2711"/>
          <ac:spMkLst>
            <pc:docMk/>
            <pc:sldMk cId="2093568246" sldId="2147479583"/>
            <ac:spMk id="658" creationId="{16C3A02B-BF18-4215-8BE3-7F5CE35E6A66}"/>
          </ac:spMkLst>
        </pc:spChg>
        <pc:spChg chg="mod">
          <ac:chgData name="Mick Mooney" userId="e6518e4e-af4a-4bea-b39c-20489a1e5519" providerId="ADAL" clId="{3014DE50-B07B-4776-BEAC-0F779D92A13E}" dt="2023-07-31T12:31:12.974" v="25407" actId="2711"/>
          <ac:spMkLst>
            <pc:docMk/>
            <pc:sldMk cId="2093568246" sldId="2147479583"/>
            <ac:spMk id="659" creationId="{767ED29B-A6F4-43A2-810B-6D5281655843}"/>
          </ac:spMkLst>
        </pc:spChg>
        <pc:spChg chg="mod">
          <ac:chgData name="Mick Mooney" userId="e6518e4e-af4a-4bea-b39c-20489a1e5519" providerId="ADAL" clId="{3014DE50-B07B-4776-BEAC-0F779D92A13E}" dt="2023-07-31T12:31:12.974" v="25407" actId="2711"/>
          <ac:spMkLst>
            <pc:docMk/>
            <pc:sldMk cId="2093568246" sldId="2147479583"/>
            <ac:spMk id="660" creationId="{3437EC5F-3617-4C31-B419-7AD91AA462E5}"/>
          </ac:spMkLst>
        </pc:spChg>
        <pc:spChg chg="mod">
          <ac:chgData name="Mick Mooney" userId="e6518e4e-af4a-4bea-b39c-20489a1e5519" providerId="ADAL" clId="{3014DE50-B07B-4776-BEAC-0F779D92A13E}" dt="2023-07-31T12:31:12.974" v="25407" actId="2711"/>
          <ac:spMkLst>
            <pc:docMk/>
            <pc:sldMk cId="2093568246" sldId="2147479583"/>
            <ac:spMk id="661" creationId="{79514124-627E-4C89-B2DB-02E36A97C78B}"/>
          </ac:spMkLst>
        </pc:spChg>
        <pc:spChg chg="mod">
          <ac:chgData name="Mick Mooney" userId="e6518e4e-af4a-4bea-b39c-20489a1e5519" providerId="ADAL" clId="{3014DE50-B07B-4776-BEAC-0F779D92A13E}" dt="2023-07-31T12:31:12.974" v="25407" actId="2711"/>
          <ac:spMkLst>
            <pc:docMk/>
            <pc:sldMk cId="2093568246" sldId="2147479583"/>
            <ac:spMk id="662" creationId="{1D753284-26E3-4E93-AF36-2F64A3762DB3}"/>
          </ac:spMkLst>
        </pc:spChg>
        <pc:spChg chg="mod">
          <ac:chgData name="Mick Mooney" userId="e6518e4e-af4a-4bea-b39c-20489a1e5519" providerId="ADAL" clId="{3014DE50-B07B-4776-BEAC-0F779D92A13E}" dt="2023-07-31T12:31:12.974" v="25407" actId="2711"/>
          <ac:spMkLst>
            <pc:docMk/>
            <pc:sldMk cId="2093568246" sldId="2147479583"/>
            <ac:spMk id="663" creationId="{3E7F3AC3-BF7B-4382-B590-9438CB67AEA1}"/>
          </ac:spMkLst>
        </pc:spChg>
        <pc:spChg chg="mod">
          <ac:chgData name="Mick Mooney" userId="e6518e4e-af4a-4bea-b39c-20489a1e5519" providerId="ADAL" clId="{3014DE50-B07B-4776-BEAC-0F779D92A13E}" dt="2023-07-31T12:31:12.974" v="25407" actId="2711"/>
          <ac:spMkLst>
            <pc:docMk/>
            <pc:sldMk cId="2093568246" sldId="2147479583"/>
            <ac:spMk id="664" creationId="{363EF897-6AAD-4A2C-85FE-C16AF897AF35}"/>
          </ac:spMkLst>
        </pc:spChg>
        <pc:spChg chg="mod">
          <ac:chgData name="Mick Mooney" userId="e6518e4e-af4a-4bea-b39c-20489a1e5519" providerId="ADAL" clId="{3014DE50-B07B-4776-BEAC-0F779D92A13E}" dt="2023-07-31T12:31:12.974" v="25407" actId="2711"/>
          <ac:spMkLst>
            <pc:docMk/>
            <pc:sldMk cId="2093568246" sldId="2147479583"/>
            <ac:spMk id="665" creationId="{7C145169-2261-47D9-A089-49A77522B371}"/>
          </ac:spMkLst>
        </pc:spChg>
        <pc:spChg chg="mod">
          <ac:chgData name="Mick Mooney" userId="e6518e4e-af4a-4bea-b39c-20489a1e5519" providerId="ADAL" clId="{3014DE50-B07B-4776-BEAC-0F779D92A13E}" dt="2023-07-31T12:31:12.974" v="25407" actId="2711"/>
          <ac:spMkLst>
            <pc:docMk/>
            <pc:sldMk cId="2093568246" sldId="2147479583"/>
            <ac:spMk id="666" creationId="{32B8DFEA-30C7-43FE-B003-0435C50F4EBD}"/>
          </ac:spMkLst>
        </pc:spChg>
        <pc:spChg chg="mod">
          <ac:chgData name="Mick Mooney" userId="e6518e4e-af4a-4bea-b39c-20489a1e5519" providerId="ADAL" clId="{3014DE50-B07B-4776-BEAC-0F779D92A13E}" dt="2023-07-31T12:31:12.974" v="25407" actId="2711"/>
          <ac:spMkLst>
            <pc:docMk/>
            <pc:sldMk cId="2093568246" sldId="2147479583"/>
            <ac:spMk id="667" creationId="{50BBBDDC-2261-4AAC-BDA2-EE43C474E847}"/>
          </ac:spMkLst>
        </pc:spChg>
        <pc:spChg chg="mod">
          <ac:chgData name="Mick Mooney" userId="e6518e4e-af4a-4bea-b39c-20489a1e5519" providerId="ADAL" clId="{3014DE50-B07B-4776-BEAC-0F779D92A13E}" dt="2023-07-31T12:31:12.974" v="25407" actId="2711"/>
          <ac:spMkLst>
            <pc:docMk/>
            <pc:sldMk cId="2093568246" sldId="2147479583"/>
            <ac:spMk id="668" creationId="{61A93629-07BC-4DCA-AD1C-D6FAC5F5EFB9}"/>
          </ac:spMkLst>
        </pc:spChg>
        <pc:spChg chg="mod">
          <ac:chgData name="Mick Mooney" userId="e6518e4e-af4a-4bea-b39c-20489a1e5519" providerId="ADAL" clId="{3014DE50-B07B-4776-BEAC-0F779D92A13E}" dt="2023-07-31T12:31:12.974" v="25407" actId="2711"/>
          <ac:spMkLst>
            <pc:docMk/>
            <pc:sldMk cId="2093568246" sldId="2147479583"/>
            <ac:spMk id="669" creationId="{477D8143-8D59-4B1F-9460-D83A15437553}"/>
          </ac:spMkLst>
        </pc:spChg>
        <pc:spChg chg="mod">
          <ac:chgData name="Mick Mooney" userId="e6518e4e-af4a-4bea-b39c-20489a1e5519" providerId="ADAL" clId="{3014DE50-B07B-4776-BEAC-0F779D92A13E}" dt="2023-07-31T12:31:12.974" v="25407" actId="2711"/>
          <ac:spMkLst>
            <pc:docMk/>
            <pc:sldMk cId="2093568246" sldId="2147479583"/>
            <ac:spMk id="670" creationId="{080C9B8B-A799-4890-8DC8-D3C7EA4ED55A}"/>
          </ac:spMkLst>
        </pc:spChg>
        <pc:spChg chg="mod">
          <ac:chgData name="Mick Mooney" userId="e6518e4e-af4a-4bea-b39c-20489a1e5519" providerId="ADAL" clId="{3014DE50-B07B-4776-BEAC-0F779D92A13E}" dt="2023-07-31T12:31:12.974" v="25407" actId="2711"/>
          <ac:spMkLst>
            <pc:docMk/>
            <pc:sldMk cId="2093568246" sldId="2147479583"/>
            <ac:spMk id="671" creationId="{C8F42CCE-8400-4F76-AB55-2DC2E78FF7FA}"/>
          </ac:spMkLst>
        </pc:spChg>
        <pc:spChg chg="mod">
          <ac:chgData name="Mick Mooney" userId="e6518e4e-af4a-4bea-b39c-20489a1e5519" providerId="ADAL" clId="{3014DE50-B07B-4776-BEAC-0F779D92A13E}" dt="2023-07-31T12:31:12.974" v="25407" actId="2711"/>
          <ac:spMkLst>
            <pc:docMk/>
            <pc:sldMk cId="2093568246" sldId="2147479583"/>
            <ac:spMk id="672" creationId="{EC6CBA41-97E7-4F86-A991-2E9AFF4ED69C}"/>
          </ac:spMkLst>
        </pc:spChg>
        <pc:spChg chg="mod">
          <ac:chgData name="Mick Mooney" userId="e6518e4e-af4a-4bea-b39c-20489a1e5519" providerId="ADAL" clId="{3014DE50-B07B-4776-BEAC-0F779D92A13E}" dt="2023-07-31T12:31:12.974" v="25407" actId="2711"/>
          <ac:spMkLst>
            <pc:docMk/>
            <pc:sldMk cId="2093568246" sldId="2147479583"/>
            <ac:spMk id="673" creationId="{32FED9AF-4F11-4349-BDAA-FE8C20FCB517}"/>
          </ac:spMkLst>
        </pc:spChg>
        <pc:spChg chg="mod">
          <ac:chgData name="Mick Mooney" userId="e6518e4e-af4a-4bea-b39c-20489a1e5519" providerId="ADAL" clId="{3014DE50-B07B-4776-BEAC-0F779D92A13E}" dt="2023-07-31T12:31:12.974" v="25407" actId="2711"/>
          <ac:spMkLst>
            <pc:docMk/>
            <pc:sldMk cId="2093568246" sldId="2147479583"/>
            <ac:spMk id="674" creationId="{8C0B1B84-6BC2-49E6-89EA-5AC75134CE0E}"/>
          </ac:spMkLst>
        </pc:spChg>
        <pc:spChg chg="mod">
          <ac:chgData name="Mick Mooney" userId="e6518e4e-af4a-4bea-b39c-20489a1e5519" providerId="ADAL" clId="{3014DE50-B07B-4776-BEAC-0F779D92A13E}" dt="2023-07-31T12:31:12.974" v="25407" actId="2711"/>
          <ac:spMkLst>
            <pc:docMk/>
            <pc:sldMk cId="2093568246" sldId="2147479583"/>
            <ac:spMk id="675" creationId="{CE8254D0-6FE3-4853-9B49-F73C9C430090}"/>
          </ac:spMkLst>
        </pc:spChg>
        <pc:spChg chg="mod">
          <ac:chgData name="Mick Mooney" userId="e6518e4e-af4a-4bea-b39c-20489a1e5519" providerId="ADAL" clId="{3014DE50-B07B-4776-BEAC-0F779D92A13E}" dt="2023-07-31T12:31:12.974" v="25407" actId="2711"/>
          <ac:spMkLst>
            <pc:docMk/>
            <pc:sldMk cId="2093568246" sldId="2147479583"/>
            <ac:spMk id="676" creationId="{2C86586A-AFB2-4078-A4CF-C4189985DF34}"/>
          </ac:spMkLst>
        </pc:spChg>
        <pc:spChg chg="mod">
          <ac:chgData name="Mick Mooney" userId="e6518e4e-af4a-4bea-b39c-20489a1e5519" providerId="ADAL" clId="{3014DE50-B07B-4776-BEAC-0F779D92A13E}" dt="2023-07-31T12:31:12.974" v="25407" actId="2711"/>
          <ac:spMkLst>
            <pc:docMk/>
            <pc:sldMk cId="2093568246" sldId="2147479583"/>
            <ac:spMk id="677" creationId="{9AB8D9D1-2C07-4578-8E41-4D4E7EA2B836}"/>
          </ac:spMkLst>
        </pc:spChg>
        <pc:spChg chg="mod">
          <ac:chgData name="Mick Mooney" userId="e6518e4e-af4a-4bea-b39c-20489a1e5519" providerId="ADAL" clId="{3014DE50-B07B-4776-BEAC-0F779D92A13E}" dt="2023-07-31T12:31:12.974" v="25407" actId="2711"/>
          <ac:spMkLst>
            <pc:docMk/>
            <pc:sldMk cId="2093568246" sldId="2147479583"/>
            <ac:spMk id="678" creationId="{EC868DD0-691B-445C-B949-0658A0649DD2}"/>
          </ac:spMkLst>
        </pc:spChg>
        <pc:spChg chg="mod">
          <ac:chgData name="Mick Mooney" userId="e6518e4e-af4a-4bea-b39c-20489a1e5519" providerId="ADAL" clId="{3014DE50-B07B-4776-BEAC-0F779D92A13E}" dt="2023-07-31T12:31:12.974" v="25407" actId="2711"/>
          <ac:spMkLst>
            <pc:docMk/>
            <pc:sldMk cId="2093568246" sldId="2147479583"/>
            <ac:spMk id="679" creationId="{06BB10B9-0333-4A5B-BB94-1B363E9C5F19}"/>
          </ac:spMkLst>
        </pc:spChg>
        <pc:spChg chg="mod">
          <ac:chgData name="Mick Mooney" userId="e6518e4e-af4a-4bea-b39c-20489a1e5519" providerId="ADAL" clId="{3014DE50-B07B-4776-BEAC-0F779D92A13E}" dt="2023-07-31T12:31:12.974" v="25407" actId="2711"/>
          <ac:spMkLst>
            <pc:docMk/>
            <pc:sldMk cId="2093568246" sldId="2147479583"/>
            <ac:spMk id="680" creationId="{22F35932-01C2-47BA-8DA4-310AE95EA7C5}"/>
          </ac:spMkLst>
        </pc:spChg>
        <pc:spChg chg="mod">
          <ac:chgData name="Mick Mooney" userId="e6518e4e-af4a-4bea-b39c-20489a1e5519" providerId="ADAL" clId="{3014DE50-B07B-4776-BEAC-0F779D92A13E}" dt="2023-07-31T12:31:12.974" v="25407" actId="2711"/>
          <ac:spMkLst>
            <pc:docMk/>
            <pc:sldMk cId="2093568246" sldId="2147479583"/>
            <ac:spMk id="681" creationId="{BC84817D-564F-48FD-A349-B6CFC33F9E91}"/>
          </ac:spMkLst>
        </pc:spChg>
        <pc:spChg chg="mod">
          <ac:chgData name="Mick Mooney" userId="e6518e4e-af4a-4bea-b39c-20489a1e5519" providerId="ADAL" clId="{3014DE50-B07B-4776-BEAC-0F779D92A13E}" dt="2023-07-31T12:31:12.974" v="25407" actId="2711"/>
          <ac:spMkLst>
            <pc:docMk/>
            <pc:sldMk cId="2093568246" sldId="2147479583"/>
            <ac:spMk id="682" creationId="{12DD330E-8887-4FCA-914F-DE748CB15D61}"/>
          </ac:spMkLst>
        </pc:spChg>
        <pc:spChg chg="mod">
          <ac:chgData name="Mick Mooney" userId="e6518e4e-af4a-4bea-b39c-20489a1e5519" providerId="ADAL" clId="{3014DE50-B07B-4776-BEAC-0F779D92A13E}" dt="2023-07-31T12:31:12.974" v="25407" actId="2711"/>
          <ac:spMkLst>
            <pc:docMk/>
            <pc:sldMk cId="2093568246" sldId="2147479583"/>
            <ac:spMk id="683" creationId="{AE1ABBAB-624C-480F-A483-0A11DCF299B8}"/>
          </ac:spMkLst>
        </pc:spChg>
        <pc:spChg chg="mod">
          <ac:chgData name="Mick Mooney" userId="e6518e4e-af4a-4bea-b39c-20489a1e5519" providerId="ADAL" clId="{3014DE50-B07B-4776-BEAC-0F779D92A13E}" dt="2023-07-31T12:31:12.974" v="25407" actId="2711"/>
          <ac:spMkLst>
            <pc:docMk/>
            <pc:sldMk cId="2093568246" sldId="2147479583"/>
            <ac:spMk id="684" creationId="{A9028CB3-BAF3-4085-A103-4888D2814873}"/>
          </ac:spMkLst>
        </pc:spChg>
        <pc:spChg chg="mod">
          <ac:chgData name="Mick Mooney" userId="e6518e4e-af4a-4bea-b39c-20489a1e5519" providerId="ADAL" clId="{3014DE50-B07B-4776-BEAC-0F779D92A13E}" dt="2023-07-31T12:31:12.974" v="25407" actId="2711"/>
          <ac:spMkLst>
            <pc:docMk/>
            <pc:sldMk cId="2093568246" sldId="2147479583"/>
            <ac:spMk id="685" creationId="{07924245-41D9-455A-A5BF-614F69ED1078}"/>
          </ac:spMkLst>
        </pc:spChg>
        <pc:spChg chg="mod">
          <ac:chgData name="Mick Mooney" userId="e6518e4e-af4a-4bea-b39c-20489a1e5519" providerId="ADAL" clId="{3014DE50-B07B-4776-BEAC-0F779D92A13E}" dt="2023-07-31T12:31:12.974" v="25407" actId="2711"/>
          <ac:spMkLst>
            <pc:docMk/>
            <pc:sldMk cId="2093568246" sldId="2147479583"/>
            <ac:spMk id="686" creationId="{32A570B2-B0F0-4CB6-955A-D4BEB078C145}"/>
          </ac:spMkLst>
        </pc:spChg>
        <pc:spChg chg="mod">
          <ac:chgData name="Mick Mooney" userId="e6518e4e-af4a-4bea-b39c-20489a1e5519" providerId="ADAL" clId="{3014DE50-B07B-4776-BEAC-0F779D92A13E}" dt="2023-07-31T12:31:12.974" v="25407" actId="2711"/>
          <ac:spMkLst>
            <pc:docMk/>
            <pc:sldMk cId="2093568246" sldId="2147479583"/>
            <ac:spMk id="687" creationId="{8DA0FDE3-B1B0-4534-99F5-BA0E2BF6112A}"/>
          </ac:spMkLst>
        </pc:spChg>
        <pc:spChg chg="mod">
          <ac:chgData name="Mick Mooney" userId="e6518e4e-af4a-4bea-b39c-20489a1e5519" providerId="ADAL" clId="{3014DE50-B07B-4776-BEAC-0F779D92A13E}" dt="2023-07-31T12:31:12.974" v="25407" actId="2711"/>
          <ac:spMkLst>
            <pc:docMk/>
            <pc:sldMk cId="2093568246" sldId="2147479583"/>
            <ac:spMk id="688" creationId="{DD1A97DA-AFA3-43C8-BA74-C08A19665BB2}"/>
          </ac:spMkLst>
        </pc:spChg>
        <pc:spChg chg="mod">
          <ac:chgData name="Mick Mooney" userId="e6518e4e-af4a-4bea-b39c-20489a1e5519" providerId="ADAL" clId="{3014DE50-B07B-4776-BEAC-0F779D92A13E}" dt="2023-07-31T12:31:12.974" v="25407" actId="2711"/>
          <ac:spMkLst>
            <pc:docMk/>
            <pc:sldMk cId="2093568246" sldId="2147479583"/>
            <ac:spMk id="689" creationId="{924254E9-9B50-4758-A2CA-2B7114D24FC9}"/>
          </ac:spMkLst>
        </pc:spChg>
        <pc:spChg chg="mod">
          <ac:chgData name="Mick Mooney" userId="e6518e4e-af4a-4bea-b39c-20489a1e5519" providerId="ADAL" clId="{3014DE50-B07B-4776-BEAC-0F779D92A13E}" dt="2023-07-31T12:31:12.974" v="25407" actId="2711"/>
          <ac:spMkLst>
            <pc:docMk/>
            <pc:sldMk cId="2093568246" sldId="2147479583"/>
            <ac:spMk id="690" creationId="{E82D66BB-0FE4-4431-8863-D721B15F1F01}"/>
          </ac:spMkLst>
        </pc:spChg>
        <pc:spChg chg="mod">
          <ac:chgData name="Mick Mooney" userId="e6518e4e-af4a-4bea-b39c-20489a1e5519" providerId="ADAL" clId="{3014DE50-B07B-4776-BEAC-0F779D92A13E}" dt="2023-07-31T12:31:12.974" v="25407" actId="2711"/>
          <ac:spMkLst>
            <pc:docMk/>
            <pc:sldMk cId="2093568246" sldId="2147479583"/>
            <ac:spMk id="691" creationId="{FF88B55E-86E8-47E7-8DB5-06B91F418D00}"/>
          </ac:spMkLst>
        </pc:spChg>
        <pc:spChg chg="mod">
          <ac:chgData name="Mick Mooney" userId="e6518e4e-af4a-4bea-b39c-20489a1e5519" providerId="ADAL" clId="{3014DE50-B07B-4776-BEAC-0F779D92A13E}" dt="2023-07-31T12:31:12.974" v="25407" actId="2711"/>
          <ac:spMkLst>
            <pc:docMk/>
            <pc:sldMk cId="2093568246" sldId="2147479583"/>
            <ac:spMk id="692" creationId="{0A7809C8-0855-4CE3-A87B-0BF95AC2A525}"/>
          </ac:spMkLst>
        </pc:spChg>
        <pc:spChg chg="mod">
          <ac:chgData name="Mick Mooney" userId="e6518e4e-af4a-4bea-b39c-20489a1e5519" providerId="ADAL" clId="{3014DE50-B07B-4776-BEAC-0F779D92A13E}" dt="2023-07-31T12:31:12.974" v="25407" actId="2711"/>
          <ac:spMkLst>
            <pc:docMk/>
            <pc:sldMk cId="2093568246" sldId="2147479583"/>
            <ac:spMk id="693" creationId="{15B176A3-84E6-4216-82DB-4BCDFA900E7F}"/>
          </ac:spMkLst>
        </pc:spChg>
        <pc:spChg chg="mod">
          <ac:chgData name="Mick Mooney" userId="e6518e4e-af4a-4bea-b39c-20489a1e5519" providerId="ADAL" clId="{3014DE50-B07B-4776-BEAC-0F779D92A13E}" dt="2023-07-31T12:31:12.974" v="25407" actId="2711"/>
          <ac:spMkLst>
            <pc:docMk/>
            <pc:sldMk cId="2093568246" sldId="2147479583"/>
            <ac:spMk id="694" creationId="{C72A2658-5A5B-4520-865B-F3B69FD74BC8}"/>
          </ac:spMkLst>
        </pc:spChg>
        <pc:spChg chg="mod">
          <ac:chgData name="Mick Mooney" userId="e6518e4e-af4a-4bea-b39c-20489a1e5519" providerId="ADAL" clId="{3014DE50-B07B-4776-BEAC-0F779D92A13E}" dt="2023-07-31T12:31:12.974" v="25407" actId="2711"/>
          <ac:spMkLst>
            <pc:docMk/>
            <pc:sldMk cId="2093568246" sldId="2147479583"/>
            <ac:spMk id="695" creationId="{22F7FA03-7F88-4922-BF8E-CFB77A9D5205}"/>
          </ac:spMkLst>
        </pc:spChg>
        <pc:spChg chg="mod">
          <ac:chgData name="Mick Mooney" userId="e6518e4e-af4a-4bea-b39c-20489a1e5519" providerId="ADAL" clId="{3014DE50-B07B-4776-BEAC-0F779D92A13E}" dt="2023-07-31T12:31:12.974" v="25407" actId="2711"/>
          <ac:spMkLst>
            <pc:docMk/>
            <pc:sldMk cId="2093568246" sldId="2147479583"/>
            <ac:spMk id="696" creationId="{3557FC36-5BE7-4773-867F-410ACE7F5D9B}"/>
          </ac:spMkLst>
        </pc:spChg>
        <pc:spChg chg="mod">
          <ac:chgData name="Mick Mooney" userId="e6518e4e-af4a-4bea-b39c-20489a1e5519" providerId="ADAL" clId="{3014DE50-B07B-4776-BEAC-0F779D92A13E}" dt="2023-07-31T12:31:12.974" v="25407" actId="2711"/>
          <ac:spMkLst>
            <pc:docMk/>
            <pc:sldMk cId="2093568246" sldId="2147479583"/>
            <ac:spMk id="697" creationId="{1BFBD813-BF99-476F-8E56-B86FF0433F5C}"/>
          </ac:spMkLst>
        </pc:spChg>
        <pc:spChg chg="mod">
          <ac:chgData name="Mick Mooney" userId="e6518e4e-af4a-4bea-b39c-20489a1e5519" providerId="ADAL" clId="{3014DE50-B07B-4776-BEAC-0F779D92A13E}" dt="2023-07-31T12:31:12.974" v="25407" actId="2711"/>
          <ac:spMkLst>
            <pc:docMk/>
            <pc:sldMk cId="2093568246" sldId="2147479583"/>
            <ac:spMk id="698" creationId="{40CF2763-4554-434F-9678-CEF8C4A21540}"/>
          </ac:spMkLst>
        </pc:spChg>
        <pc:spChg chg="mod">
          <ac:chgData name="Mick Mooney" userId="e6518e4e-af4a-4bea-b39c-20489a1e5519" providerId="ADAL" clId="{3014DE50-B07B-4776-BEAC-0F779D92A13E}" dt="2023-07-31T12:31:12.974" v="25407" actId="2711"/>
          <ac:spMkLst>
            <pc:docMk/>
            <pc:sldMk cId="2093568246" sldId="2147479583"/>
            <ac:spMk id="699" creationId="{40EEAB7C-3536-47D3-940D-CE2BE172E427}"/>
          </ac:spMkLst>
        </pc:spChg>
        <pc:spChg chg="mod">
          <ac:chgData name="Mick Mooney" userId="e6518e4e-af4a-4bea-b39c-20489a1e5519" providerId="ADAL" clId="{3014DE50-B07B-4776-BEAC-0F779D92A13E}" dt="2023-07-31T12:31:12.974" v="25407" actId="2711"/>
          <ac:spMkLst>
            <pc:docMk/>
            <pc:sldMk cId="2093568246" sldId="2147479583"/>
            <ac:spMk id="700" creationId="{25BB4E27-3D4A-4A41-A022-EE2419D9417C}"/>
          </ac:spMkLst>
        </pc:spChg>
        <pc:spChg chg="mod">
          <ac:chgData name="Mick Mooney" userId="e6518e4e-af4a-4bea-b39c-20489a1e5519" providerId="ADAL" clId="{3014DE50-B07B-4776-BEAC-0F779D92A13E}" dt="2023-07-31T12:31:12.974" v="25407" actId="2711"/>
          <ac:spMkLst>
            <pc:docMk/>
            <pc:sldMk cId="2093568246" sldId="2147479583"/>
            <ac:spMk id="701" creationId="{B7EDEDE7-BEBA-4612-AF3A-E3720D43828B}"/>
          </ac:spMkLst>
        </pc:spChg>
        <pc:spChg chg="mod">
          <ac:chgData name="Mick Mooney" userId="e6518e4e-af4a-4bea-b39c-20489a1e5519" providerId="ADAL" clId="{3014DE50-B07B-4776-BEAC-0F779D92A13E}" dt="2023-07-31T12:31:12.974" v="25407" actId="2711"/>
          <ac:spMkLst>
            <pc:docMk/>
            <pc:sldMk cId="2093568246" sldId="2147479583"/>
            <ac:spMk id="702" creationId="{1092096A-C3F6-45F0-89B0-51BC9069CAC6}"/>
          </ac:spMkLst>
        </pc:spChg>
        <pc:spChg chg="mod">
          <ac:chgData name="Mick Mooney" userId="e6518e4e-af4a-4bea-b39c-20489a1e5519" providerId="ADAL" clId="{3014DE50-B07B-4776-BEAC-0F779D92A13E}" dt="2023-07-31T12:31:12.974" v="25407" actId="2711"/>
          <ac:spMkLst>
            <pc:docMk/>
            <pc:sldMk cId="2093568246" sldId="2147479583"/>
            <ac:spMk id="703" creationId="{102D83A4-3845-438B-9859-D7434FDD797C}"/>
          </ac:spMkLst>
        </pc:spChg>
        <pc:spChg chg="mod">
          <ac:chgData name="Mick Mooney" userId="e6518e4e-af4a-4bea-b39c-20489a1e5519" providerId="ADAL" clId="{3014DE50-B07B-4776-BEAC-0F779D92A13E}" dt="2023-07-31T12:31:12.974" v="25407" actId="2711"/>
          <ac:spMkLst>
            <pc:docMk/>
            <pc:sldMk cId="2093568246" sldId="2147479583"/>
            <ac:spMk id="704" creationId="{15FC9177-1316-4176-B3B9-5C6DAE003CCC}"/>
          </ac:spMkLst>
        </pc:spChg>
        <pc:spChg chg="mod">
          <ac:chgData name="Mick Mooney" userId="e6518e4e-af4a-4bea-b39c-20489a1e5519" providerId="ADAL" clId="{3014DE50-B07B-4776-BEAC-0F779D92A13E}" dt="2023-07-31T12:31:12.974" v="25407" actId="2711"/>
          <ac:spMkLst>
            <pc:docMk/>
            <pc:sldMk cId="2093568246" sldId="2147479583"/>
            <ac:spMk id="705" creationId="{542F68BB-C7BB-4CEA-91DA-DC5CBDB8365F}"/>
          </ac:spMkLst>
        </pc:spChg>
        <pc:spChg chg="mod">
          <ac:chgData name="Mick Mooney" userId="e6518e4e-af4a-4bea-b39c-20489a1e5519" providerId="ADAL" clId="{3014DE50-B07B-4776-BEAC-0F779D92A13E}" dt="2023-07-31T12:31:12.974" v="25407" actId="2711"/>
          <ac:spMkLst>
            <pc:docMk/>
            <pc:sldMk cId="2093568246" sldId="2147479583"/>
            <ac:spMk id="706" creationId="{5CC30451-6618-439F-9D71-521040352CC0}"/>
          </ac:spMkLst>
        </pc:spChg>
        <pc:spChg chg="mod">
          <ac:chgData name="Mick Mooney" userId="e6518e4e-af4a-4bea-b39c-20489a1e5519" providerId="ADAL" clId="{3014DE50-B07B-4776-BEAC-0F779D92A13E}" dt="2023-07-31T12:31:12.974" v="25407" actId="2711"/>
          <ac:spMkLst>
            <pc:docMk/>
            <pc:sldMk cId="2093568246" sldId="2147479583"/>
            <ac:spMk id="707" creationId="{607A8031-FF9F-4FC7-85DB-2C42A7891B7A}"/>
          </ac:spMkLst>
        </pc:spChg>
        <pc:spChg chg="mod">
          <ac:chgData name="Mick Mooney" userId="e6518e4e-af4a-4bea-b39c-20489a1e5519" providerId="ADAL" clId="{3014DE50-B07B-4776-BEAC-0F779D92A13E}" dt="2023-07-31T12:31:12.974" v="25407" actId="2711"/>
          <ac:spMkLst>
            <pc:docMk/>
            <pc:sldMk cId="2093568246" sldId="2147479583"/>
            <ac:spMk id="708" creationId="{665AF13C-DB96-4538-8136-97E3B71560DB}"/>
          </ac:spMkLst>
        </pc:spChg>
        <pc:spChg chg="mod">
          <ac:chgData name="Mick Mooney" userId="e6518e4e-af4a-4bea-b39c-20489a1e5519" providerId="ADAL" clId="{3014DE50-B07B-4776-BEAC-0F779D92A13E}" dt="2023-07-31T12:31:12.974" v="25407" actId="2711"/>
          <ac:spMkLst>
            <pc:docMk/>
            <pc:sldMk cId="2093568246" sldId="2147479583"/>
            <ac:spMk id="709" creationId="{D5A513BA-0813-4C1F-94D5-33A0A2B5388A}"/>
          </ac:spMkLst>
        </pc:spChg>
        <pc:spChg chg="mod">
          <ac:chgData name="Mick Mooney" userId="e6518e4e-af4a-4bea-b39c-20489a1e5519" providerId="ADAL" clId="{3014DE50-B07B-4776-BEAC-0F779D92A13E}" dt="2023-07-31T12:31:12.974" v="25407" actId="2711"/>
          <ac:spMkLst>
            <pc:docMk/>
            <pc:sldMk cId="2093568246" sldId="2147479583"/>
            <ac:spMk id="710" creationId="{3C274E04-A300-4456-B959-162C597E13F0}"/>
          </ac:spMkLst>
        </pc:spChg>
        <pc:spChg chg="mod">
          <ac:chgData name="Mick Mooney" userId="e6518e4e-af4a-4bea-b39c-20489a1e5519" providerId="ADAL" clId="{3014DE50-B07B-4776-BEAC-0F779D92A13E}" dt="2023-07-31T12:31:12.974" v="25407" actId="2711"/>
          <ac:spMkLst>
            <pc:docMk/>
            <pc:sldMk cId="2093568246" sldId="2147479583"/>
            <ac:spMk id="711" creationId="{B54D32B8-49EB-40EC-9AEB-C0CC4717CF41}"/>
          </ac:spMkLst>
        </pc:spChg>
        <pc:spChg chg="mod">
          <ac:chgData name="Mick Mooney" userId="e6518e4e-af4a-4bea-b39c-20489a1e5519" providerId="ADAL" clId="{3014DE50-B07B-4776-BEAC-0F779D92A13E}" dt="2023-07-31T12:31:12.974" v="25407" actId="2711"/>
          <ac:spMkLst>
            <pc:docMk/>
            <pc:sldMk cId="2093568246" sldId="2147479583"/>
            <ac:spMk id="712" creationId="{A2327470-A091-4D00-B707-ED95F7F97FA9}"/>
          </ac:spMkLst>
        </pc:spChg>
        <pc:spChg chg="mod">
          <ac:chgData name="Mick Mooney" userId="e6518e4e-af4a-4bea-b39c-20489a1e5519" providerId="ADAL" clId="{3014DE50-B07B-4776-BEAC-0F779D92A13E}" dt="2023-07-31T12:31:12.974" v="25407" actId="2711"/>
          <ac:spMkLst>
            <pc:docMk/>
            <pc:sldMk cId="2093568246" sldId="2147479583"/>
            <ac:spMk id="713" creationId="{D9F87BDA-E21D-48CC-96FC-D63EB6D47731}"/>
          </ac:spMkLst>
        </pc:spChg>
        <pc:spChg chg="mod">
          <ac:chgData name="Mick Mooney" userId="e6518e4e-af4a-4bea-b39c-20489a1e5519" providerId="ADAL" clId="{3014DE50-B07B-4776-BEAC-0F779D92A13E}" dt="2023-07-31T12:31:12.974" v="25407" actId="2711"/>
          <ac:spMkLst>
            <pc:docMk/>
            <pc:sldMk cId="2093568246" sldId="2147479583"/>
            <ac:spMk id="714" creationId="{05B12FCC-CE00-487D-B57D-444D302213F6}"/>
          </ac:spMkLst>
        </pc:spChg>
        <pc:spChg chg="mod">
          <ac:chgData name="Mick Mooney" userId="e6518e4e-af4a-4bea-b39c-20489a1e5519" providerId="ADAL" clId="{3014DE50-B07B-4776-BEAC-0F779D92A13E}" dt="2023-07-31T12:31:12.974" v="25407" actId="2711"/>
          <ac:spMkLst>
            <pc:docMk/>
            <pc:sldMk cId="2093568246" sldId="2147479583"/>
            <ac:spMk id="715" creationId="{54509567-86A0-4318-B59E-C8965EF66A50}"/>
          </ac:spMkLst>
        </pc:spChg>
        <pc:spChg chg="mod">
          <ac:chgData name="Mick Mooney" userId="e6518e4e-af4a-4bea-b39c-20489a1e5519" providerId="ADAL" clId="{3014DE50-B07B-4776-BEAC-0F779D92A13E}" dt="2023-07-31T12:31:12.974" v="25407" actId="2711"/>
          <ac:spMkLst>
            <pc:docMk/>
            <pc:sldMk cId="2093568246" sldId="2147479583"/>
            <ac:spMk id="716" creationId="{DA84AE14-FFED-49CF-AB7D-D68A3CFDD233}"/>
          </ac:spMkLst>
        </pc:spChg>
        <pc:spChg chg="mod">
          <ac:chgData name="Mick Mooney" userId="e6518e4e-af4a-4bea-b39c-20489a1e5519" providerId="ADAL" clId="{3014DE50-B07B-4776-BEAC-0F779D92A13E}" dt="2023-07-31T12:31:12.974" v="25407" actId="2711"/>
          <ac:spMkLst>
            <pc:docMk/>
            <pc:sldMk cId="2093568246" sldId="2147479583"/>
            <ac:spMk id="717" creationId="{44465479-41FE-4555-949C-DE2364526036}"/>
          </ac:spMkLst>
        </pc:spChg>
        <pc:spChg chg="mod">
          <ac:chgData name="Mick Mooney" userId="e6518e4e-af4a-4bea-b39c-20489a1e5519" providerId="ADAL" clId="{3014DE50-B07B-4776-BEAC-0F779D92A13E}" dt="2023-07-31T12:31:12.974" v="25407" actId="2711"/>
          <ac:spMkLst>
            <pc:docMk/>
            <pc:sldMk cId="2093568246" sldId="2147479583"/>
            <ac:spMk id="718" creationId="{7F94E751-3723-4B2A-A46E-94AC25436205}"/>
          </ac:spMkLst>
        </pc:spChg>
        <pc:spChg chg="mod">
          <ac:chgData name="Mick Mooney" userId="e6518e4e-af4a-4bea-b39c-20489a1e5519" providerId="ADAL" clId="{3014DE50-B07B-4776-BEAC-0F779D92A13E}" dt="2023-07-31T12:31:12.974" v="25407" actId="2711"/>
          <ac:spMkLst>
            <pc:docMk/>
            <pc:sldMk cId="2093568246" sldId="2147479583"/>
            <ac:spMk id="719" creationId="{DB2C2875-962D-4FAF-A103-FC8C753EFACD}"/>
          </ac:spMkLst>
        </pc:spChg>
        <pc:spChg chg="mod">
          <ac:chgData name="Mick Mooney" userId="e6518e4e-af4a-4bea-b39c-20489a1e5519" providerId="ADAL" clId="{3014DE50-B07B-4776-BEAC-0F779D92A13E}" dt="2023-07-31T12:31:12.974" v="25407" actId="2711"/>
          <ac:spMkLst>
            <pc:docMk/>
            <pc:sldMk cId="2093568246" sldId="2147479583"/>
            <ac:spMk id="720" creationId="{886153EA-E116-4C11-8A3E-C70B6173DC58}"/>
          </ac:spMkLst>
        </pc:spChg>
        <pc:spChg chg="mod">
          <ac:chgData name="Mick Mooney" userId="e6518e4e-af4a-4bea-b39c-20489a1e5519" providerId="ADAL" clId="{3014DE50-B07B-4776-BEAC-0F779D92A13E}" dt="2023-07-31T12:31:12.974" v="25407" actId="2711"/>
          <ac:spMkLst>
            <pc:docMk/>
            <pc:sldMk cId="2093568246" sldId="2147479583"/>
            <ac:spMk id="721" creationId="{1C7E80E2-F057-4B19-913A-A5D747DD6EB8}"/>
          </ac:spMkLst>
        </pc:spChg>
        <pc:spChg chg="mod">
          <ac:chgData name="Mick Mooney" userId="e6518e4e-af4a-4bea-b39c-20489a1e5519" providerId="ADAL" clId="{3014DE50-B07B-4776-BEAC-0F779D92A13E}" dt="2023-07-31T12:31:12.974" v="25407" actId="2711"/>
          <ac:spMkLst>
            <pc:docMk/>
            <pc:sldMk cId="2093568246" sldId="2147479583"/>
            <ac:spMk id="722" creationId="{AE657994-DDC0-49E1-BE0C-BB7CA882E061}"/>
          </ac:spMkLst>
        </pc:spChg>
        <pc:spChg chg="mod">
          <ac:chgData name="Mick Mooney" userId="e6518e4e-af4a-4bea-b39c-20489a1e5519" providerId="ADAL" clId="{3014DE50-B07B-4776-BEAC-0F779D92A13E}" dt="2023-07-31T12:31:12.974" v="25407" actId="2711"/>
          <ac:spMkLst>
            <pc:docMk/>
            <pc:sldMk cId="2093568246" sldId="2147479583"/>
            <ac:spMk id="723" creationId="{DCA93271-705E-46D7-BEE5-378D4805A1D4}"/>
          </ac:spMkLst>
        </pc:spChg>
        <pc:spChg chg="mod">
          <ac:chgData name="Mick Mooney" userId="e6518e4e-af4a-4bea-b39c-20489a1e5519" providerId="ADAL" clId="{3014DE50-B07B-4776-BEAC-0F779D92A13E}" dt="2023-07-31T12:31:12.974" v="25407" actId="2711"/>
          <ac:spMkLst>
            <pc:docMk/>
            <pc:sldMk cId="2093568246" sldId="2147479583"/>
            <ac:spMk id="724" creationId="{5DDC65C4-7ACD-40AC-840B-C7A6B0111A04}"/>
          </ac:spMkLst>
        </pc:spChg>
        <pc:spChg chg="mod">
          <ac:chgData name="Mick Mooney" userId="e6518e4e-af4a-4bea-b39c-20489a1e5519" providerId="ADAL" clId="{3014DE50-B07B-4776-BEAC-0F779D92A13E}" dt="2023-07-31T12:31:12.974" v="25407" actId="2711"/>
          <ac:spMkLst>
            <pc:docMk/>
            <pc:sldMk cId="2093568246" sldId="2147479583"/>
            <ac:spMk id="725" creationId="{FF11B69E-D40E-4C34-8729-CCB2660FDD68}"/>
          </ac:spMkLst>
        </pc:spChg>
        <pc:spChg chg="mod">
          <ac:chgData name="Mick Mooney" userId="e6518e4e-af4a-4bea-b39c-20489a1e5519" providerId="ADAL" clId="{3014DE50-B07B-4776-BEAC-0F779D92A13E}" dt="2023-07-31T12:31:12.974" v="25407" actId="2711"/>
          <ac:spMkLst>
            <pc:docMk/>
            <pc:sldMk cId="2093568246" sldId="2147479583"/>
            <ac:spMk id="726" creationId="{D693FFA6-E186-40DC-84BD-E2D1998741B2}"/>
          </ac:spMkLst>
        </pc:spChg>
        <pc:spChg chg="mod">
          <ac:chgData name="Mick Mooney" userId="e6518e4e-af4a-4bea-b39c-20489a1e5519" providerId="ADAL" clId="{3014DE50-B07B-4776-BEAC-0F779D92A13E}" dt="2023-07-31T12:31:12.974" v="25407" actId="2711"/>
          <ac:spMkLst>
            <pc:docMk/>
            <pc:sldMk cId="2093568246" sldId="2147479583"/>
            <ac:spMk id="727" creationId="{2F1F4EAA-4281-4646-A10D-8D08667ED8F6}"/>
          </ac:spMkLst>
        </pc:spChg>
        <pc:spChg chg="mod">
          <ac:chgData name="Mick Mooney" userId="e6518e4e-af4a-4bea-b39c-20489a1e5519" providerId="ADAL" clId="{3014DE50-B07B-4776-BEAC-0F779D92A13E}" dt="2023-07-31T12:31:12.974" v="25407" actId="2711"/>
          <ac:spMkLst>
            <pc:docMk/>
            <pc:sldMk cId="2093568246" sldId="2147479583"/>
            <ac:spMk id="728" creationId="{FDEF282C-3198-4826-AC73-08612BFBBE70}"/>
          </ac:spMkLst>
        </pc:spChg>
        <pc:spChg chg="mod">
          <ac:chgData name="Mick Mooney" userId="e6518e4e-af4a-4bea-b39c-20489a1e5519" providerId="ADAL" clId="{3014DE50-B07B-4776-BEAC-0F779D92A13E}" dt="2023-07-31T12:31:12.974" v="25407" actId="2711"/>
          <ac:spMkLst>
            <pc:docMk/>
            <pc:sldMk cId="2093568246" sldId="2147479583"/>
            <ac:spMk id="729" creationId="{8FEA6937-6747-4D6D-8F3B-9C123FA0B7A0}"/>
          </ac:spMkLst>
        </pc:spChg>
        <pc:spChg chg="mod">
          <ac:chgData name="Mick Mooney" userId="e6518e4e-af4a-4bea-b39c-20489a1e5519" providerId="ADAL" clId="{3014DE50-B07B-4776-BEAC-0F779D92A13E}" dt="2023-07-31T12:31:12.974" v="25407" actId="2711"/>
          <ac:spMkLst>
            <pc:docMk/>
            <pc:sldMk cId="2093568246" sldId="2147479583"/>
            <ac:spMk id="730" creationId="{F5A064A9-1AF0-496F-9C55-E6FD834522A3}"/>
          </ac:spMkLst>
        </pc:spChg>
        <pc:spChg chg="mod">
          <ac:chgData name="Mick Mooney" userId="e6518e4e-af4a-4bea-b39c-20489a1e5519" providerId="ADAL" clId="{3014DE50-B07B-4776-BEAC-0F779D92A13E}" dt="2023-07-31T12:31:12.974" v="25407" actId="2711"/>
          <ac:spMkLst>
            <pc:docMk/>
            <pc:sldMk cId="2093568246" sldId="2147479583"/>
            <ac:spMk id="731" creationId="{C6D2C717-3FCC-4C92-84A3-92482688DC0E}"/>
          </ac:spMkLst>
        </pc:spChg>
        <pc:spChg chg="mod">
          <ac:chgData name="Mick Mooney" userId="e6518e4e-af4a-4bea-b39c-20489a1e5519" providerId="ADAL" clId="{3014DE50-B07B-4776-BEAC-0F779D92A13E}" dt="2023-07-31T12:31:12.974" v="25407" actId="2711"/>
          <ac:spMkLst>
            <pc:docMk/>
            <pc:sldMk cId="2093568246" sldId="2147479583"/>
            <ac:spMk id="732" creationId="{9A81471C-8388-4C41-8A16-805F888A2682}"/>
          </ac:spMkLst>
        </pc:spChg>
        <pc:spChg chg="mod">
          <ac:chgData name="Mick Mooney" userId="e6518e4e-af4a-4bea-b39c-20489a1e5519" providerId="ADAL" clId="{3014DE50-B07B-4776-BEAC-0F779D92A13E}" dt="2023-07-31T12:31:12.974" v="25407" actId="2711"/>
          <ac:spMkLst>
            <pc:docMk/>
            <pc:sldMk cId="2093568246" sldId="2147479583"/>
            <ac:spMk id="733" creationId="{B7B58C45-EB0C-40B2-B1CD-1BACB26805D3}"/>
          </ac:spMkLst>
        </pc:spChg>
        <pc:spChg chg="mod">
          <ac:chgData name="Mick Mooney" userId="e6518e4e-af4a-4bea-b39c-20489a1e5519" providerId="ADAL" clId="{3014DE50-B07B-4776-BEAC-0F779D92A13E}" dt="2023-07-31T12:31:12.974" v="25407" actId="2711"/>
          <ac:spMkLst>
            <pc:docMk/>
            <pc:sldMk cId="2093568246" sldId="2147479583"/>
            <ac:spMk id="734" creationId="{13ACEACE-877E-42E5-9D5C-1E9F516180E6}"/>
          </ac:spMkLst>
        </pc:spChg>
        <pc:spChg chg="mod">
          <ac:chgData name="Mick Mooney" userId="e6518e4e-af4a-4bea-b39c-20489a1e5519" providerId="ADAL" clId="{3014DE50-B07B-4776-BEAC-0F779D92A13E}" dt="2023-07-31T12:31:12.974" v="25407" actId="2711"/>
          <ac:spMkLst>
            <pc:docMk/>
            <pc:sldMk cId="2093568246" sldId="2147479583"/>
            <ac:spMk id="735" creationId="{2066B6E8-C98A-459A-B2ED-8A0F4358B61C}"/>
          </ac:spMkLst>
        </pc:spChg>
        <pc:spChg chg="mod">
          <ac:chgData name="Mick Mooney" userId="e6518e4e-af4a-4bea-b39c-20489a1e5519" providerId="ADAL" clId="{3014DE50-B07B-4776-BEAC-0F779D92A13E}" dt="2023-07-31T12:31:12.974" v="25407" actId="2711"/>
          <ac:spMkLst>
            <pc:docMk/>
            <pc:sldMk cId="2093568246" sldId="2147479583"/>
            <ac:spMk id="736" creationId="{BF09F27E-4230-4239-B9F2-462723E10375}"/>
          </ac:spMkLst>
        </pc:spChg>
        <pc:spChg chg="mod">
          <ac:chgData name="Mick Mooney" userId="e6518e4e-af4a-4bea-b39c-20489a1e5519" providerId="ADAL" clId="{3014DE50-B07B-4776-BEAC-0F779D92A13E}" dt="2023-07-31T12:31:12.974" v="25407" actId="2711"/>
          <ac:spMkLst>
            <pc:docMk/>
            <pc:sldMk cId="2093568246" sldId="2147479583"/>
            <ac:spMk id="737" creationId="{A11572A8-D22F-4536-BE09-0CB42BB3E77F}"/>
          </ac:spMkLst>
        </pc:spChg>
        <pc:spChg chg="mod">
          <ac:chgData name="Mick Mooney" userId="e6518e4e-af4a-4bea-b39c-20489a1e5519" providerId="ADAL" clId="{3014DE50-B07B-4776-BEAC-0F779D92A13E}" dt="2023-07-31T12:31:12.974" v="25407" actId="2711"/>
          <ac:spMkLst>
            <pc:docMk/>
            <pc:sldMk cId="2093568246" sldId="2147479583"/>
            <ac:spMk id="738" creationId="{F9FB002A-3A3C-4490-8FDA-A8FCC96AF4B1}"/>
          </ac:spMkLst>
        </pc:spChg>
        <pc:spChg chg="mod">
          <ac:chgData name="Mick Mooney" userId="e6518e4e-af4a-4bea-b39c-20489a1e5519" providerId="ADAL" clId="{3014DE50-B07B-4776-BEAC-0F779D92A13E}" dt="2023-07-31T12:31:12.974" v="25407" actId="2711"/>
          <ac:spMkLst>
            <pc:docMk/>
            <pc:sldMk cId="2093568246" sldId="2147479583"/>
            <ac:spMk id="739" creationId="{C829821D-78A2-406D-93E0-8A373AF8195E}"/>
          </ac:spMkLst>
        </pc:spChg>
        <pc:spChg chg="mod">
          <ac:chgData name="Mick Mooney" userId="e6518e4e-af4a-4bea-b39c-20489a1e5519" providerId="ADAL" clId="{3014DE50-B07B-4776-BEAC-0F779D92A13E}" dt="2023-07-31T12:31:12.974" v="25407" actId="2711"/>
          <ac:spMkLst>
            <pc:docMk/>
            <pc:sldMk cId="2093568246" sldId="2147479583"/>
            <ac:spMk id="740" creationId="{344F8AC8-F52F-4E0B-B047-2D77C0F83902}"/>
          </ac:spMkLst>
        </pc:spChg>
        <pc:spChg chg="mod">
          <ac:chgData name="Mick Mooney" userId="e6518e4e-af4a-4bea-b39c-20489a1e5519" providerId="ADAL" clId="{3014DE50-B07B-4776-BEAC-0F779D92A13E}" dt="2023-07-31T12:31:12.974" v="25407" actId="2711"/>
          <ac:spMkLst>
            <pc:docMk/>
            <pc:sldMk cId="2093568246" sldId="2147479583"/>
            <ac:spMk id="741" creationId="{AE1FE874-F107-440E-8AB9-711AB0D55660}"/>
          </ac:spMkLst>
        </pc:spChg>
        <pc:spChg chg="mod">
          <ac:chgData name="Mick Mooney" userId="e6518e4e-af4a-4bea-b39c-20489a1e5519" providerId="ADAL" clId="{3014DE50-B07B-4776-BEAC-0F779D92A13E}" dt="2023-07-31T12:31:12.974" v="25407" actId="2711"/>
          <ac:spMkLst>
            <pc:docMk/>
            <pc:sldMk cId="2093568246" sldId="2147479583"/>
            <ac:spMk id="742" creationId="{220D1DC2-3D73-4196-BD16-47131A6B57DF}"/>
          </ac:spMkLst>
        </pc:spChg>
        <pc:spChg chg="mod">
          <ac:chgData name="Mick Mooney" userId="e6518e4e-af4a-4bea-b39c-20489a1e5519" providerId="ADAL" clId="{3014DE50-B07B-4776-BEAC-0F779D92A13E}" dt="2023-07-31T12:31:12.974" v="25407" actId="2711"/>
          <ac:spMkLst>
            <pc:docMk/>
            <pc:sldMk cId="2093568246" sldId="2147479583"/>
            <ac:spMk id="743" creationId="{C6D9BC04-C76F-4F5B-A963-0CD9E3BC6B39}"/>
          </ac:spMkLst>
        </pc:spChg>
        <pc:spChg chg="mod">
          <ac:chgData name="Mick Mooney" userId="e6518e4e-af4a-4bea-b39c-20489a1e5519" providerId="ADAL" clId="{3014DE50-B07B-4776-BEAC-0F779D92A13E}" dt="2023-07-31T12:31:12.974" v="25407" actId="2711"/>
          <ac:spMkLst>
            <pc:docMk/>
            <pc:sldMk cId="2093568246" sldId="2147479583"/>
            <ac:spMk id="744" creationId="{2CD2D33B-EF54-46C6-8C42-E27B7AFB8015}"/>
          </ac:spMkLst>
        </pc:spChg>
        <pc:spChg chg="mod">
          <ac:chgData name="Mick Mooney" userId="e6518e4e-af4a-4bea-b39c-20489a1e5519" providerId="ADAL" clId="{3014DE50-B07B-4776-BEAC-0F779D92A13E}" dt="2023-07-31T12:31:12.974" v="25407" actId="2711"/>
          <ac:spMkLst>
            <pc:docMk/>
            <pc:sldMk cId="2093568246" sldId="2147479583"/>
            <ac:spMk id="745" creationId="{FA7922C7-A701-43C8-9C37-52297D1C64AE}"/>
          </ac:spMkLst>
        </pc:spChg>
        <pc:spChg chg="mod">
          <ac:chgData name="Mick Mooney" userId="e6518e4e-af4a-4bea-b39c-20489a1e5519" providerId="ADAL" clId="{3014DE50-B07B-4776-BEAC-0F779D92A13E}" dt="2023-07-31T12:31:12.974" v="25407" actId="2711"/>
          <ac:spMkLst>
            <pc:docMk/>
            <pc:sldMk cId="2093568246" sldId="2147479583"/>
            <ac:spMk id="746" creationId="{184CB5FC-33B8-4AC8-B9D3-06E029922C14}"/>
          </ac:spMkLst>
        </pc:spChg>
        <pc:spChg chg="mod">
          <ac:chgData name="Mick Mooney" userId="e6518e4e-af4a-4bea-b39c-20489a1e5519" providerId="ADAL" clId="{3014DE50-B07B-4776-BEAC-0F779D92A13E}" dt="2023-07-31T12:31:12.974" v="25407" actId="2711"/>
          <ac:spMkLst>
            <pc:docMk/>
            <pc:sldMk cId="2093568246" sldId="2147479583"/>
            <ac:spMk id="747" creationId="{3319B794-041E-4A25-97A0-6A41EE96658B}"/>
          </ac:spMkLst>
        </pc:spChg>
        <pc:spChg chg="mod">
          <ac:chgData name="Mick Mooney" userId="e6518e4e-af4a-4bea-b39c-20489a1e5519" providerId="ADAL" clId="{3014DE50-B07B-4776-BEAC-0F779D92A13E}" dt="2023-07-31T12:31:12.974" v="25407" actId="2711"/>
          <ac:spMkLst>
            <pc:docMk/>
            <pc:sldMk cId="2093568246" sldId="2147479583"/>
            <ac:spMk id="748" creationId="{2B33050B-F78F-41E3-A844-98A51B707A53}"/>
          </ac:spMkLst>
        </pc:spChg>
        <pc:spChg chg="mod">
          <ac:chgData name="Mick Mooney" userId="e6518e4e-af4a-4bea-b39c-20489a1e5519" providerId="ADAL" clId="{3014DE50-B07B-4776-BEAC-0F779D92A13E}" dt="2023-07-31T12:31:12.974" v="25407" actId="2711"/>
          <ac:spMkLst>
            <pc:docMk/>
            <pc:sldMk cId="2093568246" sldId="2147479583"/>
            <ac:spMk id="749" creationId="{BCF537DD-83E1-486F-A059-B598596DEC61}"/>
          </ac:spMkLst>
        </pc:spChg>
        <pc:spChg chg="mod">
          <ac:chgData name="Mick Mooney" userId="e6518e4e-af4a-4bea-b39c-20489a1e5519" providerId="ADAL" clId="{3014DE50-B07B-4776-BEAC-0F779D92A13E}" dt="2023-07-31T12:31:12.974" v="25407" actId="2711"/>
          <ac:spMkLst>
            <pc:docMk/>
            <pc:sldMk cId="2093568246" sldId="2147479583"/>
            <ac:spMk id="750" creationId="{1A89978A-3D64-4BB8-BF60-BD8D30E7EEEE}"/>
          </ac:spMkLst>
        </pc:spChg>
        <pc:spChg chg="mod">
          <ac:chgData name="Mick Mooney" userId="e6518e4e-af4a-4bea-b39c-20489a1e5519" providerId="ADAL" clId="{3014DE50-B07B-4776-BEAC-0F779D92A13E}" dt="2023-07-31T12:31:12.974" v="25407" actId="2711"/>
          <ac:spMkLst>
            <pc:docMk/>
            <pc:sldMk cId="2093568246" sldId="2147479583"/>
            <ac:spMk id="751" creationId="{3A66565D-FEDD-4C72-8E2B-D24334504D21}"/>
          </ac:spMkLst>
        </pc:spChg>
        <pc:spChg chg="mod">
          <ac:chgData name="Mick Mooney" userId="e6518e4e-af4a-4bea-b39c-20489a1e5519" providerId="ADAL" clId="{3014DE50-B07B-4776-BEAC-0F779D92A13E}" dt="2023-07-31T12:31:12.974" v="25407" actId="2711"/>
          <ac:spMkLst>
            <pc:docMk/>
            <pc:sldMk cId="2093568246" sldId="2147479583"/>
            <ac:spMk id="752" creationId="{1EFC177C-0589-44EA-AC2F-0533226D2CD9}"/>
          </ac:spMkLst>
        </pc:spChg>
        <pc:spChg chg="mod">
          <ac:chgData name="Mick Mooney" userId="e6518e4e-af4a-4bea-b39c-20489a1e5519" providerId="ADAL" clId="{3014DE50-B07B-4776-BEAC-0F779D92A13E}" dt="2023-07-31T12:31:12.974" v="25407" actId="2711"/>
          <ac:spMkLst>
            <pc:docMk/>
            <pc:sldMk cId="2093568246" sldId="2147479583"/>
            <ac:spMk id="753" creationId="{46D0766A-9F9B-46E3-B311-56DE23FD0469}"/>
          </ac:spMkLst>
        </pc:spChg>
        <pc:spChg chg="mod">
          <ac:chgData name="Mick Mooney" userId="e6518e4e-af4a-4bea-b39c-20489a1e5519" providerId="ADAL" clId="{3014DE50-B07B-4776-BEAC-0F779D92A13E}" dt="2023-07-31T12:31:12.974" v="25407" actId="2711"/>
          <ac:spMkLst>
            <pc:docMk/>
            <pc:sldMk cId="2093568246" sldId="2147479583"/>
            <ac:spMk id="754" creationId="{6E30CFA2-7261-4D79-B31D-AACC39BD6C3C}"/>
          </ac:spMkLst>
        </pc:spChg>
        <pc:spChg chg="mod">
          <ac:chgData name="Mick Mooney" userId="e6518e4e-af4a-4bea-b39c-20489a1e5519" providerId="ADAL" clId="{3014DE50-B07B-4776-BEAC-0F779D92A13E}" dt="2023-07-31T12:31:12.974" v="25407" actId="2711"/>
          <ac:spMkLst>
            <pc:docMk/>
            <pc:sldMk cId="2093568246" sldId="2147479583"/>
            <ac:spMk id="755" creationId="{B8243A12-408B-4758-975B-42B562A29668}"/>
          </ac:spMkLst>
        </pc:spChg>
        <pc:spChg chg="mod">
          <ac:chgData name="Mick Mooney" userId="e6518e4e-af4a-4bea-b39c-20489a1e5519" providerId="ADAL" clId="{3014DE50-B07B-4776-BEAC-0F779D92A13E}" dt="2023-07-31T12:31:12.974" v="25407" actId="2711"/>
          <ac:spMkLst>
            <pc:docMk/>
            <pc:sldMk cId="2093568246" sldId="2147479583"/>
            <ac:spMk id="756" creationId="{CE71409C-A346-4F25-9EB7-717460739FDE}"/>
          </ac:spMkLst>
        </pc:spChg>
        <pc:spChg chg="mod">
          <ac:chgData name="Mick Mooney" userId="e6518e4e-af4a-4bea-b39c-20489a1e5519" providerId="ADAL" clId="{3014DE50-B07B-4776-BEAC-0F779D92A13E}" dt="2023-07-31T12:31:12.974" v="25407" actId="2711"/>
          <ac:spMkLst>
            <pc:docMk/>
            <pc:sldMk cId="2093568246" sldId="2147479583"/>
            <ac:spMk id="757" creationId="{B1809A63-E2AC-41E7-AE4E-C74BD9DB28A3}"/>
          </ac:spMkLst>
        </pc:spChg>
        <pc:spChg chg="mod">
          <ac:chgData name="Mick Mooney" userId="e6518e4e-af4a-4bea-b39c-20489a1e5519" providerId="ADAL" clId="{3014DE50-B07B-4776-BEAC-0F779D92A13E}" dt="2023-07-31T12:31:12.974" v="25407" actId="2711"/>
          <ac:spMkLst>
            <pc:docMk/>
            <pc:sldMk cId="2093568246" sldId="2147479583"/>
            <ac:spMk id="758" creationId="{79FC691C-557C-4D60-87EB-D1354C7736D3}"/>
          </ac:spMkLst>
        </pc:spChg>
        <pc:spChg chg="mod">
          <ac:chgData name="Mick Mooney" userId="e6518e4e-af4a-4bea-b39c-20489a1e5519" providerId="ADAL" clId="{3014DE50-B07B-4776-BEAC-0F779D92A13E}" dt="2023-07-31T12:31:12.974" v="25407" actId="2711"/>
          <ac:spMkLst>
            <pc:docMk/>
            <pc:sldMk cId="2093568246" sldId="2147479583"/>
            <ac:spMk id="759" creationId="{046CF87F-2227-43AB-AE2E-4F417C753AA2}"/>
          </ac:spMkLst>
        </pc:spChg>
        <pc:spChg chg="mod">
          <ac:chgData name="Mick Mooney" userId="e6518e4e-af4a-4bea-b39c-20489a1e5519" providerId="ADAL" clId="{3014DE50-B07B-4776-BEAC-0F779D92A13E}" dt="2023-07-31T12:31:12.974" v="25407" actId="2711"/>
          <ac:spMkLst>
            <pc:docMk/>
            <pc:sldMk cId="2093568246" sldId="2147479583"/>
            <ac:spMk id="760" creationId="{F1EC9563-DF64-46FF-81F9-8AAD9D5BDC5C}"/>
          </ac:spMkLst>
        </pc:spChg>
        <pc:spChg chg="mod">
          <ac:chgData name="Mick Mooney" userId="e6518e4e-af4a-4bea-b39c-20489a1e5519" providerId="ADAL" clId="{3014DE50-B07B-4776-BEAC-0F779D92A13E}" dt="2023-07-31T12:31:12.974" v="25407" actId="2711"/>
          <ac:spMkLst>
            <pc:docMk/>
            <pc:sldMk cId="2093568246" sldId="2147479583"/>
            <ac:spMk id="761" creationId="{4E023CB6-2896-4C4F-898B-40FC92B75486}"/>
          </ac:spMkLst>
        </pc:spChg>
        <pc:spChg chg="mod">
          <ac:chgData name="Mick Mooney" userId="e6518e4e-af4a-4bea-b39c-20489a1e5519" providerId="ADAL" clId="{3014DE50-B07B-4776-BEAC-0F779D92A13E}" dt="2023-07-31T12:31:12.974" v="25407" actId="2711"/>
          <ac:spMkLst>
            <pc:docMk/>
            <pc:sldMk cId="2093568246" sldId="2147479583"/>
            <ac:spMk id="762" creationId="{DF48598F-5D2F-40AC-B098-8468A03FF109}"/>
          </ac:spMkLst>
        </pc:spChg>
        <pc:spChg chg="mod">
          <ac:chgData name="Mick Mooney" userId="e6518e4e-af4a-4bea-b39c-20489a1e5519" providerId="ADAL" clId="{3014DE50-B07B-4776-BEAC-0F779D92A13E}" dt="2023-07-31T12:31:12.974" v="25407" actId="2711"/>
          <ac:spMkLst>
            <pc:docMk/>
            <pc:sldMk cId="2093568246" sldId="2147479583"/>
            <ac:spMk id="763" creationId="{9D56C339-1642-414A-872F-4544114DD1E3}"/>
          </ac:spMkLst>
        </pc:spChg>
        <pc:spChg chg="mod">
          <ac:chgData name="Mick Mooney" userId="e6518e4e-af4a-4bea-b39c-20489a1e5519" providerId="ADAL" clId="{3014DE50-B07B-4776-BEAC-0F779D92A13E}" dt="2023-07-31T12:31:12.974" v="25407" actId="2711"/>
          <ac:spMkLst>
            <pc:docMk/>
            <pc:sldMk cId="2093568246" sldId="2147479583"/>
            <ac:spMk id="764" creationId="{E1EA4E40-5EA0-4D9E-844C-C09FF730F73C}"/>
          </ac:spMkLst>
        </pc:spChg>
        <pc:spChg chg="mod">
          <ac:chgData name="Mick Mooney" userId="e6518e4e-af4a-4bea-b39c-20489a1e5519" providerId="ADAL" clId="{3014DE50-B07B-4776-BEAC-0F779D92A13E}" dt="2023-07-31T12:31:12.974" v="25407" actId="2711"/>
          <ac:spMkLst>
            <pc:docMk/>
            <pc:sldMk cId="2093568246" sldId="2147479583"/>
            <ac:spMk id="765" creationId="{9E95A913-14D7-4C14-8C91-29E9B3E96547}"/>
          </ac:spMkLst>
        </pc:spChg>
        <pc:spChg chg="mod">
          <ac:chgData name="Mick Mooney" userId="e6518e4e-af4a-4bea-b39c-20489a1e5519" providerId="ADAL" clId="{3014DE50-B07B-4776-BEAC-0F779D92A13E}" dt="2023-07-31T12:31:12.974" v="25407" actId="2711"/>
          <ac:spMkLst>
            <pc:docMk/>
            <pc:sldMk cId="2093568246" sldId="2147479583"/>
            <ac:spMk id="766" creationId="{5FEEDFEF-F400-4D3F-B7FA-C7E7B9ED8F26}"/>
          </ac:spMkLst>
        </pc:spChg>
        <pc:spChg chg="mod">
          <ac:chgData name="Mick Mooney" userId="e6518e4e-af4a-4bea-b39c-20489a1e5519" providerId="ADAL" clId="{3014DE50-B07B-4776-BEAC-0F779D92A13E}" dt="2023-07-31T12:31:12.974" v="25407" actId="2711"/>
          <ac:spMkLst>
            <pc:docMk/>
            <pc:sldMk cId="2093568246" sldId="2147479583"/>
            <ac:spMk id="767" creationId="{C17E45AE-705E-4D5E-8A4A-2D00189DA2F9}"/>
          </ac:spMkLst>
        </pc:spChg>
        <pc:spChg chg="mod">
          <ac:chgData name="Mick Mooney" userId="e6518e4e-af4a-4bea-b39c-20489a1e5519" providerId="ADAL" clId="{3014DE50-B07B-4776-BEAC-0F779D92A13E}" dt="2023-07-31T12:31:12.974" v="25407" actId="2711"/>
          <ac:spMkLst>
            <pc:docMk/>
            <pc:sldMk cId="2093568246" sldId="2147479583"/>
            <ac:spMk id="768" creationId="{09D41DD1-85F5-4D95-B285-763AC8DBBD41}"/>
          </ac:spMkLst>
        </pc:spChg>
        <pc:spChg chg="mod">
          <ac:chgData name="Mick Mooney" userId="e6518e4e-af4a-4bea-b39c-20489a1e5519" providerId="ADAL" clId="{3014DE50-B07B-4776-BEAC-0F779D92A13E}" dt="2023-07-31T12:31:12.974" v="25407" actId="2711"/>
          <ac:spMkLst>
            <pc:docMk/>
            <pc:sldMk cId="2093568246" sldId="2147479583"/>
            <ac:spMk id="769" creationId="{CA93C98E-4427-46B2-B4E4-A3F2F97D125F}"/>
          </ac:spMkLst>
        </pc:spChg>
        <pc:spChg chg="mod">
          <ac:chgData name="Mick Mooney" userId="e6518e4e-af4a-4bea-b39c-20489a1e5519" providerId="ADAL" clId="{3014DE50-B07B-4776-BEAC-0F779D92A13E}" dt="2023-07-31T12:31:12.974" v="25407" actId="2711"/>
          <ac:spMkLst>
            <pc:docMk/>
            <pc:sldMk cId="2093568246" sldId="2147479583"/>
            <ac:spMk id="770" creationId="{C1F893BB-9709-49F4-A015-11BCDE036B7F}"/>
          </ac:spMkLst>
        </pc:spChg>
        <pc:spChg chg="mod">
          <ac:chgData name="Mick Mooney" userId="e6518e4e-af4a-4bea-b39c-20489a1e5519" providerId="ADAL" clId="{3014DE50-B07B-4776-BEAC-0F779D92A13E}" dt="2023-07-31T12:31:12.974" v="25407" actId="2711"/>
          <ac:spMkLst>
            <pc:docMk/>
            <pc:sldMk cId="2093568246" sldId="2147479583"/>
            <ac:spMk id="771" creationId="{79B1F415-E1FA-4235-BC3C-33D59A426E80}"/>
          </ac:spMkLst>
        </pc:spChg>
        <pc:spChg chg="mod">
          <ac:chgData name="Mick Mooney" userId="e6518e4e-af4a-4bea-b39c-20489a1e5519" providerId="ADAL" clId="{3014DE50-B07B-4776-BEAC-0F779D92A13E}" dt="2023-07-31T12:31:12.974" v="25407" actId="2711"/>
          <ac:spMkLst>
            <pc:docMk/>
            <pc:sldMk cId="2093568246" sldId="2147479583"/>
            <ac:spMk id="772" creationId="{971E7ACE-4111-46F2-BD02-9B13B96D6283}"/>
          </ac:spMkLst>
        </pc:spChg>
        <pc:spChg chg="mod">
          <ac:chgData name="Mick Mooney" userId="e6518e4e-af4a-4bea-b39c-20489a1e5519" providerId="ADAL" clId="{3014DE50-B07B-4776-BEAC-0F779D92A13E}" dt="2023-07-31T12:31:12.974" v="25407" actId="2711"/>
          <ac:spMkLst>
            <pc:docMk/>
            <pc:sldMk cId="2093568246" sldId="2147479583"/>
            <ac:spMk id="773" creationId="{0516F6AE-DBF4-4787-A3DD-50385696C4ED}"/>
          </ac:spMkLst>
        </pc:spChg>
        <pc:spChg chg="mod">
          <ac:chgData name="Mick Mooney" userId="e6518e4e-af4a-4bea-b39c-20489a1e5519" providerId="ADAL" clId="{3014DE50-B07B-4776-BEAC-0F779D92A13E}" dt="2023-07-31T12:31:12.974" v="25407" actId="2711"/>
          <ac:spMkLst>
            <pc:docMk/>
            <pc:sldMk cId="2093568246" sldId="2147479583"/>
            <ac:spMk id="774" creationId="{1D4FAC78-D9D9-4EAD-9698-421F7F9A68DA}"/>
          </ac:spMkLst>
        </pc:spChg>
        <pc:spChg chg="mod">
          <ac:chgData name="Mick Mooney" userId="e6518e4e-af4a-4bea-b39c-20489a1e5519" providerId="ADAL" clId="{3014DE50-B07B-4776-BEAC-0F779D92A13E}" dt="2023-07-31T12:31:12.974" v="25407" actId="2711"/>
          <ac:spMkLst>
            <pc:docMk/>
            <pc:sldMk cId="2093568246" sldId="2147479583"/>
            <ac:spMk id="775" creationId="{FB1C28DB-46D7-42E0-8B84-D69E8F34DAB1}"/>
          </ac:spMkLst>
        </pc:spChg>
        <pc:spChg chg="mod">
          <ac:chgData name="Mick Mooney" userId="e6518e4e-af4a-4bea-b39c-20489a1e5519" providerId="ADAL" clId="{3014DE50-B07B-4776-BEAC-0F779D92A13E}" dt="2023-07-31T12:31:12.974" v="25407" actId="2711"/>
          <ac:spMkLst>
            <pc:docMk/>
            <pc:sldMk cId="2093568246" sldId="2147479583"/>
            <ac:spMk id="776" creationId="{364F50F8-C424-46F9-9B3A-750B8EA20697}"/>
          </ac:spMkLst>
        </pc:spChg>
        <pc:spChg chg="mod">
          <ac:chgData name="Mick Mooney" userId="e6518e4e-af4a-4bea-b39c-20489a1e5519" providerId="ADAL" clId="{3014DE50-B07B-4776-BEAC-0F779D92A13E}" dt="2023-07-31T12:31:12.974" v="25407" actId="2711"/>
          <ac:spMkLst>
            <pc:docMk/>
            <pc:sldMk cId="2093568246" sldId="2147479583"/>
            <ac:spMk id="777" creationId="{ACD14098-1B20-417C-A250-EE35E353B521}"/>
          </ac:spMkLst>
        </pc:spChg>
        <pc:spChg chg="mod">
          <ac:chgData name="Mick Mooney" userId="e6518e4e-af4a-4bea-b39c-20489a1e5519" providerId="ADAL" clId="{3014DE50-B07B-4776-BEAC-0F779D92A13E}" dt="2023-07-31T12:31:12.974" v="25407" actId="2711"/>
          <ac:spMkLst>
            <pc:docMk/>
            <pc:sldMk cId="2093568246" sldId="2147479583"/>
            <ac:spMk id="778" creationId="{58F4EBA0-9197-4CC0-B130-1B6225685203}"/>
          </ac:spMkLst>
        </pc:spChg>
        <pc:spChg chg="mod">
          <ac:chgData name="Mick Mooney" userId="e6518e4e-af4a-4bea-b39c-20489a1e5519" providerId="ADAL" clId="{3014DE50-B07B-4776-BEAC-0F779D92A13E}" dt="2023-07-31T12:31:12.974" v="25407" actId="2711"/>
          <ac:spMkLst>
            <pc:docMk/>
            <pc:sldMk cId="2093568246" sldId="2147479583"/>
            <ac:spMk id="779" creationId="{9A80AD23-BDE3-419C-9933-66DE8CABDD44}"/>
          </ac:spMkLst>
        </pc:spChg>
        <pc:spChg chg="mod">
          <ac:chgData name="Mick Mooney" userId="e6518e4e-af4a-4bea-b39c-20489a1e5519" providerId="ADAL" clId="{3014DE50-B07B-4776-BEAC-0F779D92A13E}" dt="2023-07-31T12:31:12.974" v="25407" actId="2711"/>
          <ac:spMkLst>
            <pc:docMk/>
            <pc:sldMk cId="2093568246" sldId="2147479583"/>
            <ac:spMk id="780" creationId="{00FE5B8D-2FD4-45F2-94FB-5ED18FD75295}"/>
          </ac:spMkLst>
        </pc:spChg>
        <pc:spChg chg="mod">
          <ac:chgData name="Mick Mooney" userId="e6518e4e-af4a-4bea-b39c-20489a1e5519" providerId="ADAL" clId="{3014DE50-B07B-4776-BEAC-0F779D92A13E}" dt="2023-07-31T12:31:12.974" v="25407" actId="2711"/>
          <ac:spMkLst>
            <pc:docMk/>
            <pc:sldMk cId="2093568246" sldId="2147479583"/>
            <ac:spMk id="781" creationId="{EC5231AF-48BD-4DE9-ABA7-1D48AD0E80C1}"/>
          </ac:spMkLst>
        </pc:spChg>
        <pc:spChg chg="mod">
          <ac:chgData name="Mick Mooney" userId="e6518e4e-af4a-4bea-b39c-20489a1e5519" providerId="ADAL" clId="{3014DE50-B07B-4776-BEAC-0F779D92A13E}" dt="2023-07-31T12:31:12.974" v="25407" actId="2711"/>
          <ac:spMkLst>
            <pc:docMk/>
            <pc:sldMk cId="2093568246" sldId="2147479583"/>
            <ac:spMk id="782" creationId="{F1F9AB53-126B-4ECB-8037-F9769D2C6BF9}"/>
          </ac:spMkLst>
        </pc:spChg>
        <pc:spChg chg="mod">
          <ac:chgData name="Mick Mooney" userId="e6518e4e-af4a-4bea-b39c-20489a1e5519" providerId="ADAL" clId="{3014DE50-B07B-4776-BEAC-0F779D92A13E}" dt="2023-07-31T12:31:12.974" v="25407" actId="2711"/>
          <ac:spMkLst>
            <pc:docMk/>
            <pc:sldMk cId="2093568246" sldId="2147479583"/>
            <ac:spMk id="783" creationId="{E5C0A55F-2350-4EE7-BC34-48CED71C9C67}"/>
          </ac:spMkLst>
        </pc:spChg>
        <pc:spChg chg="mod">
          <ac:chgData name="Mick Mooney" userId="e6518e4e-af4a-4bea-b39c-20489a1e5519" providerId="ADAL" clId="{3014DE50-B07B-4776-BEAC-0F779D92A13E}" dt="2023-07-31T12:31:12.974" v="25407" actId="2711"/>
          <ac:spMkLst>
            <pc:docMk/>
            <pc:sldMk cId="2093568246" sldId="2147479583"/>
            <ac:spMk id="784" creationId="{F334F592-3450-417C-97DB-E6E998EBAFDA}"/>
          </ac:spMkLst>
        </pc:spChg>
        <pc:spChg chg="mod">
          <ac:chgData name="Mick Mooney" userId="e6518e4e-af4a-4bea-b39c-20489a1e5519" providerId="ADAL" clId="{3014DE50-B07B-4776-BEAC-0F779D92A13E}" dt="2023-07-31T12:31:12.974" v="25407" actId="2711"/>
          <ac:spMkLst>
            <pc:docMk/>
            <pc:sldMk cId="2093568246" sldId="2147479583"/>
            <ac:spMk id="785" creationId="{4699D31F-5F64-4B89-82DA-93D537566F77}"/>
          </ac:spMkLst>
        </pc:spChg>
        <pc:spChg chg="mod">
          <ac:chgData name="Mick Mooney" userId="e6518e4e-af4a-4bea-b39c-20489a1e5519" providerId="ADAL" clId="{3014DE50-B07B-4776-BEAC-0F779D92A13E}" dt="2023-07-31T12:31:12.974" v="25407" actId="2711"/>
          <ac:spMkLst>
            <pc:docMk/>
            <pc:sldMk cId="2093568246" sldId="2147479583"/>
            <ac:spMk id="786" creationId="{CAD89988-00FF-46D2-A1AC-22D8B87BB8CA}"/>
          </ac:spMkLst>
        </pc:spChg>
        <pc:spChg chg="mod">
          <ac:chgData name="Mick Mooney" userId="e6518e4e-af4a-4bea-b39c-20489a1e5519" providerId="ADAL" clId="{3014DE50-B07B-4776-BEAC-0F779D92A13E}" dt="2023-07-31T12:31:12.974" v="25407" actId="2711"/>
          <ac:spMkLst>
            <pc:docMk/>
            <pc:sldMk cId="2093568246" sldId="2147479583"/>
            <ac:spMk id="787" creationId="{557F6647-63E4-4F4C-9F1E-DEE68377CC0C}"/>
          </ac:spMkLst>
        </pc:spChg>
        <pc:spChg chg="mod">
          <ac:chgData name="Mick Mooney" userId="e6518e4e-af4a-4bea-b39c-20489a1e5519" providerId="ADAL" clId="{3014DE50-B07B-4776-BEAC-0F779D92A13E}" dt="2023-07-31T12:31:12.974" v="25407" actId="2711"/>
          <ac:spMkLst>
            <pc:docMk/>
            <pc:sldMk cId="2093568246" sldId="2147479583"/>
            <ac:spMk id="788" creationId="{C67645EF-91D5-437A-B2DF-74368BC7D2F7}"/>
          </ac:spMkLst>
        </pc:spChg>
        <pc:spChg chg="mod">
          <ac:chgData name="Mick Mooney" userId="e6518e4e-af4a-4bea-b39c-20489a1e5519" providerId="ADAL" clId="{3014DE50-B07B-4776-BEAC-0F779D92A13E}" dt="2023-07-31T12:31:12.974" v="25407" actId="2711"/>
          <ac:spMkLst>
            <pc:docMk/>
            <pc:sldMk cId="2093568246" sldId="2147479583"/>
            <ac:spMk id="789" creationId="{3E5F7E1C-27D4-475F-8765-8EA8CB966ED9}"/>
          </ac:spMkLst>
        </pc:spChg>
        <pc:spChg chg="mod">
          <ac:chgData name="Mick Mooney" userId="e6518e4e-af4a-4bea-b39c-20489a1e5519" providerId="ADAL" clId="{3014DE50-B07B-4776-BEAC-0F779D92A13E}" dt="2023-07-31T12:31:12.974" v="25407" actId="2711"/>
          <ac:spMkLst>
            <pc:docMk/>
            <pc:sldMk cId="2093568246" sldId="2147479583"/>
            <ac:spMk id="790" creationId="{1828573D-2FF8-4A03-8A7B-E5CC30614870}"/>
          </ac:spMkLst>
        </pc:spChg>
        <pc:spChg chg="mod">
          <ac:chgData name="Mick Mooney" userId="e6518e4e-af4a-4bea-b39c-20489a1e5519" providerId="ADAL" clId="{3014DE50-B07B-4776-BEAC-0F779D92A13E}" dt="2023-07-31T12:31:12.974" v="25407" actId="2711"/>
          <ac:spMkLst>
            <pc:docMk/>
            <pc:sldMk cId="2093568246" sldId="2147479583"/>
            <ac:spMk id="791" creationId="{5C6D0B37-C0E0-467F-B64E-D2EB84CCEA24}"/>
          </ac:spMkLst>
        </pc:spChg>
        <pc:spChg chg="mod">
          <ac:chgData name="Mick Mooney" userId="e6518e4e-af4a-4bea-b39c-20489a1e5519" providerId="ADAL" clId="{3014DE50-B07B-4776-BEAC-0F779D92A13E}" dt="2023-07-31T12:31:12.974" v="25407" actId="2711"/>
          <ac:spMkLst>
            <pc:docMk/>
            <pc:sldMk cId="2093568246" sldId="2147479583"/>
            <ac:spMk id="792" creationId="{A10F4F24-AA1D-4C91-8D2F-962AB274D743}"/>
          </ac:spMkLst>
        </pc:spChg>
        <pc:spChg chg="mod">
          <ac:chgData name="Mick Mooney" userId="e6518e4e-af4a-4bea-b39c-20489a1e5519" providerId="ADAL" clId="{3014DE50-B07B-4776-BEAC-0F779D92A13E}" dt="2023-07-31T12:31:12.974" v="25407" actId="2711"/>
          <ac:spMkLst>
            <pc:docMk/>
            <pc:sldMk cId="2093568246" sldId="2147479583"/>
            <ac:spMk id="793" creationId="{E718C548-418E-4927-AF6E-51E958E00A25}"/>
          </ac:spMkLst>
        </pc:spChg>
        <pc:spChg chg="mod">
          <ac:chgData name="Mick Mooney" userId="e6518e4e-af4a-4bea-b39c-20489a1e5519" providerId="ADAL" clId="{3014DE50-B07B-4776-BEAC-0F779D92A13E}" dt="2023-07-31T12:31:12.974" v="25407" actId="2711"/>
          <ac:spMkLst>
            <pc:docMk/>
            <pc:sldMk cId="2093568246" sldId="2147479583"/>
            <ac:spMk id="794" creationId="{329EABCE-4302-46B8-A607-86BB287551A1}"/>
          </ac:spMkLst>
        </pc:spChg>
        <pc:spChg chg="mod">
          <ac:chgData name="Mick Mooney" userId="e6518e4e-af4a-4bea-b39c-20489a1e5519" providerId="ADAL" clId="{3014DE50-B07B-4776-BEAC-0F779D92A13E}" dt="2023-07-31T12:31:12.974" v="25407" actId="2711"/>
          <ac:spMkLst>
            <pc:docMk/>
            <pc:sldMk cId="2093568246" sldId="2147479583"/>
            <ac:spMk id="795" creationId="{39DB8382-F523-434E-BBD6-81D3974F4D2D}"/>
          </ac:spMkLst>
        </pc:spChg>
        <pc:spChg chg="mod">
          <ac:chgData name="Mick Mooney" userId="e6518e4e-af4a-4bea-b39c-20489a1e5519" providerId="ADAL" clId="{3014DE50-B07B-4776-BEAC-0F779D92A13E}" dt="2023-07-31T12:31:12.974" v="25407" actId="2711"/>
          <ac:spMkLst>
            <pc:docMk/>
            <pc:sldMk cId="2093568246" sldId="2147479583"/>
            <ac:spMk id="796" creationId="{2766B7D1-EECE-4EBD-B41D-1B1B815CE587}"/>
          </ac:spMkLst>
        </pc:spChg>
        <pc:spChg chg="mod">
          <ac:chgData name="Mick Mooney" userId="e6518e4e-af4a-4bea-b39c-20489a1e5519" providerId="ADAL" clId="{3014DE50-B07B-4776-BEAC-0F779D92A13E}" dt="2023-07-31T12:31:12.974" v="25407" actId="2711"/>
          <ac:spMkLst>
            <pc:docMk/>
            <pc:sldMk cId="2093568246" sldId="2147479583"/>
            <ac:spMk id="797" creationId="{6E618AD9-A352-4D01-B304-BB721A563F2E}"/>
          </ac:spMkLst>
        </pc:spChg>
        <pc:spChg chg="mod">
          <ac:chgData name="Mick Mooney" userId="e6518e4e-af4a-4bea-b39c-20489a1e5519" providerId="ADAL" clId="{3014DE50-B07B-4776-BEAC-0F779D92A13E}" dt="2023-07-31T12:31:12.974" v="25407" actId="2711"/>
          <ac:spMkLst>
            <pc:docMk/>
            <pc:sldMk cId="2093568246" sldId="2147479583"/>
            <ac:spMk id="798" creationId="{82ECA86F-0065-4F12-8CAB-703633333397}"/>
          </ac:spMkLst>
        </pc:spChg>
        <pc:spChg chg="mod">
          <ac:chgData name="Mick Mooney" userId="e6518e4e-af4a-4bea-b39c-20489a1e5519" providerId="ADAL" clId="{3014DE50-B07B-4776-BEAC-0F779D92A13E}" dt="2023-07-31T12:31:12.974" v="25407" actId="2711"/>
          <ac:spMkLst>
            <pc:docMk/>
            <pc:sldMk cId="2093568246" sldId="2147479583"/>
            <ac:spMk id="799" creationId="{BDC36819-6D24-4F04-B2F2-9B60B75334CE}"/>
          </ac:spMkLst>
        </pc:spChg>
        <pc:spChg chg="mod">
          <ac:chgData name="Mick Mooney" userId="e6518e4e-af4a-4bea-b39c-20489a1e5519" providerId="ADAL" clId="{3014DE50-B07B-4776-BEAC-0F779D92A13E}" dt="2023-07-31T12:31:12.974" v="25407" actId="2711"/>
          <ac:spMkLst>
            <pc:docMk/>
            <pc:sldMk cId="2093568246" sldId="2147479583"/>
            <ac:spMk id="800" creationId="{90633110-B5EA-4E0D-ADA0-159B254B0F6F}"/>
          </ac:spMkLst>
        </pc:spChg>
        <pc:spChg chg="mod">
          <ac:chgData name="Mick Mooney" userId="e6518e4e-af4a-4bea-b39c-20489a1e5519" providerId="ADAL" clId="{3014DE50-B07B-4776-BEAC-0F779D92A13E}" dt="2023-07-31T12:31:12.974" v="25407" actId="2711"/>
          <ac:spMkLst>
            <pc:docMk/>
            <pc:sldMk cId="2093568246" sldId="2147479583"/>
            <ac:spMk id="801" creationId="{1BB9EF0A-731A-4F92-B702-85C398ACD030}"/>
          </ac:spMkLst>
        </pc:spChg>
        <pc:spChg chg="mod">
          <ac:chgData name="Mick Mooney" userId="e6518e4e-af4a-4bea-b39c-20489a1e5519" providerId="ADAL" clId="{3014DE50-B07B-4776-BEAC-0F779D92A13E}" dt="2023-07-31T12:31:12.974" v="25407" actId="2711"/>
          <ac:spMkLst>
            <pc:docMk/>
            <pc:sldMk cId="2093568246" sldId="2147479583"/>
            <ac:spMk id="802" creationId="{7C0E5969-F448-4A77-905F-6F1384FEB60D}"/>
          </ac:spMkLst>
        </pc:spChg>
        <pc:spChg chg="mod">
          <ac:chgData name="Mick Mooney" userId="e6518e4e-af4a-4bea-b39c-20489a1e5519" providerId="ADAL" clId="{3014DE50-B07B-4776-BEAC-0F779D92A13E}" dt="2023-07-31T12:31:12.974" v="25407" actId="2711"/>
          <ac:spMkLst>
            <pc:docMk/>
            <pc:sldMk cId="2093568246" sldId="2147479583"/>
            <ac:spMk id="803" creationId="{FEBB6109-47CD-41A7-BF44-09D511BC2ACF}"/>
          </ac:spMkLst>
        </pc:spChg>
        <pc:spChg chg="mod">
          <ac:chgData name="Mick Mooney" userId="e6518e4e-af4a-4bea-b39c-20489a1e5519" providerId="ADAL" clId="{3014DE50-B07B-4776-BEAC-0F779D92A13E}" dt="2023-07-31T12:31:12.974" v="25407" actId="2711"/>
          <ac:spMkLst>
            <pc:docMk/>
            <pc:sldMk cId="2093568246" sldId="2147479583"/>
            <ac:spMk id="804" creationId="{AF9C8B3E-C813-43FD-9842-D8B06390CF52}"/>
          </ac:spMkLst>
        </pc:spChg>
        <pc:spChg chg="mod">
          <ac:chgData name="Mick Mooney" userId="e6518e4e-af4a-4bea-b39c-20489a1e5519" providerId="ADAL" clId="{3014DE50-B07B-4776-BEAC-0F779D92A13E}" dt="2023-07-31T12:31:12.974" v="25407" actId="2711"/>
          <ac:spMkLst>
            <pc:docMk/>
            <pc:sldMk cId="2093568246" sldId="2147479583"/>
            <ac:spMk id="805" creationId="{1A1D9EA5-41EB-4F96-A9AA-D04CBCA2292B}"/>
          </ac:spMkLst>
        </pc:spChg>
        <pc:spChg chg="mod">
          <ac:chgData name="Mick Mooney" userId="e6518e4e-af4a-4bea-b39c-20489a1e5519" providerId="ADAL" clId="{3014DE50-B07B-4776-BEAC-0F779D92A13E}" dt="2023-07-31T12:31:12.974" v="25407" actId="2711"/>
          <ac:spMkLst>
            <pc:docMk/>
            <pc:sldMk cId="2093568246" sldId="2147479583"/>
            <ac:spMk id="806" creationId="{6E3F41CF-7695-4FB0-873B-C5DB2CE49A03}"/>
          </ac:spMkLst>
        </pc:spChg>
        <pc:spChg chg="mod">
          <ac:chgData name="Mick Mooney" userId="e6518e4e-af4a-4bea-b39c-20489a1e5519" providerId="ADAL" clId="{3014DE50-B07B-4776-BEAC-0F779D92A13E}" dt="2023-07-31T12:31:12.974" v="25407" actId="2711"/>
          <ac:spMkLst>
            <pc:docMk/>
            <pc:sldMk cId="2093568246" sldId="2147479583"/>
            <ac:spMk id="807" creationId="{5550C050-B93B-45C9-A347-A40B76759E30}"/>
          </ac:spMkLst>
        </pc:spChg>
        <pc:spChg chg="mod">
          <ac:chgData name="Mick Mooney" userId="e6518e4e-af4a-4bea-b39c-20489a1e5519" providerId="ADAL" clId="{3014DE50-B07B-4776-BEAC-0F779D92A13E}" dt="2023-07-31T12:31:12.974" v="25407" actId="2711"/>
          <ac:spMkLst>
            <pc:docMk/>
            <pc:sldMk cId="2093568246" sldId="2147479583"/>
            <ac:spMk id="808" creationId="{5B50F1FB-B04F-494B-8160-E2A0B2100957}"/>
          </ac:spMkLst>
        </pc:spChg>
        <pc:spChg chg="mod">
          <ac:chgData name="Mick Mooney" userId="e6518e4e-af4a-4bea-b39c-20489a1e5519" providerId="ADAL" clId="{3014DE50-B07B-4776-BEAC-0F779D92A13E}" dt="2023-07-31T12:31:12.974" v="25407" actId="2711"/>
          <ac:spMkLst>
            <pc:docMk/>
            <pc:sldMk cId="2093568246" sldId="2147479583"/>
            <ac:spMk id="809" creationId="{A08EE88B-E8A4-492A-AC19-372699013DAF}"/>
          </ac:spMkLst>
        </pc:spChg>
        <pc:spChg chg="mod">
          <ac:chgData name="Mick Mooney" userId="e6518e4e-af4a-4bea-b39c-20489a1e5519" providerId="ADAL" clId="{3014DE50-B07B-4776-BEAC-0F779D92A13E}" dt="2023-07-31T12:31:12.974" v="25407" actId="2711"/>
          <ac:spMkLst>
            <pc:docMk/>
            <pc:sldMk cId="2093568246" sldId="2147479583"/>
            <ac:spMk id="810" creationId="{64A4293E-71FD-41B7-BB89-C7462A74ABD4}"/>
          </ac:spMkLst>
        </pc:spChg>
        <pc:spChg chg="mod">
          <ac:chgData name="Mick Mooney" userId="e6518e4e-af4a-4bea-b39c-20489a1e5519" providerId="ADAL" clId="{3014DE50-B07B-4776-BEAC-0F779D92A13E}" dt="2023-07-31T12:31:12.974" v="25407" actId="2711"/>
          <ac:spMkLst>
            <pc:docMk/>
            <pc:sldMk cId="2093568246" sldId="2147479583"/>
            <ac:spMk id="811" creationId="{91D0D8D9-72C3-4C08-9F7E-2354A96FBF75}"/>
          </ac:spMkLst>
        </pc:spChg>
        <pc:spChg chg="mod">
          <ac:chgData name="Mick Mooney" userId="e6518e4e-af4a-4bea-b39c-20489a1e5519" providerId="ADAL" clId="{3014DE50-B07B-4776-BEAC-0F779D92A13E}" dt="2023-07-31T12:31:12.974" v="25407" actId="2711"/>
          <ac:spMkLst>
            <pc:docMk/>
            <pc:sldMk cId="2093568246" sldId="2147479583"/>
            <ac:spMk id="812" creationId="{9581C0BD-4FE8-4547-8100-E827087F8771}"/>
          </ac:spMkLst>
        </pc:spChg>
        <pc:spChg chg="mod">
          <ac:chgData name="Mick Mooney" userId="e6518e4e-af4a-4bea-b39c-20489a1e5519" providerId="ADAL" clId="{3014DE50-B07B-4776-BEAC-0F779D92A13E}" dt="2023-07-31T12:31:12.974" v="25407" actId="2711"/>
          <ac:spMkLst>
            <pc:docMk/>
            <pc:sldMk cId="2093568246" sldId="2147479583"/>
            <ac:spMk id="813" creationId="{359211A3-DDBD-4ED7-9716-DD641626FC0C}"/>
          </ac:spMkLst>
        </pc:spChg>
        <pc:spChg chg="mod">
          <ac:chgData name="Mick Mooney" userId="e6518e4e-af4a-4bea-b39c-20489a1e5519" providerId="ADAL" clId="{3014DE50-B07B-4776-BEAC-0F779D92A13E}" dt="2023-07-31T12:31:12.974" v="25407" actId="2711"/>
          <ac:spMkLst>
            <pc:docMk/>
            <pc:sldMk cId="2093568246" sldId="2147479583"/>
            <ac:spMk id="814" creationId="{473DF389-DA67-477D-A806-76F38FFE22DC}"/>
          </ac:spMkLst>
        </pc:spChg>
        <pc:spChg chg="mod">
          <ac:chgData name="Mick Mooney" userId="e6518e4e-af4a-4bea-b39c-20489a1e5519" providerId="ADAL" clId="{3014DE50-B07B-4776-BEAC-0F779D92A13E}" dt="2023-07-31T12:31:12.974" v="25407" actId="2711"/>
          <ac:spMkLst>
            <pc:docMk/>
            <pc:sldMk cId="2093568246" sldId="2147479583"/>
            <ac:spMk id="815" creationId="{0908460F-D858-4C18-A8ED-6FEF48ABC674}"/>
          </ac:spMkLst>
        </pc:spChg>
        <pc:spChg chg="mod">
          <ac:chgData name="Mick Mooney" userId="e6518e4e-af4a-4bea-b39c-20489a1e5519" providerId="ADAL" clId="{3014DE50-B07B-4776-BEAC-0F779D92A13E}" dt="2023-07-31T12:31:12.974" v="25407" actId="2711"/>
          <ac:spMkLst>
            <pc:docMk/>
            <pc:sldMk cId="2093568246" sldId="2147479583"/>
            <ac:spMk id="816" creationId="{703B4F75-6DE5-490D-9250-AB019446C8A1}"/>
          </ac:spMkLst>
        </pc:spChg>
        <pc:spChg chg="mod">
          <ac:chgData name="Mick Mooney" userId="e6518e4e-af4a-4bea-b39c-20489a1e5519" providerId="ADAL" clId="{3014DE50-B07B-4776-BEAC-0F779D92A13E}" dt="2023-07-31T12:31:12.974" v="25407" actId="2711"/>
          <ac:spMkLst>
            <pc:docMk/>
            <pc:sldMk cId="2093568246" sldId="2147479583"/>
            <ac:spMk id="817" creationId="{21679F0C-3491-429F-8E72-8B99027C8EB9}"/>
          </ac:spMkLst>
        </pc:spChg>
        <pc:spChg chg="mod">
          <ac:chgData name="Mick Mooney" userId="e6518e4e-af4a-4bea-b39c-20489a1e5519" providerId="ADAL" clId="{3014DE50-B07B-4776-BEAC-0F779D92A13E}" dt="2023-07-31T12:31:12.974" v="25407" actId="2711"/>
          <ac:spMkLst>
            <pc:docMk/>
            <pc:sldMk cId="2093568246" sldId="2147479583"/>
            <ac:spMk id="818" creationId="{A34EE0DC-E231-49C1-A6CC-3497DDF6B10C}"/>
          </ac:spMkLst>
        </pc:spChg>
        <pc:spChg chg="mod">
          <ac:chgData name="Mick Mooney" userId="e6518e4e-af4a-4bea-b39c-20489a1e5519" providerId="ADAL" clId="{3014DE50-B07B-4776-BEAC-0F779D92A13E}" dt="2023-07-31T12:31:12.974" v="25407" actId="2711"/>
          <ac:spMkLst>
            <pc:docMk/>
            <pc:sldMk cId="2093568246" sldId="2147479583"/>
            <ac:spMk id="819" creationId="{3A950AA6-5850-4E07-8DFF-EE8D10C41B1D}"/>
          </ac:spMkLst>
        </pc:spChg>
        <pc:spChg chg="mod">
          <ac:chgData name="Mick Mooney" userId="e6518e4e-af4a-4bea-b39c-20489a1e5519" providerId="ADAL" clId="{3014DE50-B07B-4776-BEAC-0F779D92A13E}" dt="2023-07-31T12:31:12.974" v="25407" actId="2711"/>
          <ac:spMkLst>
            <pc:docMk/>
            <pc:sldMk cId="2093568246" sldId="2147479583"/>
            <ac:spMk id="820" creationId="{CF0B3250-EEC9-4FC2-B77F-2B3847015BA8}"/>
          </ac:spMkLst>
        </pc:spChg>
        <pc:spChg chg="mod">
          <ac:chgData name="Mick Mooney" userId="e6518e4e-af4a-4bea-b39c-20489a1e5519" providerId="ADAL" clId="{3014DE50-B07B-4776-BEAC-0F779D92A13E}" dt="2023-07-31T12:31:12.974" v="25407" actId="2711"/>
          <ac:spMkLst>
            <pc:docMk/>
            <pc:sldMk cId="2093568246" sldId="2147479583"/>
            <ac:spMk id="821" creationId="{0D974D29-704C-4B47-AD28-5B2A4F5B36A2}"/>
          </ac:spMkLst>
        </pc:spChg>
        <pc:spChg chg="mod">
          <ac:chgData name="Mick Mooney" userId="e6518e4e-af4a-4bea-b39c-20489a1e5519" providerId="ADAL" clId="{3014DE50-B07B-4776-BEAC-0F779D92A13E}" dt="2023-07-31T12:31:12.974" v="25407" actId="2711"/>
          <ac:spMkLst>
            <pc:docMk/>
            <pc:sldMk cId="2093568246" sldId="2147479583"/>
            <ac:spMk id="822" creationId="{B1ED4C15-0A45-484F-9A6F-685B69CE6A10}"/>
          </ac:spMkLst>
        </pc:spChg>
        <pc:spChg chg="mod">
          <ac:chgData name="Mick Mooney" userId="e6518e4e-af4a-4bea-b39c-20489a1e5519" providerId="ADAL" clId="{3014DE50-B07B-4776-BEAC-0F779D92A13E}" dt="2023-07-31T12:31:12.974" v="25407" actId="2711"/>
          <ac:spMkLst>
            <pc:docMk/>
            <pc:sldMk cId="2093568246" sldId="2147479583"/>
            <ac:spMk id="823" creationId="{67A3367D-5C77-4E09-864B-47591FEF952E}"/>
          </ac:spMkLst>
        </pc:spChg>
        <pc:spChg chg="mod">
          <ac:chgData name="Mick Mooney" userId="e6518e4e-af4a-4bea-b39c-20489a1e5519" providerId="ADAL" clId="{3014DE50-B07B-4776-BEAC-0F779D92A13E}" dt="2023-07-31T12:31:12.974" v="25407" actId="2711"/>
          <ac:spMkLst>
            <pc:docMk/>
            <pc:sldMk cId="2093568246" sldId="2147479583"/>
            <ac:spMk id="824" creationId="{18F0ACD1-1FBA-46E8-8CCF-9CD3AB4BE916}"/>
          </ac:spMkLst>
        </pc:spChg>
        <pc:spChg chg="mod">
          <ac:chgData name="Mick Mooney" userId="e6518e4e-af4a-4bea-b39c-20489a1e5519" providerId="ADAL" clId="{3014DE50-B07B-4776-BEAC-0F779D92A13E}" dt="2023-07-31T12:31:12.974" v="25407" actId="2711"/>
          <ac:spMkLst>
            <pc:docMk/>
            <pc:sldMk cId="2093568246" sldId="2147479583"/>
            <ac:spMk id="825" creationId="{3BD04916-1695-483F-A656-6B3AB5EA2101}"/>
          </ac:spMkLst>
        </pc:spChg>
        <pc:spChg chg="mod">
          <ac:chgData name="Mick Mooney" userId="e6518e4e-af4a-4bea-b39c-20489a1e5519" providerId="ADAL" clId="{3014DE50-B07B-4776-BEAC-0F779D92A13E}" dt="2023-07-31T12:31:12.974" v="25407" actId="2711"/>
          <ac:spMkLst>
            <pc:docMk/>
            <pc:sldMk cId="2093568246" sldId="2147479583"/>
            <ac:spMk id="826" creationId="{2A5537CD-1BDA-453F-87C7-C8A1B00FD701}"/>
          </ac:spMkLst>
        </pc:spChg>
        <pc:spChg chg="mod">
          <ac:chgData name="Mick Mooney" userId="e6518e4e-af4a-4bea-b39c-20489a1e5519" providerId="ADAL" clId="{3014DE50-B07B-4776-BEAC-0F779D92A13E}" dt="2023-07-31T12:31:12.974" v="25407" actId="2711"/>
          <ac:spMkLst>
            <pc:docMk/>
            <pc:sldMk cId="2093568246" sldId="2147479583"/>
            <ac:spMk id="827" creationId="{40DB218C-93A9-4BC0-90BE-636ED91FED4B}"/>
          </ac:spMkLst>
        </pc:spChg>
        <pc:spChg chg="mod">
          <ac:chgData name="Mick Mooney" userId="e6518e4e-af4a-4bea-b39c-20489a1e5519" providerId="ADAL" clId="{3014DE50-B07B-4776-BEAC-0F779D92A13E}" dt="2023-07-31T12:31:12.974" v="25407" actId="2711"/>
          <ac:spMkLst>
            <pc:docMk/>
            <pc:sldMk cId="2093568246" sldId="2147479583"/>
            <ac:spMk id="828" creationId="{D7A4D178-3CE5-47CE-8F25-ACE284B8611D}"/>
          </ac:spMkLst>
        </pc:spChg>
        <pc:spChg chg="mod">
          <ac:chgData name="Mick Mooney" userId="e6518e4e-af4a-4bea-b39c-20489a1e5519" providerId="ADAL" clId="{3014DE50-B07B-4776-BEAC-0F779D92A13E}" dt="2023-07-31T12:31:12.974" v="25407" actId="2711"/>
          <ac:spMkLst>
            <pc:docMk/>
            <pc:sldMk cId="2093568246" sldId="2147479583"/>
            <ac:spMk id="829" creationId="{9E7730B1-3FE0-47BB-99DA-7C26819932CA}"/>
          </ac:spMkLst>
        </pc:spChg>
        <pc:spChg chg="mod">
          <ac:chgData name="Mick Mooney" userId="e6518e4e-af4a-4bea-b39c-20489a1e5519" providerId="ADAL" clId="{3014DE50-B07B-4776-BEAC-0F779D92A13E}" dt="2023-07-31T12:31:12.974" v="25407" actId="2711"/>
          <ac:spMkLst>
            <pc:docMk/>
            <pc:sldMk cId="2093568246" sldId="2147479583"/>
            <ac:spMk id="830" creationId="{EDC53359-73CD-4F40-AFF6-B772C2BD1A01}"/>
          </ac:spMkLst>
        </pc:spChg>
        <pc:spChg chg="mod">
          <ac:chgData name="Mick Mooney" userId="e6518e4e-af4a-4bea-b39c-20489a1e5519" providerId="ADAL" clId="{3014DE50-B07B-4776-BEAC-0F779D92A13E}" dt="2023-07-31T12:31:12.974" v="25407" actId="2711"/>
          <ac:spMkLst>
            <pc:docMk/>
            <pc:sldMk cId="2093568246" sldId="2147479583"/>
            <ac:spMk id="831" creationId="{F2139B92-3ED9-4393-A55E-3C45EDFF38D9}"/>
          </ac:spMkLst>
        </pc:spChg>
        <pc:spChg chg="mod">
          <ac:chgData name="Mick Mooney" userId="e6518e4e-af4a-4bea-b39c-20489a1e5519" providerId="ADAL" clId="{3014DE50-B07B-4776-BEAC-0F779D92A13E}" dt="2023-07-31T12:31:12.974" v="25407" actId="2711"/>
          <ac:spMkLst>
            <pc:docMk/>
            <pc:sldMk cId="2093568246" sldId="2147479583"/>
            <ac:spMk id="832" creationId="{0B37DFA6-E3FC-4E77-9C7E-B44A4F34D248}"/>
          </ac:spMkLst>
        </pc:spChg>
        <pc:spChg chg="mod">
          <ac:chgData name="Mick Mooney" userId="e6518e4e-af4a-4bea-b39c-20489a1e5519" providerId="ADAL" clId="{3014DE50-B07B-4776-BEAC-0F779D92A13E}" dt="2023-07-31T12:31:12.974" v="25407" actId="2711"/>
          <ac:spMkLst>
            <pc:docMk/>
            <pc:sldMk cId="2093568246" sldId="2147479583"/>
            <ac:spMk id="833" creationId="{377AFA90-19EA-47A4-863A-12F8863B6739}"/>
          </ac:spMkLst>
        </pc:spChg>
        <pc:spChg chg="mod">
          <ac:chgData name="Mick Mooney" userId="e6518e4e-af4a-4bea-b39c-20489a1e5519" providerId="ADAL" clId="{3014DE50-B07B-4776-BEAC-0F779D92A13E}" dt="2023-07-31T12:31:12.974" v="25407" actId="2711"/>
          <ac:spMkLst>
            <pc:docMk/>
            <pc:sldMk cId="2093568246" sldId="2147479583"/>
            <ac:spMk id="834" creationId="{3E1AA21F-BA74-4FF0-9A9A-FEB83C82D83C}"/>
          </ac:spMkLst>
        </pc:spChg>
        <pc:spChg chg="mod">
          <ac:chgData name="Mick Mooney" userId="e6518e4e-af4a-4bea-b39c-20489a1e5519" providerId="ADAL" clId="{3014DE50-B07B-4776-BEAC-0F779D92A13E}" dt="2023-07-31T12:31:12.974" v="25407" actId="2711"/>
          <ac:spMkLst>
            <pc:docMk/>
            <pc:sldMk cId="2093568246" sldId="2147479583"/>
            <ac:spMk id="835" creationId="{23F9C3CA-C996-4714-A3D2-2128A18F3944}"/>
          </ac:spMkLst>
        </pc:spChg>
        <pc:spChg chg="mod">
          <ac:chgData name="Mick Mooney" userId="e6518e4e-af4a-4bea-b39c-20489a1e5519" providerId="ADAL" clId="{3014DE50-B07B-4776-BEAC-0F779D92A13E}" dt="2023-07-31T12:31:12.974" v="25407" actId="2711"/>
          <ac:spMkLst>
            <pc:docMk/>
            <pc:sldMk cId="2093568246" sldId="2147479583"/>
            <ac:spMk id="836" creationId="{963B7FEC-47CA-490F-A9E3-C4A0507DE6AF}"/>
          </ac:spMkLst>
        </pc:spChg>
        <pc:spChg chg="mod">
          <ac:chgData name="Mick Mooney" userId="e6518e4e-af4a-4bea-b39c-20489a1e5519" providerId="ADAL" clId="{3014DE50-B07B-4776-BEAC-0F779D92A13E}" dt="2023-07-31T12:31:12.974" v="25407" actId="2711"/>
          <ac:spMkLst>
            <pc:docMk/>
            <pc:sldMk cId="2093568246" sldId="2147479583"/>
            <ac:spMk id="837" creationId="{F0DCACD5-5195-46ED-8ABB-A696C96B537E}"/>
          </ac:spMkLst>
        </pc:spChg>
        <pc:spChg chg="mod">
          <ac:chgData name="Mick Mooney" userId="e6518e4e-af4a-4bea-b39c-20489a1e5519" providerId="ADAL" clId="{3014DE50-B07B-4776-BEAC-0F779D92A13E}" dt="2023-07-31T12:31:12.974" v="25407" actId="2711"/>
          <ac:spMkLst>
            <pc:docMk/>
            <pc:sldMk cId="2093568246" sldId="2147479583"/>
            <ac:spMk id="838" creationId="{E37E868F-E767-4BBF-B963-03EAA3E2E3EB}"/>
          </ac:spMkLst>
        </pc:spChg>
        <pc:spChg chg="mod">
          <ac:chgData name="Mick Mooney" userId="e6518e4e-af4a-4bea-b39c-20489a1e5519" providerId="ADAL" clId="{3014DE50-B07B-4776-BEAC-0F779D92A13E}" dt="2023-07-31T12:31:12.974" v="25407" actId="2711"/>
          <ac:spMkLst>
            <pc:docMk/>
            <pc:sldMk cId="2093568246" sldId="2147479583"/>
            <ac:spMk id="839" creationId="{8FBC46A6-6739-460F-B88E-3ACFF42DA2AB}"/>
          </ac:spMkLst>
        </pc:spChg>
        <pc:spChg chg="mod">
          <ac:chgData name="Mick Mooney" userId="e6518e4e-af4a-4bea-b39c-20489a1e5519" providerId="ADAL" clId="{3014DE50-B07B-4776-BEAC-0F779D92A13E}" dt="2023-07-31T12:31:12.974" v="25407" actId="2711"/>
          <ac:spMkLst>
            <pc:docMk/>
            <pc:sldMk cId="2093568246" sldId="2147479583"/>
            <ac:spMk id="840" creationId="{B72A2636-4A7F-463E-BCA4-83DA46EA7749}"/>
          </ac:spMkLst>
        </pc:spChg>
        <pc:spChg chg="mod">
          <ac:chgData name="Mick Mooney" userId="e6518e4e-af4a-4bea-b39c-20489a1e5519" providerId="ADAL" clId="{3014DE50-B07B-4776-BEAC-0F779D92A13E}" dt="2023-07-31T12:31:12.974" v="25407" actId="2711"/>
          <ac:spMkLst>
            <pc:docMk/>
            <pc:sldMk cId="2093568246" sldId="2147479583"/>
            <ac:spMk id="841" creationId="{6EB9E79D-11DB-49ED-88C6-B3E77F501C11}"/>
          </ac:spMkLst>
        </pc:spChg>
        <pc:spChg chg="mod">
          <ac:chgData name="Mick Mooney" userId="e6518e4e-af4a-4bea-b39c-20489a1e5519" providerId="ADAL" clId="{3014DE50-B07B-4776-BEAC-0F779D92A13E}" dt="2023-07-31T12:31:12.974" v="25407" actId="2711"/>
          <ac:spMkLst>
            <pc:docMk/>
            <pc:sldMk cId="2093568246" sldId="2147479583"/>
            <ac:spMk id="842" creationId="{A15F4B30-C4F9-4215-91B6-BB25AA99873C}"/>
          </ac:spMkLst>
        </pc:spChg>
        <pc:spChg chg="mod">
          <ac:chgData name="Mick Mooney" userId="e6518e4e-af4a-4bea-b39c-20489a1e5519" providerId="ADAL" clId="{3014DE50-B07B-4776-BEAC-0F779D92A13E}" dt="2023-07-31T12:31:12.974" v="25407" actId="2711"/>
          <ac:spMkLst>
            <pc:docMk/>
            <pc:sldMk cId="2093568246" sldId="2147479583"/>
            <ac:spMk id="843" creationId="{35F2DA8F-A655-4745-A3D9-9038BF5FF789}"/>
          </ac:spMkLst>
        </pc:spChg>
        <pc:spChg chg="mod">
          <ac:chgData name="Mick Mooney" userId="e6518e4e-af4a-4bea-b39c-20489a1e5519" providerId="ADAL" clId="{3014DE50-B07B-4776-BEAC-0F779D92A13E}" dt="2023-07-31T12:31:12.974" v="25407" actId="2711"/>
          <ac:spMkLst>
            <pc:docMk/>
            <pc:sldMk cId="2093568246" sldId="2147479583"/>
            <ac:spMk id="844" creationId="{D200F5F7-79D7-45ED-BAC2-184CD442ECFD}"/>
          </ac:spMkLst>
        </pc:spChg>
        <pc:spChg chg="mod">
          <ac:chgData name="Mick Mooney" userId="e6518e4e-af4a-4bea-b39c-20489a1e5519" providerId="ADAL" clId="{3014DE50-B07B-4776-BEAC-0F779D92A13E}" dt="2023-07-31T12:31:12.974" v="25407" actId="2711"/>
          <ac:spMkLst>
            <pc:docMk/>
            <pc:sldMk cId="2093568246" sldId="2147479583"/>
            <ac:spMk id="845" creationId="{91523FB7-3AE0-4851-B812-39E4EF18AE17}"/>
          </ac:spMkLst>
        </pc:spChg>
        <pc:spChg chg="mod">
          <ac:chgData name="Mick Mooney" userId="e6518e4e-af4a-4bea-b39c-20489a1e5519" providerId="ADAL" clId="{3014DE50-B07B-4776-BEAC-0F779D92A13E}" dt="2023-07-31T12:31:12.974" v="25407" actId="2711"/>
          <ac:spMkLst>
            <pc:docMk/>
            <pc:sldMk cId="2093568246" sldId="2147479583"/>
            <ac:spMk id="846" creationId="{033D5AEB-E35C-475B-9B64-CA138F0D8264}"/>
          </ac:spMkLst>
        </pc:spChg>
        <pc:spChg chg="mod">
          <ac:chgData name="Mick Mooney" userId="e6518e4e-af4a-4bea-b39c-20489a1e5519" providerId="ADAL" clId="{3014DE50-B07B-4776-BEAC-0F779D92A13E}" dt="2023-07-31T12:31:12.974" v="25407" actId="2711"/>
          <ac:spMkLst>
            <pc:docMk/>
            <pc:sldMk cId="2093568246" sldId="2147479583"/>
            <ac:spMk id="847" creationId="{84515027-3167-4BB4-A3F9-E1E73EF151EA}"/>
          </ac:spMkLst>
        </pc:spChg>
        <pc:spChg chg="mod">
          <ac:chgData name="Mick Mooney" userId="e6518e4e-af4a-4bea-b39c-20489a1e5519" providerId="ADAL" clId="{3014DE50-B07B-4776-BEAC-0F779D92A13E}" dt="2023-07-31T12:31:12.974" v="25407" actId="2711"/>
          <ac:spMkLst>
            <pc:docMk/>
            <pc:sldMk cId="2093568246" sldId="2147479583"/>
            <ac:spMk id="848" creationId="{30234D13-C9D8-4D38-AE09-7E6949F7642E}"/>
          </ac:spMkLst>
        </pc:spChg>
        <pc:spChg chg="mod">
          <ac:chgData name="Mick Mooney" userId="e6518e4e-af4a-4bea-b39c-20489a1e5519" providerId="ADAL" clId="{3014DE50-B07B-4776-BEAC-0F779D92A13E}" dt="2023-07-31T12:31:12.974" v="25407" actId="2711"/>
          <ac:spMkLst>
            <pc:docMk/>
            <pc:sldMk cId="2093568246" sldId="2147479583"/>
            <ac:spMk id="849" creationId="{A59F834D-A8A6-4604-A8E5-ACC412CDA52D}"/>
          </ac:spMkLst>
        </pc:spChg>
        <pc:spChg chg="mod">
          <ac:chgData name="Mick Mooney" userId="e6518e4e-af4a-4bea-b39c-20489a1e5519" providerId="ADAL" clId="{3014DE50-B07B-4776-BEAC-0F779D92A13E}" dt="2023-07-31T12:31:12.974" v="25407" actId="2711"/>
          <ac:spMkLst>
            <pc:docMk/>
            <pc:sldMk cId="2093568246" sldId="2147479583"/>
            <ac:spMk id="850" creationId="{37A071D5-2848-4D11-84A9-662CFBB3B4BF}"/>
          </ac:spMkLst>
        </pc:spChg>
        <pc:spChg chg="mod">
          <ac:chgData name="Mick Mooney" userId="e6518e4e-af4a-4bea-b39c-20489a1e5519" providerId="ADAL" clId="{3014DE50-B07B-4776-BEAC-0F779D92A13E}" dt="2023-07-31T12:31:12.974" v="25407" actId="2711"/>
          <ac:spMkLst>
            <pc:docMk/>
            <pc:sldMk cId="2093568246" sldId="2147479583"/>
            <ac:spMk id="851" creationId="{81B99A3D-87B6-45F1-96C7-38103BBDA278}"/>
          </ac:spMkLst>
        </pc:spChg>
        <pc:spChg chg="mod">
          <ac:chgData name="Mick Mooney" userId="e6518e4e-af4a-4bea-b39c-20489a1e5519" providerId="ADAL" clId="{3014DE50-B07B-4776-BEAC-0F779D92A13E}" dt="2023-07-31T12:31:12.974" v="25407" actId="2711"/>
          <ac:spMkLst>
            <pc:docMk/>
            <pc:sldMk cId="2093568246" sldId="2147479583"/>
            <ac:spMk id="852" creationId="{16AB3311-0AEC-4861-9C87-2407DF762569}"/>
          </ac:spMkLst>
        </pc:spChg>
        <pc:spChg chg="mod">
          <ac:chgData name="Mick Mooney" userId="e6518e4e-af4a-4bea-b39c-20489a1e5519" providerId="ADAL" clId="{3014DE50-B07B-4776-BEAC-0F779D92A13E}" dt="2023-07-31T12:31:12.974" v="25407" actId="2711"/>
          <ac:spMkLst>
            <pc:docMk/>
            <pc:sldMk cId="2093568246" sldId="2147479583"/>
            <ac:spMk id="853" creationId="{931BB503-E549-4200-A574-8B5DF334CED6}"/>
          </ac:spMkLst>
        </pc:spChg>
        <pc:spChg chg="mod">
          <ac:chgData name="Mick Mooney" userId="e6518e4e-af4a-4bea-b39c-20489a1e5519" providerId="ADAL" clId="{3014DE50-B07B-4776-BEAC-0F779D92A13E}" dt="2023-07-31T12:31:12.974" v="25407" actId="2711"/>
          <ac:spMkLst>
            <pc:docMk/>
            <pc:sldMk cId="2093568246" sldId="2147479583"/>
            <ac:spMk id="854" creationId="{2C82FA1D-C698-4DFE-A5F2-2A933B51185A}"/>
          </ac:spMkLst>
        </pc:spChg>
        <pc:spChg chg="mod">
          <ac:chgData name="Mick Mooney" userId="e6518e4e-af4a-4bea-b39c-20489a1e5519" providerId="ADAL" clId="{3014DE50-B07B-4776-BEAC-0F779D92A13E}" dt="2023-07-31T12:31:12.974" v="25407" actId="2711"/>
          <ac:spMkLst>
            <pc:docMk/>
            <pc:sldMk cId="2093568246" sldId="2147479583"/>
            <ac:spMk id="855" creationId="{E0E69B9C-B1AD-46B2-BD30-A04142784480}"/>
          </ac:spMkLst>
        </pc:spChg>
        <pc:spChg chg="mod">
          <ac:chgData name="Mick Mooney" userId="e6518e4e-af4a-4bea-b39c-20489a1e5519" providerId="ADAL" clId="{3014DE50-B07B-4776-BEAC-0F779D92A13E}" dt="2023-07-31T12:31:12.974" v="25407" actId="2711"/>
          <ac:spMkLst>
            <pc:docMk/>
            <pc:sldMk cId="2093568246" sldId="2147479583"/>
            <ac:spMk id="856" creationId="{FE0514C6-647E-428F-B005-DE7C2E1A185F}"/>
          </ac:spMkLst>
        </pc:spChg>
        <pc:spChg chg="mod">
          <ac:chgData name="Mick Mooney" userId="e6518e4e-af4a-4bea-b39c-20489a1e5519" providerId="ADAL" clId="{3014DE50-B07B-4776-BEAC-0F779D92A13E}" dt="2023-07-31T12:31:12.974" v="25407" actId="2711"/>
          <ac:spMkLst>
            <pc:docMk/>
            <pc:sldMk cId="2093568246" sldId="2147479583"/>
            <ac:spMk id="857" creationId="{D6C74416-581C-4173-B17D-8E70D96E673E}"/>
          </ac:spMkLst>
        </pc:spChg>
        <pc:spChg chg="mod">
          <ac:chgData name="Mick Mooney" userId="e6518e4e-af4a-4bea-b39c-20489a1e5519" providerId="ADAL" clId="{3014DE50-B07B-4776-BEAC-0F779D92A13E}" dt="2023-07-31T12:31:12.974" v="25407" actId="2711"/>
          <ac:spMkLst>
            <pc:docMk/>
            <pc:sldMk cId="2093568246" sldId="2147479583"/>
            <ac:spMk id="858" creationId="{A4D3CDA8-5CAD-49F9-A53B-F5AB243E6007}"/>
          </ac:spMkLst>
        </pc:spChg>
        <pc:spChg chg="mod">
          <ac:chgData name="Mick Mooney" userId="e6518e4e-af4a-4bea-b39c-20489a1e5519" providerId="ADAL" clId="{3014DE50-B07B-4776-BEAC-0F779D92A13E}" dt="2023-07-31T12:31:12.974" v="25407" actId="2711"/>
          <ac:spMkLst>
            <pc:docMk/>
            <pc:sldMk cId="2093568246" sldId="2147479583"/>
            <ac:spMk id="859" creationId="{76B80E1D-655C-4A82-A033-C9BF9FB78819}"/>
          </ac:spMkLst>
        </pc:spChg>
        <pc:spChg chg="mod">
          <ac:chgData name="Mick Mooney" userId="e6518e4e-af4a-4bea-b39c-20489a1e5519" providerId="ADAL" clId="{3014DE50-B07B-4776-BEAC-0F779D92A13E}" dt="2023-07-31T12:31:12.974" v="25407" actId="2711"/>
          <ac:spMkLst>
            <pc:docMk/>
            <pc:sldMk cId="2093568246" sldId="2147479583"/>
            <ac:spMk id="860" creationId="{8831E88D-0150-48EE-92DE-FC6CC3B11DA3}"/>
          </ac:spMkLst>
        </pc:spChg>
        <pc:spChg chg="mod">
          <ac:chgData name="Mick Mooney" userId="e6518e4e-af4a-4bea-b39c-20489a1e5519" providerId="ADAL" clId="{3014DE50-B07B-4776-BEAC-0F779D92A13E}" dt="2023-07-31T12:31:12.974" v="25407" actId="2711"/>
          <ac:spMkLst>
            <pc:docMk/>
            <pc:sldMk cId="2093568246" sldId="2147479583"/>
            <ac:spMk id="861" creationId="{98EDED24-91E9-4C63-89A8-7C44A56A900A}"/>
          </ac:spMkLst>
        </pc:spChg>
        <pc:spChg chg="mod">
          <ac:chgData name="Mick Mooney" userId="e6518e4e-af4a-4bea-b39c-20489a1e5519" providerId="ADAL" clId="{3014DE50-B07B-4776-BEAC-0F779D92A13E}" dt="2023-07-31T12:31:12.974" v="25407" actId="2711"/>
          <ac:spMkLst>
            <pc:docMk/>
            <pc:sldMk cId="2093568246" sldId="2147479583"/>
            <ac:spMk id="862" creationId="{DE5E8D39-B3B9-46A2-B440-1F5DD6797566}"/>
          </ac:spMkLst>
        </pc:spChg>
        <pc:spChg chg="mod">
          <ac:chgData name="Mick Mooney" userId="e6518e4e-af4a-4bea-b39c-20489a1e5519" providerId="ADAL" clId="{3014DE50-B07B-4776-BEAC-0F779D92A13E}" dt="2023-07-31T12:31:12.974" v="25407" actId="2711"/>
          <ac:spMkLst>
            <pc:docMk/>
            <pc:sldMk cId="2093568246" sldId="2147479583"/>
            <ac:spMk id="863" creationId="{3C455087-9756-4DBD-AEF9-329B753C24F4}"/>
          </ac:spMkLst>
        </pc:spChg>
        <pc:spChg chg="mod">
          <ac:chgData name="Mick Mooney" userId="e6518e4e-af4a-4bea-b39c-20489a1e5519" providerId="ADAL" clId="{3014DE50-B07B-4776-BEAC-0F779D92A13E}" dt="2023-07-31T12:31:12.974" v="25407" actId="2711"/>
          <ac:spMkLst>
            <pc:docMk/>
            <pc:sldMk cId="2093568246" sldId="2147479583"/>
            <ac:spMk id="864" creationId="{364D6A1D-D58B-4BB5-A02A-7C45C1D4818D}"/>
          </ac:spMkLst>
        </pc:spChg>
        <pc:spChg chg="mod">
          <ac:chgData name="Mick Mooney" userId="e6518e4e-af4a-4bea-b39c-20489a1e5519" providerId="ADAL" clId="{3014DE50-B07B-4776-BEAC-0F779D92A13E}" dt="2023-07-31T12:31:12.974" v="25407" actId="2711"/>
          <ac:spMkLst>
            <pc:docMk/>
            <pc:sldMk cId="2093568246" sldId="2147479583"/>
            <ac:spMk id="865" creationId="{451F6E32-C619-4D49-B7B2-6817A9CF2551}"/>
          </ac:spMkLst>
        </pc:spChg>
        <pc:spChg chg="mod">
          <ac:chgData name="Mick Mooney" userId="e6518e4e-af4a-4bea-b39c-20489a1e5519" providerId="ADAL" clId="{3014DE50-B07B-4776-BEAC-0F779D92A13E}" dt="2023-07-31T12:31:12.974" v="25407" actId="2711"/>
          <ac:spMkLst>
            <pc:docMk/>
            <pc:sldMk cId="2093568246" sldId="2147479583"/>
            <ac:spMk id="866" creationId="{766FAFBA-AAAB-4916-931C-971F840643E2}"/>
          </ac:spMkLst>
        </pc:spChg>
        <pc:spChg chg="mod">
          <ac:chgData name="Mick Mooney" userId="e6518e4e-af4a-4bea-b39c-20489a1e5519" providerId="ADAL" clId="{3014DE50-B07B-4776-BEAC-0F779D92A13E}" dt="2023-07-31T12:31:12.974" v="25407" actId="2711"/>
          <ac:spMkLst>
            <pc:docMk/>
            <pc:sldMk cId="2093568246" sldId="2147479583"/>
            <ac:spMk id="867" creationId="{D1491FF4-EFEC-4976-9B5E-49A029438935}"/>
          </ac:spMkLst>
        </pc:spChg>
        <pc:spChg chg="mod">
          <ac:chgData name="Mick Mooney" userId="e6518e4e-af4a-4bea-b39c-20489a1e5519" providerId="ADAL" clId="{3014DE50-B07B-4776-BEAC-0F779D92A13E}" dt="2023-07-31T12:31:12.974" v="25407" actId="2711"/>
          <ac:spMkLst>
            <pc:docMk/>
            <pc:sldMk cId="2093568246" sldId="2147479583"/>
            <ac:spMk id="868" creationId="{6A3A049A-1739-4F2A-A1F1-7CC96759B3E5}"/>
          </ac:spMkLst>
        </pc:spChg>
        <pc:spChg chg="mod">
          <ac:chgData name="Mick Mooney" userId="e6518e4e-af4a-4bea-b39c-20489a1e5519" providerId="ADAL" clId="{3014DE50-B07B-4776-BEAC-0F779D92A13E}" dt="2023-07-31T12:31:12.974" v="25407" actId="2711"/>
          <ac:spMkLst>
            <pc:docMk/>
            <pc:sldMk cId="2093568246" sldId="2147479583"/>
            <ac:spMk id="869" creationId="{F703F6DE-9C42-46DC-97E7-0FFDB9651BCA}"/>
          </ac:spMkLst>
        </pc:spChg>
        <pc:spChg chg="mod">
          <ac:chgData name="Mick Mooney" userId="e6518e4e-af4a-4bea-b39c-20489a1e5519" providerId="ADAL" clId="{3014DE50-B07B-4776-BEAC-0F779D92A13E}" dt="2023-07-31T12:31:12.974" v="25407" actId="2711"/>
          <ac:spMkLst>
            <pc:docMk/>
            <pc:sldMk cId="2093568246" sldId="2147479583"/>
            <ac:spMk id="870" creationId="{DC3B209A-C377-45ED-8139-D99CDAA7DB5A}"/>
          </ac:spMkLst>
        </pc:spChg>
        <pc:spChg chg="mod">
          <ac:chgData name="Mick Mooney" userId="e6518e4e-af4a-4bea-b39c-20489a1e5519" providerId="ADAL" clId="{3014DE50-B07B-4776-BEAC-0F779D92A13E}" dt="2023-07-31T12:31:12.974" v="25407" actId="2711"/>
          <ac:spMkLst>
            <pc:docMk/>
            <pc:sldMk cId="2093568246" sldId="2147479583"/>
            <ac:spMk id="871" creationId="{61E2ED87-C43E-484C-955D-8984B47F6A82}"/>
          </ac:spMkLst>
        </pc:spChg>
        <pc:spChg chg="mod">
          <ac:chgData name="Mick Mooney" userId="e6518e4e-af4a-4bea-b39c-20489a1e5519" providerId="ADAL" clId="{3014DE50-B07B-4776-BEAC-0F779D92A13E}" dt="2023-07-31T12:31:12.974" v="25407" actId="2711"/>
          <ac:spMkLst>
            <pc:docMk/>
            <pc:sldMk cId="2093568246" sldId="2147479583"/>
            <ac:spMk id="872" creationId="{096E0276-29C1-4375-8065-909DE345181C}"/>
          </ac:spMkLst>
        </pc:spChg>
        <pc:spChg chg="mod">
          <ac:chgData name="Mick Mooney" userId="e6518e4e-af4a-4bea-b39c-20489a1e5519" providerId="ADAL" clId="{3014DE50-B07B-4776-BEAC-0F779D92A13E}" dt="2023-07-31T12:31:12.974" v="25407" actId="2711"/>
          <ac:spMkLst>
            <pc:docMk/>
            <pc:sldMk cId="2093568246" sldId="2147479583"/>
            <ac:spMk id="873" creationId="{946016B4-52B7-4516-9A8C-E4C047E93D8F}"/>
          </ac:spMkLst>
        </pc:spChg>
        <pc:spChg chg="mod">
          <ac:chgData name="Mick Mooney" userId="e6518e4e-af4a-4bea-b39c-20489a1e5519" providerId="ADAL" clId="{3014DE50-B07B-4776-BEAC-0F779D92A13E}" dt="2023-07-31T12:31:12.974" v="25407" actId="2711"/>
          <ac:spMkLst>
            <pc:docMk/>
            <pc:sldMk cId="2093568246" sldId="2147479583"/>
            <ac:spMk id="874" creationId="{19F26A0C-0452-4EA4-A770-353790754317}"/>
          </ac:spMkLst>
        </pc:spChg>
        <pc:spChg chg="mod">
          <ac:chgData name="Mick Mooney" userId="e6518e4e-af4a-4bea-b39c-20489a1e5519" providerId="ADAL" clId="{3014DE50-B07B-4776-BEAC-0F779D92A13E}" dt="2023-07-31T12:31:12.974" v="25407" actId="2711"/>
          <ac:spMkLst>
            <pc:docMk/>
            <pc:sldMk cId="2093568246" sldId="2147479583"/>
            <ac:spMk id="875" creationId="{2CFD19CD-8C34-4D81-AA50-2C611FA47173}"/>
          </ac:spMkLst>
        </pc:spChg>
        <pc:spChg chg="mod">
          <ac:chgData name="Mick Mooney" userId="e6518e4e-af4a-4bea-b39c-20489a1e5519" providerId="ADAL" clId="{3014DE50-B07B-4776-BEAC-0F779D92A13E}" dt="2023-07-31T12:31:12.974" v="25407" actId="2711"/>
          <ac:spMkLst>
            <pc:docMk/>
            <pc:sldMk cId="2093568246" sldId="2147479583"/>
            <ac:spMk id="876" creationId="{540EAC30-8F69-4EE6-B7B2-802F5D2EE0B8}"/>
          </ac:spMkLst>
        </pc:spChg>
        <pc:spChg chg="mod">
          <ac:chgData name="Mick Mooney" userId="e6518e4e-af4a-4bea-b39c-20489a1e5519" providerId="ADAL" clId="{3014DE50-B07B-4776-BEAC-0F779D92A13E}" dt="2023-07-31T12:31:12.974" v="25407" actId="2711"/>
          <ac:spMkLst>
            <pc:docMk/>
            <pc:sldMk cId="2093568246" sldId="2147479583"/>
            <ac:spMk id="877" creationId="{64DCEB08-AE47-4ADB-94BA-D367C1EA84E1}"/>
          </ac:spMkLst>
        </pc:spChg>
        <pc:spChg chg="mod">
          <ac:chgData name="Mick Mooney" userId="e6518e4e-af4a-4bea-b39c-20489a1e5519" providerId="ADAL" clId="{3014DE50-B07B-4776-BEAC-0F779D92A13E}" dt="2023-07-31T12:31:12.974" v="25407" actId="2711"/>
          <ac:spMkLst>
            <pc:docMk/>
            <pc:sldMk cId="2093568246" sldId="2147479583"/>
            <ac:spMk id="878" creationId="{D233C4F6-D551-4394-95F3-8F890BC75597}"/>
          </ac:spMkLst>
        </pc:spChg>
        <pc:spChg chg="mod">
          <ac:chgData name="Mick Mooney" userId="e6518e4e-af4a-4bea-b39c-20489a1e5519" providerId="ADAL" clId="{3014DE50-B07B-4776-BEAC-0F779D92A13E}" dt="2023-07-31T12:31:12.974" v="25407" actId="2711"/>
          <ac:spMkLst>
            <pc:docMk/>
            <pc:sldMk cId="2093568246" sldId="2147479583"/>
            <ac:spMk id="879" creationId="{E4AA8DBA-5FD6-40E6-BB6C-4B81267C21DB}"/>
          </ac:spMkLst>
        </pc:spChg>
        <pc:spChg chg="mod">
          <ac:chgData name="Mick Mooney" userId="e6518e4e-af4a-4bea-b39c-20489a1e5519" providerId="ADAL" clId="{3014DE50-B07B-4776-BEAC-0F779D92A13E}" dt="2023-07-31T12:31:12.974" v="25407" actId="2711"/>
          <ac:spMkLst>
            <pc:docMk/>
            <pc:sldMk cId="2093568246" sldId="2147479583"/>
            <ac:spMk id="880" creationId="{4CEF9977-D6E4-420C-909C-3BC92AB75CB5}"/>
          </ac:spMkLst>
        </pc:spChg>
        <pc:spChg chg="mod">
          <ac:chgData name="Mick Mooney" userId="e6518e4e-af4a-4bea-b39c-20489a1e5519" providerId="ADAL" clId="{3014DE50-B07B-4776-BEAC-0F779D92A13E}" dt="2023-07-31T12:31:12.974" v="25407" actId="2711"/>
          <ac:spMkLst>
            <pc:docMk/>
            <pc:sldMk cId="2093568246" sldId="2147479583"/>
            <ac:spMk id="881" creationId="{8B7BA3E3-2446-47AC-A955-DBCDCF24353A}"/>
          </ac:spMkLst>
        </pc:spChg>
        <pc:spChg chg="mod">
          <ac:chgData name="Mick Mooney" userId="e6518e4e-af4a-4bea-b39c-20489a1e5519" providerId="ADAL" clId="{3014DE50-B07B-4776-BEAC-0F779D92A13E}" dt="2023-07-31T12:31:12.974" v="25407" actId="2711"/>
          <ac:spMkLst>
            <pc:docMk/>
            <pc:sldMk cId="2093568246" sldId="2147479583"/>
            <ac:spMk id="882" creationId="{4FE45419-D096-43EB-B4B3-6C8D01C4FAAF}"/>
          </ac:spMkLst>
        </pc:spChg>
        <pc:spChg chg="mod">
          <ac:chgData name="Mick Mooney" userId="e6518e4e-af4a-4bea-b39c-20489a1e5519" providerId="ADAL" clId="{3014DE50-B07B-4776-BEAC-0F779D92A13E}" dt="2023-07-31T12:31:12.974" v="25407" actId="2711"/>
          <ac:spMkLst>
            <pc:docMk/>
            <pc:sldMk cId="2093568246" sldId="2147479583"/>
            <ac:spMk id="883" creationId="{63C7FE21-BA2B-4115-8C0A-BB24070BE825}"/>
          </ac:spMkLst>
        </pc:spChg>
        <pc:spChg chg="mod">
          <ac:chgData name="Mick Mooney" userId="e6518e4e-af4a-4bea-b39c-20489a1e5519" providerId="ADAL" clId="{3014DE50-B07B-4776-BEAC-0F779D92A13E}" dt="2023-07-31T12:31:12.974" v="25407" actId="2711"/>
          <ac:spMkLst>
            <pc:docMk/>
            <pc:sldMk cId="2093568246" sldId="2147479583"/>
            <ac:spMk id="884" creationId="{FB396D7A-4B80-40EB-B56A-F4ECB53C8A29}"/>
          </ac:spMkLst>
        </pc:spChg>
        <pc:spChg chg="mod">
          <ac:chgData name="Mick Mooney" userId="e6518e4e-af4a-4bea-b39c-20489a1e5519" providerId="ADAL" clId="{3014DE50-B07B-4776-BEAC-0F779D92A13E}" dt="2023-07-31T12:31:12.974" v="25407" actId="2711"/>
          <ac:spMkLst>
            <pc:docMk/>
            <pc:sldMk cId="2093568246" sldId="2147479583"/>
            <ac:spMk id="885" creationId="{F0CDB4A9-8F82-469D-8D52-34AE9D9BF337}"/>
          </ac:spMkLst>
        </pc:spChg>
        <pc:spChg chg="mod">
          <ac:chgData name="Mick Mooney" userId="e6518e4e-af4a-4bea-b39c-20489a1e5519" providerId="ADAL" clId="{3014DE50-B07B-4776-BEAC-0F779D92A13E}" dt="2023-07-31T12:31:12.974" v="25407" actId="2711"/>
          <ac:spMkLst>
            <pc:docMk/>
            <pc:sldMk cId="2093568246" sldId="2147479583"/>
            <ac:spMk id="886" creationId="{03E45FA0-7214-4A6B-ACA2-B49FF429EBA7}"/>
          </ac:spMkLst>
        </pc:spChg>
        <pc:spChg chg="mod">
          <ac:chgData name="Mick Mooney" userId="e6518e4e-af4a-4bea-b39c-20489a1e5519" providerId="ADAL" clId="{3014DE50-B07B-4776-BEAC-0F779D92A13E}" dt="2023-07-31T12:31:12.974" v="25407" actId="2711"/>
          <ac:spMkLst>
            <pc:docMk/>
            <pc:sldMk cId="2093568246" sldId="2147479583"/>
            <ac:spMk id="887" creationId="{01FD0EFB-77A3-46B4-85BA-4B251BEC40C9}"/>
          </ac:spMkLst>
        </pc:spChg>
        <pc:spChg chg="mod">
          <ac:chgData name="Mick Mooney" userId="e6518e4e-af4a-4bea-b39c-20489a1e5519" providerId="ADAL" clId="{3014DE50-B07B-4776-BEAC-0F779D92A13E}" dt="2023-07-31T12:31:12.974" v="25407" actId="2711"/>
          <ac:spMkLst>
            <pc:docMk/>
            <pc:sldMk cId="2093568246" sldId="2147479583"/>
            <ac:spMk id="888" creationId="{42B58276-F1EB-4974-A2E5-B60EE418522D}"/>
          </ac:spMkLst>
        </pc:spChg>
        <pc:spChg chg="mod">
          <ac:chgData name="Mick Mooney" userId="e6518e4e-af4a-4bea-b39c-20489a1e5519" providerId="ADAL" clId="{3014DE50-B07B-4776-BEAC-0F779D92A13E}" dt="2023-07-31T12:31:12.974" v="25407" actId="2711"/>
          <ac:spMkLst>
            <pc:docMk/>
            <pc:sldMk cId="2093568246" sldId="2147479583"/>
            <ac:spMk id="889" creationId="{C262F5EF-E4D1-49CB-A349-5F53F07763D1}"/>
          </ac:spMkLst>
        </pc:spChg>
        <pc:spChg chg="mod">
          <ac:chgData name="Mick Mooney" userId="e6518e4e-af4a-4bea-b39c-20489a1e5519" providerId="ADAL" clId="{3014DE50-B07B-4776-BEAC-0F779D92A13E}" dt="2023-07-31T12:31:12.974" v="25407" actId="2711"/>
          <ac:spMkLst>
            <pc:docMk/>
            <pc:sldMk cId="2093568246" sldId="2147479583"/>
            <ac:spMk id="890" creationId="{4331AD77-6D10-4F88-B8D4-5325C382955D}"/>
          </ac:spMkLst>
        </pc:spChg>
        <pc:spChg chg="mod">
          <ac:chgData name="Mick Mooney" userId="e6518e4e-af4a-4bea-b39c-20489a1e5519" providerId="ADAL" clId="{3014DE50-B07B-4776-BEAC-0F779D92A13E}" dt="2023-07-31T12:31:12.974" v="25407" actId="2711"/>
          <ac:spMkLst>
            <pc:docMk/>
            <pc:sldMk cId="2093568246" sldId="2147479583"/>
            <ac:spMk id="891" creationId="{9EF0436A-C5C8-4B3C-9165-D1D02FEC0E38}"/>
          </ac:spMkLst>
        </pc:spChg>
        <pc:spChg chg="mod">
          <ac:chgData name="Mick Mooney" userId="e6518e4e-af4a-4bea-b39c-20489a1e5519" providerId="ADAL" clId="{3014DE50-B07B-4776-BEAC-0F779D92A13E}" dt="2023-07-31T12:31:12.974" v="25407" actId="2711"/>
          <ac:spMkLst>
            <pc:docMk/>
            <pc:sldMk cId="2093568246" sldId="2147479583"/>
            <ac:spMk id="892" creationId="{EF55AA8B-60C9-4C1E-8163-2E8A2B5ADF4A}"/>
          </ac:spMkLst>
        </pc:spChg>
        <pc:spChg chg="mod">
          <ac:chgData name="Mick Mooney" userId="e6518e4e-af4a-4bea-b39c-20489a1e5519" providerId="ADAL" clId="{3014DE50-B07B-4776-BEAC-0F779D92A13E}" dt="2023-07-31T12:31:12.974" v="25407" actId="2711"/>
          <ac:spMkLst>
            <pc:docMk/>
            <pc:sldMk cId="2093568246" sldId="2147479583"/>
            <ac:spMk id="893" creationId="{1374A790-767B-4C2E-BD0B-823DBFEFB73B}"/>
          </ac:spMkLst>
        </pc:spChg>
        <pc:spChg chg="mod">
          <ac:chgData name="Mick Mooney" userId="e6518e4e-af4a-4bea-b39c-20489a1e5519" providerId="ADAL" clId="{3014DE50-B07B-4776-BEAC-0F779D92A13E}" dt="2023-07-31T12:31:12.974" v="25407" actId="2711"/>
          <ac:spMkLst>
            <pc:docMk/>
            <pc:sldMk cId="2093568246" sldId="2147479583"/>
            <ac:spMk id="894" creationId="{B31B3C23-C372-409C-9031-ABE06F874776}"/>
          </ac:spMkLst>
        </pc:spChg>
        <pc:spChg chg="mod">
          <ac:chgData name="Mick Mooney" userId="e6518e4e-af4a-4bea-b39c-20489a1e5519" providerId="ADAL" clId="{3014DE50-B07B-4776-BEAC-0F779D92A13E}" dt="2023-07-31T12:31:12.974" v="25407" actId="2711"/>
          <ac:spMkLst>
            <pc:docMk/>
            <pc:sldMk cId="2093568246" sldId="2147479583"/>
            <ac:spMk id="895" creationId="{61BA8846-E752-468F-BB07-DA32A43914F1}"/>
          </ac:spMkLst>
        </pc:spChg>
        <pc:spChg chg="mod">
          <ac:chgData name="Mick Mooney" userId="e6518e4e-af4a-4bea-b39c-20489a1e5519" providerId="ADAL" clId="{3014DE50-B07B-4776-BEAC-0F779D92A13E}" dt="2023-07-31T12:31:12.974" v="25407" actId="2711"/>
          <ac:spMkLst>
            <pc:docMk/>
            <pc:sldMk cId="2093568246" sldId="2147479583"/>
            <ac:spMk id="896" creationId="{68E61E2B-0069-4F9C-9643-C1ECD314DF84}"/>
          </ac:spMkLst>
        </pc:spChg>
        <pc:spChg chg="mod">
          <ac:chgData name="Mick Mooney" userId="e6518e4e-af4a-4bea-b39c-20489a1e5519" providerId="ADAL" clId="{3014DE50-B07B-4776-BEAC-0F779D92A13E}" dt="2023-07-31T12:31:12.974" v="25407" actId="2711"/>
          <ac:spMkLst>
            <pc:docMk/>
            <pc:sldMk cId="2093568246" sldId="2147479583"/>
            <ac:spMk id="897" creationId="{A594C02E-F011-4AD0-9040-FF2D20D6F0D1}"/>
          </ac:spMkLst>
        </pc:spChg>
        <pc:spChg chg="mod">
          <ac:chgData name="Mick Mooney" userId="e6518e4e-af4a-4bea-b39c-20489a1e5519" providerId="ADAL" clId="{3014DE50-B07B-4776-BEAC-0F779D92A13E}" dt="2023-07-31T12:31:12.974" v="25407" actId="2711"/>
          <ac:spMkLst>
            <pc:docMk/>
            <pc:sldMk cId="2093568246" sldId="2147479583"/>
            <ac:spMk id="898" creationId="{28B25E08-28C1-46C5-9F09-CA3667CC9B72}"/>
          </ac:spMkLst>
        </pc:spChg>
        <pc:spChg chg="mod">
          <ac:chgData name="Mick Mooney" userId="e6518e4e-af4a-4bea-b39c-20489a1e5519" providerId="ADAL" clId="{3014DE50-B07B-4776-BEAC-0F779D92A13E}" dt="2023-07-31T12:31:12.974" v="25407" actId="2711"/>
          <ac:spMkLst>
            <pc:docMk/>
            <pc:sldMk cId="2093568246" sldId="2147479583"/>
            <ac:spMk id="899" creationId="{069F3D1C-80F1-4168-8288-7A1EF2103A63}"/>
          </ac:spMkLst>
        </pc:spChg>
        <pc:spChg chg="mod">
          <ac:chgData name="Mick Mooney" userId="e6518e4e-af4a-4bea-b39c-20489a1e5519" providerId="ADAL" clId="{3014DE50-B07B-4776-BEAC-0F779D92A13E}" dt="2023-07-31T12:31:12.974" v="25407" actId="2711"/>
          <ac:spMkLst>
            <pc:docMk/>
            <pc:sldMk cId="2093568246" sldId="2147479583"/>
            <ac:spMk id="900" creationId="{1D8CF89B-5BB3-427D-A483-3BDAD9E1FAB2}"/>
          </ac:spMkLst>
        </pc:spChg>
        <pc:spChg chg="mod">
          <ac:chgData name="Mick Mooney" userId="e6518e4e-af4a-4bea-b39c-20489a1e5519" providerId="ADAL" clId="{3014DE50-B07B-4776-BEAC-0F779D92A13E}" dt="2023-07-31T12:31:12.974" v="25407" actId="2711"/>
          <ac:spMkLst>
            <pc:docMk/>
            <pc:sldMk cId="2093568246" sldId="2147479583"/>
            <ac:spMk id="901" creationId="{13B9EE7A-A483-4BB3-98D3-C7E11F54628B}"/>
          </ac:spMkLst>
        </pc:spChg>
        <pc:spChg chg="mod">
          <ac:chgData name="Mick Mooney" userId="e6518e4e-af4a-4bea-b39c-20489a1e5519" providerId="ADAL" clId="{3014DE50-B07B-4776-BEAC-0F779D92A13E}" dt="2023-07-31T12:31:12.974" v="25407" actId="2711"/>
          <ac:spMkLst>
            <pc:docMk/>
            <pc:sldMk cId="2093568246" sldId="2147479583"/>
            <ac:spMk id="902" creationId="{B2EC089C-C5E8-4800-8A4E-B11F13450F8B}"/>
          </ac:spMkLst>
        </pc:spChg>
        <pc:spChg chg="mod">
          <ac:chgData name="Mick Mooney" userId="e6518e4e-af4a-4bea-b39c-20489a1e5519" providerId="ADAL" clId="{3014DE50-B07B-4776-BEAC-0F779D92A13E}" dt="2023-07-31T12:31:12.974" v="25407" actId="2711"/>
          <ac:spMkLst>
            <pc:docMk/>
            <pc:sldMk cId="2093568246" sldId="2147479583"/>
            <ac:spMk id="903" creationId="{A83A5225-4CFE-4DCD-AEA3-460C06815572}"/>
          </ac:spMkLst>
        </pc:spChg>
        <pc:spChg chg="mod">
          <ac:chgData name="Mick Mooney" userId="e6518e4e-af4a-4bea-b39c-20489a1e5519" providerId="ADAL" clId="{3014DE50-B07B-4776-BEAC-0F779D92A13E}" dt="2023-07-31T12:31:12.974" v="25407" actId="2711"/>
          <ac:spMkLst>
            <pc:docMk/>
            <pc:sldMk cId="2093568246" sldId="2147479583"/>
            <ac:spMk id="904" creationId="{FD91B0CF-282A-46D7-A263-9DED8B17D2D2}"/>
          </ac:spMkLst>
        </pc:spChg>
        <pc:spChg chg="mod">
          <ac:chgData name="Mick Mooney" userId="e6518e4e-af4a-4bea-b39c-20489a1e5519" providerId="ADAL" clId="{3014DE50-B07B-4776-BEAC-0F779D92A13E}" dt="2023-07-31T12:31:12.974" v="25407" actId="2711"/>
          <ac:spMkLst>
            <pc:docMk/>
            <pc:sldMk cId="2093568246" sldId="2147479583"/>
            <ac:spMk id="905" creationId="{A622248E-BF42-476C-9C21-858FEE9885EC}"/>
          </ac:spMkLst>
        </pc:spChg>
        <pc:spChg chg="mod">
          <ac:chgData name="Mick Mooney" userId="e6518e4e-af4a-4bea-b39c-20489a1e5519" providerId="ADAL" clId="{3014DE50-B07B-4776-BEAC-0F779D92A13E}" dt="2023-07-31T12:31:12.974" v="25407" actId="2711"/>
          <ac:spMkLst>
            <pc:docMk/>
            <pc:sldMk cId="2093568246" sldId="2147479583"/>
            <ac:spMk id="906" creationId="{BF3138B4-6E02-4FEE-BF76-6E6C0941A6EF}"/>
          </ac:spMkLst>
        </pc:spChg>
        <pc:spChg chg="mod">
          <ac:chgData name="Mick Mooney" userId="e6518e4e-af4a-4bea-b39c-20489a1e5519" providerId="ADAL" clId="{3014DE50-B07B-4776-BEAC-0F779D92A13E}" dt="2023-07-31T12:31:12.974" v="25407" actId="2711"/>
          <ac:spMkLst>
            <pc:docMk/>
            <pc:sldMk cId="2093568246" sldId="2147479583"/>
            <ac:spMk id="907" creationId="{BBB18872-3C4C-4935-91AF-9EFA67928002}"/>
          </ac:spMkLst>
        </pc:spChg>
        <pc:spChg chg="mod">
          <ac:chgData name="Mick Mooney" userId="e6518e4e-af4a-4bea-b39c-20489a1e5519" providerId="ADAL" clId="{3014DE50-B07B-4776-BEAC-0F779D92A13E}" dt="2023-07-31T12:31:12.974" v="25407" actId="2711"/>
          <ac:spMkLst>
            <pc:docMk/>
            <pc:sldMk cId="2093568246" sldId="2147479583"/>
            <ac:spMk id="908" creationId="{95422BA9-1FA4-4F0F-BFA2-D547FDE19322}"/>
          </ac:spMkLst>
        </pc:spChg>
        <pc:spChg chg="mod">
          <ac:chgData name="Mick Mooney" userId="e6518e4e-af4a-4bea-b39c-20489a1e5519" providerId="ADAL" clId="{3014DE50-B07B-4776-BEAC-0F779D92A13E}" dt="2023-07-31T12:31:12.974" v="25407" actId="2711"/>
          <ac:spMkLst>
            <pc:docMk/>
            <pc:sldMk cId="2093568246" sldId="2147479583"/>
            <ac:spMk id="909" creationId="{0CB6637D-6F97-4051-A9DE-F6740EFA7468}"/>
          </ac:spMkLst>
        </pc:spChg>
        <pc:spChg chg="mod">
          <ac:chgData name="Mick Mooney" userId="e6518e4e-af4a-4bea-b39c-20489a1e5519" providerId="ADAL" clId="{3014DE50-B07B-4776-BEAC-0F779D92A13E}" dt="2023-07-31T12:31:12.974" v="25407" actId="2711"/>
          <ac:spMkLst>
            <pc:docMk/>
            <pc:sldMk cId="2093568246" sldId="2147479583"/>
            <ac:spMk id="910" creationId="{6A465AD8-A88E-4344-B307-A62467D6F0DB}"/>
          </ac:spMkLst>
        </pc:spChg>
        <pc:spChg chg="mod">
          <ac:chgData name="Mick Mooney" userId="e6518e4e-af4a-4bea-b39c-20489a1e5519" providerId="ADAL" clId="{3014DE50-B07B-4776-BEAC-0F779D92A13E}" dt="2023-07-31T12:31:12.974" v="25407" actId="2711"/>
          <ac:spMkLst>
            <pc:docMk/>
            <pc:sldMk cId="2093568246" sldId="2147479583"/>
            <ac:spMk id="911" creationId="{105A7EE5-7587-44FA-9A2A-C2F1EBD1E6FB}"/>
          </ac:spMkLst>
        </pc:spChg>
        <pc:spChg chg="mod">
          <ac:chgData name="Mick Mooney" userId="e6518e4e-af4a-4bea-b39c-20489a1e5519" providerId="ADAL" clId="{3014DE50-B07B-4776-BEAC-0F779D92A13E}" dt="2023-07-31T12:31:12.974" v="25407" actId="2711"/>
          <ac:spMkLst>
            <pc:docMk/>
            <pc:sldMk cId="2093568246" sldId="2147479583"/>
            <ac:spMk id="912" creationId="{E2935BC3-D378-44DC-AF47-49B4FF060BB4}"/>
          </ac:spMkLst>
        </pc:spChg>
        <pc:spChg chg="mod">
          <ac:chgData name="Mick Mooney" userId="e6518e4e-af4a-4bea-b39c-20489a1e5519" providerId="ADAL" clId="{3014DE50-B07B-4776-BEAC-0F779D92A13E}" dt="2023-07-31T12:31:12.974" v="25407" actId="2711"/>
          <ac:spMkLst>
            <pc:docMk/>
            <pc:sldMk cId="2093568246" sldId="2147479583"/>
            <ac:spMk id="913" creationId="{CAB83B7E-6B13-4E70-8EB0-77DE52F942AD}"/>
          </ac:spMkLst>
        </pc:spChg>
        <pc:spChg chg="mod">
          <ac:chgData name="Mick Mooney" userId="e6518e4e-af4a-4bea-b39c-20489a1e5519" providerId="ADAL" clId="{3014DE50-B07B-4776-BEAC-0F779D92A13E}" dt="2023-07-31T12:31:12.974" v="25407" actId="2711"/>
          <ac:spMkLst>
            <pc:docMk/>
            <pc:sldMk cId="2093568246" sldId="2147479583"/>
            <ac:spMk id="914" creationId="{2F1615EF-6B6E-4FF5-AE4E-E2CEEAFB0ACF}"/>
          </ac:spMkLst>
        </pc:spChg>
        <pc:spChg chg="mod">
          <ac:chgData name="Mick Mooney" userId="e6518e4e-af4a-4bea-b39c-20489a1e5519" providerId="ADAL" clId="{3014DE50-B07B-4776-BEAC-0F779D92A13E}" dt="2023-07-31T12:31:12.974" v="25407" actId="2711"/>
          <ac:spMkLst>
            <pc:docMk/>
            <pc:sldMk cId="2093568246" sldId="2147479583"/>
            <ac:spMk id="915" creationId="{A59E1035-9B32-49CA-B324-0EAEE89E5C70}"/>
          </ac:spMkLst>
        </pc:spChg>
        <pc:spChg chg="mod">
          <ac:chgData name="Mick Mooney" userId="e6518e4e-af4a-4bea-b39c-20489a1e5519" providerId="ADAL" clId="{3014DE50-B07B-4776-BEAC-0F779D92A13E}" dt="2023-07-31T12:31:12.974" v="25407" actId="2711"/>
          <ac:spMkLst>
            <pc:docMk/>
            <pc:sldMk cId="2093568246" sldId="2147479583"/>
            <ac:spMk id="916" creationId="{EEA8C88C-6E97-43EF-9330-FEC2375ABBC1}"/>
          </ac:spMkLst>
        </pc:spChg>
        <pc:spChg chg="mod">
          <ac:chgData name="Mick Mooney" userId="e6518e4e-af4a-4bea-b39c-20489a1e5519" providerId="ADAL" clId="{3014DE50-B07B-4776-BEAC-0F779D92A13E}" dt="2023-07-31T12:31:12.974" v="25407" actId="2711"/>
          <ac:spMkLst>
            <pc:docMk/>
            <pc:sldMk cId="2093568246" sldId="2147479583"/>
            <ac:spMk id="917" creationId="{A15B19FC-50F0-487A-A559-919ADB1364EC}"/>
          </ac:spMkLst>
        </pc:spChg>
        <pc:spChg chg="mod">
          <ac:chgData name="Mick Mooney" userId="e6518e4e-af4a-4bea-b39c-20489a1e5519" providerId="ADAL" clId="{3014DE50-B07B-4776-BEAC-0F779D92A13E}" dt="2023-07-31T12:31:12.974" v="25407" actId="2711"/>
          <ac:spMkLst>
            <pc:docMk/>
            <pc:sldMk cId="2093568246" sldId="2147479583"/>
            <ac:spMk id="918" creationId="{3DC5E312-8942-4FAB-AB25-26497714E2F8}"/>
          </ac:spMkLst>
        </pc:spChg>
        <pc:spChg chg="mod">
          <ac:chgData name="Mick Mooney" userId="e6518e4e-af4a-4bea-b39c-20489a1e5519" providerId="ADAL" clId="{3014DE50-B07B-4776-BEAC-0F779D92A13E}" dt="2023-07-31T12:31:12.974" v="25407" actId="2711"/>
          <ac:spMkLst>
            <pc:docMk/>
            <pc:sldMk cId="2093568246" sldId="2147479583"/>
            <ac:spMk id="919" creationId="{E61F221A-FC45-4BAA-B82A-7F0D48E6CE6F}"/>
          </ac:spMkLst>
        </pc:spChg>
        <pc:spChg chg="mod">
          <ac:chgData name="Mick Mooney" userId="e6518e4e-af4a-4bea-b39c-20489a1e5519" providerId="ADAL" clId="{3014DE50-B07B-4776-BEAC-0F779D92A13E}" dt="2023-07-31T12:31:12.974" v="25407" actId="2711"/>
          <ac:spMkLst>
            <pc:docMk/>
            <pc:sldMk cId="2093568246" sldId="2147479583"/>
            <ac:spMk id="920" creationId="{55D65AEC-75B4-497C-99CA-78C6D12A95DA}"/>
          </ac:spMkLst>
        </pc:spChg>
        <pc:spChg chg="mod">
          <ac:chgData name="Mick Mooney" userId="e6518e4e-af4a-4bea-b39c-20489a1e5519" providerId="ADAL" clId="{3014DE50-B07B-4776-BEAC-0F779D92A13E}" dt="2023-07-31T12:31:12.974" v="25407" actId="2711"/>
          <ac:spMkLst>
            <pc:docMk/>
            <pc:sldMk cId="2093568246" sldId="2147479583"/>
            <ac:spMk id="921" creationId="{C987CEE4-F9E5-41C6-9257-2DB38F32BDC3}"/>
          </ac:spMkLst>
        </pc:spChg>
        <pc:spChg chg="mod">
          <ac:chgData name="Mick Mooney" userId="e6518e4e-af4a-4bea-b39c-20489a1e5519" providerId="ADAL" clId="{3014DE50-B07B-4776-BEAC-0F779D92A13E}" dt="2023-07-31T12:31:12.974" v="25407" actId="2711"/>
          <ac:spMkLst>
            <pc:docMk/>
            <pc:sldMk cId="2093568246" sldId="2147479583"/>
            <ac:spMk id="922" creationId="{40405152-A66B-4121-9304-E2E11D0C2319}"/>
          </ac:spMkLst>
        </pc:spChg>
        <pc:spChg chg="mod">
          <ac:chgData name="Mick Mooney" userId="e6518e4e-af4a-4bea-b39c-20489a1e5519" providerId="ADAL" clId="{3014DE50-B07B-4776-BEAC-0F779D92A13E}" dt="2023-07-31T12:31:12.974" v="25407" actId="2711"/>
          <ac:spMkLst>
            <pc:docMk/>
            <pc:sldMk cId="2093568246" sldId="2147479583"/>
            <ac:spMk id="923" creationId="{C42EB7D8-836A-48C3-9E2C-EBCCFF625F6C}"/>
          </ac:spMkLst>
        </pc:spChg>
        <pc:spChg chg="mod">
          <ac:chgData name="Mick Mooney" userId="e6518e4e-af4a-4bea-b39c-20489a1e5519" providerId="ADAL" clId="{3014DE50-B07B-4776-BEAC-0F779D92A13E}" dt="2023-07-31T12:31:12.974" v="25407" actId="2711"/>
          <ac:spMkLst>
            <pc:docMk/>
            <pc:sldMk cId="2093568246" sldId="2147479583"/>
            <ac:spMk id="924" creationId="{B01C6E76-3346-422C-8DE1-B76B1FFDDAFC}"/>
          </ac:spMkLst>
        </pc:spChg>
        <pc:spChg chg="mod">
          <ac:chgData name="Mick Mooney" userId="e6518e4e-af4a-4bea-b39c-20489a1e5519" providerId="ADAL" clId="{3014DE50-B07B-4776-BEAC-0F779D92A13E}" dt="2023-07-31T12:31:12.974" v="25407" actId="2711"/>
          <ac:spMkLst>
            <pc:docMk/>
            <pc:sldMk cId="2093568246" sldId="2147479583"/>
            <ac:spMk id="925" creationId="{1AE32F05-64B2-45BD-A6DA-1FC9AFDEAF82}"/>
          </ac:spMkLst>
        </pc:spChg>
        <pc:spChg chg="mod">
          <ac:chgData name="Mick Mooney" userId="e6518e4e-af4a-4bea-b39c-20489a1e5519" providerId="ADAL" clId="{3014DE50-B07B-4776-BEAC-0F779D92A13E}" dt="2023-07-31T12:31:12.974" v="25407" actId="2711"/>
          <ac:spMkLst>
            <pc:docMk/>
            <pc:sldMk cId="2093568246" sldId="2147479583"/>
            <ac:spMk id="926" creationId="{E9A6B56B-2B91-4066-922E-8354706F7924}"/>
          </ac:spMkLst>
        </pc:spChg>
        <pc:spChg chg="mod">
          <ac:chgData name="Mick Mooney" userId="e6518e4e-af4a-4bea-b39c-20489a1e5519" providerId="ADAL" clId="{3014DE50-B07B-4776-BEAC-0F779D92A13E}" dt="2023-07-31T12:31:12.974" v="25407" actId="2711"/>
          <ac:spMkLst>
            <pc:docMk/>
            <pc:sldMk cId="2093568246" sldId="2147479583"/>
            <ac:spMk id="927" creationId="{BAD3AD6A-C1AE-4540-A76B-986857041D53}"/>
          </ac:spMkLst>
        </pc:spChg>
        <pc:spChg chg="mod">
          <ac:chgData name="Mick Mooney" userId="e6518e4e-af4a-4bea-b39c-20489a1e5519" providerId="ADAL" clId="{3014DE50-B07B-4776-BEAC-0F779D92A13E}" dt="2023-07-31T12:31:12.974" v="25407" actId="2711"/>
          <ac:spMkLst>
            <pc:docMk/>
            <pc:sldMk cId="2093568246" sldId="2147479583"/>
            <ac:spMk id="928" creationId="{6717369B-AFCD-4185-8333-BFD3857FA651}"/>
          </ac:spMkLst>
        </pc:spChg>
        <pc:spChg chg="mod">
          <ac:chgData name="Mick Mooney" userId="e6518e4e-af4a-4bea-b39c-20489a1e5519" providerId="ADAL" clId="{3014DE50-B07B-4776-BEAC-0F779D92A13E}" dt="2023-07-31T12:31:12.974" v="25407" actId="2711"/>
          <ac:spMkLst>
            <pc:docMk/>
            <pc:sldMk cId="2093568246" sldId="2147479583"/>
            <ac:spMk id="929" creationId="{1A74315B-2D9D-48C7-94B7-EB194F7D3C78}"/>
          </ac:spMkLst>
        </pc:spChg>
        <pc:spChg chg="mod">
          <ac:chgData name="Mick Mooney" userId="e6518e4e-af4a-4bea-b39c-20489a1e5519" providerId="ADAL" clId="{3014DE50-B07B-4776-BEAC-0F779D92A13E}" dt="2023-07-31T12:31:12.974" v="25407" actId="2711"/>
          <ac:spMkLst>
            <pc:docMk/>
            <pc:sldMk cId="2093568246" sldId="2147479583"/>
            <ac:spMk id="930" creationId="{9923EB9A-8091-4842-B718-9A6CFD5C5831}"/>
          </ac:spMkLst>
        </pc:spChg>
        <pc:spChg chg="mod">
          <ac:chgData name="Mick Mooney" userId="e6518e4e-af4a-4bea-b39c-20489a1e5519" providerId="ADAL" clId="{3014DE50-B07B-4776-BEAC-0F779D92A13E}" dt="2023-07-31T12:31:12.974" v="25407" actId="2711"/>
          <ac:spMkLst>
            <pc:docMk/>
            <pc:sldMk cId="2093568246" sldId="2147479583"/>
            <ac:spMk id="931" creationId="{41E039D2-EFC3-4DF3-86AC-C4F041EEFAC6}"/>
          </ac:spMkLst>
        </pc:spChg>
        <pc:spChg chg="mod">
          <ac:chgData name="Mick Mooney" userId="e6518e4e-af4a-4bea-b39c-20489a1e5519" providerId="ADAL" clId="{3014DE50-B07B-4776-BEAC-0F779D92A13E}" dt="2023-07-31T12:31:12.974" v="25407" actId="2711"/>
          <ac:spMkLst>
            <pc:docMk/>
            <pc:sldMk cId="2093568246" sldId="2147479583"/>
            <ac:spMk id="932" creationId="{7180E551-AC10-4B20-A72A-EE5107BCE70A}"/>
          </ac:spMkLst>
        </pc:spChg>
        <pc:spChg chg="mod">
          <ac:chgData name="Mick Mooney" userId="e6518e4e-af4a-4bea-b39c-20489a1e5519" providerId="ADAL" clId="{3014DE50-B07B-4776-BEAC-0F779D92A13E}" dt="2023-07-31T12:31:12.974" v="25407" actId="2711"/>
          <ac:spMkLst>
            <pc:docMk/>
            <pc:sldMk cId="2093568246" sldId="2147479583"/>
            <ac:spMk id="933" creationId="{0C7ECF9F-6EFC-477B-8090-F2DB14B95576}"/>
          </ac:spMkLst>
        </pc:spChg>
        <pc:spChg chg="mod">
          <ac:chgData name="Mick Mooney" userId="e6518e4e-af4a-4bea-b39c-20489a1e5519" providerId="ADAL" clId="{3014DE50-B07B-4776-BEAC-0F779D92A13E}" dt="2023-07-31T12:31:12.974" v="25407" actId="2711"/>
          <ac:spMkLst>
            <pc:docMk/>
            <pc:sldMk cId="2093568246" sldId="2147479583"/>
            <ac:spMk id="934" creationId="{D6729410-5207-4AF4-9300-95078C2C9A5B}"/>
          </ac:spMkLst>
        </pc:spChg>
        <pc:spChg chg="mod">
          <ac:chgData name="Mick Mooney" userId="e6518e4e-af4a-4bea-b39c-20489a1e5519" providerId="ADAL" clId="{3014DE50-B07B-4776-BEAC-0F779D92A13E}" dt="2023-07-31T12:31:12.974" v="25407" actId="2711"/>
          <ac:spMkLst>
            <pc:docMk/>
            <pc:sldMk cId="2093568246" sldId="2147479583"/>
            <ac:spMk id="935" creationId="{46DAF12B-18B6-4540-B727-C23508FBF3C7}"/>
          </ac:spMkLst>
        </pc:spChg>
        <pc:spChg chg="mod">
          <ac:chgData name="Mick Mooney" userId="e6518e4e-af4a-4bea-b39c-20489a1e5519" providerId="ADAL" clId="{3014DE50-B07B-4776-BEAC-0F779D92A13E}" dt="2023-07-31T12:31:12.974" v="25407" actId="2711"/>
          <ac:spMkLst>
            <pc:docMk/>
            <pc:sldMk cId="2093568246" sldId="2147479583"/>
            <ac:spMk id="936" creationId="{C45075BC-0CF3-4703-A16F-C22AB426F802}"/>
          </ac:spMkLst>
        </pc:spChg>
        <pc:spChg chg="mod">
          <ac:chgData name="Mick Mooney" userId="e6518e4e-af4a-4bea-b39c-20489a1e5519" providerId="ADAL" clId="{3014DE50-B07B-4776-BEAC-0F779D92A13E}" dt="2023-07-31T12:31:12.974" v="25407" actId="2711"/>
          <ac:spMkLst>
            <pc:docMk/>
            <pc:sldMk cId="2093568246" sldId="2147479583"/>
            <ac:spMk id="937" creationId="{1CE9E0E4-F44C-4B59-998D-2774EB8F430D}"/>
          </ac:spMkLst>
        </pc:spChg>
        <pc:spChg chg="mod">
          <ac:chgData name="Mick Mooney" userId="e6518e4e-af4a-4bea-b39c-20489a1e5519" providerId="ADAL" clId="{3014DE50-B07B-4776-BEAC-0F779D92A13E}" dt="2023-07-31T12:31:12.974" v="25407" actId="2711"/>
          <ac:spMkLst>
            <pc:docMk/>
            <pc:sldMk cId="2093568246" sldId="2147479583"/>
            <ac:spMk id="938" creationId="{0009666C-4FC8-47F9-A956-64225E1C3632}"/>
          </ac:spMkLst>
        </pc:spChg>
        <pc:spChg chg="mod">
          <ac:chgData name="Mick Mooney" userId="e6518e4e-af4a-4bea-b39c-20489a1e5519" providerId="ADAL" clId="{3014DE50-B07B-4776-BEAC-0F779D92A13E}" dt="2023-07-31T12:31:12.974" v="25407" actId="2711"/>
          <ac:spMkLst>
            <pc:docMk/>
            <pc:sldMk cId="2093568246" sldId="2147479583"/>
            <ac:spMk id="939" creationId="{3F3E74AD-93D5-4EA0-BE6C-4EBA29FD0872}"/>
          </ac:spMkLst>
        </pc:spChg>
        <pc:spChg chg="mod">
          <ac:chgData name="Mick Mooney" userId="e6518e4e-af4a-4bea-b39c-20489a1e5519" providerId="ADAL" clId="{3014DE50-B07B-4776-BEAC-0F779D92A13E}" dt="2023-07-31T12:31:12.974" v="25407" actId="2711"/>
          <ac:spMkLst>
            <pc:docMk/>
            <pc:sldMk cId="2093568246" sldId="2147479583"/>
            <ac:spMk id="940" creationId="{C9C47D0F-28BC-49B6-A028-370FCD58B858}"/>
          </ac:spMkLst>
        </pc:spChg>
        <pc:spChg chg="mod">
          <ac:chgData name="Mick Mooney" userId="e6518e4e-af4a-4bea-b39c-20489a1e5519" providerId="ADAL" clId="{3014DE50-B07B-4776-BEAC-0F779D92A13E}" dt="2023-07-31T12:31:12.974" v="25407" actId="2711"/>
          <ac:spMkLst>
            <pc:docMk/>
            <pc:sldMk cId="2093568246" sldId="2147479583"/>
            <ac:spMk id="941" creationId="{90D2A9B3-B12A-4E6E-AE6C-7947BBC97B52}"/>
          </ac:spMkLst>
        </pc:spChg>
        <pc:spChg chg="mod">
          <ac:chgData name="Mick Mooney" userId="e6518e4e-af4a-4bea-b39c-20489a1e5519" providerId="ADAL" clId="{3014DE50-B07B-4776-BEAC-0F779D92A13E}" dt="2023-07-31T12:31:12.974" v="25407" actId="2711"/>
          <ac:spMkLst>
            <pc:docMk/>
            <pc:sldMk cId="2093568246" sldId="2147479583"/>
            <ac:spMk id="942" creationId="{92E58FF0-33D5-4452-A054-C082190FF66F}"/>
          </ac:spMkLst>
        </pc:spChg>
        <pc:spChg chg="mod">
          <ac:chgData name="Mick Mooney" userId="e6518e4e-af4a-4bea-b39c-20489a1e5519" providerId="ADAL" clId="{3014DE50-B07B-4776-BEAC-0F779D92A13E}" dt="2023-07-31T12:31:12.974" v="25407" actId="2711"/>
          <ac:spMkLst>
            <pc:docMk/>
            <pc:sldMk cId="2093568246" sldId="2147479583"/>
            <ac:spMk id="943" creationId="{6B3B2B63-61A1-48A6-8E63-146FB10AE7D9}"/>
          </ac:spMkLst>
        </pc:spChg>
        <pc:spChg chg="mod">
          <ac:chgData name="Mick Mooney" userId="e6518e4e-af4a-4bea-b39c-20489a1e5519" providerId="ADAL" clId="{3014DE50-B07B-4776-BEAC-0F779D92A13E}" dt="2023-07-31T12:31:12.974" v="25407" actId="2711"/>
          <ac:spMkLst>
            <pc:docMk/>
            <pc:sldMk cId="2093568246" sldId="2147479583"/>
            <ac:spMk id="944" creationId="{9719A1BB-AB09-4ADA-870E-CF466FBF9762}"/>
          </ac:spMkLst>
        </pc:spChg>
        <pc:spChg chg="mod">
          <ac:chgData name="Mick Mooney" userId="e6518e4e-af4a-4bea-b39c-20489a1e5519" providerId="ADAL" clId="{3014DE50-B07B-4776-BEAC-0F779D92A13E}" dt="2023-07-31T12:31:12.974" v="25407" actId="2711"/>
          <ac:spMkLst>
            <pc:docMk/>
            <pc:sldMk cId="2093568246" sldId="2147479583"/>
            <ac:spMk id="945" creationId="{3DE720BE-40C3-44BB-B395-09DE7530706F}"/>
          </ac:spMkLst>
        </pc:spChg>
        <pc:spChg chg="mod">
          <ac:chgData name="Mick Mooney" userId="e6518e4e-af4a-4bea-b39c-20489a1e5519" providerId="ADAL" clId="{3014DE50-B07B-4776-BEAC-0F779D92A13E}" dt="2023-07-31T12:31:12.974" v="25407" actId="2711"/>
          <ac:spMkLst>
            <pc:docMk/>
            <pc:sldMk cId="2093568246" sldId="2147479583"/>
            <ac:spMk id="946" creationId="{C7B3193E-6BAA-4648-8CCB-500BEFE1C3A0}"/>
          </ac:spMkLst>
        </pc:spChg>
        <pc:spChg chg="mod">
          <ac:chgData name="Mick Mooney" userId="e6518e4e-af4a-4bea-b39c-20489a1e5519" providerId="ADAL" clId="{3014DE50-B07B-4776-BEAC-0F779D92A13E}" dt="2023-07-31T12:31:12.974" v="25407" actId="2711"/>
          <ac:spMkLst>
            <pc:docMk/>
            <pc:sldMk cId="2093568246" sldId="2147479583"/>
            <ac:spMk id="947" creationId="{45E284D1-33F4-4C09-BB85-313724D2DB99}"/>
          </ac:spMkLst>
        </pc:spChg>
        <pc:spChg chg="mod">
          <ac:chgData name="Mick Mooney" userId="e6518e4e-af4a-4bea-b39c-20489a1e5519" providerId="ADAL" clId="{3014DE50-B07B-4776-BEAC-0F779D92A13E}" dt="2023-07-31T12:31:12.974" v="25407" actId="2711"/>
          <ac:spMkLst>
            <pc:docMk/>
            <pc:sldMk cId="2093568246" sldId="2147479583"/>
            <ac:spMk id="948" creationId="{CC1010A4-F889-42D6-9565-3244AB58F5EB}"/>
          </ac:spMkLst>
        </pc:spChg>
        <pc:spChg chg="mod">
          <ac:chgData name="Mick Mooney" userId="e6518e4e-af4a-4bea-b39c-20489a1e5519" providerId="ADAL" clId="{3014DE50-B07B-4776-BEAC-0F779D92A13E}" dt="2023-07-31T12:31:12.974" v="25407" actId="2711"/>
          <ac:spMkLst>
            <pc:docMk/>
            <pc:sldMk cId="2093568246" sldId="2147479583"/>
            <ac:spMk id="949" creationId="{09489EB4-E5BF-486B-8E4F-1D18A8C73049}"/>
          </ac:spMkLst>
        </pc:spChg>
        <pc:spChg chg="mod">
          <ac:chgData name="Mick Mooney" userId="e6518e4e-af4a-4bea-b39c-20489a1e5519" providerId="ADAL" clId="{3014DE50-B07B-4776-BEAC-0F779D92A13E}" dt="2023-07-31T12:31:12.974" v="25407" actId="2711"/>
          <ac:spMkLst>
            <pc:docMk/>
            <pc:sldMk cId="2093568246" sldId="2147479583"/>
            <ac:spMk id="950" creationId="{2C7F163A-4F5B-433F-9EE7-CF864BE6996B}"/>
          </ac:spMkLst>
        </pc:spChg>
        <pc:spChg chg="mod">
          <ac:chgData name="Mick Mooney" userId="e6518e4e-af4a-4bea-b39c-20489a1e5519" providerId="ADAL" clId="{3014DE50-B07B-4776-BEAC-0F779D92A13E}" dt="2023-07-31T12:31:12.974" v="25407" actId="2711"/>
          <ac:spMkLst>
            <pc:docMk/>
            <pc:sldMk cId="2093568246" sldId="2147479583"/>
            <ac:spMk id="951" creationId="{D3BBE51D-EBC0-4FBE-B9BD-34A2BBAA0329}"/>
          </ac:spMkLst>
        </pc:spChg>
        <pc:spChg chg="mod">
          <ac:chgData name="Mick Mooney" userId="e6518e4e-af4a-4bea-b39c-20489a1e5519" providerId="ADAL" clId="{3014DE50-B07B-4776-BEAC-0F779D92A13E}" dt="2023-07-31T12:31:12.974" v="25407" actId="2711"/>
          <ac:spMkLst>
            <pc:docMk/>
            <pc:sldMk cId="2093568246" sldId="2147479583"/>
            <ac:spMk id="952" creationId="{3ED8BE67-5130-4095-AFBA-EFB5640BD09D}"/>
          </ac:spMkLst>
        </pc:spChg>
        <pc:spChg chg="mod">
          <ac:chgData name="Mick Mooney" userId="e6518e4e-af4a-4bea-b39c-20489a1e5519" providerId="ADAL" clId="{3014DE50-B07B-4776-BEAC-0F779D92A13E}" dt="2023-07-31T12:31:12.974" v="25407" actId="2711"/>
          <ac:spMkLst>
            <pc:docMk/>
            <pc:sldMk cId="2093568246" sldId="2147479583"/>
            <ac:spMk id="953" creationId="{1A7B9036-355E-44A3-8A99-57341197FB5B}"/>
          </ac:spMkLst>
        </pc:spChg>
        <pc:spChg chg="mod">
          <ac:chgData name="Mick Mooney" userId="e6518e4e-af4a-4bea-b39c-20489a1e5519" providerId="ADAL" clId="{3014DE50-B07B-4776-BEAC-0F779D92A13E}" dt="2023-07-31T12:31:12.974" v="25407" actId="2711"/>
          <ac:spMkLst>
            <pc:docMk/>
            <pc:sldMk cId="2093568246" sldId="2147479583"/>
            <ac:spMk id="954" creationId="{0445909C-C279-4745-8FC0-48F15E7CD80F}"/>
          </ac:spMkLst>
        </pc:spChg>
        <pc:spChg chg="mod">
          <ac:chgData name="Mick Mooney" userId="e6518e4e-af4a-4bea-b39c-20489a1e5519" providerId="ADAL" clId="{3014DE50-B07B-4776-BEAC-0F779D92A13E}" dt="2023-07-31T12:31:12.974" v="25407" actId="2711"/>
          <ac:spMkLst>
            <pc:docMk/>
            <pc:sldMk cId="2093568246" sldId="2147479583"/>
            <ac:spMk id="955" creationId="{7B899E7B-2D70-4F54-8BE9-8C0F5244F5C8}"/>
          </ac:spMkLst>
        </pc:spChg>
        <pc:spChg chg="mod">
          <ac:chgData name="Mick Mooney" userId="e6518e4e-af4a-4bea-b39c-20489a1e5519" providerId="ADAL" clId="{3014DE50-B07B-4776-BEAC-0F779D92A13E}" dt="2023-07-31T12:31:12.974" v="25407" actId="2711"/>
          <ac:spMkLst>
            <pc:docMk/>
            <pc:sldMk cId="2093568246" sldId="2147479583"/>
            <ac:spMk id="956" creationId="{DB73F279-056A-4930-9CD8-FB835C5632B3}"/>
          </ac:spMkLst>
        </pc:spChg>
        <pc:spChg chg="mod">
          <ac:chgData name="Mick Mooney" userId="e6518e4e-af4a-4bea-b39c-20489a1e5519" providerId="ADAL" clId="{3014DE50-B07B-4776-BEAC-0F779D92A13E}" dt="2023-07-31T12:31:12.974" v="25407" actId="2711"/>
          <ac:spMkLst>
            <pc:docMk/>
            <pc:sldMk cId="2093568246" sldId="2147479583"/>
            <ac:spMk id="957" creationId="{5984E18F-481D-41F1-B9B3-0CF7EE7982ED}"/>
          </ac:spMkLst>
        </pc:spChg>
        <pc:spChg chg="mod">
          <ac:chgData name="Mick Mooney" userId="e6518e4e-af4a-4bea-b39c-20489a1e5519" providerId="ADAL" clId="{3014DE50-B07B-4776-BEAC-0F779D92A13E}" dt="2023-07-31T12:31:12.974" v="25407" actId="2711"/>
          <ac:spMkLst>
            <pc:docMk/>
            <pc:sldMk cId="2093568246" sldId="2147479583"/>
            <ac:spMk id="958" creationId="{11603631-3F02-4947-B7C0-16F5294A9CFA}"/>
          </ac:spMkLst>
        </pc:spChg>
        <pc:spChg chg="mod">
          <ac:chgData name="Mick Mooney" userId="e6518e4e-af4a-4bea-b39c-20489a1e5519" providerId="ADAL" clId="{3014DE50-B07B-4776-BEAC-0F779D92A13E}" dt="2023-07-31T12:31:12.974" v="25407" actId="2711"/>
          <ac:spMkLst>
            <pc:docMk/>
            <pc:sldMk cId="2093568246" sldId="2147479583"/>
            <ac:spMk id="959" creationId="{1EE88DA9-A9B2-499F-BD57-ECB9EB7D7463}"/>
          </ac:spMkLst>
        </pc:spChg>
        <pc:spChg chg="mod">
          <ac:chgData name="Mick Mooney" userId="e6518e4e-af4a-4bea-b39c-20489a1e5519" providerId="ADAL" clId="{3014DE50-B07B-4776-BEAC-0F779D92A13E}" dt="2023-07-31T12:31:12.974" v="25407" actId="2711"/>
          <ac:spMkLst>
            <pc:docMk/>
            <pc:sldMk cId="2093568246" sldId="2147479583"/>
            <ac:spMk id="960" creationId="{2C03722F-4C7E-4B96-BE30-1D624F62FE05}"/>
          </ac:spMkLst>
        </pc:spChg>
        <pc:spChg chg="mod">
          <ac:chgData name="Mick Mooney" userId="e6518e4e-af4a-4bea-b39c-20489a1e5519" providerId="ADAL" clId="{3014DE50-B07B-4776-BEAC-0F779D92A13E}" dt="2023-07-31T12:31:12.974" v="25407" actId="2711"/>
          <ac:spMkLst>
            <pc:docMk/>
            <pc:sldMk cId="2093568246" sldId="2147479583"/>
            <ac:spMk id="961" creationId="{245CC6EE-FF3A-4807-B063-63867AD03886}"/>
          </ac:spMkLst>
        </pc:spChg>
        <pc:spChg chg="mod">
          <ac:chgData name="Mick Mooney" userId="e6518e4e-af4a-4bea-b39c-20489a1e5519" providerId="ADAL" clId="{3014DE50-B07B-4776-BEAC-0F779D92A13E}" dt="2023-07-31T12:31:12.974" v="25407" actId="2711"/>
          <ac:spMkLst>
            <pc:docMk/>
            <pc:sldMk cId="2093568246" sldId="2147479583"/>
            <ac:spMk id="962" creationId="{4466965C-AE14-45C9-AB29-F6201B79C0D6}"/>
          </ac:spMkLst>
        </pc:spChg>
        <pc:spChg chg="mod">
          <ac:chgData name="Mick Mooney" userId="e6518e4e-af4a-4bea-b39c-20489a1e5519" providerId="ADAL" clId="{3014DE50-B07B-4776-BEAC-0F779D92A13E}" dt="2023-07-31T12:31:12.974" v="25407" actId="2711"/>
          <ac:spMkLst>
            <pc:docMk/>
            <pc:sldMk cId="2093568246" sldId="2147479583"/>
            <ac:spMk id="963" creationId="{12C7719D-35EC-4E04-A400-584704E154A1}"/>
          </ac:spMkLst>
        </pc:spChg>
        <pc:spChg chg="mod">
          <ac:chgData name="Mick Mooney" userId="e6518e4e-af4a-4bea-b39c-20489a1e5519" providerId="ADAL" clId="{3014DE50-B07B-4776-BEAC-0F779D92A13E}" dt="2023-07-31T12:31:12.974" v="25407" actId="2711"/>
          <ac:spMkLst>
            <pc:docMk/>
            <pc:sldMk cId="2093568246" sldId="2147479583"/>
            <ac:spMk id="964" creationId="{EA1C6449-F67A-4DC9-88C5-A1D1EC59AD04}"/>
          </ac:spMkLst>
        </pc:spChg>
        <pc:spChg chg="mod">
          <ac:chgData name="Mick Mooney" userId="e6518e4e-af4a-4bea-b39c-20489a1e5519" providerId="ADAL" clId="{3014DE50-B07B-4776-BEAC-0F779D92A13E}" dt="2023-07-31T12:31:12.974" v="25407" actId="2711"/>
          <ac:spMkLst>
            <pc:docMk/>
            <pc:sldMk cId="2093568246" sldId="2147479583"/>
            <ac:spMk id="965" creationId="{77C0470C-0083-456E-8AD5-53AED4C87727}"/>
          </ac:spMkLst>
        </pc:spChg>
        <pc:spChg chg="mod">
          <ac:chgData name="Mick Mooney" userId="e6518e4e-af4a-4bea-b39c-20489a1e5519" providerId="ADAL" clId="{3014DE50-B07B-4776-BEAC-0F779D92A13E}" dt="2023-07-31T12:31:12.974" v="25407" actId="2711"/>
          <ac:spMkLst>
            <pc:docMk/>
            <pc:sldMk cId="2093568246" sldId="2147479583"/>
            <ac:spMk id="966" creationId="{D6DC3480-4470-4106-AF0A-9923D3274DF6}"/>
          </ac:spMkLst>
        </pc:spChg>
        <pc:spChg chg="mod">
          <ac:chgData name="Mick Mooney" userId="e6518e4e-af4a-4bea-b39c-20489a1e5519" providerId="ADAL" clId="{3014DE50-B07B-4776-BEAC-0F779D92A13E}" dt="2023-07-31T12:31:12.974" v="25407" actId="2711"/>
          <ac:spMkLst>
            <pc:docMk/>
            <pc:sldMk cId="2093568246" sldId="2147479583"/>
            <ac:spMk id="967" creationId="{61572D1B-C018-4E47-BAEF-7F48934DD0BC}"/>
          </ac:spMkLst>
        </pc:spChg>
        <pc:spChg chg="mod">
          <ac:chgData name="Mick Mooney" userId="e6518e4e-af4a-4bea-b39c-20489a1e5519" providerId="ADAL" clId="{3014DE50-B07B-4776-BEAC-0F779D92A13E}" dt="2023-07-31T12:31:12.974" v="25407" actId="2711"/>
          <ac:spMkLst>
            <pc:docMk/>
            <pc:sldMk cId="2093568246" sldId="2147479583"/>
            <ac:spMk id="968" creationId="{47CD3918-2C55-4227-B0D6-5B89F05DA55F}"/>
          </ac:spMkLst>
        </pc:spChg>
        <pc:spChg chg="mod">
          <ac:chgData name="Mick Mooney" userId="e6518e4e-af4a-4bea-b39c-20489a1e5519" providerId="ADAL" clId="{3014DE50-B07B-4776-BEAC-0F779D92A13E}" dt="2023-07-31T12:31:12.974" v="25407" actId="2711"/>
          <ac:spMkLst>
            <pc:docMk/>
            <pc:sldMk cId="2093568246" sldId="2147479583"/>
            <ac:spMk id="969" creationId="{AF3243A2-8ADF-4764-9DB7-6130DB50970A}"/>
          </ac:spMkLst>
        </pc:spChg>
        <pc:spChg chg="mod">
          <ac:chgData name="Mick Mooney" userId="e6518e4e-af4a-4bea-b39c-20489a1e5519" providerId="ADAL" clId="{3014DE50-B07B-4776-BEAC-0F779D92A13E}" dt="2023-07-31T12:31:12.974" v="25407" actId="2711"/>
          <ac:spMkLst>
            <pc:docMk/>
            <pc:sldMk cId="2093568246" sldId="2147479583"/>
            <ac:spMk id="970" creationId="{02AFC5FF-FE1A-4648-B6FE-62FAD66D9DC5}"/>
          </ac:spMkLst>
        </pc:spChg>
        <pc:spChg chg="mod">
          <ac:chgData name="Mick Mooney" userId="e6518e4e-af4a-4bea-b39c-20489a1e5519" providerId="ADAL" clId="{3014DE50-B07B-4776-BEAC-0F779D92A13E}" dt="2023-07-31T12:31:12.974" v="25407" actId="2711"/>
          <ac:spMkLst>
            <pc:docMk/>
            <pc:sldMk cId="2093568246" sldId="2147479583"/>
            <ac:spMk id="971" creationId="{C1546EC9-110E-4363-904F-FB8FDA6BF30C}"/>
          </ac:spMkLst>
        </pc:spChg>
        <pc:spChg chg="mod">
          <ac:chgData name="Mick Mooney" userId="e6518e4e-af4a-4bea-b39c-20489a1e5519" providerId="ADAL" clId="{3014DE50-B07B-4776-BEAC-0F779D92A13E}" dt="2023-07-31T12:31:12.974" v="25407" actId="2711"/>
          <ac:spMkLst>
            <pc:docMk/>
            <pc:sldMk cId="2093568246" sldId="2147479583"/>
            <ac:spMk id="972" creationId="{7D175EE4-9DB5-47F8-A6E0-C8255F2FCE08}"/>
          </ac:spMkLst>
        </pc:spChg>
        <pc:spChg chg="mod">
          <ac:chgData name="Mick Mooney" userId="e6518e4e-af4a-4bea-b39c-20489a1e5519" providerId="ADAL" clId="{3014DE50-B07B-4776-BEAC-0F779D92A13E}" dt="2023-07-31T12:31:12.974" v="25407" actId="2711"/>
          <ac:spMkLst>
            <pc:docMk/>
            <pc:sldMk cId="2093568246" sldId="2147479583"/>
            <ac:spMk id="973" creationId="{F0D18967-5E79-4327-B155-74D5A35CC3D3}"/>
          </ac:spMkLst>
        </pc:spChg>
        <pc:spChg chg="mod">
          <ac:chgData name="Mick Mooney" userId="e6518e4e-af4a-4bea-b39c-20489a1e5519" providerId="ADAL" clId="{3014DE50-B07B-4776-BEAC-0F779D92A13E}" dt="2023-07-31T12:31:12.974" v="25407" actId="2711"/>
          <ac:spMkLst>
            <pc:docMk/>
            <pc:sldMk cId="2093568246" sldId="2147479583"/>
            <ac:spMk id="974" creationId="{1BA0DBDD-A4E4-4C4E-B381-8383E0DD9772}"/>
          </ac:spMkLst>
        </pc:spChg>
        <pc:spChg chg="mod">
          <ac:chgData name="Mick Mooney" userId="e6518e4e-af4a-4bea-b39c-20489a1e5519" providerId="ADAL" clId="{3014DE50-B07B-4776-BEAC-0F779D92A13E}" dt="2023-07-31T12:31:12.974" v="25407" actId="2711"/>
          <ac:spMkLst>
            <pc:docMk/>
            <pc:sldMk cId="2093568246" sldId="2147479583"/>
            <ac:spMk id="975" creationId="{E93F8B73-B63D-455D-BC00-81666CFB89B2}"/>
          </ac:spMkLst>
        </pc:spChg>
        <pc:spChg chg="mod">
          <ac:chgData name="Mick Mooney" userId="e6518e4e-af4a-4bea-b39c-20489a1e5519" providerId="ADAL" clId="{3014DE50-B07B-4776-BEAC-0F779D92A13E}" dt="2023-07-31T12:31:12.974" v="25407" actId="2711"/>
          <ac:spMkLst>
            <pc:docMk/>
            <pc:sldMk cId="2093568246" sldId="2147479583"/>
            <ac:spMk id="976" creationId="{AD00526E-00AD-458B-8334-090B14686789}"/>
          </ac:spMkLst>
        </pc:spChg>
        <pc:spChg chg="mod">
          <ac:chgData name="Mick Mooney" userId="e6518e4e-af4a-4bea-b39c-20489a1e5519" providerId="ADAL" clId="{3014DE50-B07B-4776-BEAC-0F779D92A13E}" dt="2023-07-31T12:31:12.974" v="25407" actId="2711"/>
          <ac:spMkLst>
            <pc:docMk/>
            <pc:sldMk cId="2093568246" sldId="2147479583"/>
            <ac:spMk id="977" creationId="{D5C03979-997C-4AB2-ABD6-E6097420AE20}"/>
          </ac:spMkLst>
        </pc:spChg>
        <pc:spChg chg="mod">
          <ac:chgData name="Mick Mooney" userId="e6518e4e-af4a-4bea-b39c-20489a1e5519" providerId="ADAL" clId="{3014DE50-B07B-4776-BEAC-0F779D92A13E}" dt="2023-07-31T12:31:12.974" v="25407" actId="2711"/>
          <ac:spMkLst>
            <pc:docMk/>
            <pc:sldMk cId="2093568246" sldId="2147479583"/>
            <ac:spMk id="978" creationId="{ABDCEEF1-0154-4B7E-BF9F-3F214F9A62AF}"/>
          </ac:spMkLst>
        </pc:spChg>
        <pc:spChg chg="mod">
          <ac:chgData name="Mick Mooney" userId="e6518e4e-af4a-4bea-b39c-20489a1e5519" providerId="ADAL" clId="{3014DE50-B07B-4776-BEAC-0F779D92A13E}" dt="2023-07-31T12:31:12.974" v="25407" actId="2711"/>
          <ac:spMkLst>
            <pc:docMk/>
            <pc:sldMk cId="2093568246" sldId="2147479583"/>
            <ac:spMk id="979" creationId="{55DA8109-7953-419F-B6B6-0308AD98287E}"/>
          </ac:spMkLst>
        </pc:spChg>
        <pc:spChg chg="mod">
          <ac:chgData name="Mick Mooney" userId="e6518e4e-af4a-4bea-b39c-20489a1e5519" providerId="ADAL" clId="{3014DE50-B07B-4776-BEAC-0F779D92A13E}" dt="2023-07-31T12:31:12.974" v="25407" actId="2711"/>
          <ac:spMkLst>
            <pc:docMk/>
            <pc:sldMk cId="2093568246" sldId="2147479583"/>
            <ac:spMk id="980" creationId="{F67A1C88-FB9A-4A4E-BA67-2B26009B1F4F}"/>
          </ac:spMkLst>
        </pc:spChg>
        <pc:spChg chg="mod">
          <ac:chgData name="Mick Mooney" userId="e6518e4e-af4a-4bea-b39c-20489a1e5519" providerId="ADAL" clId="{3014DE50-B07B-4776-BEAC-0F779D92A13E}" dt="2023-07-31T12:31:12.974" v="25407" actId="2711"/>
          <ac:spMkLst>
            <pc:docMk/>
            <pc:sldMk cId="2093568246" sldId="2147479583"/>
            <ac:spMk id="981" creationId="{5B6C59B4-F8EF-4548-9E7C-58303A761F7A}"/>
          </ac:spMkLst>
        </pc:spChg>
        <pc:spChg chg="mod">
          <ac:chgData name="Mick Mooney" userId="e6518e4e-af4a-4bea-b39c-20489a1e5519" providerId="ADAL" clId="{3014DE50-B07B-4776-BEAC-0F779D92A13E}" dt="2023-07-31T12:31:12.974" v="25407" actId="2711"/>
          <ac:spMkLst>
            <pc:docMk/>
            <pc:sldMk cId="2093568246" sldId="2147479583"/>
            <ac:spMk id="982" creationId="{CFB29086-5FDC-439E-AB2F-E3F28533E774}"/>
          </ac:spMkLst>
        </pc:spChg>
        <pc:spChg chg="mod">
          <ac:chgData name="Mick Mooney" userId="e6518e4e-af4a-4bea-b39c-20489a1e5519" providerId="ADAL" clId="{3014DE50-B07B-4776-BEAC-0F779D92A13E}" dt="2023-07-31T12:31:12.974" v="25407" actId="2711"/>
          <ac:spMkLst>
            <pc:docMk/>
            <pc:sldMk cId="2093568246" sldId="2147479583"/>
            <ac:spMk id="983" creationId="{F2B14468-4599-4C05-B535-301706B36D37}"/>
          </ac:spMkLst>
        </pc:spChg>
        <pc:spChg chg="mod">
          <ac:chgData name="Mick Mooney" userId="e6518e4e-af4a-4bea-b39c-20489a1e5519" providerId="ADAL" clId="{3014DE50-B07B-4776-BEAC-0F779D92A13E}" dt="2023-07-31T12:31:12.974" v="25407" actId="2711"/>
          <ac:spMkLst>
            <pc:docMk/>
            <pc:sldMk cId="2093568246" sldId="2147479583"/>
            <ac:spMk id="984" creationId="{0A18BAB0-68CF-49B5-9D43-E32A2C30FE53}"/>
          </ac:spMkLst>
        </pc:spChg>
        <pc:spChg chg="mod">
          <ac:chgData name="Mick Mooney" userId="e6518e4e-af4a-4bea-b39c-20489a1e5519" providerId="ADAL" clId="{3014DE50-B07B-4776-BEAC-0F779D92A13E}" dt="2023-07-31T12:31:12.974" v="25407" actId="2711"/>
          <ac:spMkLst>
            <pc:docMk/>
            <pc:sldMk cId="2093568246" sldId="2147479583"/>
            <ac:spMk id="985" creationId="{6DB88DFF-5203-4878-91E5-60986F993C4F}"/>
          </ac:spMkLst>
        </pc:spChg>
        <pc:spChg chg="mod">
          <ac:chgData name="Mick Mooney" userId="e6518e4e-af4a-4bea-b39c-20489a1e5519" providerId="ADAL" clId="{3014DE50-B07B-4776-BEAC-0F779D92A13E}" dt="2023-07-31T12:31:12.974" v="25407" actId="2711"/>
          <ac:spMkLst>
            <pc:docMk/>
            <pc:sldMk cId="2093568246" sldId="2147479583"/>
            <ac:spMk id="986" creationId="{C03FC98C-E0D5-4B5E-BE8C-E58EB943DDFF}"/>
          </ac:spMkLst>
        </pc:spChg>
        <pc:spChg chg="mod">
          <ac:chgData name="Mick Mooney" userId="e6518e4e-af4a-4bea-b39c-20489a1e5519" providerId="ADAL" clId="{3014DE50-B07B-4776-BEAC-0F779D92A13E}" dt="2023-07-31T12:31:12.974" v="25407" actId="2711"/>
          <ac:spMkLst>
            <pc:docMk/>
            <pc:sldMk cId="2093568246" sldId="2147479583"/>
            <ac:spMk id="987" creationId="{EE0C8552-FD9C-49A3-9F74-70614BBABBD9}"/>
          </ac:spMkLst>
        </pc:spChg>
        <pc:spChg chg="mod">
          <ac:chgData name="Mick Mooney" userId="e6518e4e-af4a-4bea-b39c-20489a1e5519" providerId="ADAL" clId="{3014DE50-B07B-4776-BEAC-0F779D92A13E}" dt="2023-07-31T12:31:12.974" v="25407" actId="2711"/>
          <ac:spMkLst>
            <pc:docMk/>
            <pc:sldMk cId="2093568246" sldId="2147479583"/>
            <ac:spMk id="988" creationId="{6E94E482-1E28-4D36-A66E-E9E285020DE2}"/>
          </ac:spMkLst>
        </pc:spChg>
        <pc:spChg chg="mod">
          <ac:chgData name="Mick Mooney" userId="e6518e4e-af4a-4bea-b39c-20489a1e5519" providerId="ADAL" clId="{3014DE50-B07B-4776-BEAC-0F779D92A13E}" dt="2023-07-31T12:31:12.974" v="25407" actId="2711"/>
          <ac:spMkLst>
            <pc:docMk/>
            <pc:sldMk cId="2093568246" sldId="2147479583"/>
            <ac:spMk id="989" creationId="{62E69142-E33F-4700-96D1-57B52C37864F}"/>
          </ac:spMkLst>
        </pc:spChg>
        <pc:spChg chg="mod">
          <ac:chgData name="Mick Mooney" userId="e6518e4e-af4a-4bea-b39c-20489a1e5519" providerId="ADAL" clId="{3014DE50-B07B-4776-BEAC-0F779D92A13E}" dt="2023-07-31T12:31:12.974" v="25407" actId="2711"/>
          <ac:spMkLst>
            <pc:docMk/>
            <pc:sldMk cId="2093568246" sldId="2147479583"/>
            <ac:spMk id="990" creationId="{14FA9478-B5FB-496C-A194-0D6B934516B6}"/>
          </ac:spMkLst>
        </pc:spChg>
        <pc:spChg chg="mod">
          <ac:chgData name="Mick Mooney" userId="e6518e4e-af4a-4bea-b39c-20489a1e5519" providerId="ADAL" clId="{3014DE50-B07B-4776-BEAC-0F779D92A13E}" dt="2023-07-31T12:31:12.974" v="25407" actId="2711"/>
          <ac:spMkLst>
            <pc:docMk/>
            <pc:sldMk cId="2093568246" sldId="2147479583"/>
            <ac:spMk id="991" creationId="{993422B1-5E9D-4E3F-A97E-A0B5250E731C}"/>
          </ac:spMkLst>
        </pc:spChg>
        <pc:spChg chg="mod">
          <ac:chgData name="Mick Mooney" userId="e6518e4e-af4a-4bea-b39c-20489a1e5519" providerId="ADAL" clId="{3014DE50-B07B-4776-BEAC-0F779D92A13E}" dt="2023-07-31T12:31:12.974" v="25407" actId="2711"/>
          <ac:spMkLst>
            <pc:docMk/>
            <pc:sldMk cId="2093568246" sldId="2147479583"/>
            <ac:spMk id="992" creationId="{BF62B829-5B8E-4A8F-9514-72F5C4C7F724}"/>
          </ac:spMkLst>
        </pc:spChg>
        <pc:spChg chg="mod">
          <ac:chgData name="Mick Mooney" userId="e6518e4e-af4a-4bea-b39c-20489a1e5519" providerId="ADAL" clId="{3014DE50-B07B-4776-BEAC-0F779D92A13E}" dt="2023-07-31T12:31:12.974" v="25407" actId="2711"/>
          <ac:spMkLst>
            <pc:docMk/>
            <pc:sldMk cId="2093568246" sldId="2147479583"/>
            <ac:spMk id="993" creationId="{13AB3457-BBA2-4D3A-8DC7-834DC45C8F9C}"/>
          </ac:spMkLst>
        </pc:spChg>
        <pc:spChg chg="mod">
          <ac:chgData name="Mick Mooney" userId="e6518e4e-af4a-4bea-b39c-20489a1e5519" providerId="ADAL" clId="{3014DE50-B07B-4776-BEAC-0F779D92A13E}" dt="2023-07-31T12:31:12.974" v="25407" actId="2711"/>
          <ac:spMkLst>
            <pc:docMk/>
            <pc:sldMk cId="2093568246" sldId="2147479583"/>
            <ac:spMk id="994" creationId="{FCCFD059-EEAD-4B73-AA7F-953350F38774}"/>
          </ac:spMkLst>
        </pc:spChg>
        <pc:spChg chg="mod">
          <ac:chgData name="Mick Mooney" userId="e6518e4e-af4a-4bea-b39c-20489a1e5519" providerId="ADAL" clId="{3014DE50-B07B-4776-BEAC-0F779D92A13E}" dt="2023-07-31T12:31:12.974" v="25407" actId="2711"/>
          <ac:spMkLst>
            <pc:docMk/>
            <pc:sldMk cId="2093568246" sldId="2147479583"/>
            <ac:spMk id="995" creationId="{91406C70-A241-498F-8844-4431837AA95E}"/>
          </ac:spMkLst>
        </pc:spChg>
        <pc:spChg chg="mod">
          <ac:chgData name="Mick Mooney" userId="e6518e4e-af4a-4bea-b39c-20489a1e5519" providerId="ADAL" clId="{3014DE50-B07B-4776-BEAC-0F779D92A13E}" dt="2023-07-31T12:31:12.974" v="25407" actId="2711"/>
          <ac:spMkLst>
            <pc:docMk/>
            <pc:sldMk cId="2093568246" sldId="2147479583"/>
            <ac:spMk id="996" creationId="{F482D210-FE98-4AB3-9C67-57A89066EA12}"/>
          </ac:spMkLst>
        </pc:spChg>
        <pc:spChg chg="mod">
          <ac:chgData name="Mick Mooney" userId="e6518e4e-af4a-4bea-b39c-20489a1e5519" providerId="ADAL" clId="{3014DE50-B07B-4776-BEAC-0F779D92A13E}" dt="2023-07-31T12:31:12.974" v="25407" actId="2711"/>
          <ac:spMkLst>
            <pc:docMk/>
            <pc:sldMk cId="2093568246" sldId="2147479583"/>
            <ac:spMk id="997" creationId="{BE90D9EA-EA41-4598-BF3A-5217DAFC3033}"/>
          </ac:spMkLst>
        </pc:spChg>
        <pc:spChg chg="mod">
          <ac:chgData name="Mick Mooney" userId="e6518e4e-af4a-4bea-b39c-20489a1e5519" providerId="ADAL" clId="{3014DE50-B07B-4776-BEAC-0F779D92A13E}" dt="2023-07-31T12:31:12.974" v="25407" actId="2711"/>
          <ac:spMkLst>
            <pc:docMk/>
            <pc:sldMk cId="2093568246" sldId="2147479583"/>
            <ac:spMk id="998" creationId="{D1DD9F35-1C7C-468F-A73E-EE4C4179E2AF}"/>
          </ac:spMkLst>
        </pc:spChg>
        <pc:spChg chg="mod">
          <ac:chgData name="Mick Mooney" userId="e6518e4e-af4a-4bea-b39c-20489a1e5519" providerId="ADAL" clId="{3014DE50-B07B-4776-BEAC-0F779D92A13E}" dt="2023-07-31T12:31:12.974" v="25407" actId="2711"/>
          <ac:spMkLst>
            <pc:docMk/>
            <pc:sldMk cId="2093568246" sldId="2147479583"/>
            <ac:spMk id="999" creationId="{E0C203C9-89E8-4234-B2BB-C20E4C7F4613}"/>
          </ac:spMkLst>
        </pc:spChg>
        <pc:spChg chg="mod">
          <ac:chgData name="Mick Mooney" userId="e6518e4e-af4a-4bea-b39c-20489a1e5519" providerId="ADAL" clId="{3014DE50-B07B-4776-BEAC-0F779D92A13E}" dt="2023-07-31T12:31:12.974" v="25407" actId="2711"/>
          <ac:spMkLst>
            <pc:docMk/>
            <pc:sldMk cId="2093568246" sldId="2147479583"/>
            <ac:spMk id="1000" creationId="{991969E8-50ED-4A19-85FB-74EA1510DFF2}"/>
          </ac:spMkLst>
        </pc:spChg>
        <pc:spChg chg="mod">
          <ac:chgData name="Mick Mooney" userId="e6518e4e-af4a-4bea-b39c-20489a1e5519" providerId="ADAL" clId="{3014DE50-B07B-4776-BEAC-0F779D92A13E}" dt="2023-07-31T12:31:12.974" v="25407" actId="2711"/>
          <ac:spMkLst>
            <pc:docMk/>
            <pc:sldMk cId="2093568246" sldId="2147479583"/>
            <ac:spMk id="1001" creationId="{0190938A-FE12-4F91-AEF8-41311A49440D}"/>
          </ac:spMkLst>
        </pc:spChg>
        <pc:spChg chg="mod">
          <ac:chgData name="Mick Mooney" userId="e6518e4e-af4a-4bea-b39c-20489a1e5519" providerId="ADAL" clId="{3014DE50-B07B-4776-BEAC-0F779D92A13E}" dt="2023-07-31T12:31:12.974" v="25407" actId="2711"/>
          <ac:spMkLst>
            <pc:docMk/>
            <pc:sldMk cId="2093568246" sldId="2147479583"/>
            <ac:spMk id="1002" creationId="{9E2AA310-B981-4DDE-AC6C-D96FFA634D90}"/>
          </ac:spMkLst>
        </pc:spChg>
        <pc:spChg chg="mod">
          <ac:chgData name="Mick Mooney" userId="e6518e4e-af4a-4bea-b39c-20489a1e5519" providerId="ADAL" clId="{3014DE50-B07B-4776-BEAC-0F779D92A13E}" dt="2023-07-31T12:31:12.974" v="25407" actId="2711"/>
          <ac:spMkLst>
            <pc:docMk/>
            <pc:sldMk cId="2093568246" sldId="2147479583"/>
            <ac:spMk id="1003" creationId="{AE9127C3-B0D1-4E1D-940B-F0D3663E9A21}"/>
          </ac:spMkLst>
        </pc:spChg>
        <pc:spChg chg="mod">
          <ac:chgData name="Mick Mooney" userId="e6518e4e-af4a-4bea-b39c-20489a1e5519" providerId="ADAL" clId="{3014DE50-B07B-4776-BEAC-0F779D92A13E}" dt="2023-07-31T12:31:12.974" v="25407" actId="2711"/>
          <ac:spMkLst>
            <pc:docMk/>
            <pc:sldMk cId="2093568246" sldId="2147479583"/>
            <ac:spMk id="1004" creationId="{173D8429-E750-4E94-9863-9E78A08623A9}"/>
          </ac:spMkLst>
        </pc:spChg>
        <pc:spChg chg="mod">
          <ac:chgData name="Mick Mooney" userId="e6518e4e-af4a-4bea-b39c-20489a1e5519" providerId="ADAL" clId="{3014DE50-B07B-4776-BEAC-0F779D92A13E}" dt="2023-07-31T12:31:12.974" v="25407" actId="2711"/>
          <ac:spMkLst>
            <pc:docMk/>
            <pc:sldMk cId="2093568246" sldId="2147479583"/>
            <ac:spMk id="1005" creationId="{7A10F760-B061-4398-BB59-08B4F5BD4F22}"/>
          </ac:spMkLst>
        </pc:spChg>
        <pc:spChg chg="mod">
          <ac:chgData name="Mick Mooney" userId="e6518e4e-af4a-4bea-b39c-20489a1e5519" providerId="ADAL" clId="{3014DE50-B07B-4776-BEAC-0F779D92A13E}" dt="2023-07-31T12:31:12.974" v="25407" actId="2711"/>
          <ac:spMkLst>
            <pc:docMk/>
            <pc:sldMk cId="2093568246" sldId="2147479583"/>
            <ac:spMk id="1006" creationId="{2A72C664-5DE3-41E6-A57A-383721B5EE46}"/>
          </ac:spMkLst>
        </pc:spChg>
        <pc:spChg chg="mod">
          <ac:chgData name="Mick Mooney" userId="e6518e4e-af4a-4bea-b39c-20489a1e5519" providerId="ADAL" clId="{3014DE50-B07B-4776-BEAC-0F779D92A13E}" dt="2023-07-31T12:31:12.974" v="25407" actId="2711"/>
          <ac:spMkLst>
            <pc:docMk/>
            <pc:sldMk cId="2093568246" sldId="2147479583"/>
            <ac:spMk id="1007" creationId="{7BEC29B2-02FD-49F5-A59C-1B52ABAA5D6E}"/>
          </ac:spMkLst>
        </pc:spChg>
        <pc:spChg chg="mod">
          <ac:chgData name="Mick Mooney" userId="e6518e4e-af4a-4bea-b39c-20489a1e5519" providerId="ADAL" clId="{3014DE50-B07B-4776-BEAC-0F779D92A13E}" dt="2023-07-31T12:31:12.974" v="25407" actId="2711"/>
          <ac:spMkLst>
            <pc:docMk/>
            <pc:sldMk cId="2093568246" sldId="2147479583"/>
            <ac:spMk id="1008" creationId="{E435DB04-50FB-4253-B8DA-9D52A689F125}"/>
          </ac:spMkLst>
        </pc:spChg>
        <pc:spChg chg="mod">
          <ac:chgData name="Mick Mooney" userId="e6518e4e-af4a-4bea-b39c-20489a1e5519" providerId="ADAL" clId="{3014DE50-B07B-4776-BEAC-0F779D92A13E}" dt="2023-07-31T12:31:12.974" v="25407" actId="2711"/>
          <ac:spMkLst>
            <pc:docMk/>
            <pc:sldMk cId="2093568246" sldId="2147479583"/>
            <ac:spMk id="1009" creationId="{B2B24055-DBC9-4DC8-93B0-6371E91E6766}"/>
          </ac:spMkLst>
        </pc:spChg>
        <pc:spChg chg="mod">
          <ac:chgData name="Mick Mooney" userId="e6518e4e-af4a-4bea-b39c-20489a1e5519" providerId="ADAL" clId="{3014DE50-B07B-4776-BEAC-0F779D92A13E}" dt="2023-07-31T12:31:12.974" v="25407" actId="2711"/>
          <ac:spMkLst>
            <pc:docMk/>
            <pc:sldMk cId="2093568246" sldId="2147479583"/>
            <ac:spMk id="1010" creationId="{7E415C08-A3F2-4B6E-9EDD-9FCAC1799ECF}"/>
          </ac:spMkLst>
        </pc:spChg>
        <pc:spChg chg="mod">
          <ac:chgData name="Mick Mooney" userId="e6518e4e-af4a-4bea-b39c-20489a1e5519" providerId="ADAL" clId="{3014DE50-B07B-4776-BEAC-0F779D92A13E}" dt="2023-07-31T12:31:12.974" v="25407" actId="2711"/>
          <ac:spMkLst>
            <pc:docMk/>
            <pc:sldMk cId="2093568246" sldId="2147479583"/>
            <ac:spMk id="1011" creationId="{47D774B3-F008-4051-99D6-801B51D6B961}"/>
          </ac:spMkLst>
        </pc:spChg>
        <pc:spChg chg="mod">
          <ac:chgData name="Mick Mooney" userId="e6518e4e-af4a-4bea-b39c-20489a1e5519" providerId="ADAL" clId="{3014DE50-B07B-4776-BEAC-0F779D92A13E}" dt="2023-07-31T12:31:12.974" v="25407" actId="2711"/>
          <ac:spMkLst>
            <pc:docMk/>
            <pc:sldMk cId="2093568246" sldId="2147479583"/>
            <ac:spMk id="1012" creationId="{D07B3FE7-A771-43FE-A0A2-75FF9A39BC59}"/>
          </ac:spMkLst>
        </pc:spChg>
        <pc:spChg chg="mod">
          <ac:chgData name="Mick Mooney" userId="e6518e4e-af4a-4bea-b39c-20489a1e5519" providerId="ADAL" clId="{3014DE50-B07B-4776-BEAC-0F779D92A13E}" dt="2023-07-31T12:31:12.974" v="25407" actId="2711"/>
          <ac:spMkLst>
            <pc:docMk/>
            <pc:sldMk cId="2093568246" sldId="2147479583"/>
            <ac:spMk id="1013" creationId="{A62BFD19-E1DC-4C26-B8C9-57583D4BADEE}"/>
          </ac:spMkLst>
        </pc:spChg>
        <pc:spChg chg="mod">
          <ac:chgData name="Mick Mooney" userId="e6518e4e-af4a-4bea-b39c-20489a1e5519" providerId="ADAL" clId="{3014DE50-B07B-4776-BEAC-0F779D92A13E}" dt="2023-07-31T12:31:12.974" v="25407" actId="2711"/>
          <ac:spMkLst>
            <pc:docMk/>
            <pc:sldMk cId="2093568246" sldId="2147479583"/>
            <ac:spMk id="1014" creationId="{3A45C483-5A88-4153-A91D-89657385BE82}"/>
          </ac:spMkLst>
        </pc:spChg>
        <pc:spChg chg="mod">
          <ac:chgData name="Mick Mooney" userId="e6518e4e-af4a-4bea-b39c-20489a1e5519" providerId="ADAL" clId="{3014DE50-B07B-4776-BEAC-0F779D92A13E}" dt="2023-07-31T12:31:12.974" v="25407" actId="2711"/>
          <ac:spMkLst>
            <pc:docMk/>
            <pc:sldMk cId="2093568246" sldId="2147479583"/>
            <ac:spMk id="1015" creationId="{AF200FC6-289F-4AFE-8B19-9874C01B0CAA}"/>
          </ac:spMkLst>
        </pc:spChg>
        <pc:spChg chg="mod">
          <ac:chgData name="Mick Mooney" userId="e6518e4e-af4a-4bea-b39c-20489a1e5519" providerId="ADAL" clId="{3014DE50-B07B-4776-BEAC-0F779D92A13E}" dt="2023-07-31T12:31:12.974" v="25407" actId="2711"/>
          <ac:spMkLst>
            <pc:docMk/>
            <pc:sldMk cId="2093568246" sldId="2147479583"/>
            <ac:spMk id="1016" creationId="{4A7FD633-BD3F-4D1C-A911-6E400F456E70}"/>
          </ac:spMkLst>
        </pc:spChg>
        <pc:spChg chg="mod">
          <ac:chgData name="Mick Mooney" userId="e6518e4e-af4a-4bea-b39c-20489a1e5519" providerId="ADAL" clId="{3014DE50-B07B-4776-BEAC-0F779D92A13E}" dt="2023-07-31T12:31:12.974" v="25407" actId="2711"/>
          <ac:spMkLst>
            <pc:docMk/>
            <pc:sldMk cId="2093568246" sldId="2147479583"/>
            <ac:spMk id="1017" creationId="{F8272430-8460-4C32-9A17-A4FEAAC63400}"/>
          </ac:spMkLst>
        </pc:spChg>
        <pc:spChg chg="mod">
          <ac:chgData name="Mick Mooney" userId="e6518e4e-af4a-4bea-b39c-20489a1e5519" providerId="ADAL" clId="{3014DE50-B07B-4776-BEAC-0F779D92A13E}" dt="2023-07-31T12:31:12.974" v="25407" actId="2711"/>
          <ac:spMkLst>
            <pc:docMk/>
            <pc:sldMk cId="2093568246" sldId="2147479583"/>
            <ac:spMk id="1018" creationId="{FF9CEB16-38C2-485F-8078-C4E69F84FD8B}"/>
          </ac:spMkLst>
        </pc:spChg>
        <pc:spChg chg="mod">
          <ac:chgData name="Mick Mooney" userId="e6518e4e-af4a-4bea-b39c-20489a1e5519" providerId="ADAL" clId="{3014DE50-B07B-4776-BEAC-0F779D92A13E}" dt="2023-07-31T12:31:12.974" v="25407" actId="2711"/>
          <ac:spMkLst>
            <pc:docMk/>
            <pc:sldMk cId="2093568246" sldId="2147479583"/>
            <ac:spMk id="1019" creationId="{98FF234C-8A4A-4D7A-AD5E-177F922E97E3}"/>
          </ac:spMkLst>
        </pc:spChg>
        <pc:spChg chg="mod">
          <ac:chgData name="Mick Mooney" userId="e6518e4e-af4a-4bea-b39c-20489a1e5519" providerId="ADAL" clId="{3014DE50-B07B-4776-BEAC-0F779D92A13E}" dt="2023-07-31T12:31:12.974" v="25407" actId="2711"/>
          <ac:spMkLst>
            <pc:docMk/>
            <pc:sldMk cId="2093568246" sldId="2147479583"/>
            <ac:spMk id="1020" creationId="{B831DA0D-AD74-4BB2-A238-21D0895A80BA}"/>
          </ac:spMkLst>
        </pc:spChg>
        <pc:spChg chg="mod">
          <ac:chgData name="Mick Mooney" userId="e6518e4e-af4a-4bea-b39c-20489a1e5519" providerId="ADAL" clId="{3014DE50-B07B-4776-BEAC-0F779D92A13E}" dt="2023-07-31T12:31:12.974" v="25407" actId="2711"/>
          <ac:spMkLst>
            <pc:docMk/>
            <pc:sldMk cId="2093568246" sldId="2147479583"/>
            <ac:spMk id="1021" creationId="{53469909-0957-489C-9EDD-FFA2CC7376EC}"/>
          </ac:spMkLst>
        </pc:spChg>
        <pc:spChg chg="mod">
          <ac:chgData name="Mick Mooney" userId="e6518e4e-af4a-4bea-b39c-20489a1e5519" providerId="ADAL" clId="{3014DE50-B07B-4776-BEAC-0F779D92A13E}" dt="2023-07-31T12:31:12.974" v="25407" actId="2711"/>
          <ac:spMkLst>
            <pc:docMk/>
            <pc:sldMk cId="2093568246" sldId="2147479583"/>
            <ac:spMk id="1022" creationId="{D57E35DB-47F6-4B82-B781-4E740EDFC7C2}"/>
          </ac:spMkLst>
        </pc:spChg>
        <pc:spChg chg="mod">
          <ac:chgData name="Mick Mooney" userId="e6518e4e-af4a-4bea-b39c-20489a1e5519" providerId="ADAL" clId="{3014DE50-B07B-4776-BEAC-0F779D92A13E}" dt="2023-07-31T12:31:12.974" v="25407" actId="2711"/>
          <ac:spMkLst>
            <pc:docMk/>
            <pc:sldMk cId="2093568246" sldId="2147479583"/>
            <ac:spMk id="1023" creationId="{56DB8A06-E60E-4D0F-B817-7D3C0DA5BCE3}"/>
          </ac:spMkLst>
        </pc:spChg>
        <pc:spChg chg="mod">
          <ac:chgData name="Mick Mooney" userId="e6518e4e-af4a-4bea-b39c-20489a1e5519" providerId="ADAL" clId="{3014DE50-B07B-4776-BEAC-0F779D92A13E}" dt="2023-07-31T12:31:12.974" v="25407" actId="2711"/>
          <ac:spMkLst>
            <pc:docMk/>
            <pc:sldMk cId="2093568246" sldId="2147479583"/>
            <ac:spMk id="1024" creationId="{08369B24-A929-49BD-B05F-D2ADE46495F7}"/>
          </ac:spMkLst>
        </pc:spChg>
        <pc:spChg chg="mod">
          <ac:chgData name="Mick Mooney" userId="e6518e4e-af4a-4bea-b39c-20489a1e5519" providerId="ADAL" clId="{3014DE50-B07B-4776-BEAC-0F779D92A13E}" dt="2023-07-31T12:31:12.974" v="25407" actId="2711"/>
          <ac:spMkLst>
            <pc:docMk/>
            <pc:sldMk cId="2093568246" sldId="2147479583"/>
            <ac:spMk id="1025" creationId="{7511A634-0178-4EC8-8E7C-39E0D0A64153}"/>
          </ac:spMkLst>
        </pc:spChg>
        <pc:spChg chg="mod">
          <ac:chgData name="Mick Mooney" userId="e6518e4e-af4a-4bea-b39c-20489a1e5519" providerId="ADAL" clId="{3014DE50-B07B-4776-BEAC-0F779D92A13E}" dt="2023-07-31T12:31:12.974" v="25407" actId="2711"/>
          <ac:spMkLst>
            <pc:docMk/>
            <pc:sldMk cId="2093568246" sldId="2147479583"/>
            <ac:spMk id="1026" creationId="{B04B71EF-2198-47B7-85A6-DC05C4311C78}"/>
          </ac:spMkLst>
        </pc:spChg>
        <pc:spChg chg="mod">
          <ac:chgData name="Mick Mooney" userId="e6518e4e-af4a-4bea-b39c-20489a1e5519" providerId="ADAL" clId="{3014DE50-B07B-4776-BEAC-0F779D92A13E}" dt="2023-07-31T12:31:12.974" v="25407" actId="2711"/>
          <ac:spMkLst>
            <pc:docMk/>
            <pc:sldMk cId="2093568246" sldId="2147479583"/>
            <ac:spMk id="1027" creationId="{A95127B7-20AD-4B73-B0AA-278A69AEA68F}"/>
          </ac:spMkLst>
        </pc:spChg>
        <pc:spChg chg="mod">
          <ac:chgData name="Mick Mooney" userId="e6518e4e-af4a-4bea-b39c-20489a1e5519" providerId="ADAL" clId="{3014DE50-B07B-4776-BEAC-0F779D92A13E}" dt="2023-07-31T12:31:12.974" v="25407" actId="2711"/>
          <ac:spMkLst>
            <pc:docMk/>
            <pc:sldMk cId="2093568246" sldId="2147479583"/>
            <ac:spMk id="1028" creationId="{B6C46630-681E-4A84-898E-621F0F766689}"/>
          </ac:spMkLst>
        </pc:spChg>
        <pc:spChg chg="mod">
          <ac:chgData name="Mick Mooney" userId="e6518e4e-af4a-4bea-b39c-20489a1e5519" providerId="ADAL" clId="{3014DE50-B07B-4776-BEAC-0F779D92A13E}" dt="2023-07-31T12:31:12.974" v="25407" actId="2711"/>
          <ac:spMkLst>
            <pc:docMk/>
            <pc:sldMk cId="2093568246" sldId="2147479583"/>
            <ac:spMk id="1029" creationId="{87FA39A1-DFE8-4061-8579-1DD7BA1DC4C6}"/>
          </ac:spMkLst>
        </pc:spChg>
        <pc:spChg chg="mod">
          <ac:chgData name="Mick Mooney" userId="e6518e4e-af4a-4bea-b39c-20489a1e5519" providerId="ADAL" clId="{3014DE50-B07B-4776-BEAC-0F779D92A13E}" dt="2023-07-31T12:31:12.974" v="25407" actId="2711"/>
          <ac:spMkLst>
            <pc:docMk/>
            <pc:sldMk cId="2093568246" sldId="2147479583"/>
            <ac:spMk id="1030" creationId="{2404997C-E38C-4091-B57C-61419B03F015}"/>
          </ac:spMkLst>
        </pc:spChg>
        <pc:spChg chg="mod">
          <ac:chgData name="Mick Mooney" userId="e6518e4e-af4a-4bea-b39c-20489a1e5519" providerId="ADAL" clId="{3014DE50-B07B-4776-BEAC-0F779D92A13E}" dt="2023-07-31T12:31:12.974" v="25407" actId="2711"/>
          <ac:spMkLst>
            <pc:docMk/>
            <pc:sldMk cId="2093568246" sldId="2147479583"/>
            <ac:spMk id="1031" creationId="{4392029F-1466-48B0-8F89-3A632D59DC8F}"/>
          </ac:spMkLst>
        </pc:spChg>
        <pc:spChg chg="mod">
          <ac:chgData name="Mick Mooney" userId="e6518e4e-af4a-4bea-b39c-20489a1e5519" providerId="ADAL" clId="{3014DE50-B07B-4776-BEAC-0F779D92A13E}" dt="2023-07-31T12:31:12.974" v="25407" actId="2711"/>
          <ac:spMkLst>
            <pc:docMk/>
            <pc:sldMk cId="2093568246" sldId="2147479583"/>
            <ac:spMk id="1032" creationId="{3F6C2C9A-363E-4B94-A110-44508027E12E}"/>
          </ac:spMkLst>
        </pc:spChg>
        <pc:spChg chg="mod">
          <ac:chgData name="Mick Mooney" userId="e6518e4e-af4a-4bea-b39c-20489a1e5519" providerId="ADAL" clId="{3014DE50-B07B-4776-BEAC-0F779D92A13E}" dt="2023-07-31T12:31:12.974" v="25407" actId="2711"/>
          <ac:spMkLst>
            <pc:docMk/>
            <pc:sldMk cId="2093568246" sldId="2147479583"/>
            <ac:spMk id="1033" creationId="{E65DC7ED-3703-4C24-B564-D4ADBBF4DC89}"/>
          </ac:spMkLst>
        </pc:spChg>
        <pc:spChg chg="mod">
          <ac:chgData name="Mick Mooney" userId="e6518e4e-af4a-4bea-b39c-20489a1e5519" providerId="ADAL" clId="{3014DE50-B07B-4776-BEAC-0F779D92A13E}" dt="2023-07-31T12:31:12.974" v="25407" actId="2711"/>
          <ac:spMkLst>
            <pc:docMk/>
            <pc:sldMk cId="2093568246" sldId="2147479583"/>
            <ac:spMk id="1034" creationId="{499EAB16-9A7F-449C-987C-5365705C2BBA}"/>
          </ac:spMkLst>
        </pc:spChg>
        <pc:spChg chg="mod">
          <ac:chgData name="Mick Mooney" userId="e6518e4e-af4a-4bea-b39c-20489a1e5519" providerId="ADAL" clId="{3014DE50-B07B-4776-BEAC-0F779D92A13E}" dt="2023-07-31T12:31:12.974" v="25407" actId="2711"/>
          <ac:spMkLst>
            <pc:docMk/>
            <pc:sldMk cId="2093568246" sldId="2147479583"/>
            <ac:spMk id="1035" creationId="{181ABCCF-C809-4239-9F41-795BD1926545}"/>
          </ac:spMkLst>
        </pc:spChg>
        <pc:spChg chg="mod">
          <ac:chgData name="Mick Mooney" userId="e6518e4e-af4a-4bea-b39c-20489a1e5519" providerId="ADAL" clId="{3014DE50-B07B-4776-BEAC-0F779D92A13E}" dt="2023-07-31T12:31:12.974" v="25407" actId="2711"/>
          <ac:spMkLst>
            <pc:docMk/>
            <pc:sldMk cId="2093568246" sldId="2147479583"/>
            <ac:spMk id="1036" creationId="{A04D8937-EF9C-49CD-BBF2-B9C38D44D2A3}"/>
          </ac:spMkLst>
        </pc:spChg>
        <pc:spChg chg="mod">
          <ac:chgData name="Mick Mooney" userId="e6518e4e-af4a-4bea-b39c-20489a1e5519" providerId="ADAL" clId="{3014DE50-B07B-4776-BEAC-0F779D92A13E}" dt="2023-07-31T12:31:12.974" v="25407" actId="2711"/>
          <ac:spMkLst>
            <pc:docMk/>
            <pc:sldMk cId="2093568246" sldId="2147479583"/>
            <ac:spMk id="1037" creationId="{2D8CE8B8-8D4C-4429-938B-FB8F154ED1BE}"/>
          </ac:spMkLst>
        </pc:spChg>
        <pc:spChg chg="mod">
          <ac:chgData name="Mick Mooney" userId="e6518e4e-af4a-4bea-b39c-20489a1e5519" providerId="ADAL" clId="{3014DE50-B07B-4776-BEAC-0F779D92A13E}" dt="2023-07-31T12:31:12.974" v="25407" actId="2711"/>
          <ac:spMkLst>
            <pc:docMk/>
            <pc:sldMk cId="2093568246" sldId="2147479583"/>
            <ac:spMk id="1038" creationId="{A9DB4AB8-9270-46C1-9475-D45BF2D61213}"/>
          </ac:spMkLst>
        </pc:spChg>
        <pc:spChg chg="mod">
          <ac:chgData name="Mick Mooney" userId="e6518e4e-af4a-4bea-b39c-20489a1e5519" providerId="ADAL" clId="{3014DE50-B07B-4776-BEAC-0F779D92A13E}" dt="2023-07-31T12:31:12.974" v="25407" actId="2711"/>
          <ac:spMkLst>
            <pc:docMk/>
            <pc:sldMk cId="2093568246" sldId="2147479583"/>
            <ac:spMk id="1039" creationId="{4FE74DCA-B225-4482-8AE7-E3AAD2C67844}"/>
          </ac:spMkLst>
        </pc:spChg>
        <pc:spChg chg="mod">
          <ac:chgData name="Mick Mooney" userId="e6518e4e-af4a-4bea-b39c-20489a1e5519" providerId="ADAL" clId="{3014DE50-B07B-4776-BEAC-0F779D92A13E}" dt="2023-07-31T12:31:12.974" v="25407" actId="2711"/>
          <ac:spMkLst>
            <pc:docMk/>
            <pc:sldMk cId="2093568246" sldId="2147479583"/>
            <ac:spMk id="1040" creationId="{892F6BF6-518F-4615-87A4-8FAD24BCD5FD}"/>
          </ac:spMkLst>
        </pc:spChg>
        <pc:spChg chg="mod">
          <ac:chgData name="Mick Mooney" userId="e6518e4e-af4a-4bea-b39c-20489a1e5519" providerId="ADAL" clId="{3014DE50-B07B-4776-BEAC-0F779D92A13E}" dt="2023-07-31T12:31:12.974" v="25407" actId="2711"/>
          <ac:spMkLst>
            <pc:docMk/>
            <pc:sldMk cId="2093568246" sldId="2147479583"/>
            <ac:spMk id="1041" creationId="{3E1D8805-60C2-4758-901D-2DDA33F7B2F7}"/>
          </ac:spMkLst>
        </pc:spChg>
        <pc:spChg chg="mod">
          <ac:chgData name="Mick Mooney" userId="e6518e4e-af4a-4bea-b39c-20489a1e5519" providerId="ADAL" clId="{3014DE50-B07B-4776-BEAC-0F779D92A13E}" dt="2023-07-31T12:31:12.974" v="25407" actId="2711"/>
          <ac:spMkLst>
            <pc:docMk/>
            <pc:sldMk cId="2093568246" sldId="2147479583"/>
            <ac:spMk id="1042" creationId="{423E840E-3FCA-472E-AB8A-EF764BEC63FD}"/>
          </ac:spMkLst>
        </pc:spChg>
        <pc:spChg chg="mod">
          <ac:chgData name="Mick Mooney" userId="e6518e4e-af4a-4bea-b39c-20489a1e5519" providerId="ADAL" clId="{3014DE50-B07B-4776-BEAC-0F779D92A13E}" dt="2023-07-31T12:31:12.974" v="25407" actId="2711"/>
          <ac:spMkLst>
            <pc:docMk/>
            <pc:sldMk cId="2093568246" sldId="2147479583"/>
            <ac:spMk id="1043" creationId="{340367F6-70B7-469F-9593-49F02B6D246F}"/>
          </ac:spMkLst>
        </pc:spChg>
        <pc:spChg chg="mod">
          <ac:chgData name="Mick Mooney" userId="e6518e4e-af4a-4bea-b39c-20489a1e5519" providerId="ADAL" clId="{3014DE50-B07B-4776-BEAC-0F779D92A13E}" dt="2023-07-31T12:31:12.974" v="25407" actId="2711"/>
          <ac:spMkLst>
            <pc:docMk/>
            <pc:sldMk cId="2093568246" sldId="2147479583"/>
            <ac:spMk id="1044" creationId="{F0AD7D32-20E6-4B0B-8806-950C1417A774}"/>
          </ac:spMkLst>
        </pc:spChg>
        <pc:spChg chg="mod">
          <ac:chgData name="Mick Mooney" userId="e6518e4e-af4a-4bea-b39c-20489a1e5519" providerId="ADAL" clId="{3014DE50-B07B-4776-BEAC-0F779D92A13E}" dt="2023-07-31T12:31:12.974" v="25407" actId="2711"/>
          <ac:spMkLst>
            <pc:docMk/>
            <pc:sldMk cId="2093568246" sldId="2147479583"/>
            <ac:spMk id="1045" creationId="{A9622046-3F15-42DF-8247-7327283FDF4F}"/>
          </ac:spMkLst>
        </pc:spChg>
        <pc:spChg chg="mod">
          <ac:chgData name="Mick Mooney" userId="e6518e4e-af4a-4bea-b39c-20489a1e5519" providerId="ADAL" clId="{3014DE50-B07B-4776-BEAC-0F779D92A13E}" dt="2023-07-31T12:31:12.974" v="25407" actId="2711"/>
          <ac:spMkLst>
            <pc:docMk/>
            <pc:sldMk cId="2093568246" sldId="2147479583"/>
            <ac:spMk id="1046" creationId="{4C4545D7-5F3E-4A70-B726-EADF08AD201C}"/>
          </ac:spMkLst>
        </pc:spChg>
        <pc:spChg chg="mod">
          <ac:chgData name="Mick Mooney" userId="e6518e4e-af4a-4bea-b39c-20489a1e5519" providerId="ADAL" clId="{3014DE50-B07B-4776-BEAC-0F779D92A13E}" dt="2023-07-31T12:31:12.974" v="25407" actId="2711"/>
          <ac:spMkLst>
            <pc:docMk/>
            <pc:sldMk cId="2093568246" sldId="2147479583"/>
            <ac:spMk id="1047" creationId="{6B40288E-136C-457F-B7A6-6AF1538F7A98}"/>
          </ac:spMkLst>
        </pc:spChg>
        <pc:spChg chg="mod">
          <ac:chgData name="Mick Mooney" userId="e6518e4e-af4a-4bea-b39c-20489a1e5519" providerId="ADAL" clId="{3014DE50-B07B-4776-BEAC-0F779D92A13E}" dt="2023-07-31T12:31:12.974" v="25407" actId="2711"/>
          <ac:spMkLst>
            <pc:docMk/>
            <pc:sldMk cId="2093568246" sldId="2147479583"/>
            <ac:spMk id="1048" creationId="{2F450BA5-4FC7-45E5-8258-0C8FC3FE88D9}"/>
          </ac:spMkLst>
        </pc:spChg>
        <pc:spChg chg="mod">
          <ac:chgData name="Mick Mooney" userId="e6518e4e-af4a-4bea-b39c-20489a1e5519" providerId="ADAL" clId="{3014DE50-B07B-4776-BEAC-0F779D92A13E}" dt="2023-07-31T12:31:12.974" v="25407" actId="2711"/>
          <ac:spMkLst>
            <pc:docMk/>
            <pc:sldMk cId="2093568246" sldId="2147479583"/>
            <ac:spMk id="1049" creationId="{BD64D87C-1596-4B31-8247-1867F0289658}"/>
          </ac:spMkLst>
        </pc:spChg>
        <pc:spChg chg="mod">
          <ac:chgData name="Mick Mooney" userId="e6518e4e-af4a-4bea-b39c-20489a1e5519" providerId="ADAL" clId="{3014DE50-B07B-4776-BEAC-0F779D92A13E}" dt="2023-07-31T12:31:12.974" v="25407" actId="2711"/>
          <ac:spMkLst>
            <pc:docMk/>
            <pc:sldMk cId="2093568246" sldId="2147479583"/>
            <ac:spMk id="1050" creationId="{35160911-162A-432E-B125-A129209FCB47}"/>
          </ac:spMkLst>
        </pc:spChg>
        <pc:spChg chg="mod">
          <ac:chgData name="Mick Mooney" userId="e6518e4e-af4a-4bea-b39c-20489a1e5519" providerId="ADAL" clId="{3014DE50-B07B-4776-BEAC-0F779D92A13E}" dt="2023-07-31T12:31:12.974" v="25407" actId="2711"/>
          <ac:spMkLst>
            <pc:docMk/>
            <pc:sldMk cId="2093568246" sldId="2147479583"/>
            <ac:spMk id="1051" creationId="{1BBCEF60-DD5C-492E-9155-D08A3AF87DBF}"/>
          </ac:spMkLst>
        </pc:spChg>
        <pc:spChg chg="mod">
          <ac:chgData name="Mick Mooney" userId="e6518e4e-af4a-4bea-b39c-20489a1e5519" providerId="ADAL" clId="{3014DE50-B07B-4776-BEAC-0F779D92A13E}" dt="2023-07-31T12:31:12.974" v="25407" actId="2711"/>
          <ac:spMkLst>
            <pc:docMk/>
            <pc:sldMk cId="2093568246" sldId="2147479583"/>
            <ac:spMk id="1052" creationId="{503E00CA-95C3-4D32-92B8-F1892D943249}"/>
          </ac:spMkLst>
        </pc:spChg>
        <pc:spChg chg="mod">
          <ac:chgData name="Mick Mooney" userId="e6518e4e-af4a-4bea-b39c-20489a1e5519" providerId="ADAL" clId="{3014DE50-B07B-4776-BEAC-0F779D92A13E}" dt="2023-07-31T12:31:12.974" v="25407" actId="2711"/>
          <ac:spMkLst>
            <pc:docMk/>
            <pc:sldMk cId="2093568246" sldId="2147479583"/>
            <ac:spMk id="1053" creationId="{0800D269-EE91-4A5A-820D-6A2C14C9DA3C}"/>
          </ac:spMkLst>
        </pc:spChg>
        <pc:spChg chg="mod">
          <ac:chgData name="Mick Mooney" userId="e6518e4e-af4a-4bea-b39c-20489a1e5519" providerId="ADAL" clId="{3014DE50-B07B-4776-BEAC-0F779D92A13E}" dt="2023-07-31T12:31:12.974" v="25407" actId="2711"/>
          <ac:spMkLst>
            <pc:docMk/>
            <pc:sldMk cId="2093568246" sldId="2147479583"/>
            <ac:spMk id="1054" creationId="{8160D6EA-EC4B-462C-A4FD-C706DC91C601}"/>
          </ac:spMkLst>
        </pc:spChg>
        <pc:spChg chg="mod">
          <ac:chgData name="Mick Mooney" userId="e6518e4e-af4a-4bea-b39c-20489a1e5519" providerId="ADAL" clId="{3014DE50-B07B-4776-BEAC-0F779D92A13E}" dt="2023-07-31T12:31:12.974" v="25407" actId="2711"/>
          <ac:spMkLst>
            <pc:docMk/>
            <pc:sldMk cId="2093568246" sldId="2147479583"/>
            <ac:spMk id="1055" creationId="{BDC6A698-81DD-4914-8CEB-B23D1BD3BEE9}"/>
          </ac:spMkLst>
        </pc:spChg>
        <pc:spChg chg="mod">
          <ac:chgData name="Mick Mooney" userId="e6518e4e-af4a-4bea-b39c-20489a1e5519" providerId="ADAL" clId="{3014DE50-B07B-4776-BEAC-0F779D92A13E}" dt="2023-07-31T12:31:12.974" v="25407" actId="2711"/>
          <ac:spMkLst>
            <pc:docMk/>
            <pc:sldMk cId="2093568246" sldId="2147479583"/>
            <ac:spMk id="1056" creationId="{22A5B3BA-A3D4-4DA0-8436-2021551A3B32}"/>
          </ac:spMkLst>
        </pc:spChg>
        <pc:spChg chg="mod">
          <ac:chgData name="Mick Mooney" userId="e6518e4e-af4a-4bea-b39c-20489a1e5519" providerId="ADAL" clId="{3014DE50-B07B-4776-BEAC-0F779D92A13E}" dt="2023-07-31T12:31:12.974" v="25407" actId="2711"/>
          <ac:spMkLst>
            <pc:docMk/>
            <pc:sldMk cId="2093568246" sldId="2147479583"/>
            <ac:spMk id="1057" creationId="{27BC86BB-E075-4BF6-9597-50CE6A9C6B2B}"/>
          </ac:spMkLst>
        </pc:spChg>
        <pc:spChg chg="mod">
          <ac:chgData name="Mick Mooney" userId="e6518e4e-af4a-4bea-b39c-20489a1e5519" providerId="ADAL" clId="{3014DE50-B07B-4776-BEAC-0F779D92A13E}" dt="2023-07-31T12:31:12.974" v="25407" actId="2711"/>
          <ac:spMkLst>
            <pc:docMk/>
            <pc:sldMk cId="2093568246" sldId="2147479583"/>
            <ac:spMk id="1058" creationId="{B2AB972E-9E5C-4E33-8431-FF444D57AFB7}"/>
          </ac:spMkLst>
        </pc:spChg>
        <pc:spChg chg="mod">
          <ac:chgData name="Mick Mooney" userId="e6518e4e-af4a-4bea-b39c-20489a1e5519" providerId="ADAL" clId="{3014DE50-B07B-4776-BEAC-0F779D92A13E}" dt="2023-07-31T12:31:12.974" v="25407" actId="2711"/>
          <ac:spMkLst>
            <pc:docMk/>
            <pc:sldMk cId="2093568246" sldId="2147479583"/>
            <ac:spMk id="1059" creationId="{A13A34DC-25B7-4DCB-ADB3-7774CB1E9667}"/>
          </ac:spMkLst>
        </pc:spChg>
        <pc:spChg chg="mod">
          <ac:chgData name="Mick Mooney" userId="e6518e4e-af4a-4bea-b39c-20489a1e5519" providerId="ADAL" clId="{3014DE50-B07B-4776-BEAC-0F779D92A13E}" dt="2023-07-31T12:31:12.974" v="25407" actId="2711"/>
          <ac:spMkLst>
            <pc:docMk/>
            <pc:sldMk cId="2093568246" sldId="2147479583"/>
            <ac:spMk id="1060" creationId="{84B59A40-9A78-4EFD-99B1-27D942EAB57D}"/>
          </ac:spMkLst>
        </pc:spChg>
        <pc:spChg chg="mod">
          <ac:chgData name="Mick Mooney" userId="e6518e4e-af4a-4bea-b39c-20489a1e5519" providerId="ADAL" clId="{3014DE50-B07B-4776-BEAC-0F779D92A13E}" dt="2023-07-31T12:31:12.974" v="25407" actId="2711"/>
          <ac:spMkLst>
            <pc:docMk/>
            <pc:sldMk cId="2093568246" sldId="2147479583"/>
            <ac:spMk id="1061" creationId="{EB2A2F49-09DE-4BFF-BFB2-8B8F972B9B19}"/>
          </ac:spMkLst>
        </pc:spChg>
        <pc:spChg chg="mod">
          <ac:chgData name="Mick Mooney" userId="e6518e4e-af4a-4bea-b39c-20489a1e5519" providerId="ADAL" clId="{3014DE50-B07B-4776-BEAC-0F779D92A13E}" dt="2023-07-31T12:31:12.974" v="25407" actId="2711"/>
          <ac:spMkLst>
            <pc:docMk/>
            <pc:sldMk cId="2093568246" sldId="2147479583"/>
            <ac:spMk id="1062" creationId="{C07D4F9C-57E0-420C-9796-E51B18C9C34C}"/>
          </ac:spMkLst>
        </pc:spChg>
        <pc:spChg chg="mod">
          <ac:chgData name="Mick Mooney" userId="e6518e4e-af4a-4bea-b39c-20489a1e5519" providerId="ADAL" clId="{3014DE50-B07B-4776-BEAC-0F779D92A13E}" dt="2023-07-31T12:31:12.974" v="25407" actId="2711"/>
          <ac:spMkLst>
            <pc:docMk/>
            <pc:sldMk cId="2093568246" sldId="2147479583"/>
            <ac:spMk id="1063" creationId="{7451D542-F74A-4BCF-8C05-869D2189A440}"/>
          </ac:spMkLst>
        </pc:spChg>
        <pc:spChg chg="mod">
          <ac:chgData name="Mick Mooney" userId="e6518e4e-af4a-4bea-b39c-20489a1e5519" providerId="ADAL" clId="{3014DE50-B07B-4776-BEAC-0F779D92A13E}" dt="2023-07-31T12:31:12.974" v="25407" actId="2711"/>
          <ac:spMkLst>
            <pc:docMk/>
            <pc:sldMk cId="2093568246" sldId="2147479583"/>
            <ac:spMk id="1064" creationId="{2CE4F08F-8A1E-4ACC-9039-BDC6CADFB986}"/>
          </ac:spMkLst>
        </pc:spChg>
        <pc:spChg chg="mod">
          <ac:chgData name="Mick Mooney" userId="e6518e4e-af4a-4bea-b39c-20489a1e5519" providerId="ADAL" clId="{3014DE50-B07B-4776-BEAC-0F779D92A13E}" dt="2023-07-31T12:31:12.974" v="25407" actId="2711"/>
          <ac:spMkLst>
            <pc:docMk/>
            <pc:sldMk cId="2093568246" sldId="2147479583"/>
            <ac:spMk id="1065" creationId="{3A777FA9-1356-44BA-859E-5E94C16A0AD9}"/>
          </ac:spMkLst>
        </pc:spChg>
        <pc:spChg chg="mod">
          <ac:chgData name="Mick Mooney" userId="e6518e4e-af4a-4bea-b39c-20489a1e5519" providerId="ADAL" clId="{3014DE50-B07B-4776-BEAC-0F779D92A13E}" dt="2023-07-31T12:31:12.974" v="25407" actId="2711"/>
          <ac:spMkLst>
            <pc:docMk/>
            <pc:sldMk cId="2093568246" sldId="2147479583"/>
            <ac:spMk id="1066" creationId="{C7C60625-9617-49B3-A37A-C2C0D2ABE654}"/>
          </ac:spMkLst>
        </pc:spChg>
        <pc:spChg chg="mod">
          <ac:chgData name="Mick Mooney" userId="e6518e4e-af4a-4bea-b39c-20489a1e5519" providerId="ADAL" clId="{3014DE50-B07B-4776-BEAC-0F779D92A13E}" dt="2023-07-31T12:31:12.974" v="25407" actId="2711"/>
          <ac:spMkLst>
            <pc:docMk/>
            <pc:sldMk cId="2093568246" sldId="2147479583"/>
            <ac:spMk id="1067" creationId="{F429EEC4-922F-433C-A3E3-DFB0E544DA5B}"/>
          </ac:spMkLst>
        </pc:spChg>
        <pc:spChg chg="mod">
          <ac:chgData name="Mick Mooney" userId="e6518e4e-af4a-4bea-b39c-20489a1e5519" providerId="ADAL" clId="{3014DE50-B07B-4776-BEAC-0F779D92A13E}" dt="2023-07-31T12:31:12.974" v="25407" actId="2711"/>
          <ac:spMkLst>
            <pc:docMk/>
            <pc:sldMk cId="2093568246" sldId="2147479583"/>
            <ac:spMk id="1068" creationId="{20104A23-9359-4064-9EDC-8B34E107FE78}"/>
          </ac:spMkLst>
        </pc:spChg>
        <pc:spChg chg="mod">
          <ac:chgData name="Mick Mooney" userId="e6518e4e-af4a-4bea-b39c-20489a1e5519" providerId="ADAL" clId="{3014DE50-B07B-4776-BEAC-0F779D92A13E}" dt="2023-07-31T12:31:12.974" v="25407" actId="2711"/>
          <ac:spMkLst>
            <pc:docMk/>
            <pc:sldMk cId="2093568246" sldId="2147479583"/>
            <ac:spMk id="1069" creationId="{938CE16E-6EFE-4FD0-8C94-6ADAC58B83A7}"/>
          </ac:spMkLst>
        </pc:spChg>
        <pc:spChg chg="mod">
          <ac:chgData name="Mick Mooney" userId="e6518e4e-af4a-4bea-b39c-20489a1e5519" providerId="ADAL" clId="{3014DE50-B07B-4776-BEAC-0F779D92A13E}" dt="2023-07-31T12:31:12.974" v="25407" actId="2711"/>
          <ac:spMkLst>
            <pc:docMk/>
            <pc:sldMk cId="2093568246" sldId="2147479583"/>
            <ac:spMk id="1070" creationId="{DC117367-CC96-4235-8FDE-2468656B5703}"/>
          </ac:spMkLst>
        </pc:spChg>
        <pc:spChg chg="mod">
          <ac:chgData name="Mick Mooney" userId="e6518e4e-af4a-4bea-b39c-20489a1e5519" providerId="ADAL" clId="{3014DE50-B07B-4776-BEAC-0F779D92A13E}" dt="2023-07-31T12:31:12.974" v="25407" actId="2711"/>
          <ac:spMkLst>
            <pc:docMk/>
            <pc:sldMk cId="2093568246" sldId="2147479583"/>
            <ac:spMk id="1071" creationId="{AF70FC7E-1C75-4807-BED2-C8AC0E135D8A}"/>
          </ac:spMkLst>
        </pc:spChg>
        <pc:spChg chg="mod">
          <ac:chgData name="Mick Mooney" userId="e6518e4e-af4a-4bea-b39c-20489a1e5519" providerId="ADAL" clId="{3014DE50-B07B-4776-BEAC-0F779D92A13E}" dt="2023-07-31T12:31:12.974" v="25407" actId="2711"/>
          <ac:spMkLst>
            <pc:docMk/>
            <pc:sldMk cId="2093568246" sldId="2147479583"/>
            <ac:spMk id="1072" creationId="{A46781C8-1B3F-4096-BFAA-ED58ABC2C399}"/>
          </ac:spMkLst>
        </pc:spChg>
        <pc:spChg chg="mod">
          <ac:chgData name="Mick Mooney" userId="e6518e4e-af4a-4bea-b39c-20489a1e5519" providerId="ADAL" clId="{3014DE50-B07B-4776-BEAC-0F779D92A13E}" dt="2023-07-31T12:31:12.974" v="25407" actId="2711"/>
          <ac:spMkLst>
            <pc:docMk/>
            <pc:sldMk cId="2093568246" sldId="2147479583"/>
            <ac:spMk id="1073" creationId="{DA1B3B5C-6679-4B0B-8743-C0EBFF68C064}"/>
          </ac:spMkLst>
        </pc:spChg>
        <pc:spChg chg="mod">
          <ac:chgData name="Mick Mooney" userId="e6518e4e-af4a-4bea-b39c-20489a1e5519" providerId="ADAL" clId="{3014DE50-B07B-4776-BEAC-0F779D92A13E}" dt="2023-07-31T12:31:12.974" v="25407" actId="2711"/>
          <ac:spMkLst>
            <pc:docMk/>
            <pc:sldMk cId="2093568246" sldId="2147479583"/>
            <ac:spMk id="1074" creationId="{8E83AEB0-A7AF-46A2-8190-79472EABA547}"/>
          </ac:spMkLst>
        </pc:spChg>
        <pc:spChg chg="mod">
          <ac:chgData name="Mick Mooney" userId="e6518e4e-af4a-4bea-b39c-20489a1e5519" providerId="ADAL" clId="{3014DE50-B07B-4776-BEAC-0F779D92A13E}" dt="2023-07-31T12:31:12.974" v="25407" actId="2711"/>
          <ac:spMkLst>
            <pc:docMk/>
            <pc:sldMk cId="2093568246" sldId="2147479583"/>
            <ac:spMk id="1075" creationId="{AD79EF06-3E4F-406E-BC89-BE3A0F06E492}"/>
          </ac:spMkLst>
        </pc:spChg>
        <pc:spChg chg="mod">
          <ac:chgData name="Mick Mooney" userId="e6518e4e-af4a-4bea-b39c-20489a1e5519" providerId="ADAL" clId="{3014DE50-B07B-4776-BEAC-0F779D92A13E}" dt="2023-07-31T12:31:12.974" v="25407" actId="2711"/>
          <ac:spMkLst>
            <pc:docMk/>
            <pc:sldMk cId="2093568246" sldId="2147479583"/>
            <ac:spMk id="1076" creationId="{5446432D-FF14-44EC-9C6E-6376529F1916}"/>
          </ac:spMkLst>
        </pc:spChg>
        <pc:spChg chg="mod">
          <ac:chgData name="Mick Mooney" userId="e6518e4e-af4a-4bea-b39c-20489a1e5519" providerId="ADAL" clId="{3014DE50-B07B-4776-BEAC-0F779D92A13E}" dt="2023-07-31T12:31:12.974" v="25407" actId="2711"/>
          <ac:spMkLst>
            <pc:docMk/>
            <pc:sldMk cId="2093568246" sldId="2147479583"/>
            <ac:spMk id="1077" creationId="{8F79C00D-9747-4913-AD97-5C988CE38641}"/>
          </ac:spMkLst>
        </pc:spChg>
        <pc:spChg chg="mod">
          <ac:chgData name="Mick Mooney" userId="e6518e4e-af4a-4bea-b39c-20489a1e5519" providerId="ADAL" clId="{3014DE50-B07B-4776-BEAC-0F779D92A13E}" dt="2023-07-31T12:31:12.974" v="25407" actId="2711"/>
          <ac:spMkLst>
            <pc:docMk/>
            <pc:sldMk cId="2093568246" sldId="2147479583"/>
            <ac:spMk id="1078" creationId="{FBE134A4-4C4E-4469-9354-E76629C0C2A2}"/>
          </ac:spMkLst>
        </pc:spChg>
        <pc:spChg chg="mod">
          <ac:chgData name="Mick Mooney" userId="e6518e4e-af4a-4bea-b39c-20489a1e5519" providerId="ADAL" clId="{3014DE50-B07B-4776-BEAC-0F779D92A13E}" dt="2023-07-31T12:31:12.974" v="25407" actId="2711"/>
          <ac:spMkLst>
            <pc:docMk/>
            <pc:sldMk cId="2093568246" sldId="2147479583"/>
            <ac:spMk id="1079" creationId="{30ADAD3E-D830-424D-BE3F-4A7285CA08C8}"/>
          </ac:spMkLst>
        </pc:spChg>
        <pc:spChg chg="mod">
          <ac:chgData name="Mick Mooney" userId="e6518e4e-af4a-4bea-b39c-20489a1e5519" providerId="ADAL" clId="{3014DE50-B07B-4776-BEAC-0F779D92A13E}" dt="2023-07-31T12:31:12.974" v="25407" actId="2711"/>
          <ac:spMkLst>
            <pc:docMk/>
            <pc:sldMk cId="2093568246" sldId="2147479583"/>
            <ac:spMk id="1080" creationId="{80FE5381-F7DC-4171-B759-6ED3B37764A7}"/>
          </ac:spMkLst>
        </pc:spChg>
        <pc:spChg chg="mod">
          <ac:chgData name="Mick Mooney" userId="e6518e4e-af4a-4bea-b39c-20489a1e5519" providerId="ADAL" clId="{3014DE50-B07B-4776-BEAC-0F779D92A13E}" dt="2023-07-31T12:31:12.974" v="25407" actId="2711"/>
          <ac:spMkLst>
            <pc:docMk/>
            <pc:sldMk cId="2093568246" sldId="2147479583"/>
            <ac:spMk id="1081" creationId="{AAA723C3-C26D-43CD-8E37-5C8D6B5CA092}"/>
          </ac:spMkLst>
        </pc:spChg>
        <pc:spChg chg="mod">
          <ac:chgData name="Mick Mooney" userId="e6518e4e-af4a-4bea-b39c-20489a1e5519" providerId="ADAL" clId="{3014DE50-B07B-4776-BEAC-0F779D92A13E}" dt="2023-07-31T12:31:12.974" v="25407" actId="2711"/>
          <ac:spMkLst>
            <pc:docMk/>
            <pc:sldMk cId="2093568246" sldId="2147479583"/>
            <ac:spMk id="1082" creationId="{06433892-6147-4A15-A49C-322F1F582A7C}"/>
          </ac:spMkLst>
        </pc:spChg>
        <pc:spChg chg="mod">
          <ac:chgData name="Mick Mooney" userId="e6518e4e-af4a-4bea-b39c-20489a1e5519" providerId="ADAL" clId="{3014DE50-B07B-4776-BEAC-0F779D92A13E}" dt="2023-07-31T12:31:12.974" v="25407" actId="2711"/>
          <ac:spMkLst>
            <pc:docMk/>
            <pc:sldMk cId="2093568246" sldId="2147479583"/>
            <ac:spMk id="1083" creationId="{6E1C049A-1A21-460A-9B65-4D9E9C91010F}"/>
          </ac:spMkLst>
        </pc:spChg>
        <pc:spChg chg="mod">
          <ac:chgData name="Mick Mooney" userId="e6518e4e-af4a-4bea-b39c-20489a1e5519" providerId="ADAL" clId="{3014DE50-B07B-4776-BEAC-0F779D92A13E}" dt="2023-07-31T12:31:12.974" v="25407" actId="2711"/>
          <ac:spMkLst>
            <pc:docMk/>
            <pc:sldMk cId="2093568246" sldId="2147479583"/>
            <ac:spMk id="1084" creationId="{8FA83365-5F4B-46CF-BC76-C7C8F89703DE}"/>
          </ac:spMkLst>
        </pc:spChg>
        <pc:spChg chg="mod">
          <ac:chgData name="Mick Mooney" userId="e6518e4e-af4a-4bea-b39c-20489a1e5519" providerId="ADAL" clId="{3014DE50-B07B-4776-BEAC-0F779D92A13E}" dt="2023-07-31T12:31:12.974" v="25407" actId="2711"/>
          <ac:spMkLst>
            <pc:docMk/>
            <pc:sldMk cId="2093568246" sldId="2147479583"/>
            <ac:spMk id="1085" creationId="{B2A37176-5A7A-4BA9-B404-F477CB3DEBF5}"/>
          </ac:spMkLst>
        </pc:spChg>
        <pc:spChg chg="mod">
          <ac:chgData name="Mick Mooney" userId="e6518e4e-af4a-4bea-b39c-20489a1e5519" providerId="ADAL" clId="{3014DE50-B07B-4776-BEAC-0F779D92A13E}" dt="2023-07-31T12:31:12.974" v="25407" actId="2711"/>
          <ac:spMkLst>
            <pc:docMk/>
            <pc:sldMk cId="2093568246" sldId="2147479583"/>
            <ac:spMk id="1086" creationId="{3F6FE558-2578-4FCF-8C07-94839A6B4C25}"/>
          </ac:spMkLst>
        </pc:spChg>
        <pc:spChg chg="mod">
          <ac:chgData name="Mick Mooney" userId="e6518e4e-af4a-4bea-b39c-20489a1e5519" providerId="ADAL" clId="{3014DE50-B07B-4776-BEAC-0F779D92A13E}" dt="2023-07-31T12:31:12.974" v="25407" actId="2711"/>
          <ac:spMkLst>
            <pc:docMk/>
            <pc:sldMk cId="2093568246" sldId="2147479583"/>
            <ac:spMk id="1087" creationId="{A7B22E18-27FE-476D-8431-976486F9B2E9}"/>
          </ac:spMkLst>
        </pc:spChg>
        <pc:spChg chg="mod">
          <ac:chgData name="Mick Mooney" userId="e6518e4e-af4a-4bea-b39c-20489a1e5519" providerId="ADAL" clId="{3014DE50-B07B-4776-BEAC-0F779D92A13E}" dt="2023-07-31T12:31:12.974" v="25407" actId="2711"/>
          <ac:spMkLst>
            <pc:docMk/>
            <pc:sldMk cId="2093568246" sldId="2147479583"/>
            <ac:spMk id="1088" creationId="{7E5F75CA-B955-42C7-83B8-7A603390F90F}"/>
          </ac:spMkLst>
        </pc:spChg>
        <pc:spChg chg="mod">
          <ac:chgData name="Mick Mooney" userId="e6518e4e-af4a-4bea-b39c-20489a1e5519" providerId="ADAL" clId="{3014DE50-B07B-4776-BEAC-0F779D92A13E}" dt="2023-07-31T12:31:12.974" v="25407" actId="2711"/>
          <ac:spMkLst>
            <pc:docMk/>
            <pc:sldMk cId="2093568246" sldId="2147479583"/>
            <ac:spMk id="1089" creationId="{82935ABA-0323-4558-93EC-A5C615CC43A3}"/>
          </ac:spMkLst>
        </pc:spChg>
        <pc:spChg chg="mod">
          <ac:chgData name="Mick Mooney" userId="e6518e4e-af4a-4bea-b39c-20489a1e5519" providerId="ADAL" clId="{3014DE50-B07B-4776-BEAC-0F779D92A13E}" dt="2023-07-31T12:31:12.974" v="25407" actId="2711"/>
          <ac:spMkLst>
            <pc:docMk/>
            <pc:sldMk cId="2093568246" sldId="2147479583"/>
            <ac:spMk id="1090" creationId="{0CDF2064-9090-4A6A-A0FF-15FE6D00E0C0}"/>
          </ac:spMkLst>
        </pc:spChg>
        <pc:spChg chg="mod">
          <ac:chgData name="Mick Mooney" userId="e6518e4e-af4a-4bea-b39c-20489a1e5519" providerId="ADAL" clId="{3014DE50-B07B-4776-BEAC-0F779D92A13E}" dt="2023-07-31T12:31:12.974" v="25407" actId="2711"/>
          <ac:spMkLst>
            <pc:docMk/>
            <pc:sldMk cId="2093568246" sldId="2147479583"/>
            <ac:spMk id="1091" creationId="{145861E9-E4E5-4519-B104-4AC3EDC77E5A}"/>
          </ac:spMkLst>
        </pc:spChg>
        <pc:spChg chg="mod">
          <ac:chgData name="Mick Mooney" userId="e6518e4e-af4a-4bea-b39c-20489a1e5519" providerId="ADAL" clId="{3014DE50-B07B-4776-BEAC-0F779D92A13E}" dt="2023-07-31T12:31:12.974" v="25407" actId="2711"/>
          <ac:spMkLst>
            <pc:docMk/>
            <pc:sldMk cId="2093568246" sldId="2147479583"/>
            <ac:spMk id="1092" creationId="{6C4EDA09-8FD6-40D1-A143-ED838F55C619}"/>
          </ac:spMkLst>
        </pc:spChg>
        <pc:spChg chg="mod">
          <ac:chgData name="Mick Mooney" userId="e6518e4e-af4a-4bea-b39c-20489a1e5519" providerId="ADAL" clId="{3014DE50-B07B-4776-BEAC-0F779D92A13E}" dt="2023-07-31T12:31:12.974" v="25407" actId="2711"/>
          <ac:spMkLst>
            <pc:docMk/>
            <pc:sldMk cId="2093568246" sldId="2147479583"/>
            <ac:spMk id="1093" creationId="{515C9CC4-8316-4422-BE34-932498598A7B}"/>
          </ac:spMkLst>
        </pc:spChg>
        <pc:spChg chg="mod">
          <ac:chgData name="Mick Mooney" userId="e6518e4e-af4a-4bea-b39c-20489a1e5519" providerId="ADAL" clId="{3014DE50-B07B-4776-BEAC-0F779D92A13E}" dt="2023-07-31T12:31:12.974" v="25407" actId="2711"/>
          <ac:spMkLst>
            <pc:docMk/>
            <pc:sldMk cId="2093568246" sldId="2147479583"/>
            <ac:spMk id="1094" creationId="{05FC9414-253A-424B-976F-4006981E224F}"/>
          </ac:spMkLst>
        </pc:spChg>
        <pc:spChg chg="mod">
          <ac:chgData name="Mick Mooney" userId="e6518e4e-af4a-4bea-b39c-20489a1e5519" providerId="ADAL" clId="{3014DE50-B07B-4776-BEAC-0F779D92A13E}" dt="2023-07-31T12:31:12.974" v="25407" actId="2711"/>
          <ac:spMkLst>
            <pc:docMk/>
            <pc:sldMk cId="2093568246" sldId="2147479583"/>
            <ac:spMk id="1095" creationId="{2AFD0F3B-A29D-4DEF-AC91-98DD70A2253D}"/>
          </ac:spMkLst>
        </pc:spChg>
        <pc:spChg chg="mod">
          <ac:chgData name="Mick Mooney" userId="e6518e4e-af4a-4bea-b39c-20489a1e5519" providerId="ADAL" clId="{3014DE50-B07B-4776-BEAC-0F779D92A13E}" dt="2023-07-31T12:31:12.974" v="25407" actId="2711"/>
          <ac:spMkLst>
            <pc:docMk/>
            <pc:sldMk cId="2093568246" sldId="2147479583"/>
            <ac:spMk id="1096" creationId="{A30A147E-9348-425E-8388-AF23BA9462C0}"/>
          </ac:spMkLst>
        </pc:spChg>
        <pc:spChg chg="mod">
          <ac:chgData name="Mick Mooney" userId="e6518e4e-af4a-4bea-b39c-20489a1e5519" providerId="ADAL" clId="{3014DE50-B07B-4776-BEAC-0F779D92A13E}" dt="2023-07-31T12:31:12.974" v="25407" actId="2711"/>
          <ac:spMkLst>
            <pc:docMk/>
            <pc:sldMk cId="2093568246" sldId="2147479583"/>
            <ac:spMk id="1097" creationId="{28EC79C0-B649-4A4C-8ACB-E27C5026E373}"/>
          </ac:spMkLst>
        </pc:spChg>
        <pc:spChg chg="mod">
          <ac:chgData name="Mick Mooney" userId="e6518e4e-af4a-4bea-b39c-20489a1e5519" providerId="ADAL" clId="{3014DE50-B07B-4776-BEAC-0F779D92A13E}" dt="2023-07-31T12:31:12.974" v="25407" actId="2711"/>
          <ac:spMkLst>
            <pc:docMk/>
            <pc:sldMk cId="2093568246" sldId="2147479583"/>
            <ac:spMk id="1098" creationId="{B369FB56-59DD-436B-B7C4-A242B0603258}"/>
          </ac:spMkLst>
        </pc:spChg>
        <pc:spChg chg="mod">
          <ac:chgData name="Mick Mooney" userId="e6518e4e-af4a-4bea-b39c-20489a1e5519" providerId="ADAL" clId="{3014DE50-B07B-4776-BEAC-0F779D92A13E}" dt="2023-07-31T12:31:12.974" v="25407" actId="2711"/>
          <ac:spMkLst>
            <pc:docMk/>
            <pc:sldMk cId="2093568246" sldId="2147479583"/>
            <ac:spMk id="1099" creationId="{C12AAA32-1D8D-4327-863B-89E8941B6B95}"/>
          </ac:spMkLst>
        </pc:spChg>
        <pc:spChg chg="mod">
          <ac:chgData name="Mick Mooney" userId="e6518e4e-af4a-4bea-b39c-20489a1e5519" providerId="ADAL" clId="{3014DE50-B07B-4776-BEAC-0F779D92A13E}" dt="2023-07-31T12:31:12.974" v="25407" actId="2711"/>
          <ac:spMkLst>
            <pc:docMk/>
            <pc:sldMk cId="2093568246" sldId="2147479583"/>
            <ac:spMk id="1100" creationId="{2C1CD2CE-97D7-43CA-9BEC-D321FC007157}"/>
          </ac:spMkLst>
        </pc:spChg>
        <pc:spChg chg="mod">
          <ac:chgData name="Mick Mooney" userId="e6518e4e-af4a-4bea-b39c-20489a1e5519" providerId="ADAL" clId="{3014DE50-B07B-4776-BEAC-0F779D92A13E}" dt="2023-07-31T12:31:12.974" v="25407" actId="2711"/>
          <ac:spMkLst>
            <pc:docMk/>
            <pc:sldMk cId="2093568246" sldId="2147479583"/>
            <ac:spMk id="1101" creationId="{720581B8-1375-4904-951A-F23AE7138A3B}"/>
          </ac:spMkLst>
        </pc:spChg>
        <pc:spChg chg="mod">
          <ac:chgData name="Mick Mooney" userId="e6518e4e-af4a-4bea-b39c-20489a1e5519" providerId="ADAL" clId="{3014DE50-B07B-4776-BEAC-0F779D92A13E}" dt="2023-07-31T12:31:12.974" v="25407" actId="2711"/>
          <ac:spMkLst>
            <pc:docMk/>
            <pc:sldMk cId="2093568246" sldId="2147479583"/>
            <ac:spMk id="1102" creationId="{4E0D9767-C6EF-4634-922A-7C85D520D1BC}"/>
          </ac:spMkLst>
        </pc:spChg>
        <pc:spChg chg="mod">
          <ac:chgData name="Mick Mooney" userId="e6518e4e-af4a-4bea-b39c-20489a1e5519" providerId="ADAL" clId="{3014DE50-B07B-4776-BEAC-0F779D92A13E}" dt="2023-07-31T12:31:12.974" v="25407" actId="2711"/>
          <ac:spMkLst>
            <pc:docMk/>
            <pc:sldMk cId="2093568246" sldId="2147479583"/>
            <ac:spMk id="1103" creationId="{93B87AC9-46FE-4795-BF37-702C786FD7CD}"/>
          </ac:spMkLst>
        </pc:spChg>
        <pc:spChg chg="mod">
          <ac:chgData name="Mick Mooney" userId="e6518e4e-af4a-4bea-b39c-20489a1e5519" providerId="ADAL" clId="{3014DE50-B07B-4776-BEAC-0F779D92A13E}" dt="2023-07-31T12:31:12.974" v="25407" actId="2711"/>
          <ac:spMkLst>
            <pc:docMk/>
            <pc:sldMk cId="2093568246" sldId="2147479583"/>
            <ac:spMk id="1104" creationId="{6CF9C869-03EC-423E-9404-6B7B6812ACB7}"/>
          </ac:spMkLst>
        </pc:spChg>
        <pc:spChg chg="mod">
          <ac:chgData name="Mick Mooney" userId="e6518e4e-af4a-4bea-b39c-20489a1e5519" providerId="ADAL" clId="{3014DE50-B07B-4776-BEAC-0F779D92A13E}" dt="2023-07-31T12:31:12.974" v="25407" actId="2711"/>
          <ac:spMkLst>
            <pc:docMk/>
            <pc:sldMk cId="2093568246" sldId="2147479583"/>
            <ac:spMk id="1105" creationId="{A6975FFB-CD85-4D35-A9DD-16CA1E4CDAB7}"/>
          </ac:spMkLst>
        </pc:spChg>
        <pc:spChg chg="mod">
          <ac:chgData name="Mick Mooney" userId="e6518e4e-af4a-4bea-b39c-20489a1e5519" providerId="ADAL" clId="{3014DE50-B07B-4776-BEAC-0F779D92A13E}" dt="2023-07-31T12:31:12.974" v="25407" actId="2711"/>
          <ac:spMkLst>
            <pc:docMk/>
            <pc:sldMk cId="2093568246" sldId="2147479583"/>
            <ac:spMk id="1106" creationId="{E44D0B84-6562-4E27-8C8C-A73E3A599054}"/>
          </ac:spMkLst>
        </pc:spChg>
        <pc:spChg chg="mod">
          <ac:chgData name="Mick Mooney" userId="e6518e4e-af4a-4bea-b39c-20489a1e5519" providerId="ADAL" clId="{3014DE50-B07B-4776-BEAC-0F779D92A13E}" dt="2023-07-31T12:31:12.974" v="25407" actId="2711"/>
          <ac:spMkLst>
            <pc:docMk/>
            <pc:sldMk cId="2093568246" sldId="2147479583"/>
            <ac:spMk id="1107" creationId="{353B6A9D-3F8A-458C-BD61-8DEF4D4AC8FA}"/>
          </ac:spMkLst>
        </pc:spChg>
        <pc:spChg chg="mod">
          <ac:chgData name="Mick Mooney" userId="e6518e4e-af4a-4bea-b39c-20489a1e5519" providerId="ADAL" clId="{3014DE50-B07B-4776-BEAC-0F779D92A13E}" dt="2023-07-31T12:31:12.974" v="25407" actId="2711"/>
          <ac:spMkLst>
            <pc:docMk/>
            <pc:sldMk cId="2093568246" sldId="2147479583"/>
            <ac:spMk id="1108" creationId="{F29448DF-9CBB-47DF-B43E-8A09575D05D1}"/>
          </ac:spMkLst>
        </pc:spChg>
        <pc:spChg chg="mod">
          <ac:chgData name="Mick Mooney" userId="e6518e4e-af4a-4bea-b39c-20489a1e5519" providerId="ADAL" clId="{3014DE50-B07B-4776-BEAC-0F779D92A13E}" dt="2023-07-31T12:31:12.974" v="25407" actId="2711"/>
          <ac:spMkLst>
            <pc:docMk/>
            <pc:sldMk cId="2093568246" sldId="2147479583"/>
            <ac:spMk id="1109" creationId="{65F795EC-AFC3-48F4-9AF5-A9641450F435}"/>
          </ac:spMkLst>
        </pc:spChg>
        <pc:spChg chg="mod">
          <ac:chgData name="Mick Mooney" userId="e6518e4e-af4a-4bea-b39c-20489a1e5519" providerId="ADAL" clId="{3014DE50-B07B-4776-BEAC-0F779D92A13E}" dt="2023-07-31T12:31:12.974" v="25407" actId="2711"/>
          <ac:spMkLst>
            <pc:docMk/>
            <pc:sldMk cId="2093568246" sldId="2147479583"/>
            <ac:spMk id="1110" creationId="{51ED909D-F88D-4127-B933-06C7D71CD927}"/>
          </ac:spMkLst>
        </pc:spChg>
        <pc:spChg chg="mod">
          <ac:chgData name="Mick Mooney" userId="e6518e4e-af4a-4bea-b39c-20489a1e5519" providerId="ADAL" clId="{3014DE50-B07B-4776-BEAC-0F779D92A13E}" dt="2023-07-31T12:31:12.974" v="25407" actId="2711"/>
          <ac:spMkLst>
            <pc:docMk/>
            <pc:sldMk cId="2093568246" sldId="2147479583"/>
            <ac:spMk id="1111" creationId="{803BF56A-B56F-4373-86B7-22030A14F681}"/>
          </ac:spMkLst>
        </pc:spChg>
        <pc:spChg chg="mod">
          <ac:chgData name="Mick Mooney" userId="e6518e4e-af4a-4bea-b39c-20489a1e5519" providerId="ADAL" clId="{3014DE50-B07B-4776-BEAC-0F779D92A13E}" dt="2023-07-31T12:31:12.974" v="25407" actId="2711"/>
          <ac:spMkLst>
            <pc:docMk/>
            <pc:sldMk cId="2093568246" sldId="2147479583"/>
            <ac:spMk id="1112" creationId="{6EE6693E-8F47-4822-9D14-BB8FE50E95AE}"/>
          </ac:spMkLst>
        </pc:spChg>
        <pc:spChg chg="mod">
          <ac:chgData name="Mick Mooney" userId="e6518e4e-af4a-4bea-b39c-20489a1e5519" providerId="ADAL" clId="{3014DE50-B07B-4776-BEAC-0F779D92A13E}" dt="2023-07-31T12:31:12.974" v="25407" actId="2711"/>
          <ac:spMkLst>
            <pc:docMk/>
            <pc:sldMk cId="2093568246" sldId="2147479583"/>
            <ac:spMk id="1113" creationId="{61A1D1D7-5FD1-4110-B3B3-A744F44EBE79}"/>
          </ac:spMkLst>
        </pc:spChg>
        <pc:spChg chg="mod">
          <ac:chgData name="Mick Mooney" userId="e6518e4e-af4a-4bea-b39c-20489a1e5519" providerId="ADAL" clId="{3014DE50-B07B-4776-BEAC-0F779D92A13E}" dt="2023-07-31T12:31:12.974" v="25407" actId="2711"/>
          <ac:spMkLst>
            <pc:docMk/>
            <pc:sldMk cId="2093568246" sldId="2147479583"/>
            <ac:spMk id="1114" creationId="{551E2D3C-68BB-4774-959B-5F8FF56BD665}"/>
          </ac:spMkLst>
        </pc:spChg>
        <pc:spChg chg="mod">
          <ac:chgData name="Mick Mooney" userId="e6518e4e-af4a-4bea-b39c-20489a1e5519" providerId="ADAL" clId="{3014DE50-B07B-4776-BEAC-0F779D92A13E}" dt="2023-07-31T12:31:12.974" v="25407" actId="2711"/>
          <ac:spMkLst>
            <pc:docMk/>
            <pc:sldMk cId="2093568246" sldId="2147479583"/>
            <ac:spMk id="1115" creationId="{8AD41F73-3621-4287-AB5F-EB8E74F97F64}"/>
          </ac:spMkLst>
        </pc:spChg>
        <pc:spChg chg="mod">
          <ac:chgData name="Mick Mooney" userId="e6518e4e-af4a-4bea-b39c-20489a1e5519" providerId="ADAL" clId="{3014DE50-B07B-4776-BEAC-0F779D92A13E}" dt="2023-07-31T12:31:12.974" v="25407" actId="2711"/>
          <ac:spMkLst>
            <pc:docMk/>
            <pc:sldMk cId="2093568246" sldId="2147479583"/>
            <ac:spMk id="1116" creationId="{67CD4B1E-1083-469B-AE14-5B300F066A99}"/>
          </ac:spMkLst>
        </pc:spChg>
        <pc:spChg chg="mod">
          <ac:chgData name="Mick Mooney" userId="e6518e4e-af4a-4bea-b39c-20489a1e5519" providerId="ADAL" clId="{3014DE50-B07B-4776-BEAC-0F779D92A13E}" dt="2023-07-31T12:31:12.974" v="25407" actId="2711"/>
          <ac:spMkLst>
            <pc:docMk/>
            <pc:sldMk cId="2093568246" sldId="2147479583"/>
            <ac:spMk id="1117" creationId="{71CA6F84-8FCC-4C3A-9D3B-760D7EA53DAE}"/>
          </ac:spMkLst>
        </pc:spChg>
        <pc:spChg chg="mod">
          <ac:chgData name="Mick Mooney" userId="e6518e4e-af4a-4bea-b39c-20489a1e5519" providerId="ADAL" clId="{3014DE50-B07B-4776-BEAC-0F779D92A13E}" dt="2023-07-31T12:31:12.974" v="25407" actId="2711"/>
          <ac:spMkLst>
            <pc:docMk/>
            <pc:sldMk cId="2093568246" sldId="2147479583"/>
            <ac:spMk id="1118" creationId="{DECA9685-0C2F-4B75-9825-35CB86C59709}"/>
          </ac:spMkLst>
        </pc:spChg>
        <pc:spChg chg="mod">
          <ac:chgData name="Mick Mooney" userId="e6518e4e-af4a-4bea-b39c-20489a1e5519" providerId="ADAL" clId="{3014DE50-B07B-4776-BEAC-0F779D92A13E}" dt="2023-07-31T12:31:12.974" v="25407" actId="2711"/>
          <ac:spMkLst>
            <pc:docMk/>
            <pc:sldMk cId="2093568246" sldId="2147479583"/>
            <ac:spMk id="1119" creationId="{4B413E93-D31B-4D43-B755-AC91C812D7C7}"/>
          </ac:spMkLst>
        </pc:spChg>
        <pc:spChg chg="mod">
          <ac:chgData name="Mick Mooney" userId="e6518e4e-af4a-4bea-b39c-20489a1e5519" providerId="ADAL" clId="{3014DE50-B07B-4776-BEAC-0F779D92A13E}" dt="2023-07-31T12:31:12.974" v="25407" actId="2711"/>
          <ac:spMkLst>
            <pc:docMk/>
            <pc:sldMk cId="2093568246" sldId="2147479583"/>
            <ac:spMk id="1120" creationId="{DDCA77CD-E209-45A0-8594-70DCE989B7E4}"/>
          </ac:spMkLst>
        </pc:spChg>
        <pc:spChg chg="mod">
          <ac:chgData name="Mick Mooney" userId="e6518e4e-af4a-4bea-b39c-20489a1e5519" providerId="ADAL" clId="{3014DE50-B07B-4776-BEAC-0F779D92A13E}" dt="2023-07-31T12:31:12.974" v="25407" actId="2711"/>
          <ac:spMkLst>
            <pc:docMk/>
            <pc:sldMk cId="2093568246" sldId="2147479583"/>
            <ac:spMk id="1121" creationId="{D026500B-0A6D-4456-8EB1-ED4E9D72BA92}"/>
          </ac:spMkLst>
        </pc:spChg>
        <pc:spChg chg="mod">
          <ac:chgData name="Mick Mooney" userId="e6518e4e-af4a-4bea-b39c-20489a1e5519" providerId="ADAL" clId="{3014DE50-B07B-4776-BEAC-0F779D92A13E}" dt="2023-07-31T12:31:12.974" v="25407" actId="2711"/>
          <ac:spMkLst>
            <pc:docMk/>
            <pc:sldMk cId="2093568246" sldId="2147479583"/>
            <ac:spMk id="1122" creationId="{6A521120-51DD-4647-9B57-5E2800FD0BE2}"/>
          </ac:spMkLst>
        </pc:spChg>
        <pc:spChg chg="mod">
          <ac:chgData name="Mick Mooney" userId="e6518e4e-af4a-4bea-b39c-20489a1e5519" providerId="ADAL" clId="{3014DE50-B07B-4776-BEAC-0F779D92A13E}" dt="2023-07-31T12:31:12.974" v="25407" actId="2711"/>
          <ac:spMkLst>
            <pc:docMk/>
            <pc:sldMk cId="2093568246" sldId="2147479583"/>
            <ac:spMk id="1123" creationId="{B436529D-738C-45FC-B581-3A1615F02296}"/>
          </ac:spMkLst>
        </pc:spChg>
        <pc:spChg chg="mod">
          <ac:chgData name="Mick Mooney" userId="e6518e4e-af4a-4bea-b39c-20489a1e5519" providerId="ADAL" clId="{3014DE50-B07B-4776-BEAC-0F779D92A13E}" dt="2023-07-31T12:31:12.974" v="25407" actId="2711"/>
          <ac:spMkLst>
            <pc:docMk/>
            <pc:sldMk cId="2093568246" sldId="2147479583"/>
            <ac:spMk id="1124" creationId="{3DF3E664-FA19-406F-909B-0FE01A5D36FD}"/>
          </ac:spMkLst>
        </pc:spChg>
        <pc:spChg chg="mod">
          <ac:chgData name="Mick Mooney" userId="e6518e4e-af4a-4bea-b39c-20489a1e5519" providerId="ADAL" clId="{3014DE50-B07B-4776-BEAC-0F779D92A13E}" dt="2023-07-31T12:31:12.974" v="25407" actId="2711"/>
          <ac:spMkLst>
            <pc:docMk/>
            <pc:sldMk cId="2093568246" sldId="2147479583"/>
            <ac:spMk id="1125" creationId="{D52EBA81-CEA3-48FD-BB94-496F49B379C2}"/>
          </ac:spMkLst>
        </pc:spChg>
        <pc:spChg chg="mod">
          <ac:chgData name="Mick Mooney" userId="e6518e4e-af4a-4bea-b39c-20489a1e5519" providerId="ADAL" clId="{3014DE50-B07B-4776-BEAC-0F779D92A13E}" dt="2023-07-31T12:31:12.974" v="25407" actId="2711"/>
          <ac:spMkLst>
            <pc:docMk/>
            <pc:sldMk cId="2093568246" sldId="2147479583"/>
            <ac:spMk id="1126" creationId="{B784D522-50A8-44B3-9280-0ABEAB3E498A}"/>
          </ac:spMkLst>
        </pc:spChg>
        <pc:spChg chg="mod">
          <ac:chgData name="Mick Mooney" userId="e6518e4e-af4a-4bea-b39c-20489a1e5519" providerId="ADAL" clId="{3014DE50-B07B-4776-BEAC-0F779D92A13E}" dt="2023-07-31T12:31:12.974" v="25407" actId="2711"/>
          <ac:spMkLst>
            <pc:docMk/>
            <pc:sldMk cId="2093568246" sldId="2147479583"/>
            <ac:spMk id="1127" creationId="{B82F68BC-088A-446A-9BB3-476AF02F1DA2}"/>
          </ac:spMkLst>
        </pc:spChg>
        <pc:spChg chg="mod">
          <ac:chgData name="Mick Mooney" userId="e6518e4e-af4a-4bea-b39c-20489a1e5519" providerId="ADAL" clId="{3014DE50-B07B-4776-BEAC-0F779D92A13E}" dt="2023-07-31T12:31:12.974" v="25407" actId="2711"/>
          <ac:spMkLst>
            <pc:docMk/>
            <pc:sldMk cId="2093568246" sldId="2147479583"/>
            <ac:spMk id="1128" creationId="{B22DC174-D3F1-4CE5-AB94-C7DD34C1152B}"/>
          </ac:spMkLst>
        </pc:spChg>
        <pc:spChg chg="mod">
          <ac:chgData name="Mick Mooney" userId="e6518e4e-af4a-4bea-b39c-20489a1e5519" providerId="ADAL" clId="{3014DE50-B07B-4776-BEAC-0F779D92A13E}" dt="2023-07-31T12:31:12.974" v="25407" actId="2711"/>
          <ac:spMkLst>
            <pc:docMk/>
            <pc:sldMk cId="2093568246" sldId="2147479583"/>
            <ac:spMk id="1129" creationId="{EB919045-EC77-4409-99C5-7E2975A1085A}"/>
          </ac:spMkLst>
        </pc:spChg>
        <pc:spChg chg="mod">
          <ac:chgData name="Mick Mooney" userId="e6518e4e-af4a-4bea-b39c-20489a1e5519" providerId="ADAL" clId="{3014DE50-B07B-4776-BEAC-0F779D92A13E}" dt="2023-07-31T12:31:12.974" v="25407" actId="2711"/>
          <ac:spMkLst>
            <pc:docMk/>
            <pc:sldMk cId="2093568246" sldId="2147479583"/>
            <ac:spMk id="1130" creationId="{A5BA3D4A-061F-43DA-A268-55CE000BAB4D}"/>
          </ac:spMkLst>
        </pc:spChg>
        <pc:spChg chg="mod">
          <ac:chgData name="Mick Mooney" userId="e6518e4e-af4a-4bea-b39c-20489a1e5519" providerId="ADAL" clId="{3014DE50-B07B-4776-BEAC-0F779D92A13E}" dt="2023-07-31T12:31:12.974" v="25407" actId="2711"/>
          <ac:spMkLst>
            <pc:docMk/>
            <pc:sldMk cId="2093568246" sldId="2147479583"/>
            <ac:spMk id="1131" creationId="{5020189C-C65D-40D1-BC41-909AF0D2B7D7}"/>
          </ac:spMkLst>
        </pc:spChg>
        <pc:spChg chg="mod">
          <ac:chgData name="Mick Mooney" userId="e6518e4e-af4a-4bea-b39c-20489a1e5519" providerId="ADAL" clId="{3014DE50-B07B-4776-BEAC-0F779D92A13E}" dt="2023-07-31T12:31:12.974" v="25407" actId="2711"/>
          <ac:spMkLst>
            <pc:docMk/>
            <pc:sldMk cId="2093568246" sldId="2147479583"/>
            <ac:spMk id="1132" creationId="{184D9D70-365B-4094-BAAE-5A07D3AB7823}"/>
          </ac:spMkLst>
        </pc:spChg>
        <pc:spChg chg="mod">
          <ac:chgData name="Mick Mooney" userId="e6518e4e-af4a-4bea-b39c-20489a1e5519" providerId="ADAL" clId="{3014DE50-B07B-4776-BEAC-0F779D92A13E}" dt="2023-07-31T12:31:12.974" v="25407" actId="2711"/>
          <ac:spMkLst>
            <pc:docMk/>
            <pc:sldMk cId="2093568246" sldId="2147479583"/>
            <ac:spMk id="1133" creationId="{21118D6F-07C4-4EF2-BD94-2883FBBD459E}"/>
          </ac:spMkLst>
        </pc:spChg>
        <pc:spChg chg="mod">
          <ac:chgData name="Mick Mooney" userId="e6518e4e-af4a-4bea-b39c-20489a1e5519" providerId="ADAL" clId="{3014DE50-B07B-4776-BEAC-0F779D92A13E}" dt="2023-07-31T12:31:12.974" v="25407" actId="2711"/>
          <ac:spMkLst>
            <pc:docMk/>
            <pc:sldMk cId="2093568246" sldId="2147479583"/>
            <ac:spMk id="1134" creationId="{5CAC7ECD-A927-4FD7-83C5-8CE134A9D023}"/>
          </ac:spMkLst>
        </pc:spChg>
        <pc:spChg chg="mod">
          <ac:chgData name="Mick Mooney" userId="e6518e4e-af4a-4bea-b39c-20489a1e5519" providerId="ADAL" clId="{3014DE50-B07B-4776-BEAC-0F779D92A13E}" dt="2023-07-31T12:31:12.974" v="25407" actId="2711"/>
          <ac:spMkLst>
            <pc:docMk/>
            <pc:sldMk cId="2093568246" sldId="2147479583"/>
            <ac:spMk id="1135" creationId="{A13D0527-9B17-4252-A6A7-F28963DCC929}"/>
          </ac:spMkLst>
        </pc:spChg>
        <pc:spChg chg="mod">
          <ac:chgData name="Mick Mooney" userId="e6518e4e-af4a-4bea-b39c-20489a1e5519" providerId="ADAL" clId="{3014DE50-B07B-4776-BEAC-0F779D92A13E}" dt="2023-07-31T12:31:12.974" v="25407" actId="2711"/>
          <ac:spMkLst>
            <pc:docMk/>
            <pc:sldMk cId="2093568246" sldId="2147479583"/>
            <ac:spMk id="1136" creationId="{4F93DDBF-350D-4EB9-84BA-5E3CE5B220D4}"/>
          </ac:spMkLst>
        </pc:spChg>
        <pc:spChg chg="mod">
          <ac:chgData name="Mick Mooney" userId="e6518e4e-af4a-4bea-b39c-20489a1e5519" providerId="ADAL" clId="{3014DE50-B07B-4776-BEAC-0F779D92A13E}" dt="2023-07-31T12:31:12.974" v="25407" actId="2711"/>
          <ac:spMkLst>
            <pc:docMk/>
            <pc:sldMk cId="2093568246" sldId="2147479583"/>
            <ac:spMk id="1137" creationId="{49BA9FD0-68DF-43F2-AACA-2422DC341C0B}"/>
          </ac:spMkLst>
        </pc:spChg>
        <pc:spChg chg="mod">
          <ac:chgData name="Mick Mooney" userId="e6518e4e-af4a-4bea-b39c-20489a1e5519" providerId="ADAL" clId="{3014DE50-B07B-4776-BEAC-0F779D92A13E}" dt="2023-07-31T12:31:12.974" v="25407" actId="2711"/>
          <ac:spMkLst>
            <pc:docMk/>
            <pc:sldMk cId="2093568246" sldId="2147479583"/>
            <ac:spMk id="1138" creationId="{C429AD4F-D30F-4347-B006-72B41ACE8E23}"/>
          </ac:spMkLst>
        </pc:spChg>
        <pc:spChg chg="mod">
          <ac:chgData name="Mick Mooney" userId="e6518e4e-af4a-4bea-b39c-20489a1e5519" providerId="ADAL" clId="{3014DE50-B07B-4776-BEAC-0F779D92A13E}" dt="2023-07-31T12:31:12.974" v="25407" actId="2711"/>
          <ac:spMkLst>
            <pc:docMk/>
            <pc:sldMk cId="2093568246" sldId="2147479583"/>
            <ac:spMk id="1139" creationId="{B551737A-4DA4-4A3A-9BDE-27035C80A725}"/>
          </ac:spMkLst>
        </pc:spChg>
        <pc:spChg chg="mod">
          <ac:chgData name="Mick Mooney" userId="e6518e4e-af4a-4bea-b39c-20489a1e5519" providerId="ADAL" clId="{3014DE50-B07B-4776-BEAC-0F779D92A13E}" dt="2023-07-31T12:31:12.974" v="25407" actId="2711"/>
          <ac:spMkLst>
            <pc:docMk/>
            <pc:sldMk cId="2093568246" sldId="2147479583"/>
            <ac:spMk id="1140" creationId="{68C38BBE-0629-4119-9258-7BBABB9B61CC}"/>
          </ac:spMkLst>
        </pc:spChg>
        <pc:spChg chg="mod">
          <ac:chgData name="Mick Mooney" userId="e6518e4e-af4a-4bea-b39c-20489a1e5519" providerId="ADAL" clId="{3014DE50-B07B-4776-BEAC-0F779D92A13E}" dt="2023-07-31T12:31:12.974" v="25407" actId="2711"/>
          <ac:spMkLst>
            <pc:docMk/>
            <pc:sldMk cId="2093568246" sldId="2147479583"/>
            <ac:spMk id="1141" creationId="{9BECF6D7-9A7D-459C-BBA2-F435AC1C1864}"/>
          </ac:spMkLst>
        </pc:spChg>
        <pc:spChg chg="mod">
          <ac:chgData name="Mick Mooney" userId="e6518e4e-af4a-4bea-b39c-20489a1e5519" providerId="ADAL" clId="{3014DE50-B07B-4776-BEAC-0F779D92A13E}" dt="2023-07-31T12:31:12.974" v="25407" actId="2711"/>
          <ac:spMkLst>
            <pc:docMk/>
            <pc:sldMk cId="2093568246" sldId="2147479583"/>
            <ac:spMk id="1142" creationId="{FB0AD1EB-1F05-47EE-A52D-282519936826}"/>
          </ac:spMkLst>
        </pc:spChg>
        <pc:spChg chg="mod">
          <ac:chgData name="Mick Mooney" userId="e6518e4e-af4a-4bea-b39c-20489a1e5519" providerId="ADAL" clId="{3014DE50-B07B-4776-BEAC-0F779D92A13E}" dt="2023-07-31T12:31:12.974" v="25407" actId="2711"/>
          <ac:spMkLst>
            <pc:docMk/>
            <pc:sldMk cId="2093568246" sldId="2147479583"/>
            <ac:spMk id="1143" creationId="{0DB3ACE0-FBEB-42BA-9F36-4AC6BFF454F4}"/>
          </ac:spMkLst>
        </pc:spChg>
        <pc:spChg chg="mod">
          <ac:chgData name="Mick Mooney" userId="e6518e4e-af4a-4bea-b39c-20489a1e5519" providerId="ADAL" clId="{3014DE50-B07B-4776-BEAC-0F779D92A13E}" dt="2023-07-31T12:31:12.974" v="25407" actId="2711"/>
          <ac:spMkLst>
            <pc:docMk/>
            <pc:sldMk cId="2093568246" sldId="2147479583"/>
            <ac:spMk id="1144" creationId="{E3A56861-145B-4EE5-BECB-E57A8568CC19}"/>
          </ac:spMkLst>
        </pc:spChg>
        <pc:spChg chg="mod">
          <ac:chgData name="Mick Mooney" userId="e6518e4e-af4a-4bea-b39c-20489a1e5519" providerId="ADAL" clId="{3014DE50-B07B-4776-BEAC-0F779D92A13E}" dt="2023-07-31T12:31:12.974" v="25407" actId="2711"/>
          <ac:spMkLst>
            <pc:docMk/>
            <pc:sldMk cId="2093568246" sldId="2147479583"/>
            <ac:spMk id="1145" creationId="{8408FBD2-E3B1-431A-8875-A2828F43EA16}"/>
          </ac:spMkLst>
        </pc:spChg>
        <pc:spChg chg="mod">
          <ac:chgData name="Mick Mooney" userId="e6518e4e-af4a-4bea-b39c-20489a1e5519" providerId="ADAL" clId="{3014DE50-B07B-4776-BEAC-0F779D92A13E}" dt="2023-07-31T12:31:12.974" v="25407" actId="2711"/>
          <ac:spMkLst>
            <pc:docMk/>
            <pc:sldMk cId="2093568246" sldId="2147479583"/>
            <ac:spMk id="1146" creationId="{82581AE6-1C4A-4CAC-9566-E8CB4D88BE53}"/>
          </ac:spMkLst>
        </pc:spChg>
        <pc:spChg chg="mod">
          <ac:chgData name="Mick Mooney" userId="e6518e4e-af4a-4bea-b39c-20489a1e5519" providerId="ADAL" clId="{3014DE50-B07B-4776-BEAC-0F779D92A13E}" dt="2023-07-31T12:31:12.974" v="25407" actId="2711"/>
          <ac:spMkLst>
            <pc:docMk/>
            <pc:sldMk cId="2093568246" sldId="2147479583"/>
            <ac:spMk id="1147" creationId="{178A477C-E72C-4A77-9175-867935ADAF84}"/>
          </ac:spMkLst>
        </pc:spChg>
        <pc:spChg chg="mod">
          <ac:chgData name="Mick Mooney" userId="e6518e4e-af4a-4bea-b39c-20489a1e5519" providerId="ADAL" clId="{3014DE50-B07B-4776-BEAC-0F779D92A13E}" dt="2023-07-31T12:31:12.974" v="25407" actId="2711"/>
          <ac:spMkLst>
            <pc:docMk/>
            <pc:sldMk cId="2093568246" sldId="2147479583"/>
            <ac:spMk id="1148" creationId="{25F4E82B-2501-4F6F-9A8A-DF959EB9AF52}"/>
          </ac:spMkLst>
        </pc:spChg>
        <pc:spChg chg="mod">
          <ac:chgData name="Mick Mooney" userId="e6518e4e-af4a-4bea-b39c-20489a1e5519" providerId="ADAL" clId="{3014DE50-B07B-4776-BEAC-0F779D92A13E}" dt="2023-07-31T12:31:12.974" v="25407" actId="2711"/>
          <ac:spMkLst>
            <pc:docMk/>
            <pc:sldMk cId="2093568246" sldId="2147479583"/>
            <ac:spMk id="1149" creationId="{4681B344-3609-4051-9874-58176445EB32}"/>
          </ac:spMkLst>
        </pc:spChg>
        <pc:spChg chg="mod">
          <ac:chgData name="Mick Mooney" userId="e6518e4e-af4a-4bea-b39c-20489a1e5519" providerId="ADAL" clId="{3014DE50-B07B-4776-BEAC-0F779D92A13E}" dt="2023-07-31T12:31:12.974" v="25407" actId="2711"/>
          <ac:spMkLst>
            <pc:docMk/>
            <pc:sldMk cId="2093568246" sldId="2147479583"/>
            <ac:spMk id="1150" creationId="{41BA766E-BEC0-4476-9DF4-E9E75F17E98E}"/>
          </ac:spMkLst>
        </pc:spChg>
        <pc:spChg chg="mod">
          <ac:chgData name="Mick Mooney" userId="e6518e4e-af4a-4bea-b39c-20489a1e5519" providerId="ADAL" clId="{3014DE50-B07B-4776-BEAC-0F779D92A13E}" dt="2023-07-31T12:31:12.974" v="25407" actId="2711"/>
          <ac:spMkLst>
            <pc:docMk/>
            <pc:sldMk cId="2093568246" sldId="2147479583"/>
            <ac:spMk id="1151" creationId="{6F892838-DC8D-436A-A18C-96D813371AD3}"/>
          </ac:spMkLst>
        </pc:spChg>
        <pc:spChg chg="mod">
          <ac:chgData name="Mick Mooney" userId="e6518e4e-af4a-4bea-b39c-20489a1e5519" providerId="ADAL" clId="{3014DE50-B07B-4776-BEAC-0F779D92A13E}" dt="2023-07-31T12:31:12.974" v="25407" actId="2711"/>
          <ac:spMkLst>
            <pc:docMk/>
            <pc:sldMk cId="2093568246" sldId="2147479583"/>
            <ac:spMk id="1152" creationId="{F8FFC3D7-B8ED-4BA1-ADF1-815DC93D47AA}"/>
          </ac:spMkLst>
        </pc:spChg>
        <pc:spChg chg="mod">
          <ac:chgData name="Mick Mooney" userId="e6518e4e-af4a-4bea-b39c-20489a1e5519" providerId="ADAL" clId="{3014DE50-B07B-4776-BEAC-0F779D92A13E}" dt="2023-07-31T12:31:12.974" v="25407" actId="2711"/>
          <ac:spMkLst>
            <pc:docMk/>
            <pc:sldMk cId="2093568246" sldId="2147479583"/>
            <ac:spMk id="1153" creationId="{9C7632AB-59EC-4CF2-ACBC-A56A5013216D}"/>
          </ac:spMkLst>
        </pc:spChg>
        <pc:spChg chg="mod">
          <ac:chgData name="Mick Mooney" userId="e6518e4e-af4a-4bea-b39c-20489a1e5519" providerId="ADAL" clId="{3014DE50-B07B-4776-BEAC-0F779D92A13E}" dt="2023-07-31T12:31:12.974" v="25407" actId="2711"/>
          <ac:spMkLst>
            <pc:docMk/>
            <pc:sldMk cId="2093568246" sldId="2147479583"/>
            <ac:spMk id="1154" creationId="{09E366DB-6D78-4DF2-9BDB-E2D387E3170B}"/>
          </ac:spMkLst>
        </pc:spChg>
        <pc:spChg chg="mod">
          <ac:chgData name="Mick Mooney" userId="e6518e4e-af4a-4bea-b39c-20489a1e5519" providerId="ADAL" clId="{3014DE50-B07B-4776-BEAC-0F779D92A13E}" dt="2023-07-31T12:31:12.974" v="25407" actId="2711"/>
          <ac:spMkLst>
            <pc:docMk/>
            <pc:sldMk cId="2093568246" sldId="2147479583"/>
            <ac:spMk id="1155" creationId="{75C224F6-3CEC-4069-AF0D-A3BFA995E2A0}"/>
          </ac:spMkLst>
        </pc:spChg>
        <pc:spChg chg="mod">
          <ac:chgData name="Mick Mooney" userId="e6518e4e-af4a-4bea-b39c-20489a1e5519" providerId="ADAL" clId="{3014DE50-B07B-4776-BEAC-0F779D92A13E}" dt="2023-07-31T12:31:12.974" v="25407" actId="2711"/>
          <ac:spMkLst>
            <pc:docMk/>
            <pc:sldMk cId="2093568246" sldId="2147479583"/>
            <ac:spMk id="1156" creationId="{665CA864-E98E-48D7-961D-B4807B1ED831}"/>
          </ac:spMkLst>
        </pc:spChg>
        <pc:spChg chg="mod">
          <ac:chgData name="Mick Mooney" userId="e6518e4e-af4a-4bea-b39c-20489a1e5519" providerId="ADAL" clId="{3014DE50-B07B-4776-BEAC-0F779D92A13E}" dt="2023-07-31T12:31:12.974" v="25407" actId="2711"/>
          <ac:spMkLst>
            <pc:docMk/>
            <pc:sldMk cId="2093568246" sldId="2147479583"/>
            <ac:spMk id="1157" creationId="{2DEFBB0A-8FE9-4926-AD01-BF188A37A198}"/>
          </ac:spMkLst>
        </pc:spChg>
        <pc:spChg chg="mod">
          <ac:chgData name="Mick Mooney" userId="e6518e4e-af4a-4bea-b39c-20489a1e5519" providerId="ADAL" clId="{3014DE50-B07B-4776-BEAC-0F779D92A13E}" dt="2023-07-31T12:31:12.974" v="25407" actId="2711"/>
          <ac:spMkLst>
            <pc:docMk/>
            <pc:sldMk cId="2093568246" sldId="2147479583"/>
            <ac:spMk id="1158" creationId="{EC43EF4D-BDAB-41CD-A353-524462529569}"/>
          </ac:spMkLst>
        </pc:spChg>
        <pc:spChg chg="mod">
          <ac:chgData name="Mick Mooney" userId="e6518e4e-af4a-4bea-b39c-20489a1e5519" providerId="ADAL" clId="{3014DE50-B07B-4776-BEAC-0F779D92A13E}" dt="2023-07-31T12:31:12.974" v="25407" actId="2711"/>
          <ac:spMkLst>
            <pc:docMk/>
            <pc:sldMk cId="2093568246" sldId="2147479583"/>
            <ac:spMk id="1159" creationId="{22F058C8-A9AC-4349-B091-BAA7D0CFE626}"/>
          </ac:spMkLst>
        </pc:spChg>
        <pc:spChg chg="mod">
          <ac:chgData name="Mick Mooney" userId="e6518e4e-af4a-4bea-b39c-20489a1e5519" providerId="ADAL" clId="{3014DE50-B07B-4776-BEAC-0F779D92A13E}" dt="2023-07-31T12:31:12.974" v="25407" actId="2711"/>
          <ac:spMkLst>
            <pc:docMk/>
            <pc:sldMk cId="2093568246" sldId="2147479583"/>
            <ac:spMk id="1160" creationId="{CF6371F3-0B10-4EF5-A6A5-BD039A9A25B7}"/>
          </ac:spMkLst>
        </pc:spChg>
        <pc:spChg chg="mod">
          <ac:chgData name="Mick Mooney" userId="e6518e4e-af4a-4bea-b39c-20489a1e5519" providerId="ADAL" clId="{3014DE50-B07B-4776-BEAC-0F779D92A13E}" dt="2023-07-31T12:31:12.974" v="25407" actId="2711"/>
          <ac:spMkLst>
            <pc:docMk/>
            <pc:sldMk cId="2093568246" sldId="2147479583"/>
            <ac:spMk id="1161" creationId="{A05D54BB-6752-4C47-B986-45D5DE222F38}"/>
          </ac:spMkLst>
        </pc:spChg>
        <pc:spChg chg="mod">
          <ac:chgData name="Mick Mooney" userId="e6518e4e-af4a-4bea-b39c-20489a1e5519" providerId="ADAL" clId="{3014DE50-B07B-4776-BEAC-0F779D92A13E}" dt="2023-07-31T12:31:12.974" v="25407" actId="2711"/>
          <ac:spMkLst>
            <pc:docMk/>
            <pc:sldMk cId="2093568246" sldId="2147479583"/>
            <ac:spMk id="1162" creationId="{9D229957-7A73-45DE-88E3-5DF602AF8583}"/>
          </ac:spMkLst>
        </pc:spChg>
        <pc:spChg chg="mod">
          <ac:chgData name="Mick Mooney" userId="e6518e4e-af4a-4bea-b39c-20489a1e5519" providerId="ADAL" clId="{3014DE50-B07B-4776-BEAC-0F779D92A13E}" dt="2023-07-31T12:31:12.974" v="25407" actId="2711"/>
          <ac:spMkLst>
            <pc:docMk/>
            <pc:sldMk cId="2093568246" sldId="2147479583"/>
            <ac:spMk id="1163" creationId="{09070CF9-4842-410E-887E-38F0EEAF4440}"/>
          </ac:spMkLst>
        </pc:spChg>
        <pc:spChg chg="mod">
          <ac:chgData name="Mick Mooney" userId="e6518e4e-af4a-4bea-b39c-20489a1e5519" providerId="ADAL" clId="{3014DE50-B07B-4776-BEAC-0F779D92A13E}" dt="2023-07-31T12:31:12.974" v="25407" actId="2711"/>
          <ac:spMkLst>
            <pc:docMk/>
            <pc:sldMk cId="2093568246" sldId="2147479583"/>
            <ac:spMk id="1164" creationId="{828251B8-1D9F-47D3-89DB-354B9951AA1C}"/>
          </ac:spMkLst>
        </pc:spChg>
        <pc:spChg chg="mod">
          <ac:chgData name="Mick Mooney" userId="e6518e4e-af4a-4bea-b39c-20489a1e5519" providerId="ADAL" clId="{3014DE50-B07B-4776-BEAC-0F779D92A13E}" dt="2023-07-31T12:31:12.974" v="25407" actId="2711"/>
          <ac:spMkLst>
            <pc:docMk/>
            <pc:sldMk cId="2093568246" sldId="2147479583"/>
            <ac:spMk id="1165" creationId="{59AD1ED0-05B5-4008-9876-65525A9C1464}"/>
          </ac:spMkLst>
        </pc:spChg>
        <pc:spChg chg="mod">
          <ac:chgData name="Mick Mooney" userId="e6518e4e-af4a-4bea-b39c-20489a1e5519" providerId="ADAL" clId="{3014DE50-B07B-4776-BEAC-0F779D92A13E}" dt="2023-07-31T12:31:12.974" v="25407" actId="2711"/>
          <ac:spMkLst>
            <pc:docMk/>
            <pc:sldMk cId="2093568246" sldId="2147479583"/>
            <ac:spMk id="1166" creationId="{8DBDB788-9716-403A-9C45-CD7F3573B88A}"/>
          </ac:spMkLst>
        </pc:spChg>
        <pc:spChg chg="mod">
          <ac:chgData name="Mick Mooney" userId="e6518e4e-af4a-4bea-b39c-20489a1e5519" providerId="ADAL" clId="{3014DE50-B07B-4776-BEAC-0F779D92A13E}" dt="2023-07-31T12:31:12.974" v="25407" actId="2711"/>
          <ac:spMkLst>
            <pc:docMk/>
            <pc:sldMk cId="2093568246" sldId="2147479583"/>
            <ac:spMk id="1167" creationId="{B3EA7F88-FC5C-43DB-B39D-604331DCD9C8}"/>
          </ac:spMkLst>
        </pc:spChg>
        <pc:spChg chg="mod">
          <ac:chgData name="Mick Mooney" userId="e6518e4e-af4a-4bea-b39c-20489a1e5519" providerId="ADAL" clId="{3014DE50-B07B-4776-BEAC-0F779D92A13E}" dt="2023-07-31T12:31:12.974" v="25407" actId="2711"/>
          <ac:spMkLst>
            <pc:docMk/>
            <pc:sldMk cId="2093568246" sldId="2147479583"/>
            <ac:spMk id="1168" creationId="{E39A12DF-D028-4356-9E2C-0B060234C161}"/>
          </ac:spMkLst>
        </pc:spChg>
        <pc:spChg chg="mod">
          <ac:chgData name="Mick Mooney" userId="e6518e4e-af4a-4bea-b39c-20489a1e5519" providerId="ADAL" clId="{3014DE50-B07B-4776-BEAC-0F779D92A13E}" dt="2023-07-31T12:31:12.974" v="25407" actId="2711"/>
          <ac:spMkLst>
            <pc:docMk/>
            <pc:sldMk cId="2093568246" sldId="2147479583"/>
            <ac:spMk id="1169" creationId="{3328E953-06A0-40F7-9A67-B1C25FAEAB3E}"/>
          </ac:spMkLst>
        </pc:spChg>
        <pc:spChg chg="mod">
          <ac:chgData name="Mick Mooney" userId="e6518e4e-af4a-4bea-b39c-20489a1e5519" providerId="ADAL" clId="{3014DE50-B07B-4776-BEAC-0F779D92A13E}" dt="2023-07-31T12:31:12.974" v="25407" actId="2711"/>
          <ac:spMkLst>
            <pc:docMk/>
            <pc:sldMk cId="2093568246" sldId="2147479583"/>
            <ac:spMk id="1170" creationId="{619550E8-F859-4204-AB5E-1E6A8A95077B}"/>
          </ac:spMkLst>
        </pc:spChg>
        <pc:spChg chg="mod">
          <ac:chgData name="Mick Mooney" userId="e6518e4e-af4a-4bea-b39c-20489a1e5519" providerId="ADAL" clId="{3014DE50-B07B-4776-BEAC-0F779D92A13E}" dt="2023-07-31T12:31:12.974" v="25407" actId="2711"/>
          <ac:spMkLst>
            <pc:docMk/>
            <pc:sldMk cId="2093568246" sldId="2147479583"/>
            <ac:spMk id="1171" creationId="{4168F50E-EA8D-4EC5-BE81-1B866F995BDD}"/>
          </ac:spMkLst>
        </pc:spChg>
        <pc:spChg chg="mod">
          <ac:chgData name="Mick Mooney" userId="e6518e4e-af4a-4bea-b39c-20489a1e5519" providerId="ADAL" clId="{3014DE50-B07B-4776-BEAC-0F779D92A13E}" dt="2023-07-31T12:31:12.974" v="25407" actId="2711"/>
          <ac:spMkLst>
            <pc:docMk/>
            <pc:sldMk cId="2093568246" sldId="2147479583"/>
            <ac:spMk id="1172" creationId="{6F54440D-66D3-4309-B134-F734181F56D3}"/>
          </ac:spMkLst>
        </pc:spChg>
        <pc:spChg chg="mod">
          <ac:chgData name="Mick Mooney" userId="e6518e4e-af4a-4bea-b39c-20489a1e5519" providerId="ADAL" clId="{3014DE50-B07B-4776-BEAC-0F779D92A13E}" dt="2023-07-31T12:31:12.974" v="25407" actId="2711"/>
          <ac:spMkLst>
            <pc:docMk/>
            <pc:sldMk cId="2093568246" sldId="2147479583"/>
            <ac:spMk id="1173" creationId="{8DD6BC62-AFD9-4403-B126-454259CF31C9}"/>
          </ac:spMkLst>
        </pc:spChg>
        <pc:spChg chg="mod">
          <ac:chgData name="Mick Mooney" userId="e6518e4e-af4a-4bea-b39c-20489a1e5519" providerId="ADAL" clId="{3014DE50-B07B-4776-BEAC-0F779D92A13E}" dt="2023-07-31T12:31:12.974" v="25407" actId="2711"/>
          <ac:spMkLst>
            <pc:docMk/>
            <pc:sldMk cId="2093568246" sldId="2147479583"/>
            <ac:spMk id="1174" creationId="{AD63A281-4D2E-4939-9DAE-FB9D592EA385}"/>
          </ac:spMkLst>
        </pc:spChg>
        <pc:spChg chg="mod">
          <ac:chgData name="Mick Mooney" userId="e6518e4e-af4a-4bea-b39c-20489a1e5519" providerId="ADAL" clId="{3014DE50-B07B-4776-BEAC-0F779D92A13E}" dt="2023-07-31T12:31:12.974" v="25407" actId="2711"/>
          <ac:spMkLst>
            <pc:docMk/>
            <pc:sldMk cId="2093568246" sldId="2147479583"/>
            <ac:spMk id="1175" creationId="{3957380B-A0B5-41EF-97C0-B6A01CE23669}"/>
          </ac:spMkLst>
        </pc:spChg>
        <pc:spChg chg="mod">
          <ac:chgData name="Mick Mooney" userId="e6518e4e-af4a-4bea-b39c-20489a1e5519" providerId="ADAL" clId="{3014DE50-B07B-4776-BEAC-0F779D92A13E}" dt="2023-07-31T12:31:12.974" v="25407" actId="2711"/>
          <ac:spMkLst>
            <pc:docMk/>
            <pc:sldMk cId="2093568246" sldId="2147479583"/>
            <ac:spMk id="1176" creationId="{9C902724-263B-4182-9FE4-2D1AA5A2540E}"/>
          </ac:spMkLst>
        </pc:spChg>
        <pc:spChg chg="mod">
          <ac:chgData name="Mick Mooney" userId="e6518e4e-af4a-4bea-b39c-20489a1e5519" providerId="ADAL" clId="{3014DE50-B07B-4776-BEAC-0F779D92A13E}" dt="2023-07-31T12:31:12.974" v="25407" actId="2711"/>
          <ac:spMkLst>
            <pc:docMk/>
            <pc:sldMk cId="2093568246" sldId="2147479583"/>
            <ac:spMk id="1177" creationId="{282A07A3-79DD-40E0-A521-266471D81FD1}"/>
          </ac:spMkLst>
        </pc:spChg>
        <pc:spChg chg="mod">
          <ac:chgData name="Mick Mooney" userId="e6518e4e-af4a-4bea-b39c-20489a1e5519" providerId="ADAL" clId="{3014DE50-B07B-4776-BEAC-0F779D92A13E}" dt="2023-07-31T12:31:12.974" v="25407" actId="2711"/>
          <ac:spMkLst>
            <pc:docMk/>
            <pc:sldMk cId="2093568246" sldId="2147479583"/>
            <ac:spMk id="1178" creationId="{BE6BFDBB-44ED-428F-ADFB-F2CAA3A57783}"/>
          </ac:spMkLst>
        </pc:spChg>
        <pc:spChg chg="mod">
          <ac:chgData name="Mick Mooney" userId="e6518e4e-af4a-4bea-b39c-20489a1e5519" providerId="ADAL" clId="{3014DE50-B07B-4776-BEAC-0F779D92A13E}" dt="2023-07-31T12:31:12.974" v="25407" actId="2711"/>
          <ac:spMkLst>
            <pc:docMk/>
            <pc:sldMk cId="2093568246" sldId="2147479583"/>
            <ac:spMk id="1179" creationId="{DCB99986-B631-4A9E-B1CF-F4C175B80A26}"/>
          </ac:spMkLst>
        </pc:spChg>
        <pc:spChg chg="mod">
          <ac:chgData name="Mick Mooney" userId="e6518e4e-af4a-4bea-b39c-20489a1e5519" providerId="ADAL" clId="{3014DE50-B07B-4776-BEAC-0F779D92A13E}" dt="2023-07-31T12:31:12.974" v="25407" actId="2711"/>
          <ac:spMkLst>
            <pc:docMk/>
            <pc:sldMk cId="2093568246" sldId="2147479583"/>
            <ac:spMk id="1180" creationId="{3A5235C5-E0AB-4941-8724-34B51F6DD6D8}"/>
          </ac:spMkLst>
        </pc:spChg>
        <pc:spChg chg="mod">
          <ac:chgData name="Mick Mooney" userId="e6518e4e-af4a-4bea-b39c-20489a1e5519" providerId="ADAL" clId="{3014DE50-B07B-4776-BEAC-0F779D92A13E}" dt="2023-07-31T12:31:12.974" v="25407" actId="2711"/>
          <ac:spMkLst>
            <pc:docMk/>
            <pc:sldMk cId="2093568246" sldId="2147479583"/>
            <ac:spMk id="1181" creationId="{BADFBC38-9727-404D-94BB-87C3F6D1C4E5}"/>
          </ac:spMkLst>
        </pc:spChg>
        <pc:spChg chg="mod">
          <ac:chgData name="Mick Mooney" userId="e6518e4e-af4a-4bea-b39c-20489a1e5519" providerId="ADAL" clId="{3014DE50-B07B-4776-BEAC-0F779D92A13E}" dt="2023-07-31T12:31:12.974" v="25407" actId="2711"/>
          <ac:spMkLst>
            <pc:docMk/>
            <pc:sldMk cId="2093568246" sldId="2147479583"/>
            <ac:spMk id="1182" creationId="{C7D30E47-8171-4C6E-BACF-58A4F6A9ACA1}"/>
          </ac:spMkLst>
        </pc:spChg>
        <pc:spChg chg="mod">
          <ac:chgData name="Mick Mooney" userId="e6518e4e-af4a-4bea-b39c-20489a1e5519" providerId="ADAL" clId="{3014DE50-B07B-4776-BEAC-0F779D92A13E}" dt="2023-07-31T12:31:12.974" v="25407" actId="2711"/>
          <ac:spMkLst>
            <pc:docMk/>
            <pc:sldMk cId="2093568246" sldId="2147479583"/>
            <ac:spMk id="1183" creationId="{A7F39D0F-E421-41D5-A9A1-A8D1419161CA}"/>
          </ac:spMkLst>
        </pc:spChg>
        <pc:spChg chg="mod">
          <ac:chgData name="Mick Mooney" userId="e6518e4e-af4a-4bea-b39c-20489a1e5519" providerId="ADAL" clId="{3014DE50-B07B-4776-BEAC-0F779D92A13E}" dt="2023-07-31T12:31:12.974" v="25407" actId="2711"/>
          <ac:spMkLst>
            <pc:docMk/>
            <pc:sldMk cId="2093568246" sldId="2147479583"/>
            <ac:spMk id="1184" creationId="{1A411619-9B92-4AE8-A86B-522FD3DA6EE1}"/>
          </ac:spMkLst>
        </pc:spChg>
        <pc:spChg chg="mod">
          <ac:chgData name="Mick Mooney" userId="e6518e4e-af4a-4bea-b39c-20489a1e5519" providerId="ADAL" clId="{3014DE50-B07B-4776-BEAC-0F779D92A13E}" dt="2023-07-31T12:31:12.974" v="25407" actId="2711"/>
          <ac:spMkLst>
            <pc:docMk/>
            <pc:sldMk cId="2093568246" sldId="2147479583"/>
            <ac:spMk id="1185" creationId="{91F54EEB-F11B-4D69-B799-F30DC802A3EB}"/>
          </ac:spMkLst>
        </pc:spChg>
        <pc:spChg chg="mod">
          <ac:chgData name="Mick Mooney" userId="e6518e4e-af4a-4bea-b39c-20489a1e5519" providerId="ADAL" clId="{3014DE50-B07B-4776-BEAC-0F779D92A13E}" dt="2023-07-31T12:31:12.974" v="25407" actId="2711"/>
          <ac:spMkLst>
            <pc:docMk/>
            <pc:sldMk cId="2093568246" sldId="2147479583"/>
            <ac:spMk id="1186" creationId="{F8E96A61-9791-4B46-931C-A219DC1F2451}"/>
          </ac:spMkLst>
        </pc:spChg>
        <pc:spChg chg="mod">
          <ac:chgData name="Mick Mooney" userId="e6518e4e-af4a-4bea-b39c-20489a1e5519" providerId="ADAL" clId="{3014DE50-B07B-4776-BEAC-0F779D92A13E}" dt="2023-07-31T12:31:12.974" v="25407" actId="2711"/>
          <ac:spMkLst>
            <pc:docMk/>
            <pc:sldMk cId="2093568246" sldId="2147479583"/>
            <ac:spMk id="1187" creationId="{BAB99FCE-A5AF-435A-8AF9-88DBE0CC5EDA}"/>
          </ac:spMkLst>
        </pc:spChg>
        <pc:spChg chg="mod">
          <ac:chgData name="Mick Mooney" userId="e6518e4e-af4a-4bea-b39c-20489a1e5519" providerId="ADAL" clId="{3014DE50-B07B-4776-BEAC-0F779D92A13E}" dt="2023-07-31T12:31:12.974" v="25407" actId="2711"/>
          <ac:spMkLst>
            <pc:docMk/>
            <pc:sldMk cId="2093568246" sldId="2147479583"/>
            <ac:spMk id="1188" creationId="{9784893E-5E97-4A29-9965-69DA34116E4A}"/>
          </ac:spMkLst>
        </pc:spChg>
        <pc:spChg chg="mod">
          <ac:chgData name="Mick Mooney" userId="e6518e4e-af4a-4bea-b39c-20489a1e5519" providerId="ADAL" clId="{3014DE50-B07B-4776-BEAC-0F779D92A13E}" dt="2023-07-31T12:31:12.974" v="25407" actId="2711"/>
          <ac:spMkLst>
            <pc:docMk/>
            <pc:sldMk cId="2093568246" sldId="2147479583"/>
            <ac:spMk id="1189" creationId="{353C8F2F-B44E-42EB-9195-481701488366}"/>
          </ac:spMkLst>
        </pc:spChg>
        <pc:spChg chg="mod">
          <ac:chgData name="Mick Mooney" userId="e6518e4e-af4a-4bea-b39c-20489a1e5519" providerId="ADAL" clId="{3014DE50-B07B-4776-BEAC-0F779D92A13E}" dt="2023-07-31T12:31:12.974" v="25407" actId="2711"/>
          <ac:spMkLst>
            <pc:docMk/>
            <pc:sldMk cId="2093568246" sldId="2147479583"/>
            <ac:spMk id="1190" creationId="{5DADF2F5-3682-415A-8A3B-4CA651E4D872}"/>
          </ac:spMkLst>
        </pc:spChg>
        <pc:spChg chg="mod">
          <ac:chgData name="Mick Mooney" userId="e6518e4e-af4a-4bea-b39c-20489a1e5519" providerId="ADAL" clId="{3014DE50-B07B-4776-BEAC-0F779D92A13E}" dt="2023-07-31T12:31:12.974" v="25407" actId="2711"/>
          <ac:spMkLst>
            <pc:docMk/>
            <pc:sldMk cId="2093568246" sldId="2147479583"/>
            <ac:spMk id="1191" creationId="{01CF5849-0DDE-4EC8-8E2D-69EBDA5BC9AC}"/>
          </ac:spMkLst>
        </pc:spChg>
        <pc:spChg chg="mod">
          <ac:chgData name="Mick Mooney" userId="e6518e4e-af4a-4bea-b39c-20489a1e5519" providerId="ADAL" clId="{3014DE50-B07B-4776-BEAC-0F779D92A13E}" dt="2023-07-31T12:31:12.974" v="25407" actId="2711"/>
          <ac:spMkLst>
            <pc:docMk/>
            <pc:sldMk cId="2093568246" sldId="2147479583"/>
            <ac:spMk id="1192" creationId="{550DCEB9-A9D0-465D-B795-6F4551E58D53}"/>
          </ac:spMkLst>
        </pc:spChg>
        <pc:spChg chg="mod">
          <ac:chgData name="Mick Mooney" userId="e6518e4e-af4a-4bea-b39c-20489a1e5519" providerId="ADAL" clId="{3014DE50-B07B-4776-BEAC-0F779D92A13E}" dt="2023-07-31T12:31:12.974" v="25407" actId="2711"/>
          <ac:spMkLst>
            <pc:docMk/>
            <pc:sldMk cId="2093568246" sldId="2147479583"/>
            <ac:spMk id="1193" creationId="{C1FB4878-335D-4DA1-B6A0-60503A6926C0}"/>
          </ac:spMkLst>
        </pc:spChg>
        <pc:spChg chg="mod">
          <ac:chgData name="Mick Mooney" userId="e6518e4e-af4a-4bea-b39c-20489a1e5519" providerId="ADAL" clId="{3014DE50-B07B-4776-BEAC-0F779D92A13E}" dt="2023-07-31T12:31:12.974" v="25407" actId="2711"/>
          <ac:spMkLst>
            <pc:docMk/>
            <pc:sldMk cId="2093568246" sldId="2147479583"/>
            <ac:spMk id="1194" creationId="{ED3AD17B-027B-4073-979D-8E13E990C403}"/>
          </ac:spMkLst>
        </pc:spChg>
        <pc:spChg chg="mod">
          <ac:chgData name="Mick Mooney" userId="e6518e4e-af4a-4bea-b39c-20489a1e5519" providerId="ADAL" clId="{3014DE50-B07B-4776-BEAC-0F779D92A13E}" dt="2023-07-31T12:31:12.974" v="25407" actId="2711"/>
          <ac:spMkLst>
            <pc:docMk/>
            <pc:sldMk cId="2093568246" sldId="2147479583"/>
            <ac:spMk id="1195" creationId="{32631828-9DF8-4E33-834E-ECFA868CDBDE}"/>
          </ac:spMkLst>
        </pc:spChg>
        <pc:spChg chg="mod">
          <ac:chgData name="Mick Mooney" userId="e6518e4e-af4a-4bea-b39c-20489a1e5519" providerId="ADAL" clId="{3014DE50-B07B-4776-BEAC-0F779D92A13E}" dt="2023-07-31T12:31:12.974" v="25407" actId="2711"/>
          <ac:spMkLst>
            <pc:docMk/>
            <pc:sldMk cId="2093568246" sldId="2147479583"/>
            <ac:spMk id="1196" creationId="{E098F8B6-1E61-49D4-A38A-1F3FE84F197C}"/>
          </ac:spMkLst>
        </pc:spChg>
        <pc:spChg chg="mod">
          <ac:chgData name="Mick Mooney" userId="e6518e4e-af4a-4bea-b39c-20489a1e5519" providerId="ADAL" clId="{3014DE50-B07B-4776-BEAC-0F779D92A13E}" dt="2023-07-31T12:31:12.974" v="25407" actId="2711"/>
          <ac:spMkLst>
            <pc:docMk/>
            <pc:sldMk cId="2093568246" sldId="2147479583"/>
            <ac:spMk id="1197" creationId="{85752E77-DCEE-4A4A-A8E8-A9E79BD8876C}"/>
          </ac:spMkLst>
        </pc:spChg>
        <pc:spChg chg="mod">
          <ac:chgData name="Mick Mooney" userId="e6518e4e-af4a-4bea-b39c-20489a1e5519" providerId="ADAL" clId="{3014DE50-B07B-4776-BEAC-0F779D92A13E}" dt="2023-07-31T12:31:12.974" v="25407" actId="2711"/>
          <ac:spMkLst>
            <pc:docMk/>
            <pc:sldMk cId="2093568246" sldId="2147479583"/>
            <ac:spMk id="1198" creationId="{74720016-BD5E-404E-8AAA-EDF8B15A55D7}"/>
          </ac:spMkLst>
        </pc:spChg>
        <pc:spChg chg="mod">
          <ac:chgData name="Mick Mooney" userId="e6518e4e-af4a-4bea-b39c-20489a1e5519" providerId="ADAL" clId="{3014DE50-B07B-4776-BEAC-0F779D92A13E}" dt="2023-07-31T12:31:12.974" v="25407" actId="2711"/>
          <ac:spMkLst>
            <pc:docMk/>
            <pc:sldMk cId="2093568246" sldId="2147479583"/>
            <ac:spMk id="1200" creationId="{09B42CFF-B5FA-44ED-AD6E-881F49489833}"/>
          </ac:spMkLst>
        </pc:spChg>
        <pc:spChg chg="mod">
          <ac:chgData name="Mick Mooney" userId="e6518e4e-af4a-4bea-b39c-20489a1e5519" providerId="ADAL" clId="{3014DE50-B07B-4776-BEAC-0F779D92A13E}" dt="2023-07-31T12:31:12.974" v="25407" actId="2711"/>
          <ac:spMkLst>
            <pc:docMk/>
            <pc:sldMk cId="2093568246" sldId="2147479583"/>
            <ac:spMk id="1201" creationId="{B91B5831-51C4-44FD-9560-18842EDBD84D}"/>
          </ac:spMkLst>
        </pc:spChg>
        <pc:spChg chg="mod">
          <ac:chgData name="Mick Mooney" userId="e6518e4e-af4a-4bea-b39c-20489a1e5519" providerId="ADAL" clId="{3014DE50-B07B-4776-BEAC-0F779D92A13E}" dt="2023-07-31T12:31:12.974" v="25407" actId="2711"/>
          <ac:spMkLst>
            <pc:docMk/>
            <pc:sldMk cId="2093568246" sldId="2147479583"/>
            <ac:spMk id="1202" creationId="{84C433C2-7BE5-4CF8-AD0A-D910E14245ED}"/>
          </ac:spMkLst>
        </pc:spChg>
        <pc:graphicFrameChg chg="mod modGraphic">
          <ac:chgData name="Mick Mooney" userId="e6518e4e-af4a-4bea-b39c-20489a1e5519" providerId="ADAL" clId="{3014DE50-B07B-4776-BEAC-0F779D92A13E}" dt="2023-07-31T12:31:22.230" v="25408" actId="2711"/>
          <ac:graphicFrameMkLst>
            <pc:docMk/>
            <pc:sldMk cId="2093568246" sldId="2147479583"/>
            <ac:graphicFrameMk id="583" creationId="{4389C1C3-590E-4CBB-8B1F-4091CF529785}"/>
          </ac:graphicFrameMkLst>
        </pc:graphicFrameChg>
      </pc:sldChg>
      <pc:sldChg chg="modSp mod">
        <pc:chgData name="Mick Mooney" userId="e6518e4e-af4a-4bea-b39c-20489a1e5519" providerId="ADAL" clId="{3014DE50-B07B-4776-BEAC-0F779D92A13E}" dt="2023-07-31T13:12:32.456" v="29068"/>
        <pc:sldMkLst>
          <pc:docMk/>
          <pc:sldMk cId="2541600766" sldId="2147479584"/>
        </pc:sldMkLst>
        <pc:spChg chg="mod replST delST">
          <ac:chgData name="Mick Mooney" userId="e6518e4e-af4a-4bea-b39c-20489a1e5519" providerId="ADAL" clId="{3014DE50-B07B-4776-BEAC-0F779D92A13E}" dt="2023-07-31T13:12:28.909" v="29066" actId="2711"/>
          <ac:spMkLst>
            <pc:docMk/>
            <pc:sldMk cId="2541600766" sldId="2147479584"/>
            <ac:spMk id="8" creationId="{7824D54C-15D2-467C-A016-166944D0781C}"/>
          </ac:spMkLst>
        </pc:spChg>
        <pc:spChg chg="mod">
          <ac:chgData name="Mick Mooney" userId="e6518e4e-af4a-4bea-b39c-20489a1e5519" providerId="ADAL" clId="{3014DE50-B07B-4776-BEAC-0F779D92A13E}" dt="2023-07-31T13:12:28.909" v="29066" actId="2711"/>
          <ac:spMkLst>
            <pc:docMk/>
            <pc:sldMk cId="2541600766" sldId="2147479584"/>
            <ac:spMk id="21" creationId="{F37278CB-57F7-4D91-873B-9D3B36E68089}"/>
          </ac:spMkLst>
        </pc:spChg>
        <pc:spChg chg="mod">
          <ac:chgData name="Mick Mooney" userId="e6518e4e-af4a-4bea-b39c-20489a1e5519" providerId="ADAL" clId="{3014DE50-B07B-4776-BEAC-0F779D92A13E}" dt="2023-07-31T13:12:28.909" v="29066" actId="2711"/>
          <ac:spMkLst>
            <pc:docMk/>
            <pc:sldMk cId="2541600766" sldId="2147479584"/>
            <ac:spMk id="22" creationId="{E438FD06-457F-42A6-A657-234D55AFF8D8}"/>
          </ac:spMkLst>
        </pc:spChg>
        <pc:spChg chg="mod">
          <ac:chgData name="Mick Mooney" userId="e6518e4e-af4a-4bea-b39c-20489a1e5519" providerId="ADAL" clId="{3014DE50-B07B-4776-BEAC-0F779D92A13E}" dt="2023-07-31T13:12:28.909" v="29066" actId="2711"/>
          <ac:spMkLst>
            <pc:docMk/>
            <pc:sldMk cId="2541600766" sldId="2147479584"/>
            <ac:spMk id="27" creationId="{621A73AB-F559-4367-A4AB-5678F597AB08}"/>
          </ac:spMkLst>
        </pc:spChg>
        <pc:spChg chg="mod">
          <ac:chgData name="Mick Mooney" userId="e6518e4e-af4a-4bea-b39c-20489a1e5519" providerId="ADAL" clId="{3014DE50-B07B-4776-BEAC-0F779D92A13E}" dt="2023-07-31T13:12:28.909" v="29066" actId="2711"/>
          <ac:spMkLst>
            <pc:docMk/>
            <pc:sldMk cId="2541600766" sldId="2147479584"/>
            <ac:spMk id="28" creationId="{6DA17E0E-2D06-41F2-B7C7-5C2A02D50E3D}"/>
          </ac:spMkLst>
        </pc:spChg>
        <pc:spChg chg="mod">
          <ac:chgData name="Mick Mooney" userId="e6518e4e-af4a-4bea-b39c-20489a1e5519" providerId="ADAL" clId="{3014DE50-B07B-4776-BEAC-0F779D92A13E}" dt="2023-07-31T13:12:28.909" v="29066" actId="2711"/>
          <ac:spMkLst>
            <pc:docMk/>
            <pc:sldMk cId="2541600766" sldId="2147479584"/>
            <ac:spMk id="29" creationId="{D6779230-42AA-49E7-AE80-E353C486AD85}"/>
          </ac:spMkLst>
        </pc:spChg>
        <pc:spChg chg="mod">
          <ac:chgData name="Mick Mooney" userId="e6518e4e-af4a-4bea-b39c-20489a1e5519" providerId="ADAL" clId="{3014DE50-B07B-4776-BEAC-0F779D92A13E}" dt="2023-07-31T13:12:28.909" v="29066" actId="2711"/>
          <ac:spMkLst>
            <pc:docMk/>
            <pc:sldMk cId="2541600766" sldId="2147479584"/>
            <ac:spMk id="30" creationId="{95E58021-50C8-4B43-A618-FFCDC8582E7B}"/>
          </ac:spMkLst>
        </pc:spChg>
        <pc:spChg chg="mod">
          <ac:chgData name="Mick Mooney" userId="e6518e4e-af4a-4bea-b39c-20489a1e5519" providerId="ADAL" clId="{3014DE50-B07B-4776-BEAC-0F779D92A13E}" dt="2023-07-31T13:12:28.909" v="29066" actId="2711"/>
          <ac:spMkLst>
            <pc:docMk/>
            <pc:sldMk cId="2541600766" sldId="2147479584"/>
            <ac:spMk id="31" creationId="{DA2847EA-2C87-44E5-A8FF-D62C571B385A}"/>
          </ac:spMkLst>
        </pc:spChg>
        <pc:spChg chg="mod">
          <ac:chgData name="Mick Mooney" userId="e6518e4e-af4a-4bea-b39c-20489a1e5519" providerId="ADAL" clId="{3014DE50-B07B-4776-BEAC-0F779D92A13E}" dt="2023-07-31T13:12:28.909" v="29066" actId="2711"/>
          <ac:spMkLst>
            <pc:docMk/>
            <pc:sldMk cId="2541600766" sldId="2147479584"/>
            <ac:spMk id="32" creationId="{20ABEB4E-7F65-4109-8E1C-2DCDF6DBD38E}"/>
          </ac:spMkLst>
        </pc:spChg>
        <pc:spChg chg="mod">
          <ac:chgData name="Mick Mooney" userId="e6518e4e-af4a-4bea-b39c-20489a1e5519" providerId="ADAL" clId="{3014DE50-B07B-4776-BEAC-0F779D92A13E}" dt="2023-07-31T13:12:28.909" v="29066" actId="2711"/>
          <ac:spMkLst>
            <pc:docMk/>
            <pc:sldMk cId="2541600766" sldId="2147479584"/>
            <ac:spMk id="33" creationId="{65F9D3B9-D6E1-4DF9-9664-3F9328EF2029}"/>
          </ac:spMkLst>
        </pc:spChg>
        <pc:spChg chg="mod">
          <ac:chgData name="Mick Mooney" userId="e6518e4e-af4a-4bea-b39c-20489a1e5519" providerId="ADAL" clId="{3014DE50-B07B-4776-BEAC-0F779D92A13E}" dt="2023-07-31T13:12:28.909" v="29066" actId="2711"/>
          <ac:spMkLst>
            <pc:docMk/>
            <pc:sldMk cId="2541600766" sldId="2147479584"/>
            <ac:spMk id="34" creationId="{5511173C-4A43-41FA-A867-390BD5042D0F}"/>
          </ac:spMkLst>
        </pc:spChg>
        <pc:spChg chg="mod">
          <ac:chgData name="Mick Mooney" userId="e6518e4e-af4a-4bea-b39c-20489a1e5519" providerId="ADAL" clId="{3014DE50-B07B-4776-BEAC-0F779D92A13E}" dt="2023-07-31T13:12:28.909" v="29066" actId="2711"/>
          <ac:spMkLst>
            <pc:docMk/>
            <pc:sldMk cId="2541600766" sldId="2147479584"/>
            <ac:spMk id="35" creationId="{8824E339-0BC4-438A-8A58-A393A40919C4}"/>
          </ac:spMkLst>
        </pc:spChg>
        <pc:spChg chg="mod">
          <ac:chgData name="Mick Mooney" userId="e6518e4e-af4a-4bea-b39c-20489a1e5519" providerId="ADAL" clId="{3014DE50-B07B-4776-BEAC-0F779D92A13E}" dt="2023-07-31T13:12:28.909" v="29066" actId="2711"/>
          <ac:spMkLst>
            <pc:docMk/>
            <pc:sldMk cId="2541600766" sldId="2147479584"/>
            <ac:spMk id="38" creationId="{05A27321-6665-4F93-BB0F-78799C85093F}"/>
          </ac:spMkLst>
        </pc:spChg>
        <pc:spChg chg="mod">
          <ac:chgData name="Mick Mooney" userId="e6518e4e-af4a-4bea-b39c-20489a1e5519" providerId="ADAL" clId="{3014DE50-B07B-4776-BEAC-0F779D92A13E}" dt="2023-07-31T13:12:28.909" v="29066" actId="2711"/>
          <ac:spMkLst>
            <pc:docMk/>
            <pc:sldMk cId="2541600766" sldId="2147479584"/>
            <ac:spMk id="44" creationId="{7C95207B-C7B6-477A-BFD4-3E09F4AEDDA2}"/>
          </ac:spMkLst>
        </pc:spChg>
        <pc:spChg chg="mod replST delST">
          <ac:chgData name="Mick Mooney" userId="e6518e4e-af4a-4bea-b39c-20489a1e5519" providerId="ADAL" clId="{3014DE50-B07B-4776-BEAC-0F779D92A13E}" dt="2023-07-31T13:12:28.909" v="29066" actId="2711"/>
          <ac:spMkLst>
            <pc:docMk/>
            <pc:sldMk cId="2541600766" sldId="2147479584"/>
            <ac:spMk id="45" creationId="{3A1B096A-7B9F-44B0-9E05-754789A4D1BE}"/>
          </ac:spMkLst>
        </pc:spChg>
        <pc:spChg chg="mod">
          <ac:chgData name="Mick Mooney" userId="e6518e4e-af4a-4bea-b39c-20489a1e5519" providerId="ADAL" clId="{3014DE50-B07B-4776-BEAC-0F779D92A13E}" dt="2023-07-31T13:12:28.909" v="29066" actId="2711"/>
          <ac:spMkLst>
            <pc:docMk/>
            <pc:sldMk cId="2541600766" sldId="2147479584"/>
            <ac:spMk id="46" creationId="{8D9A2DB4-38EF-4DD0-82CC-AD875AED1296}"/>
          </ac:spMkLst>
        </pc:spChg>
        <pc:spChg chg="mod">
          <ac:chgData name="Mick Mooney" userId="e6518e4e-af4a-4bea-b39c-20489a1e5519" providerId="ADAL" clId="{3014DE50-B07B-4776-BEAC-0F779D92A13E}" dt="2023-07-31T13:12:28.909" v="29066" actId="2711"/>
          <ac:spMkLst>
            <pc:docMk/>
            <pc:sldMk cId="2541600766" sldId="2147479584"/>
            <ac:spMk id="53" creationId="{5F1F8446-B065-4B5D-BD65-F1F87050B0A8}"/>
          </ac:spMkLst>
        </pc:spChg>
        <pc:spChg chg="mod replST delST">
          <ac:chgData name="Mick Mooney" userId="e6518e4e-af4a-4bea-b39c-20489a1e5519" providerId="ADAL" clId="{3014DE50-B07B-4776-BEAC-0F779D92A13E}" dt="2023-07-31T13:12:32.456" v="29068"/>
          <ac:spMkLst>
            <pc:docMk/>
            <pc:sldMk cId="2541600766" sldId="2147479584"/>
            <ac:spMk id="54" creationId="{E7DEAC8C-D9CE-4ACC-8AB0-E06D5C0E9E3B}"/>
          </ac:spMkLst>
        </pc:spChg>
        <pc:spChg chg="mod">
          <ac:chgData name="Mick Mooney" userId="e6518e4e-af4a-4bea-b39c-20489a1e5519" providerId="ADAL" clId="{3014DE50-B07B-4776-BEAC-0F779D92A13E}" dt="2023-07-31T13:12:28.909" v="29066" actId="2711"/>
          <ac:spMkLst>
            <pc:docMk/>
            <pc:sldMk cId="2541600766" sldId="2147479584"/>
            <ac:spMk id="55" creationId="{ACBF0789-82D3-482E-B8C4-0BDF659428BD}"/>
          </ac:spMkLst>
        </pc:spChg>
        <pc:spChg chg="mod">
          <ac:chgData name="Mick Mooney" userId="e6518e4e-af4a-4bea-b39c-20489a1e5519" providerId="ADAL" clId="{3014DE50-B07B-4776-BEAC-0F779D92A13E}" dt="2023-07-31T13:12:28.909" v="29066" actId="2711"/>
          <ac:spMkLst>
            <pc:docMk/>
            <pc:sldMk cId="2541600766" sldId="2147479584"/>
            <ac:spMk id="56" creationId="{61941CBE-280C-4385-B64E-216C5443808B}"/>
          </ac:spMkLst>
        </pc:spChg>
        <pc:spChg chg="mod replST delST">
          <ac:chgData name="Mick Mooney" userId="e6518e4e-af4a-4bea-b39c-20489a1e5519" providerId="ADAL" clId="{3014DE50-B07B-4776-BEAC-0F779D92A13E}" dt="2023-07-31T13:12:28.909" v="29066" actId="2711"/>
          <ac:spMkLst>
            <pc:docMk/>
            <pc:sldMk cId="2541600766" sldId="2147479584"/>
            <ac:spMk id="60" creationId="{85C595CB-B3CF-4012-97C8-BDD8873FA274}"/>
          </ac:spMkLst>
        </pc:spChg>
        <pc:spChg chg="mod">
          <ac:chgData name="Mick Mooney" userId="e6518e4e-af4a-4bea-b39c-20489a1e5519" providerId="ADAL" clId="{3014DE50-B07B-4776-BEAC-0F779D92A13E}" dt="2023-07-31T13:12:28.909" v="29066" actId="2711"/>
          <ac:spMkLst>
            <pc:docMk/>
            <pc:sldMk cId="2541600766" sldId="2147479584"/>
            <ac:spMk id="78" creationId="{2D9B43E4-0534-4167-829A-CE4A9E7182E5}"/>
          </ac:spMkLst>
        </pc:spChg>
        <pc:grpChg chg="mod">
          <ac:chgData name="Mick Mooney" userId="e6518e4e-af4a-4bea-b39c-20489a1e5519" providerId="ADAL" clId="{3014DE50-B07B-4776-BEAC-0F779D92A13E}" dt="2023-07-31T13:12:28.909" v="29066" actId="2711"/>
          <ac:grpSpMkLst>
            <pc:docMk/>
            <pc:sldMk cId="2541600766" sldId="2147479584"/>
            <ac:grpSpMk id="10" creationId="{74B6250D-7BB3-46F4-A7D2-0701E5930998}"/>
          </ac:grpSpMkLst>
        </pc:grpChg>
        <pc:grpChg chg="mod">
          <ac:chgData name="Mick Mooney" userId="e6518e4e-af4a-4bea-b39c-20489a1e5519" providerId="ADAL" clId="{3014DE50-B07B-4776-BEAC-0F779D92A13E}" dt="2023-07-31T13:12:28.909" v="29066" actId="2711"/>
          <ac:grpSpMkLst>
            <pc:docMk/>
            <pc:sldMk cId="2541600766" sldId="2147479584"/>
            <ac:grpSpMk id="63" creationId="{BE3892D1-0F62-4D62-8B7E-24160CCD0E53}"/>
          </ac:grpSpMkLst>
        </pc:grpChg>
        <pc:picChg chg="mod">
          <ac:chgData name="Mick Mooney" userId="e6518e4e-af4a-4bea-b39c-20489a1e5519" providerId="ADAL" clId="{3014DE50-B07B-4776-BEAC-0F779D92A13E}" dt="2023-07-31T13:12:28.909" v="29066" actId="2711"/>
          <ac:picMkLst>
            <pc:docMk/>
            <pc:sldMk cId="2541600766" sldId="2147479584"/>
            <ac:picMk id="61" creationId="{77A9ABC8-70F1-4F57-A2F3-CE9A746E8B0E}"/>
          </ac:picMkLst>
        </pc:picChg>
        <pc:picChg chg="mod">
          <ac:chgData name="Mick Mooney" userId="e6518e4e-af4a-4bea-b39c-20489a1e5519" providerId="ADAL" clId="{3014DE50-B07B-4776-BEAC-0F779D92A13E}" dt="2023-07-31T13:12:28.909" v="29066" actId="2711"/>
          <ac:picMkLst>
            <pc:docMk/>
            <pc:sldMk cId="2541600766" sldId="2147479584"/>
            <ac:picMk id="62" creationId="{EBE26ECE-0782-44B1-A399-1F44595168C2}"/>
          </ac:picMkLst>
        </pc:picChg>
        <pc:picChg chg="mod">
          <ac:chgData name="Mick Mooney" userId="e6518e4e-af4a-4bea-b39c-20489a1e5519" providerId="ADAL" clId="{3014DE50-B07B-4776-BEAC-0F779D92A13E}" dt="2023-07-31T13:12:28.909" v="29066" actId="2711"/>
          <ac:picMkLst>
            <pc:docMk/>
            <pc:sldMk cId="2541600766" sldId="2147479584"/>
            <ac:picMk id="111" creationId="{28C244F5-FD94-40DC-A706-E634CEAF43C3}"/>
          </ac:picMkLst>
        </pc:picChg>
        <pc:cxnChg chg="mod">
          <ac:chgData name="Mick Mooney" userId="e6518e4e-af4a-4bea-b39c-20489a1e5519" providerId="ADAL" clId="{3014DE50-B07B-4776-BEAC-0F779D92A13E}" dt="2023-07-31T13:12:28.909" v="29066" actId="2711"/>
          <ac:cxnSpMkLst>
            <pc:docMk/>
            <pc:sldMk cId="2541600766" sldId="2147479584"/>
            <ac:cxnSpMk id="26" creationId="{4EF4A77B-B51D-46E3-832C-98E2B3DE43D7}"/>
          </ac:cxnSpMkLst>
        </pc:cxnChg>
        <pc:cxnChg chg="mod">
          <ac:chgData name="Mick Mooney" userId="e6518e4e-af4a-4bea-b39c-20489a1e5519" providerId="ADAL" clId="{3014DE50-B07B-4776-BEAC-0F779D92A13E}" dt="2023-07-31T13:12:28.909" v="29066" actId="2711"/>
          <ac:cxnSpMkLst>
            <pc:docMk/>
            <pc:sldMk cId="2541600766" sldId="2147479584"/>
            <ac:cxnSpMk id="47" creationId="{B33EAFDB-D63A-4B70-AE3F-C96C331F7A1C}"/>
          </ac:cxnSpMkLst>
        </pc:cxnChg>
        <pc:cxnChg chg="mod">
          <ac:chgData name="Mick Mooney" userId="e6518e4e-af4a-4bea-b39c-20489a1e5519" providerId="ADAL" clId="{3014DE50-B07B-4776-BEAC-0F779D92A13E}" dt="2023-07-31T13:12:28.909" v="29066" actId="2711"/>
          <ac:cxnSpMkLst>
            <pc:docMk/>
            <pc:sldMk cId="2541600766" sldId="2147479584"/>
            <ac:cxnSpMk id="48" creationId="{3264F67C-EC35-40FC-A635-51DF069A4F72}"/>
          </ac:cxnSpMkLst>
        </pc:cxnChg>
        <pc:cxnChg chg="mod">
          <ac:chgData name="Mick Mooney" userId="e6518e4e-af4a-4bea-b39c-20489a1e5519" providerId="ADAL" clId="{3014DE50-B07B-4776-BEAC-0F779D92A13E}" dt="2023-07-31T13:12:28.909" v="29066" actId="2711"/>
          <ac:cxnSpMkLst>
            <pc:docMk/>
            <pc:sldMk cId="2541600766" sldId="2147479584"/>
            <ac:cxnSpMk id="57" creationId="{E8719E6F-BD75-4D4E-8C49-C31BFCFBC6DE}"/>
          </ac:cxnSpMkLst>
        </pc:cxnChg>
        <pc:cxnChg chg="mod">
          <ac:chgData name="Mick Mooney" userId="e6518e4e-af4a-4bea-b39c-20489a1e5519" providerId="ADAL" clId="{3014DE50-B07B-4776-BEAC-0F779D92A13E}" dt="2023-07-31T13:12:28.909" v="29066" actId="2711"/>
          <ac:cxnSpMkLst>
            <pc:docMk/>
            <pc:sldMk cId="2541600766" sldId="2147479584"/>
            <ac:cxnSpMk id="79" creationId="{88CA0923-EE03-4BCB-98B3-5E78E08A2AD8}"/>
          </ac:cxnSpMkLst>
        </pc:cxnChg>
      </pc:sldChg>
      <pc:sldChg chg="addSp delSp modSp mod">
        <pc:chgData name="Mick Mooney" userId="e6518e4e-af4a-4bea-b39c-20489a1e5519" providerId="ADAL" clId="{3014DE50-B07B-4776-BEAC-0F779D92A13E}" dt="2023-07-31T15:37:59.210" v="33306" actId="2711"/>
        <pc:sldMkLst>
          <pc:docMk/>
          <pc:sldMk cId="2488466455" sldId="2147479585"/>
        </pc:sldMkLst>
        <pc:spChg chg="add del mod replST">
          <ac:chgData name="Mick Mooney" userId="e6518e4e-af4a-4bea-b39c-20489a1e5519" providerId="ADAL" clId="{3014DE50-B07B-4776-BEAC-0F779D92A13E}" dt="2023-07-22T14:29:59.251" v="8425" actId="478"/>
          <ac:spMkLst>
            <pc:docMk/>
            <pc:sldMk cId="2488466455" sldId="2147479585"/>
            <ac:spMk id="3" creationId="{EE5C2E0A-CCDA-882D-6FE1-E351C9C1E8B9}"/>
          </ac:spMkLst>
        </pc:spChg>
        <pc:spChg chg="del">
          <ac:chgData name="Mick Mooney" userId="e6518e4e-af4a-4bea-b39c-20489a1e5519" providerId="ADAL" clId="{3014DE50-B07B-4776-BEAC-0F779D92A13E}" dt="2023-07-22T14:29:53.905" v="8420" actId="478"/>
          <ac:spMkLst>
            <pc:docMk/>
            <pc:sldMk cId="2488466455" sldId="2147479585"/>
            <ac:spMk id="4" creationId="{E432C490-8501-4DEB-9800-36DD8F00D9DA}"/>
          </ac:spMkLst>
        </pc:spChg>
        <pc:spChg chg="del mod replST delST">
          <ac:chgData name="Mick Mooney" userId="e6518e4e-af4a-4bea-b39c-20489a1e5519" providerId="ADAL" clId="{3014DE50-B07B-4776-BEAC-0F779D92A13E}" dt="2023-07-22T14:29:53.905" v="8420" actId="478"/>
          <ac:spMkLst>
            <pc:docMk/>
            <pc:sldMk cId="2488466455" sldId="2147479585"/>
            <ac:spMk id="5" creationId="{82ACE101-9079-4B28-90D1-41FFC709BAB0}"/>
          </ac:spMkLst>
        </pc:spChg>
        <pc:spChg chg="add del mod replST delST">
          <ac:chgData name="Mick Mooney" userId="e6518e4e-af4a-4bea-b39c-20489a1e5519" providerId="ADAL" clId="{3014DE50-B07B-4776-BEAC-0F779D92A13E}" dt="2023-07-22T14:29:57.613" v="8423" actId="478"/>
          <ac:spMkLst>
            <pc:docMk/>
            <pc:sldMk cId="2488466455" sldId="2147479585"/>
            <ac:spMk id="8" creationId="{7F53B7B0-9A72-C5C2-61AD-6EA20422FDAD}"/>
          </ac:spMkLst>
        </pc:spChg>
        <pc:spChg chg="add mod replST delST">
          <ac:chgData name="Mick Mooney" userId="e6518e4e-af4a-4bea-b39c-20489a1e5519" providerId="ADAL" clId="{3014DE50-B07B-4776-BEAC-0F779D92A13E}" dt="2023-07-31T15:37:47.546" v="33295" actId="2711"/>
          <ac:spMkLst>
            <pc:docMk/>
            <pc:sldMk cId="2488466455" sldId="2147479585"/>
            <ac:spMk id="9" creationId="{EDFD3F8C-2C8A-0507-F0A6-ABD45DE625C7}"/>
          </ac:spMkLst>
        </pc:spChg>
        <pc:spChg chg="add mod replST delST">
          <ac:chgData name="Mick Mooney" userId="e6518e4e-af4a-4bea-b39c-20489a1e5519" providerId="ADAL" clId="{3014DE50-B07B-4776-BEAC-0F779D92A13E}" dt="2023-07-31T15:37:53.451" v="33300" actId="2711"/>
          <ac:spMkLst>
            <pc:docMk/>
            <pc:sldMk cId="2488466455" sldId="2147479585"/>
            <ac:spMk id="10" creationId="{699594FF-3735-DDB9-B9DE-B30C4A161071}"/>
          </ac:spMkLst>
        </pc:spChg>
        <pc:spChg chg="add mod replST delST">
          <ac:chgData name="Mick Mooney" userId="e6518e4e-af4a-4bea-b39c-20489a1e5519" providerId="ADAL" clId="{3014DE50-B07B-4776-BEAC-0F779D92A13E}" dt="2023-07-31T15:37:59.210" v="33306" actId="2711"/>
          <ac:spMkLst>
            <pc:docMk/>
            <pc:sldMk cId="2488466455" sldId="2147479585"/>
            <ac:spMk id="11" creationId="{5793A24B-ABE3-D06E-AC2E-051576A1FB22}"/>
          </ac:spMkLst>
        </pc:spChg>
      </pc:sldChg>
      <pc:sldChg chg="modSp mod">
        <pc:chgData name="Mick Mooney" userId="e6518e4e-af4a-4bea-b39c-20489a1e5519" providerId="ADAL" clId="{3014DE50-B07B-4776-BEAC-0F779D92A13E}" dt="2023-07-31T15:38:17.416" v="33319" actId="207"/>
        <pc:sldMkLst>
          <pc:docMk/>
          <pc:sldMk cId="783175190" sldId="2147479586"/>
        </pc:sldMkLst>
        <pc:spChg chg="mod replST delST">
          <ac:chgData name="Mick Mooney" userId="e6518e4e-af4a-4bea-b39c-20489a1e5519" providerId="ADAL" clId="{3014DE50-B07B-4776-BEAC-0F779D92A13E}" dt="2023-07-31T15:38:17.416" v="33319" actId="207"/>
          <ac:spMkLst>
            <pc:docMk/>
            <pc:sldMk cId="783175190" sldId="2147479586"/>
            <ac:spMk id="2" creationId="{35CD8BED-68CF-D983-C8AF-A9AD64B592B0}"/>
          </ac:spMkLst>
        </pc:spChg>
        <pc:spChg chg="mod replST delST">
          <ac:chgData name="Mick Mooney" userId="e6518e4e-af4a-4bea-b39c-20489a1e5519" providerId="ADAL" clId="{3014DE50-B07B-4776-BEAC-0F779D92A13E}" dt="2023-07-31T15:38:15.140" v="33314" actId="207"/>
          <ac:spMkLst>
            <pc:docMk/>
            <pc:sldMk cId="783175190" sldId="2147479586"/>
            <ac:spMk id="4" creationId="{E432C490-8501-4DEB-9800-36DD8F00D9DA}"/>
          </ac:spMkLst>
        </pc:spChg>
        <pc:spChg chg="mod replST delST">
          <ac:chgData name="Mick Mooney" userId="e6518e4e-af4a-4bea-b39c-20489a1e5519" providerId="ADAL" clId="{3014DE50-B07B-4776-BEAC-0F779D92A13E}" dt="2023-07-31T15:38:11.404" v="33309" actId="2711"/>
          <ac:spMkLst>
            <pc:docMk/>
            <pc:sldMk cId="783175190" sldId="2147479586"/>
            <ac:spMk id="5" creationId="{82ACE101-9079-4B28-90D1-41FFC709BAB0}"/>
          </ac:spMkLst>
        </pc:spChg>
        <pc:spChg chg="mod">
          <ac:chgData name="Mick Mooney" userId="e6518e4e-af4a-4bea-b39c-20489a1e5519" providerId="ADAL" clId="{3014DE50-B07B-4776-BEAC-0F779D92A13E}" dt="2023-07-31T15:38:11.404" v="33309" actId="2711"/>
          <ac:spMkLst>
            <pc:docMk/>
            <pc:sldMk cId="783175190" sldId="2147479586"/>
            <ac:spMk id="7" creationId="{33F269DE-0479-486E-87F7-03A541C10513}"/>
          </ac:spMkLst>
        </pc:spChg>
      </pc:sldChg>
      <pc:sldChg chg="del">
        <pc:chgData name="Mick Mooney" userId="e6518e4e-af4a-4bea-b39c-20489a1e5519" providerId="ADAL" clId="{3014DE50-B07B-4776-BEAC-0F779D92A13E}" dt="2023-07-22T14:25:15.857" v="8354" actId="2696"/>
        <pc:sldMkLst>
          <pc:docMk/>
          <pc:sldMk cId="374287678" sldId="2147479587"/>
        </pc:sldMkLst>
      </pc:sldChg>
      <pc:sldChg chg="del">
        <pc:chgData name="Mick Mooney" userId="e6518e4e-af4a-4bea-b39c-20489a1e5519" providerId="ADAL" clId="{3014DE50-B07B-4776-BEAC-0F779D92A13E}" dt="2023-07-22T14:24:49.162" v="8353" actId="2696"/>
        <pc:sldMkLst>
          <pc:docMk/>
          <pc:sldMk cId="3669336623" sldId="2147479588"/>
        </pc:sldMkLst>
      </pc:sldChg>
      <pc:sldChg chg="modSp del mod">
        <pc:chgData name="Mick Mooney" userId="e6518e4e-af4a-4bea-b39c-20489a1e5519" providerId="ADAL" clId="{3014DE50-B07B-4776-BEAC-0F779D92A13E}" dt="2023-07-25T15:54:16.877" v="13478" actId="2696"/>
        <pc:sldMkLst>
          <pc:docMk/>
          <pc:sldMk cId="2945296376" sldId="2147479589"/>
        </pc:sldMkLst>
        <pc:spChg chg="replST delST">
          <ac:chgData name="Mick Mooney" userId="e6518e4e-af4a-4bea-b39c-20489a1e5519" providerId="ADAL" clId="{3014DE50-B07B-4776-BEAC-0F779D92A13E}" dt="2023-07-22T14:11:42.783" v="8075"/>
          <ac:spMkLst>
            <pc:docMk/>
            <pc:sldMk cId="2945296376" sldId="2147479589"/>
            <ac:spMk id="4" creationId="{E432C490-8501-4DEB-9800-36DD8F00D9DA}"/>
          </ac:spMkLst>
        </pc:spChg>
      </pc:sldChg>
      <pc:sldChg chg="addSp delSp modSp add mod ord addCm delCm">
        <pc:chgData name="Mick Mooney" userId="e6518e4e-af4a-4bea-b39c-20489a1e5519" providerId="ADAL" clId="{3014DE50-B07B-4776-BEAC-0F779D92A13E}" dt="2023-08-15T09:45:17.962" v="38517" actId="20577"/>
        <pc:sldMkLst>
          <pc:docMk/>
          <pc:sldMk cId="1584002695" sldId="2147479590"/>
        </pc:sldMkLst>
        <pc:spChg chg="add del mod replST delST">
          <ac:chgData name="Mick Mooney" userId="e6518e4e-af4a-4bea-b39c-20489a1e5519" providerId="ADAL" clId="{3014DE50-B07B-4776-BEAC-0F779D92A13E}" dt="2023-08-15T09:14:37.019" v="36995" actId="478"/>
          <ac:spMkLst>
            <pc:docMk/>
            <pc:sldMk cId="1584002695" sldId="2147479590"/>
            <ac:spMk id="2" creationId="{13E70DB1-0655-1F94-1027-7A9E00C21238}"/>
          </ac:spMkLst>
        </pc:spChg>
        <pc:spChg chg="mod replST delST">
          <ac:chgData name="Mick Mooney" userId="e6518e4e-af4a-4bea-b39c-20489a1e5519" providerId="ADAL" clId="{3014DE50-B07B-4776-BEAC-0F779D92A13E}" dt="2023-08-15T09:45:17.962" v="38517" actId="20577"/>
          <ac:spMkLst>
            <pc:docMk/>
            <pc:sldMk cId="1584002695" sldId="2147479590"/>
            <ac:spMk id="3" creationId="{054356EA-79F4-3612-54CC-809CBFF37041}"/>
          </ac:spMkLst>
        </pc:spChg>
        <pc:spChg chg="add mod">
          <ac:chgData name="Mick Mooney" userId="e6518e4e-af4a-4bea-b39c-20489a1e5519" providerId="ADAL" clId="{3014DE50-B07B-4776-BEAC-0F779D92A13E}" dt="2023-08-15T09:26:18.373" v="37537" actId="20577"/>
          <ac:spMkLst>
            <pc:docMk/>
            <pc:sldMk cId="1584002695" sldId="2147479590"/>
            <ac:spMk id="4" creationId="{B474E4D3-ADE4-03B5-BBFE-7E79016576F1}"/>
          </ac:spMkLst>
        </pc:spChg>
        <pc:spChg chg="add mod">
          <ac:chgData name="Mick Mooney" userId="e6518e4e-af4a-4bea-b39c-20489a1e5519" providerId="ADAL" clId="{3014DE50-B07B-4776-BEAC-0F779D92A13E}" dt="2023-08-15T09:26:27.285" v="37553" actId="20577"/>
          <ac:spMkLst>
            <pc:docMk/>
            <pc:sldMk cId="1584002695" sldId="2147479590"/>
            <ac:spMk id="6" creationId="{E3A3A818-30F6-618C-52DC-7182B2356585}"/>
          </ac:spMkLst>
        </pc:spChg>
        <pc:spChg chg="mod replST delST">
          <ac:chgData name="Mick Mooney" userId="e6518e4e-af4a-4bea-b39c-20489a1e5519" providerId="ADAL" clId="{3014DE50-B07B-4776-BEAC-0F779D92A13E}" dt="2023-08-03T08:50:54.212" v="33894" actId="20577"/>
          <ac:spMkLst>
            <pc:docMk/>
            <pc:sldMk cId="1584002695" sldId="2147479590"/>
            <ac:spMk id="8" creationId="{7824D54C-15D2-467C-A016-166944D0781C}"/>
          </ac:spMkLst>
        </pc:spChg>
        <pc:spChg chg="add mod">
          <ac:chgData name="Mick Mooney" userId="e6518e4e-af4a-4bea-b39c-20489a1e5519" providerId="ADAL" clId="{3014DE50-B07B-4776-BEAC-0F779D92A13E}" dt="2023-08-15T09:26:35.070" v="37572" actId="20577"/>
          <ac:spMkLst>
            <pc:docMk/>
            <pc:sldMk cId="1584002695" sldId="2147479590"/>
            <ac:spMk id="9" creationId="{70DF646A-2C93-FB8B-8A60-7C3348F7E776}"/>
          </ac:spMkLst>
        </pc:spChg>
        <pc:spChg chg="add mod">
          <ac:chgData name="Mick Mooney" userId="e6518e4e-af4a-4bea-b39c-20489a1e5519" providerId="ADAL" clId="{3014DE50-B07B-4776-BEAC-0F779D92A13E}" dt="2023-08-15T09:26:39.710" v="37588" actId="20577"/>
          <ac:spMkLst>
            <pc:docMk/>
            <pc:sldMk cId="1584002695" sldId="2147479590"/>
            <ac:spMk id="10" creationId="{F3C59D76-77D6-5CDF-F450-A69124D69525}"/>
          </ac:spMkLst>
        </pc:spChg>
        <pc:spChg chg="add mod">
          <ac:chgData name="Mick Mooney" userId="e6518e4e-af4a-4bea-b39c-20489a1e5519" providerId="ADAL" clId="{3014DE50-B07B-4776-BEAC-0F779D92A13E}" dt="2023-08-15T09:26:29.486" v="37554" actId="20577"/>
          <ac:spMkLst>
            <pc:docMk/>
            <pc:sldMk cId="1584002695" sldId="2147479590"/>
            <ac:spMk id="11" creationId="{418D386D-6C1B-65F5-2FE8-4FC9CE46157D}"/>
          </ac:spMkLst>
        </pc:spChg>
        <pc:spChg chg="add mod">
          <ac:chgData name="Mick Mooney" userId="e6518e4e-af4a-4bea-b39c-20489a1e5519" providerId="ADAL" clId="{3014DE50-B07B-4776-BEAC-0F779D92A13E}" dt="2023-08-15T09:26:45.313" v="37603" actId="20577"/>
          <ac:spMkLst>
            <pc:docMk/>
            <pc:sldMk cId="1584002695" sldId="2147479590"/>
            <ac:spMk id="15" creationId="{C88263BC-94D4-E028-4F98-993E93F47805}"/>
          </ac:spMkLst>
        </pc:spChg>
        <pc:spChg chg="add mod">
          <ac:chgData name="Mick Mooney" userId="e6518e4e-af4a-4bea-b39c-20489a1e5519" providerId="ADAL" clId="{3014DE50-B07B-4776-BEAC-0F779D92A13E}" dt="2023-08-15T09:26:54.270" v="37631" actId="20577"/>
          <ac:spMkLst>
            <pc:docMk/>
            <pc:sldMk cId="1584002695" sldId="2147479590"/>
            <ac:spMk id="16" creationId="{A92DB2A0-6F44-7421-008B-E1A18B3419FB}"/>
          </ac:spMkLst>
        </pc:spChg>
        <pc:picChg chg="del">
          <ac:chgData name="Mick Mooney" userId="e6518e4e-af4a-4bea-b39c-20489a1e5519" providerId="ADAL" clId="{3014DE50-B07B-4776-BEAC-0F779D92A13E}" dt="2023-07-22T10:02:13.960" v="423" actId="478"/>
          <ac:picMkLst>
            <pc:docMk/>
            <pc:sldMk cId="1584002695" sldId="2147479590"/>
            <ac:picMk id="2" creationId="{F7891686-3955-DF3E-2CAD-73A6B240A64B}"/>
          </ac:picMkLst>
        </pc:picChg>
        <pc:picChg chg="add del mod">
          <ac:chgData name="Mick Mooney" userId="e6518e4e-af4a-4bea-b39c-20489a1e5519" providerId="ADAL" clId="{3014DE50-B07B-4776-BEAC-0F779D92A13E}" dt="2023-07-24T15:44:20.910" v="8552" actId="478"/>
          <ac:picMkLst>
            <pc:docMk/>
            <pc:sldMk cId="1584002695" sldId="2147479590"/>
            <ac:picMk id="4" creationId="{243CB95B-BB90-E6E9-B3C7-67229C746D2F}"/>
          </ac:picMkLst>
        </pc:picChg>
        <pc:picChg chg="add del mod">
          <ac:chgData name="Mick Mooney" userId="e6518e4e-af4a-4bea-b39c-20489a1e5519" providerId="ADAL" clId="{3014DE50-B07B-4776-BEAC-0F779D92A13E}" dt="2023-07-24T15:43:47.457" v="8546" actId="478"/>
          <ac:picMkLst>
            <pc:docMk/>
            <pc:sldMk cId="1584002695" sldId="2147479590"/>
            <ac:picMk id="5" creationId="{8A1F36F1-A1EF-8B81-EF3C-51E4D26CE517}"/>
          </ac:picMkLst>
        </pc:picChg>
        <pc:picChg chg="add mod">
          <ac:chgData name="Mick Mooney" userId="e6518e4e-af4a-4bea-b39c-20489a1e5519" providerId="ADAL" clId="{3014DE50-B07B-4776-BEAC-0F779D92A13E}" dt="2023-08-15T09:14:28.891" v="36994" actId="1076"/>
          <ac:picMkLst>
            <pc:docMk/>
            <pc:sldMk cId="1584002695" sldId="2147479590"/>
            <ac:picMk id="5" creationId="{D73539F4-EEC1-BE59-5EE1-99C20516824C}"/>
          </ac:picMkLst>
        </pc:picChg>
        <pc:picChg chg="add mod">
          <ac:chgData name="Mick Mooney" userId="e6518e4e-af4a-4bea-b39c-20489a1e5519" providerId="ADAL" clId="{3014DE50-B07B-4776-BEAC-0F779D92A13E}" dt="2023-08-15T09:14:28.891" v="36994" actId="1076"/>
          <ac:picMkLst>
            <pc:docMk/>
            <pc:sldMk cId="1584002695" sldId="2147479590"/>
            <ac:picMk id="7" creationId="{1C31B30D-827E-B230-9DE9-D952EE10731F}"/>
          </ac:picMkLst>
        </pc:picChg>
        <pc:picChg chg="add del mod">
          <ac:chgData name="Mick Mooney" userId="e6518e4e-af4a-4bea-b39c-20489a1e5519" providerId="ADAL" clId="{3014DE50-B07B-4776-BEAC-0F779D92A13E}" dt="2023-07-24T16:00:09.821" v="8571" actId="478"/>
          <ac:picMkLst>
            <pc:docMk/>
            <pc:sldMk cId="1584002695" sldId="2147479590"/>
            <ac:picMk id="7" creationId="{4341AF84-20E6-BFF5-2498-96E1DBAD35B0}"/>
          </ac:picMkLst>
        </pc:picChg>
        <pc:picChg chg="add del mod">
          <ac:chgData name="Mick Mooney" userId="e6518e4e-af4a-4bea-b39c-20489a1e5519" providerId="ADAL" clId="{3014DE50-B07B-4776-BEAC-0F779D92A13E}" dt="2023-08-03T08:50:59.183" v="33895" actId="478"/>
          <ac:picMkLst>
            <pc:docMk/>
            <pc:sldMk cId="1584002695" sldId="2147479590"/>
            <ac:picMk id="10" creationId="{C02D0AAC-0546-94CF-975E-4C63C31572E3}"/>
          </ac:picMkLst>
        </pc:picChg>
        <pc:picChg chg="add mod">
          <ac:chgData name="Mick Mooney" userId="e6518e4e-af4a-4bea-b39c-20489a1e5519" providerId="ADAL" clId="{3014DE50-B07B-4776-BEAC-0F779D92A13E}" dt="2023-08-15T09:14:28.891" v="36994" actId="1076"/>
          <ac:picMkLst>
            <pc:docMk/>
            <pc:sldMk cId="1584002695" sldId="2147479590"/>
            <ac:picMk id="12" creationId="{D6DAF6BA-BE69-4ADB-9D27-3B7C02F4A0C1}"/>
          </ac:picMkLst>
        </pc:picChg>
        <pc:picChg chg="add mod">
          <ac:chgData name="Mick Mooney" userId="e6518e4e-af4a-4bea-b39c-20489a1e5519" providerId="ADAL" clId="{3014DE50-B07B-4776-BEAC-0F779D92A13E}" dt="2023-08-15T09:14:28.891" v="36994" actId="1076"/>
          <ac:picMkLst>
            <pc:docMk/>
            <pc:sldMk cId="1584002695" sldId="2147479590"/>
            <ac:picMk id="13" creationId="{4B916579-6AD9-5B21-2934-5A63628214E3}"/>
          </ac:picMkLst>
        </pc:picChg>
        <pc:picChg chg="add mod">
          <ac:chgData name="Mick Mooney" userId="e6518e4e-af4a-4bea-b39c-20489a1e5519" providerId="ADAL" clId="{3014DE50-B07B-4776-BEAC-0F779D92A13E}" dt="2023-08-15T09:14:28.891" v="36994" actId="1076"/>
          <ac:picMkLst>
            <pc:docMk/>
            <pc:sldMk cId="1584002695" sldId="2147479590"/>
            <ac:picMk id="14" creationId="{A0641106-EF0D-920E-A707-9E10F794D028}"/>
          </ac:picMkLst>
        </pc:picChg>
        <pc:picChg chg="add mod">
          <ac:chgData name="Mick Mooney" userId="e6518e4e-af4a-4bea-b39c-20489a1e5519" providerId="ADAL" clId="{3014DE50-B07B-4776-BEAC-0F779D92A13E}" dt="2023-08-15T09:14:28.891" v="36994" actId="1076"/>
          <ac:picMkLst>
            <pc:docMk/>
            <pc:sldMk cId="1584002695" sldId="2147479590"/>
            <ac:picMk id="17" creationId="{C438D94E-A864-3C9E-F3F4-EA4391065DFB}"/>
          </ac:picMkLst>
        </pc:picChg>
        <pc:picChg chg="add mod">
          <ac:chgData name="Mick Mooney" userId="e6518e4e-af4a-4bea-b39c-20489a1e5519" providerId="ADAL" clId="{3014DE50-B07B-4776-BEAC-0F779D92A13E}" dt="2023-08-15T09:14:28.891" v="36994" actId="1076"/>
          <ac:picMkLst>
            <pc:docMk/>
            <pc:sldMk cId="1584002695" sldId="2147479590"/>
            <ac:picMk id="18" creationId="{0A163E03-E7F1-C682-17FD-8E61BC270968}"/>
          </ac:picMkLst>
        </pc:picChg>
      </pc:sldChg>
      <pc:sldChg chg="add del">
        <pc:chgData name="Mick Mooney" userId="e6518e4e-af4a-4bea-b39c-20489a1e5519" providerId="ADAL" clId="{3014DE50-B07B-4776-BEAC-0F779D92A13E}" dt="2023-07-22T09:54:52.101" v="197"/>
        <pc:sldMkLst>
          <pc:docMk/>
          <pc:sldMk cId="3424905560" sldId="2147479590"/>
        </pc:sldMkLst>
      </pc:sldChg>
      <pc:sldChg chg="modSp add mod ord">
        <pc:chgData name="Mick Mooney" userId="e6518e4e-af4a-4bea-b39c-20489a1e5519" providerId="ADAL" clId="{3014DE50-B07B-4776-BEAC-0F779D92A13E}" dt="2023-07-31T15:36:22.211" v="33241" actId="2711"/>
        <pc:sldMkLst>
          <pc:docMk/>
          <pc:sldMk cId="663762665" sldId="2147479591"/>
        </pc:sldMkLst>
        <pc:spChg chg="mod replST delST">
          <ac:chgData name="Mick Mooney" userId="e6518e4e-af4a-4bea-b39c-20489a1e5519" providerId="ADAL" clId="{3014DE50-B07B-4776-BEAC-0F779D92A13E}" dt="2023-07-31T15:36:22.211" v="33241" actId="2711"/>
          <ac:spMkLst>
            <pc:docMk/>
            <pc:sldMk cId="663762665" sldId="2147479591"/>
            <ac:spMk id="3" creationId="{54653C93-EE7D-BEDF-D2B4-67B3FBB2F9ED}"/>
          </ac:spMkLst>
        </pc:spChg>
        <pc:spChg chg="mod replST delST">
          <ac:chgData name="Mick Mooney" userId="e6518e4e-af4a-4bea-b39c-20489a1e5519" providerId="ADAL" clId="{3014DE50-B07B-4776-BEAC-0F779D92A13E}" dt="2023-07-31T15:36:08.803" v="33230" actId="2711"/>
          <ac:spMkLst>
            <pc:docMk/>
            <pc:sldMk cId="663762665" sldId="2147479591"/>
            <ac:spMk id="4" creationId="{E432C490-8501-4DEB-9800-36DD8F00D9DA}"/>
          </ac:spMkLst>
        </pc:spChg>
        <pc:spChg chg="mod replST delST">
          <ac:chgData name="Mick Mooney" userId="e6518e4e-af4a-4bea-b39c-20489a1e5519" providerId="ADAL" clId="{3014DE50-B07B-4776-BEAC-0F779D92A13E}" dt="2023-07-31T15:36:14.555" v="33235" actId="2711"/>
          <ac:spMkLst>
            <pc:docMk/>
            <pc:sldMk cId="663762665" sldId="2147479591"/>
            <ac:spMk id="5" creationId="{82ACE101-9079-4B28-90D1-41FFC709BAB0}"/>
          </ac:spMkLst>
        </pc:spChg>
      </pc:sldChg>
      <pc:sldChg chg="add del">
        <pc:chgData name="Mick Mooney" userId="e6518e4e-af4a-4bea-b39c-20489a1e5519" providerId="ADAL" clId="{3014DE50-B07B-4776-BEAC-0F779D92A13E}" dt="2023-07-22T11:25:25.579" v="3056"/>
        <pc:sldMkLst>
          <pc:docMk/>
          <pc:sldMk cId="99514556" sldId="2147479592"/>
        </pc:sldMkLst>
      </pc:sldChg>
      <pc:sldChg chg="addSp delSp modSp add mod">
        <pc:chgData name="Mick Mooney" userId="e6518e4e-af4a-4bea-b39c-20489a1e5519" providerId="ADAL" clId="{3014DE50-B07B-4776-BEAC-0F779D92A13E}" dt="2023-07-31T14:46:40.519" v="31588" actId="1076"/>
        <pc:sldMkLst>
          <pc:docMk/>
          <pc:sldMk cId="1408839743" sldId="2147479592"/>
        </pc:sldMkLst>
        <pc:spChg chg="add mod ord replST delST">
          <ac:chgData name="Mick Mooney" userId="e6518e4e-af4a-4bea-b39c-20489a1e5519" providerId="ADAL" clId="{3014DE50-B07B-4776-BEAC-0F779D92A13E}" dt="2023-07-31T14:32:24.039" v="30816" actId="14100"/>
          <ac:spMkLst>
            <pc:docMk/>
            <pc:sldMk cId="1408839743" sldId="2147479592"/>
            <ac:spMk id="2" creationId="{6F0BD19F-2765-502B-50D6-8D09996B0A07}"/>
          </ac:spMkLst>
        </pc:spChg>
        <pc:spChg chg="add mod replST delST">
          <ac:chgData name="Mick Mooney" userId="e6518e4e-af4a-4bea-b39c-20489a1e5519" providerId="ADAL" clId="{3014DE50-B07B-4776-BEAC-0F779D92A13E}" dt="2023-07-31T14:32:26.216" v="30818"/>
          <ac:spMkLst>
            <pc:docMk/>
            <pc:sldMk cId="1408839743" sldId="2147479592"/>
            <ac:spMk id="4" creationId="{522BADA7-2281-0AED-62EA-23400A6B96B9}"/>
          </ac:spMkLst>
        </pc:spChg>
        <pc:spChg chg="add del mod ord replST delST">
          <ac:chgData name="Mick Mooney" userId="e6518e4e-af4a-4bea-b39c-20489a1e5519" providerId="ADAL" clId="{3014DE50-B07B-4776-BEAC-0F779D92A13E}" dt="2023-07-31T14:32:05.439" v="30814"/>
          <ac:spMkLst>
            <pc:docMk/>
            <pc:sldMk cId="1408839743" sldId="2147479592"/>
            <ac:spMk id="5" creationId="{DCDFDBCD-0CBB-0997-A3A4-75AEC01EFED4}"/>
          </ac:spMkLst>
        </pc:spChg>
        <pc:spChg chg="add mod replST delST">
          <ac:chgData name="Mick Mooney" userId="e6518e4e-af4a-4bea-b39c-20489a1e5519" providerId="ADAL" clId="{3014DE50-B07B-4776-BEAC-0F779D92A13E}" dt="2023-07-31T14:32:33.926" v="30820"/>
          <ac:spMkLst>
            <pc:docMk/>
            <pc:sldMk cId="1408839743" sldId="2147479592"/>
            <ac:spMk id="6" creationId="{78FFFB70-C979-9822-7D8B-D76670F520FC}"/>
          </ac:spMkLst>
        </pc:spChg>
        <pc:spChg chg="mod replST delST">
          <ac:chgData name="Mick Mooney" userId="e6518e4e-af4a-4bea-b39c-20489a1e5519" providerId="ADAL" clId="{3014DE50-B07B-4776-BEAC-0F779D92A13E}" dt="2023-07-31T09:46:09.931" v="23288" actId="2711"/>
          <ac:spMkLst>
            <pc:docMk/>
            <pc:sldMk cId="1408839743" sldId="2147479592"/>
            <ac:spMk id="8" creationId="{7824D54C-15D2-467C-A016-166944D0781C}"/>
          </ac:spMkLst>
        </pc:spChg>
        <pc:spChg chg="add mod replST delST">
          <ac:chgData name="Mick Mooney" userId="e6518e4e-af4a-4bea-b39c-20489a1e5519" providerId="ADAL" clId="{3014DE50-B07B-4776-BEAC-0F779D92A13E}" dt="2023-07-31T13:52:04.115" v="29993"/>
          <ac:spMkLst>
            <pc:docMk/>
            <pc:sldMk cId="1408839743" sldId="2147479592"/>
            <ac:spMk id="9" creationId="{8E7A2801-8F1E-1EA6-8A32-FAB35E0AC47D}"/>
          </ac:spMkLst>
        </pc:spChg>
        <pc:spChg chg="add mod replST delST">
          <ac:chgData name="Mick Mooney" userId="e6518e4e-af4a-4bea-b39c-20489a1e5519" providerId="ADAL" clId="{3014DE50-B07B-4776-BEAC-0F779D92A13E}" dt="2023-07-31T14:46:40.519" v="31588" actId="1076"/>
          <ac:spMkLst>
            <pc:docMk/>
            <pc:sldMk cId="1408839743" sldId="2147479592"/>
            <ac:spMk id="10" creationId="{BDDEAAE3-C4B3-C4C4-FCC6-6C8AD2C3108C}"/>
          </ac:spMkLst>
        </pc:spChg>
        <pc:spChg chg="mod replST delST">
          <ac:chgData name="Mick Mooney" userId="e6518e4e-af4a-4bea-b39c-20489a1e5519" providerId="ADAL" clId="{3014DE50-B07B-4776-BEAC-0F779D92A13E}" dt="2023-07-31T09:46:09.931" v="23288" actId="2711"/>
          <ac:spMkLst>
            <pc:docMk/>
            <pc:sldMk cId="1408839743" sldId="2147479592"/>
            <ac:spMk id="83" creationId="{38BA1687-496F-4C8F-AF0B-DB160EEA7CE5}"/>
          </ac:spMkLst>
        </pc:spChg>
        <pc:picChg chg="add mod ord">
          <ac:chgData name="Mick Mooney" userId="e6518e4e-af4a-4bea-b39c-20489a1e5519" providerId="ADAL" clId="{3014DE50-B07B-4776-BEAC-0F779D92A13E}" dt="2023-07-31T14:32:24.039" v="30816" actId="14100"/>
          <ac:picMkLst>
            <pc:docMk/>
            <pc:sldMk cId="1408839743" sldId="2147479592"/>
            <ac:picMk id="3" creationId="{3164C2A3-2BF7-A5E3-0322-28D3640E7453}"/>
          </ac:picMkLst>
        </pc:picChg>
        <pc:picChg chg="add mod">
          <ac:chgData name="Mick Mooney" userId="e6518e4e-af4a-4bea-b39c-20489a1e5519" providerId="ADAL" clId="{3014DE50-B07B-4776-BEAC-0F779D92A13E}" dt="2023-07-25T12:00:23.085" v="8825" actId="1076"/>
          <ac:picMkLst>
            <pc:docMk/>
            <pc:sldMk cId="1408839743" sldId="2147479592"/>
            <ac:picMk id="7" creationId="{C87D29C3-C7DC-6849-D7A3-7E0195D7158F}"/>
          </ac:picMkLst>
        </pc:picChg>
        <pc:picChg chg="del">
          <ac:chgData name="Mick Mooney" userId="e6518e4e-af4a-4bea-b39c-20489a1e5519" providerId="ADAL" clId="{3014DE50-B07B-4776-BEAC-0F779D92A13E}" dt="2023-07-22T11:48:35.802" v="3287" actId="478"/>
          <ac:picMkLst>
            <pc:docMk/>
            <pc:sldMk cId="1408839743" sldId="2147479592"/>
            <ac:picMk id="23" creationId="{88116CF1-88C9-4159-B7EF-0FFC212FFE91}"/>
          </ac:picMkLst>
        </pc:picChg>
        <pc:picChg chg="del">
          <ac:chgData name="Mick Mooney" userId="e6518e4e-af4a-4bea-b39c-20489a1e5519" providerId="ADAL" clId="{3014DE50-B07B-4776-BEAC-0F779D92A13E}" dt="2023-07-22T11:48:41.973" v="3289" actId="478"/>
          <ac:picMkLst>
            <pc:docMk/>
            <pc:sldMk cId="1408839743" sldId="2147479592"/>
            <ac:picMk id="37" creationId="{7DCBA5E1-4CAF-5E06-FA23-876307D7AB1B}"/>
          </ac:picMkLst>
        </pc:picChg>
      </pc:sldChg>
      <pc:sldChg chg="delSp modSp add del mod">
        <pc:chgData name="Mick Mooney" userId="e6518e4e-af4a-4bea-b39c-20489a1e5519" providerId="ADAL" clId="{3014DE50-B07B-4776-BEAC-0F779D92A13E}" dt="2023-07-31T09:55:54.605" v="23349" actId="2696"/>
        <pc:sldMkLst>
          <pc:docMk/>
          <pc:sldMk cId="1419354273" sldId="2147479593"/>
        </pc:sldMkLst>
        <pc:spChg chg="mod replST delST">
          <ac:chgData name="Mick Mooney" userId="e6518e4e-af4a-4bea-b39c-20489a1e5519" providerId="ADAL" clId="{3014DE50-B07B-4776-BEAC-0F779D92A13E}" dt="2023-07-26T09:20:29.570" v="17346"/>
          <ac:spMkLst>
            <pc:docMk/>
            <pc:sldMk cId="1419354273" sldId="2147479593"/>
            <ac:spMk id="4" creationId="{B0E11B2D-81E0-94CA-41DF-716B89CA5E95}"/>
          </ac:spMkLst>
        </pc:spChg>
        <pc:spChg chg="mod replST delST">
          <ac:chgData name="Mick Mooney" userId="e6518e4e-af4a-4bea-b39c-20489a1e5519" providerId="ADAL" clId="{3014DE50-B07B-4776-BEAC-0F779D92A13E}" dt="2023-07-22T11:26:55.187" v="3133"/>
          <ac:spMkLst>
            <pc:docMk/>
            <pc:sldMk cId="1419354273" sldId="2147479593"/>
            <ac:spMk id="8" creationId="{7824D54C-15D2-467C-A016-166944D0781C}"/>
          </ac:spMkLst>
        </pc:spChg>
        <pc:spChg chg="mod">
          <ac:chgData name="Mick Mooney" userId="e6518e4e-af4a-4bea-b39c-20489a1e5519" providerId="ADAL" clId="{3014DE50-B07B-4776-BEAC-0F779D92A13E}" dt="2023-07-22T14:31:12.039" v="8476"/>
          <ac:spMkLst>
            <pc:docMk/>
            <pc:sldMk cId="1419354273" sldId="2147479593"/>
            <ac:spMk id="83" creationId="{38BA1687-496F-4C8F-AF0B-DB160EEA7CE5}"/>
          </ac:spMkLst>
        </pc:spChg>
        <pc:graphicFrameChg chg="modGraphic">
          <ac:chgData name="Mick Mooney" userId="e6518e4e-af4a-4bea-b39c-20489a1e5519" providerId="ADAL" clId="{3014DE50-B07B-4776-BEAC-0F779D92A13E}" dt="2023-07-26T10:57:42.239" v="17486" actId="14734"/>
          <ac:graphicFrameMkLst>
            <pc:docMk/>
            <pc:sldMk cId="1419354273" sldId="2147479593"/>
            <ac:graphicFrameMk id="5" creationId="{683FC6BF-AD30-3FFB-59E5-A1083B3BA67E}"/>
          </ac:graphicFrameMkLst>
        </pc:graphicFrameChg>
        <pc:picChg chg="del">
          <ac:chgData name="Mick Mooney" userId="e6518e4e-af4a-4bea-b39c-20489a1e5519" providerId="ADAL" clId="{3014DE50-B07B-4776-BEAC-0F779D92A13E}" dt="2023-07-22T11:48:38.361" v="3288" actId="478"/>
          <ac:picMkLst>
            <pc:docMk/>
            <pc:sldMk cId="1419354273" sldId="2147479593"/>
            <ac:picMk id="23" creationId="{88116CF1-88C9-4159-B7EF-0FFC212FFE91}"/>
          </ac:picMkLst>
        </pc:picChg>
        <pc:picChg chg="del">
          <ac:chgData name="Mick Mooney" userId="e6518e4e-af4a-4bea-b39c-20489a1e5519" providerId="ADAL" clId="{3014DE50-B07B-4776-BEAC-0F779D92A13E}" dt="2023-07-22T11:48:44.164" v="3290" actId="478"/>
          <ac:picMkLst>
            <pc:docMk/>
            <pc:sldMk cId="1419354273" sldId="2147479593"/>
            <ac:picMk id="37" creationId="{7DCBA5E1-4CAF-5E06-FA23-876307D7AB1B}"/>
          </ac:picMkLst>
        </pc:picChg>
      </pc:sldChg>
      <pc:sldChg chg="addSp delSp modSp add mod">
        <pc:chgData name="Mick Mooney" userId="e6518e4e-af4a-4bea-b39c-20489a1e5519" providerId="ADAL" clId="{3014DE50-B07B-4776-BEAC-0F779D92A13E}" dt="2023-07-31T13:04:39.715" v="28694"/>
        <pc:sldMkLst>
          <pc:docMk/>
          <pc:sldMk cId="1074638613" sldId="2147479594"/>
        </pc:sldMkLst>
        <pc:spChg chg="add del mod replST delST">
          <ac:chgData name="Mick Mooney" userId="e6518e4e-af4a-4bea-b39c-20489a1e5519" providerId="ADAL" clId="{3014DE50-B07B-4776-BEAC-0F779D92A13E}" dt="2023-07-31T09:28:18.682" v="22753"/>
          <ac:spMkLst>
            <pc:docMk/>
            <pc:sldMk cId="1074638613" sldId="2147479594"/>
            <ac:spMk id="2" creationId="{94101301-CA0C-0008-8EA8-067819674ADF}"/>
          </ac:spMkLst>
        </pc:spChg>
        <pc:spChg chg="del mod replST delST">
          <ac:chgData name="Mick Mooney" userId="e6518e4e-af4a-4bea-b39c-20489a1e5519" providerId="ADAL" clId="{3014DE50-B07B-4776-BEAC-0F779D92A13E}" dt="2023-07-31T09:14:38.153" v="21064" actId="478"/>
          <ac:spMkLst>
            <pc:docMk/>
            <pc:sldMk cId="1074638613" sldId="2147479594"/>
            <ac:spMk id="3" creationId="{6F0D16CF-750E-2F9A-5647-14AA31FDA09A}"/>
          </ac:spMkLst>
        </pc:spChg>
        <pc:spChg chg="add mod replST delST">
          <ac:chgData name="Mick Mooney" userId="e6518e4e-af4a-4bea-b39c-20489a1e5519" providerId="ADAL" clId="{3014DE50-B07B-4776-BEAC-0F779D92A13E}" dt="2023-07-31T09:28:47.961" v="22766"/>
          <ac:spMkLst>
            <pc:docMk/>
            <pc:sldMk cId="1074638613" sldId="2147479594"/>
            <ac:spMk id="4" creationId="{B56BC4FB-0C5E-79C9-37AF-C858CD1B3C38}"/>
          </ac:spMkLst>
        </pc:spChg>
        <pc:spChg chg="add mod replST delST">
          <ac:chgData name="Mick Mooney" userId="e6518e4e-af4a-4bea-b39c-20489a1e5519" providerId="ADAL" clId="{3014DE50-B07B-4776-BEAC-0F779D92A13E}" dt="2023-07-31T12:35:04.836" v="25438"/>
          <ac:spMkLst>
            <pc:docMk/>
            <pc:sldMk cId="1074638613" sldId="2147479594"/>
            <ac:spMk id="6" creationId="{9B4A9609-3F42-5E1F-302C-D739238BC3A8}"/>
          </ac:spMkLst>
        </pc:spChg>
        <pc:spChg chg="mod replST delST">
          <ac:chgData name="Mick Mooney" userId="e6518e4e-af4a-4bea-b39c-20489a1e5519" providerId="ADAL" clId="{3014DE50-B07B-4776-BEAC-0F779D92A13E}" dt="2023-07-31T12:35:00.851" v="25434" actId="2711"/>
          <ac:spMkLst>
            <pc:docMk/>
            <pc:sldMk cId="1074638613" sldId="2147479594"/>
            <ac:spMk id="8" creationId="{7824D54C-15D2-467C-A016-166944D0781C}"/>
          </ac:spMkLst>
        </pc:spChg>
        <pc:spChg chg="mod">
          <ac:chgData name="Mick Mooney" userId="e6518e4e-af4a-4bea-b39c-20489a1e5519" providerId="ADAL" clId="{3014DE50-B07B-4776-BEAC-0F779D92A13E}" dt="2023-07-31T09:44:56.888" v="23274" actId="2711"/>
          <ac:spMkLst>
            <pc:docMk/>
            <pc:sldMk cId="1074638613" sldId="2147479594"/>
            <ac:spMk id="10" creationId="{79CC9BA1-B5C3-719C-6AEC-4721D3B8FE5A}"/>
          </ac:spMkLst>
        </pc:spChg>
        <pc:spChg chg="mod replST delST">
          <ac:chgData name="Mick Mooney" userId="e6518e4e-af4a-4bea-b39c-20489a1e5519" providerId="ADAL" clId="{3014DE50-B07B-4776-BEAC-0F779D92A13E}" dt="2023-07-31T09:45:05.517" v="23276"/>
          <ac:spMkLst>
            <pc:docMk/>
            <pc:sldMk cId="1074638613" sldId="2147479594"/>
            <ac:spMk id="11" creationId="{BE4C13E2-C8CB-6F1F-B220-6EA6BD27AB51}"/>
          </ac:spMkLst>
        </pc:spChg>
        <pc:spChg chg="del mod replST delST">
          <ac:chgData name="Mick Mooney" userId="e6518e4e-af4a-4bea-b39c-20489a1e5519" providerId="ADAL" clId="{3014DE50-B07B-4776-BEAC-0F779D92A13E}" dt="2023-07-31T09:15:02.692" v="21082" actId="478"/>
          <ac:spMkLst>
            <pc:docMk/>
            <pc:sldMk cId="1074638613" sldId="2147479594"/>
            <ac:spMk id="12" creationId="{06D24C6D-8E25-5A2B-6BD3-BCBDB03F142C}"/>
          </ac:spMkLst>
        </pc:spChg>
        <pc:spChg chg="del mod replST delST">
          <ac:chgData name="Mick Mooney" userId="e6518e4e-af4a-4bea-b39c-20489a1e5519" providerId="ADAL" clId="{3014DE50-B07B-4776-BEAC-0F779D92A13E}" dt="2023-07-31T09:14:41.110" v="21068" actId="478"/>
          <ac:spMkLst>
            <pc:docMk/>
            <pc:sldMk cId="1074638613" sldId="2147479594"/>
            <ac:spMk id="13" creationId="{0926BED4-F587-452B-998A-1DE81B198E26}"/>
          </ac:spMkLst>
        </pc:spChg>
        <pc:spChg chg="del mod replST delST">
          <ac:chgData name="Mick Mooney" userId="e6518e4e-af4a-4bea-b39c-20489a1e5519" providerId="ADAL" clId="{3014DE50-B07B-4776-BEAC-0F779D92A13E}" dt="2023-07-31T09:15:06.611" v="21087" actId="478"/>
          <ac:spMkLst>
            <pc:docMk/>
            <pc:sldMk cId="1074638613" sldId="2147479594"/>
            <ac:spMk id="14" creationId="{ABAE14E9-C362-3B1B-87FB-0738255E63D8}"/>
          </ac:spMkLst>
        </pc:spChg>
        <pc:spChg chg="del mod replST delST">
          <ac:chgData name="Mick Mooney" userId="e6518e4e-af4a-4bea-b39c-20489a1e5519" providerId="ADAL" clId="{3014DE50-B07B-4776-BEAC-0F779D92A13E}" dt="2023-07-31T09:14:43.138" v="21070" actId="478"/>
          <ac:spMkLst>
            <pc:docMk/>
            <pc:sldMk cId="1074638613" sldId="2147479594"/>
            <ac:spMk id="15" creationId="{635A08F7-6197-4A44-50B8-CFB68285416E}"/>
          </ac:spMkLst>
        </pc:spChg>
        <pc:spChg chg="mod replST delST">
          <ac:chgData name="Mick Mooney" userId="e6518e4e-af4a-4bea-b39c-20489a1e5519" providerId="ADAL" clId="{3014DE50-B07B-4776-BEAC-0F779D92A13E}" dt="2023-07-31T13:04:39.715" v="28694"/>
          <ac:spMkLst>
            <pc:docMk/>
            <pc:sldMk cId="1074638613" sldId="2147479594"/>
            <ac:spMk id="16" creationId="{F14C3BE5-4C89-5ADF-3D39-6B5C58FC690D}"/>
          </ac:spMkLst>
        </pc:spChg>
        <pc:spChg chg="del mod replST delST">
          <ac:chgData name="Mick Mooney" userId="e6518e4e-af4a-4bea-b39c-20489a1e5519" providerId="ADAL" clId="{3014DE50-B07B-4776-BEAC-0F779D92A13E}" dt="2023-07-31T09:15:08.346" v="21091" actId="478"/>
          <ac:spMkLst>
            <pc:docMk/>
            <pc:sldMk cId="1074638613" sldId="2147479594"/>
            <ac:spMk id="17" creationId="{8A558D75-7225-65D5-4300-C608916D75D4}"/>
          </ac:spMkLst>
        </pc:spChg>
        <pc:spChg chg="del mod replST delST">
          <ac:chgData name="Mick Mooney" userId="e6518e4e-af4a-4bea-b39c-20489a1e5519" providerId="ADAL" clId="{3014DE50-B07B-4776-BEAC-0F779D92A13E}" dt="2023-07-31T09:15:05.247" v="21085" actId="478"/>
          <ac:spMkLst>
            <pc:docMk/>
            <pc:sldMk cId="1074638613" sldId="2147479594"/>
            <ac:spMk id="18" creationId="{1E773D05-D9B9-F217-65F9-55949407428A}"/>
          </ac:spMkLst>
        </pc:spChg>
        <pc:spChg chg="mod">
          <ac:chgData name="Mick Mooney" userId="e6518e4e-af4a-4bea-b39c-20489a1e5519" providerId="ADAL" clId="{3014DE50-B07B-4776-BEAC-0F779D92A13E}" dt="2023-07-31T09:44:56.888" v="23274" actId="2711"/>
          <ac:spMkLst>
            <pc:docMk/>
            <pc:sldMk cId="1074638613" sldId="2147479594"/>
            <ac:spMk id="19" creationId="{84B98E79-8039-DF08-5DE3-6D8BCD321E8F}"/>
          </ac:spMkLst>
        </pc:spChg>
        <pc:spChg chg="mod">
          <ac:chgData name="Mick Mooney" userId="e6518e4e-af4a-4bea-b39c-20489a1e5519" providerId="ADAL" clId="{3014DE50-B07B-4776-BEAC-0F779D92A13E}" dt="2023-07-31T09:44:56.888" v="23274" actId="2711"/>
          <ac:spMkLst>
            <pc:docMk/>
            <pc:sldMk cId="1074638613" sldId="2147479594"/>
            <ac:spMk id="21" creationId="{AB98803C-006D-76AC-E18C-CE087E67BF2F}"/>
          </ac:spMkLst>
        </pc:spChg>
        <pc:spChg chg="mod ord">
          <ac:chgData name="Mick Mooney" userId="e6518e4e-af4a-4bea-b39c-20489a1e5519" providerId="ADAL" clId="{3014DE50-B07B-4776-BEAC-0F779D92A13E}" dt="2023-07-31T09:44:56.888" v="23274" actId="2711"/>
          <ac:spMkLst>
            <pc:docMk/>
            <pc:sldMk cId="1074638613" sldId="2147479594"/>
            <ac:spMk id="22" creationId="{4BA9A189-DF12-BE8E-3618-1BC3AFDE6F7D}"/>
          </ac:spMkLst>
        </pc:spChg>
        <pc:spChg chg="mod">
          <ac:chgData name="Mick Mooney" userId="e6518e4e-af4a-4bea-b39c-20489a1e5519" providerId="ADAL" clId="{3014DE50-B07B-4776-BEAC-0F779D92A13E}" dt="2023-07-31T09:44:56.888" v="23274" actId="2711"/>
          <ac:spMkLst>
            <pc:docMk/>
            <pc:sldMk cId="1074638613" sldId="2147479594"/>
            <ac:spMk id="25" creationId="{88571AFF-F747-3821-1AE3-EDF34A1DF30B}"/>
          </ac:spMkLst>
        </pc:spChg>
        <pc:spChg chg="mod ord">
          <ac:chgData name="Mick Mooney" userId="e6518e4e-af4a-4bea-b39c-20489a1e5519" providerId="ADAL" clId="{3014DE50-B07B-4776-BEAC-0F779D92A13E}" dt="2023-07-31T09:44:56.888" v="23274" actId="2711"/>
          <ac:spMkLst>
            <pc:docMk/>
            <pc:sldMk cId="1074638613" sldId="2147479594"/>
            <ac:spMk id="26" creationId="{8F2078F1-13F8-1933-BE8F-4E16C596FA1F}"/>
          </ac:spMkLst>
        </pc:spChg>
        <pc:spChg chg="mod">
          <ac:chgData name="Mick Mooney" userId="e6518e4e-af4a-4bea-b39c-20489a1e5519" providerId="ADAL" clId="{3014DE50-B07B-4776-BEAC-0F779D92A13E}" dt="2023-07-22T14:31:12.039" v="8476"/>
          <ac:spMkLst>
            <pc:docMk/>
            <pc:sldMk cId="1074638613" sldId="2147479594"/>
            <ac:spMk id="83" creationId="{38BA1687-496F-4C8F-AF0B-DB160EEA7CE5}"/>
          </ac:spMkLst>
        </pc:spChg>
        <pc:grpChg chg="add mod">
          <ac:chgData name="Mick Mooney" userId="e6518e4e-af4a-4bea-b39c-20489a1e5519" providerId="ADAL" clId="{3014DE50-B07B-4776-BEAC-0F779D92A13E}" dt="2023-07-31T09:39:52.693" v="23226" actId="14100"/>
          <ac:grpSpMkLst>
            <pc:docMk/>
            <pc:sldMk cId="1074638613" sldId="2147479594"/>
            <ac:grpSpMk id="7" creationId="{1696DA49-908B-A9A0-732A-18C3990DF9B0}"/>
          </ac:grpSpMkLst>
        </pc:grpChg>
        <pc:grpChg chg="add mod">
          <ac:chgData name="Mick Mooney" userId="e6518e4e-af4a-4bea-b39c-20489a1e5519" providerId="ADAL" clId="{3014DE50-B07B-4776-BEAC-0F779D92A13E}" dt="2023-07-31T09:39:57.572" v="23227" actId="14100"/>
          <ac:grpSpMkLst>
            <pc:docMk/>
            <pc:sldMk cId="1074638613" sldId="2147479594"/>
            <ac:grpSpMk id="20" creationId="{F58457FA-3F74-8475-177F-BCF7DDA35DBD}"/>
          </ac:grpSpMkLst>
        </pc:grpChg>
        <pc:grpChg chg="add mod">
          <ac:chgData name="Mick Mooney" userId="e6518e4e-af4a-4bea-b39c-20489a1e5519" providerId="ADAL" clId="{3014DE50-B07B-4776-BEAC-0F779D92A13E}" dt="2023-07-31T09:40:01.118" v="23228" actId="14100"/>
          <ac:grpSpMkLst>
            <pc:docMk/>
            <pc:sldMk cId="1074638613" sldId="2147479594"/>
            <ac:grpSpMk id="24" creationId="{A0DDAF2E-BD82-5658-AFE6-D947680706CC}"/>
          </ac:grpSpMkLst>
        </pc:grpChg>
        <pc:graphicFrameChg chg="mod">
          <ac:chgData name="Mick Mooney" userId="e6518e4e-af4a-4bea-b39c-20489a1e5519" providerId="ADAL" clId="{3014DE50-B07B-4776-BEAC-0F779D92A13E}" dt="2023-07-31T09:45:17.549" v="23277" actId="2711"/>
          <ac:graphicFrameMkLst>
            <pc:docMk/>
            <pc:sldMk cId="1074638613" sldId="2147479594"/>
            <ac:graphicFrameMk id="9" creationId="{B7AFF3BF-7EA5-389F-1E5B-B8C83920543C}"/>
          </ac:graphicFrameMkLst>
        </pc:graphicFrameChg>
        <pc:graphicFrameChg chg="mod">
          <ac:chgData name="Mick Mooney" userId="e6518e4e-af4a-4bea-b39c-20489a1e5519" providerId="ADAL" clId="{3014DE50-B07B-4776-BEAC-0F779D92A13E}" dt="2023-07-31T09:45:28.916" v="23278" actId="2711"/>
          <ac:graphicFrameMkLst>
            <pc:docMk/>
            <pc:sldMk cId="1074638613" sldId="2147479594"/>
            <ac:graphicFrameMk id="23" creationId="{AD802E29-FBBD-6DA8-A666-0F35A81F1782}"/>
          </ac:graphicFrameMkLst>
        </pc:graphicFrameChg>
        <pc:graphicFrameChg chg="mod">
          <ac:chgData name="Mick Mooney" userId="e6518e4e-af4a-4bea-b39c-20489a1e5519" providerId="ADAL" clId="{3014DE50-B07B-4776-BEAC-0F779D92A13E}" dt="2023-07-31T09:45:38.358" v="23279" actId="2711"/>
          <ac:graphicFrameMkLst>
            <pc:docMk/>
            <pc:sldMk cId="1074638613" sldId="2147479594"/>
            <ac:graphicFrameMk id="27" creationId="{F96E3134-A81C-2A7B-FCF4-394A5BD377BE}"/>
          </ac:graphicFrameMkLst>
        </pc:graphicFrameChg>
        <pc:picChg chg="add mod">
          <ac:chgData name="Mick Mooney" userId="e6518e4e-af4a-4bea-b39c-20489a1e5519" providerId="ADAL" clId="{3014DE50-B07B-4776-BEAC-0F779D92A13E}" dt="2023-07-31T09:28:33.633" v="22756"/>
          <ac:picMkLst>
            <pc:docMk/>
            <pc:sldMk cId="1074638613" sldId="2147479594"/>
            <ac:picMk id="5" creationId="{7308FD46-95D3-4FDF-9811-BD5B376A4B2B}"/>
          </ac:picMkLst>
        </pc:picChg>
        <pc:picChg chg="del">
          <ac:chgData name="Mick Mooney" userId="e6518e4e-af4a-4bea-b39c-20489a1e5519" providerId="ADAL" clId="{3014DE50-B07B-4776-BEAC-0F779D92A13E}" dt="2023-07-22T11:48:46.609" v="3291" actId="478"/>
          <ac:picMkLst>
            <pc:docMk/>
            <pc:sldMk cId="1074638613" sldId="2147479594"/>
            <ac:picMk id="23" creationId="{88116CF1-88C9-4159-B7EF-0FFC212FFE91}"/>
          </ac:picMkLst>
        </pc:picChg>
        <pc:picChg chg="del">
          <ac:chgData name="Mick Mooney" userId="e6518e4e-af4a-4bea-b39c-20489a1e5519" providerId="ADAL" clId="{3014DE50-B07B-4776-BEAC-0F779D92A13E}" dt="2023-07-22T11:48:48.738" v="3292" actId="478"/>
          <ac:picMkLst>
            <pc:docMk/>
            <pc:sldMk cId="1074638613" sldId="2147479594"/>
            <ac:picMk id="37" creationId="{7DCBA5E1-4CAF-5E06-FA23-876307D7AB1B}"/>
          </ac:picMkLst>
        </pc:picChg>
      </pc:sldChg>
      <pc:sldChg chg="delSp modSp add del mod">
        <pc:chgData name="Mick Mooney" userId="e6518e4e-af4a-4bea-b39c-20489a1e5519" providerId="ADAL" clId="{3014DE50-B07B-4776-BEAC-0F779D92A13E}" dt="2023-07-25T12:01:35.861" v="8829" actId="2696"/>
        <pc:sldMkLst>
          <pc:docMk/>
          <pc:sldMk cId="1620543994" sldId="2147479595"/>
        </pc:sldMkLst>
        <pc:spChg chg="mod replST delST">
          <ac:chgData name="Mick Mooney" userId="e6518e4e-af4a-4bea-b39c-20489a1e5519" providerId="ADAL" clId="{3014DE50-B07B-4776-BEAC-0F779D92A13E}" dt="2023-07-22T11:27:09.956" v="3162"/>
          <ac:spMkLst>
            <pc:docMk/>
            <pc:sldMk cId="1620543994" sldId="2147479595"/>
            <ac:spMk id="8" creationId="{7824D54C-15D2-467C-A016-166944D0781C}"/>
          </ac:spMkLst>
        </pc:spChg>
        <pc:spChg chg="mod">
          <ac:chgData name="Mick Mooney" userId="e6518e4e-af4a-4bea-b39c-20489a1e5519" providerId="ADAL" clId="{3014DE50-B07B-4776-BEAC-0F779D92A13E}" dt="2023-07-22T14:31:12.039" v="8476"/>
          <ac:spMkLst>
            <pc:docMk/>
            <pc:sldMk cId="1620543994" sldId="2147479595"/>
            <ac:spMk id="83" creationId="{38BA1687-496F-4C8F-AF0B-DB160EEA7CE5}"/>
          </ac:spMkLst>
        </pc:spChg>
        <pc:picChg chg="del">
          <ac:chgData name="Mick Mooney" userId="e6518e4e-af4a-4bea-b39c-20489a1e5519" providerId="ADAL" clId="{3014DE50-B07B-4776-BEAC-0F779D92A13E}" dt="2023-07-22T11:48:51.401" v="3293" actId="478"/>
          <ac:picMkLst>
            <pc:docMk/>
            <pc:sldMk cId="1620543994" sldId="2147479595"/>
            <ac:picMk id="23" creationId="{88116CF1-88C9-4159-B7EF-0FFC212FFE91}"/>
          </ac:picMkLst>
        </pc:picChg>
        <pc:picChg chg="del">
          <ac:chgData name="Mick Mooney" userId="e6518e4e-af4a-4bea-b39c-20489a1e5519" providerId="ADAL" clId="{3014DE50-B07B-4776-BEAC-0F779D92A13E}" dt="2023-07-22T11:48:52.964" v="3294" actId="478"/>
          <ac:picMkLst>
            <pc:docMk/>
            <pc:sldMk cId="1620543994" sldId="2147479595"/>
            <ac:picMk id="37" creationId="{7DCBA5E1-4CAF-5E06-FA23-876307D7AB1B}"/>
          </ac:picMkLst>
        </pc:picChg>
      </pc:sldChg>
      <pc:sldChg chg="delSp modSp add del mod">
        <pc:chgData name="Mick Mooney" userId="e6518e4e-af4a-4bea-b39c-20489a1e5519" providerId="ADAL" clId="{3014DE50-B07B-4776-BEAC-0F779D92A13E}" dt="2023-07-25T12:22:00.286" v="9287" actId="2696"/>
        <pc:sldMkLst>
          <pc:docMk/>
          <pc:sldMk cId="3133713017" sldId="2147479596"/>
        </pc:sldMkLst>
        <pc:spChg chg="mod replST delST">
          <ac:chgData name="Mick Mooney" userId="e6518e4e-af4a-4bea-b39c-20489a1e5519" providerId="ADAL" clId="{3014DE50-B07B-4776-BEAC-0F779D92A13E}" dt="2023-07-22T11:27:19.564" v="3180"/>
          <ac:spMkLst>
            <pc:docMk/>
            <pc:sldMk cId="3133713017" sldId="2147479596"/>
            <ac:spMk id="8" creationId="{7824D54C-15D2-467C-A016-166944D0781C}"/>
          </ac:spMkLst>
        </pc:spChg>
        <pc:spChg chg="mod">
          <ac:chgData name="Mick Mooney" userId="e6518e4e-af4a-4bea-b39c-20489a1e5519" providerId="ADAL" clId="{3014DE50-B07B-4776-BEAC-0F779D92A13E}" dt="2023-07-22T14:31:12.039" v="8476"/>
          <ac:spMkLst>
            <pc:docMk/>
            <pc:sldMk cId="3133713017" sldId="2147479596"/>
            <ac:spMk id="83" creationId="{38BA1687-496F-4C8F-AF0B-DB160EEA7CE5}"/>
          </ac:spMkLst>
        </pc:spChg>
        <pc:picChg chg="del">
          <ac:chgData name="Mick Mooney" userId="e6518e4e-af4a-4bea-b39c-20489a1e5519" providerId="ADAL" clId="{3014DE50-B07B-4776-BEAC-0F779D92A13E}" dt="2023-07-22T11:48:55.238" v="3295" actId="478"/>
          <ac:picMkLst>
            <pc:docMk/>
            <pc:sldMk cId="3133713017" sldId="2147479596"/>
            <ac:picMk id="23" creationId="{88116CF1-88C9-4159-B7EF-0FFC212FFE91}"/>
          </ac:picMkLst>
        </pc:picChg>
        <pc:picChg chg="del">
          <ac:chgData name="Mick Mooney" userId="e6518e4e-af4a-4bea-b39c-20489a1e5519" providerId="ADAL" clId="{3014DE50-B07B-4776-BEAC-0F779D92A13E}" dt="2023-07-22T11:48:56.307" v="3296" actId="478"/>
          <ac:picMkLst>
            <pc:docMk/>
            <pc:sldMk cId="3133713017" sldId="2147479596"/>
            <ac:picMk id="37" creationId="{7DCBA5E1-4CAF-5E06-FA23-876307D7AB1B}"/>
          </ac:picMkLst>
        </pc:picChg>
      </pc:sldChg>
      <pc:sldChg chg="delSp modSp add del mod">
        <pc:chgData name="Mick Mooney" userId="e6518e4e-af4a-4bea-b39c-20489a1e5519" providerId="ADAL" clId="{3014DE50-B07B-4776-BEAC-0F779D92A13E}" dt="2023-07-25T12:21:37.502" v="9283" actId="2696"/>
        <pc:sldMkLst>
          <pc:docMk/>
          <pc:sldMk cId="1453644791" sldId="2147479597"/>
        </pc:sldMkLst>
        <pc:spChg chg="mod replST delST">
          <ac:chgData name="Mick Mooney" userId="e6518e4e-af4a-4bea-b39c-20489a1e5519" providerId="ADAL" clId="{3014DE50-B07B-4776-BEAC-0F779D92A13E}" dt="2023-07-22T11:27:31.128" v="3199"/>
          <ac:spMkLst>
            <pc:docMk/>
            <pc:sldMk cId="1453644791" sldId="2147479597"/>
            <ac:spMk id="8" creationId="{7824D54C-15D2-467C-A016-166944D0781C}"/>
          </ac:spMkLst>
        </pc:spChg>
        <pc:spChg chg="mod">
          <ac:chgData name="Mick Mooney" userId="e6518e4e-af4a-4bea-b39c-20489a1e5519" providerId="ADAL" clId="{3014DE50-B07B-4776-BEAC-0F779D92A13E}" dt="2023-07-22T14:31:12.039" v="8476"/>
          <ac:spMkLst>
            <pc:docMk/>
            <pc:sldMk cId="1453644791" sldId="2147479597"/>
            <ac:spMk id="83" creationId="{38BA1687-496F-4C8F-AF0B-DB160EEA7CE5}"/>
          </ac:spMkLst>
        </pc:spChg>
        <pc:picChg chg="del">
          <ac:chgData name="Mick Mooney" userId="e6518e4e-af4a-4bea-b39c-20489a1e5519" providerId="ADAL" clId="{3014DE50-B07B-4776-BEAC-0F779D92A13E}" dt="2023-07-22T11:48:58.809" v="3297" actId="478"/>
          <ac:picMkLst>
            <pc:docMk/>
            <pc:sldMk cId="1453644791" sldId="2147479597"/>
            <ac:picMk id="23" creationId="{88116CF1-88C9-4159-B7EF-0FFC212FFE91}"/>
          </ac:picMkLst>
        </pc:picChg>
        <pc:picChg chg="del">
          <ac:chgData name="Mick Mooney" userId="e6518e4e-af4a-4bea-b39c-20489a1e5519" providerId="ADAL" clId="{3014DE50-B07B-4776-BEAC-0F779D92A13E}" dt="2023-07-22T11:49:00.037" v="3298" actId="478"/>
          <ac:picMkLst>
            <pc:docMk/>
            <pc:sldMk cId="1453644791" sldId="2147479597"/>
            <ac:picMk id="37" creationId="{7DCBA5E1-4CAF-5E06-FA23-876307D7AB1B}"/>
          </ac:picMkLst>
        </pc:picChg>
      </pc:sldChg>
      <pc:sldChg chg="addSp delSp modSp add del mod">
        <pc:chgData name="Mick Mooney" userId="e6518e4e-af4a-4bea-b39c-20489a1e5519" providerId="ADAL" clId="{3014DE50-B07B-4776-BEAC-0F779D92A13E}" dt="2023-07-25T12:20:30.760" v="9226" actId="2696"/>
        <pc:sldMkLst>
          <pc:docMk/>
          <pc:sldMk cId="3774471943" sldId="2147479598"/>
        </pc:sldMkLst>
        <pc:spChg chg="add mod replST delST">
          <ac:chgData name="Mick Mooney" userId="e6518e4e-af4a-4bea-b39c-20489a1e5519" providerId="ADAL" clId="{3014DE50-B07B-4776-BEAC-0F779D92A13E}" dt="2023-07-25T12:09:40.419" v="8976"/>
          <ac:spMkLst>
            <pc:docMk/>
            <pc:sldMk cId="3774471943" sldId="2147479598"/>
            <ac:spMk id="2" creationId="{80C4115A-AA44-75D9-F3D2-4BD31FB9FE6A}"/>
          </ac:spMkLst>
        </pc:spChg>
        <pc:spChg chg="mod replST delST">
          <ac:chgData name="Mick Mooney" userId="e6518e4e-af4a-4bea-b39c-20489a1e5519" providerId="ADAL" clId="{3014DE50-B07B-4776-BEAC-0F779D92A13E}" dt="2023-07-25T12:09:31.507" v="8973" actId="14100"/>
          <ac:spMkLst>
            <pc:docMk/>
            <pc:sldMk cId="3774471943" sldId="2147479598"/>
            <ac:spMk id="3" creationId="{E6FE7573-ED76-1371-5E76-8B08AF365466}"/>
          </ac:spMkLst>
        </pc:spChg>
        <pc:spChg chg="mod replST delST">
          <ac:chgData name="Mick Mooney" userId="e6518e4e-af4a-4bea-b39c-20489a1e5519" providerId="ADAL" clId="{3014DE50-B07B-4776-BEAC-0F779D92A13E}" dt="2023-07-25T12:19:14.907" v="9198"/>
          <ac:spMkLst>
            <pc:docMk/>
            <pc:sldMk cId="3774471943" sldId="2147479598"/>
            <ac:spMk id="5" creationId="{9D960ADD-278E-96F1-CA67-EC9C6377B178}"/>
          </ac:spMkLst>
        </pc:spChg>
        <pc:spChg chg="del replST delST">
          <ac:chgData name="Mick Mooney" userId="e6518e4e-af4a-4bea-b39c-20489a1e5519" providerId="ADAL" clId="{3014DE50-B07B-4776-BEAC-0F779D92A13E}" dt="2023-07-25T12:06:39.889" v="8917" actId="478"/>
          <ac:spMkLst>
            <pc:docMk/>
            <pc:sldMk cId="3774471943" sldId="2147479598"/>
            <ac:spMk id="7" creationId="{7A2268DB-EE7D-BF0B-84CB-93BC56B8DE85}"/>
          </ac:spMkLst>
        </pc:spChg>
        <pc:spChg chg="del mod replST delST">
          <ac:chgData name="Mick Mooney" userId="e6518e4e-af4a-4bea-b39c-20489a1e5519" providerId="ADAL" clId="{3014DE50-B07B-4776-BEAC-0F779D92A13E}" dt="2023-07-25T12:06:49.711" v="8923" actId="478"/>
          <ac:spMkLst>
            <pc:docMk/>
            <pc:sldMk cId="3774471943" sldId="2147479598"/>
            <ac:spMk id="83" creationId="{38BA1687-496F-4C8F-AF0B-DB160EEA7CE5}"/>
          </ac:spMkLst>
        </pc:spChg>
        <pc:picChg chg="add mod">
          <ac:chgData name="Mick Mooney" userId="e6518e4e-af4a-4bea-b39c-20489a1e5519" providerId="ADAL" clId="{3014DE50-B07B-4776-BEAC-0F779D92A13E}" dt="2023-07-25T12:09:20.236" v="8970" actId="1076"/>
          <ac:picMkLst>
            <pc:docMk/>
            <pc:sldMk cId="3774471943" sldId="2147479598"/>
            <ac:picMk id="4" creationId="{E3C48797-F50C-F071-F70B-9C6330089C19}"/>
          </ac:picMkLst>
        </pc:picChg>
      </pc:sldChg>
      <pc:sldChg chg="add del">
        <pc:chgData name="Mick Mooney" userId="e6518e4e-af4a-4bea-b39c-20489a1e5519" providerId="ADAL" clId="{3014DE50-B07B-4776-BEAC-0F779D92A13E}" dt="2023-07-22T12:56:30.543" v="6021"/>
        <pc:sldMkLst>
          <pc:docMk/>
          <pc:sldMk cId="73456260" sldId="2147479599"/>
        </pc:sldMkLst>
      </pc:sldChg>
      <pc:sldChg chg="addSp delSp modSp add mod ord">
        <pc:chgData name="Mick Mooney" userId="e6518e4e-af4a-4bea-b39c-20489a1e5519" providerId="ADAL" clId="{3014DE50-B07B-4776-BEAC-0F779D92A13E}" dt="2023-07-31T15:08:27.072" v="32854"/>
        <pc:sldMkLst>
          <pc:docMk/>
          <pc:sldMk cId="2395506064" sldId="2147479599"/>
        </pc:sldMkLst>
        <pc:spChg chg="add mod replST delST">
          <ac:chgData name="Mick Mooney" userId="e6518e4e-af4a-4bea-b39c-20489a1e5519" providerId="ADAL" clId="{3014DE50-B07B-4776-BEAC-0F779D92A13E}" dt="2023-07-31T15:08:27.072" v="32854"/>
          <ac:spMkLst>
            <pc:docMk/>
            <pc:sldMk cId="2395506064" sldId="2147479599"/>
            <ac:spMk id="2" creationId="{17F04B0E-628F-1232-1864-20591AB6DC2E}"/>
          </ac:spMkLst>
        </pc:spChg>
        <pc:spChg chg="add mod">
          <ac:chgData name="Mick Mooney" userId="e6518e4e-af4a-4bea-b39c-20489a1e5519" providerId="ADAL" clId="{3014DE50-B07B-4776-BEAC-0F779D92A13E}" dt="2023-07-25T12:16:11.735" v="9089"/>
          <ac:spMkLst>
            <pc:docMk/>
            <pc:sldMk cId="2395506064" sldId="2147479599"/>
            <ac:spMk id="2" creationId="{625525EB-FC28-C8C5-48E4-EA4A7BF0AB52}"/>
          </ac:spMkLst>
        </pc:spChg>
        <pc:spChg chg="add mod">
          <ac:chgData name="Mick Mooney" userId="e6518e4e-af4a-4bea-b39c-20489a1e5519" providerId="ADAL" clId="{3014DE50-B07B-4776-BEAC-0F779D92A13E}" dt="2023-07-25T12:16:11.735" v="9089"/>
          <ac:spMkLst>
            <pc:docMk/>
            <pc:sldMk cId="2395506064" sldId="2147479599"/>
            <ac:spMk id="3" creationId="{A3E0401D-34B9-84E0-1877-7D73E3473042}"/>
          </ac:spMkLst>
        </pc:spChg>
        <pc:spChg chg="add mod">
          <ac:chgData name="Mick Mooney" userId="e6518e4e-af4a-4bea-b39c-20489a1e5519" providerId="ADAL" clId="{3014DE50-B07B-4776-BEAC-0F779D92A13E}" dt="2023-07-31T14:40:17.398" v="31403"/>
          <ac:spMkLst>
            <pc:docMk/>
            <pc:sldMk cId="2395506064" sldId="2147479599"/>
            <ac:spMk id="3" creationId="{C5589019-1A94-C95D-5615-582FCFCF7CC1}"/>
          </ac:spMkLst>
        </pc:spChg>
        <pc:spChg chg="add del mod replST delST">
          <ac:chgData name="Mick Mooney" userId="e6518e4e-af4a-4bea-b39c-20489a1e5519" providerId="ADAL" clId="{3014DE50-B07B-4776-BEAC-0F779D92A13E}" dt="2023-07-31T14:40:13.738" v="31401" actId="478"/>
          <ac:spMkLst>
            <pc:docMk/>
            <pc:sldMk cId="2395506064" sldId="2147479599"/>
            <ac:spMk id="4" creationId="{9D9421DD-DB00-CF7A-A121-3D0BD2C32607}"/>
          </ac:spMkLst>
        </pc:spChg>
        <pc:spChg chg="add mod replST delST">
          <ac:chgData name="Mick Mooney" userId="e6518e4e-af4a-4bea-b39c-20489a1e5519" providerId="ADAL" clId="{3014DE50-B07B-4776-BEAC-0F779D92A13E}" dt="2023-07-31T14:40:44.856" v="31459"/>
          <ac:spMkLst>
            <pc:docMk/>
            <pc:sldMk cId="2395506064" sldId="2147479599"/>
            <ac:spMk id="5" creationId="{F8007DC7-5179-B343-0DEF-125DA6E392A7}"/>
          </ac:spMkLst>
        </pc:spChg>
        <pc:spChg chg="add mod replST delST">
          <ac:chgData name="Mick Mooney" userId="e6518e4e-af4a-4bea-b39c-20489a1e5519" providerId="ADAL" clId="{3014DE50-B07B-4776-BEAC-0F779D92A13E}" dt="2023-07-31T15:03:19.637" v="32712"/>
          <ac:spMkLst>
            <pc:docMk/>
            <pc:sldMk cId="2395506064" sldId="2147479599"/>
            <ac:spMk id="6" creationId="{DB57BDEC-391C-BDCB-C111-D57C96DB51A4}"/>
          </ac:spMkLst>
        </pc:spChg>
        <pc:spChg chg="mod replST delST">
          <ac:chgData name="Mick Mooney" userId="e6518e4e-af4a-4bea-b39c-20489a1e5519" providerId="ADAL" clId="{3014DE50-B07B-4776-BEAC-0F779D92A13E}" dt="2023-07-31T12:35:49.764" v="25445" actId="2711"/>
          <ac:spMkLst>
            <pc:docMk/>
            <pc:sldMk cId="2395506064" sldId="2147479599"/>
            <ac:spMk id="8" creationId="{7824D54C-15D2-467C-A016-166944D0781C}"/>
          </ac:spMkLst>
        </pc:spChg>
        <pc:spChg chg="mod replST delST">
          <ac:chgData name="Mick Mooney" userId="e6518e4e-af4a-4bea-b39c-20489a1e5519" providerId="ADAL" clId="{3014DE50-B07B-4776-BEAC-0F779D92A13E}" dt="2023-07-31T15:03:37.184" v="32714"/>
          <ac:spMkLst>
            <pc:docMk/>
            <pc:sldMk cId="2395506064" sldId="2147479599"/>
            <ac:spMk id="12" creationId="{80889B00-4FD8-8059-E493-7D07B88CEFD2}"/>
          </ac:spMkLst>
        </pc:spChg>
        <pc:spChg chg="del mod replST delST">
          <ac:chgData name="Mick Mooney" userId="e6518e4e-af4a-4bea-b39c-20489a1e5519" providerId="ADAL" clId="{3014DE50-B07B-4776-BEAC-0F779D92A13E}" dt="2023-07-25T12:16:11.178" v="9088" actId="478"/>
          <ac:spMkLst>
            <pc:docMk/>
            <pc:sldMk cId="2395506064" sldId="2147479599"/>
            <ac:spMk id="83" creationId="{38BA1687-496F-4C8F-AF0B-DB160EEA7CE5}"/>
          </ac:spMkLst>
        </pc:spChg>
        <pc:picChg chg="add del mod">
          <ac:chgData name="Mick Mooney" userId="e6518e4e-af4a-4bea-b39c-20489a1e5519" providerId="ADAL" clId="{3014DE50-B07B-4776-BEAC-0F779D92A13E}" dt="2023-07-25T12:17:42.146" v="9129" actId="478"/>
          <ac:picMkLst>
            <pc:docMk/>
            <pc:sldMk cId="2395506064" sldId="2147479599"/>
            <ac:picMk id="5" creationId="{FCD6E0E6-5BD2-3589-4675-0EA345703154}"/>
          </ac:picMkLst>
        </pc:picChg>
        <pc:picChg chg="add del mod">
          <ac:chgData name="Mick Mooney" userId="e6518e4e-af4a-4bea-b39c-20489a1e5519" providerId="ADAL" clId="{3014DE50-B07B-4776-BEAC-0F779D92A13E}" dt="2023-07-31T14:40:21.493" v="31404" actId="478"/>
          <ac:picMkLst>
            <pc:docMk/>
            <pc:sldMk cId="2395506064" sldId="2147479599"/>
            <ac:picMk id="7" creationId="{9E4DD3A0-4842-491A-AF1D-8C3E52B29015}"/>
          </ac:picMkLst>
        </pc:picChg>
        <pc:picChg chg="add del mod">
          <ac:chgData name="Mick Mooney" userId="e6518e4e-af4a-4bea-b39c-20489a1e5519" providerId="ADAL" clId="{3014DE50-B07B-4776-BEAC-0F779D92A13E}" dt="2023-07-25T12:21:18.424" v="9254" actId="478"/>
          <ac:picMkLst>
            <pc:docMk/>
            <pc:sldMk cId="2395506064" sldId="2147479599"/>
            <ac:picMk id="9" creationId="{A0D89E03-A0BA-701F-14F9-499D1834008B}"/>
          </ac:picMkLst>
        </pc:picChg>
        <pc:picChg chg="add del mod">
          <ac:chgData name="Mick Mooney" userId="e6518e4e-af4a-4bea-b39c-20489a1e5519" providerId="ADAL" clId="{3014DE50-B07B-4776-BEAC-0F779D92A13E}" dt="2023-07-25T12:22:29.111" v="9334" actId="478"/>
          <ac:picMkLst>
            <pc:docMk/>
            <pc:sldMk cId="2395506064" sldId="2147479599"/>
            <ac:picMk id="10" creationId="{4805DFD9-8C5F-8A46-B4DE-D9D7DB0EADFF}"/>
          </ac:picMkLst>
        </pc:picChg>
        <pc:picChg chg="add mod ord">
          <ac:chgData name="Mick Mooney" userId="e6518e4e-af4a-4bea-b39c-20489a1e5519" providerId="ADAL" clId="{3014DE50-B07B-4776-BEAC-0F779D92A13E}" dt="2023-07-31T14:40:30.262" v="31407" actId="1076"/>
          <ac:picMkLst>
            <pc:docMk/>
            <pc:sldMk cId="2395506064" sldId="2147479599"/>
            <ac:picMk id="11" creationId="{AA575DDD-FA6C-40EF-A94D-2A038203954B}"/>
          </ac:picMkLst>
        </pc:picChg>
        <pc:picChg chg="mod">
          <ac:chgData name="Mick Mooney" userId="e6518e4e-af4a-4bea-b39c-20489a1e5519" providerId="ADAL" clId="{3014DE50-B07B-4776-BEAC-0F779D92A13E}" dt="2023-07-31T12:35:49.764" v="25445" actId="2711"/>
          <ac:picMkLst>
            <pc:docMk/>
            <pc:sldMk cId="2395506064" sldId="2147479599"/>
            <ac:picMk id="46084" creationId="{76A46844-6D61-BE13-BDE9-208837D4E32B}"/>
          </ac:picMkLst>
        </pc:picChg>
      </pc:sldChg>
      <pc:sldChg chg="modSp add mod ord">
        <pc:chgData name="Mick Mooney" userId="e6518e4e-af4a-4bea-b39c-20489a1e5519" providerId="ADAL" clId="{3014DE50-B07B-4776-BEAC-0F779D92A13E}" dt="2023-07-31T15:36:49.922" v="33255" actId="2711"/>
        <pc:sldMkLst>
          <pc:docMk/>
          <pc:sldMk cId="3060046903" sldId="2147479600"/>
        </pc:sldMkLst>
        <pc:spChg chg="mod replST delST">
          <ac:chgData name="Mick Mooney" userId="e6518e4e-af4a-4bea-b39c-20489a1e5519" providerId="ADAL" clId="{3014DE50-B07B-4776-BEAC-0F779D92A13E}" dt="2023-07-31T15:36:49.922" v="33255" actId="2711"/>
          <ac:spMkLst>
            <pc:docMk/>
            <pc:sldMk cId="3060046903" sldId="2147479600"/>
            <ac:spMk id="4" creationId="{E432C490-8501-4DEB-9800-36DD8F00D9DA}"/>
          </ac:spMkLst>
        </pc:spChg>
      </pc:sldChg>
      <pc:sldChg chg="modSp add mod">
        <pc:chgData name="Mick Mooney" userId="e6518e4e-af4a-4bea-b39c-20489a1e5519" providerId="ADAL" clId="{3014DE50-B07B-4776-BEAC-0F779D92A13E}" dt="2023-07-31T15:37:03.165" v="33261" actId="2711"/>
        <pc:sldMkLst>
          <pc:docMk/>
          <pc:sldMk cId="3934727699" sldId="2147479601"/>
        </pc:sldMkLst>
        <pc:spChg chg="mod replST delST">
          <ac:chgData name="Mick Mooney" userId="e6518e4e-af4a-4bea-b39c-20489a1e5519" providerId="ADAL" clId="{3014DE50-B07B-4776-BEAC-0F779D92A13E}" dt="2023-07-31T15:37:03.165" v="33261" actId="2711"/>
          <ac:spMkLst>
            <pc:docMk/>
            <pc:sldMk cId="3934727699" sldId="2147479601"/>
            <ac:spMk id="4" creationId="{E432C490-8501-4DEB-9800-36DD8F00D9DA}"/>
          </ac:spMkLst>
        </pc:spChg>
      </pc:sldChg>
      <pc:sldChg chg="add del">
        <pc:chgData name="Mick Mooney" userId="e6518e4e-af4a-4bea-b39c-20489a1e5519" providerId="ADAL" clId="{3014DE50-B07B-4776-BEAC-0F779D92A13E}" dt="2023-07-22T14:19:35.728" v="8103"/>
        <pc:sldMkLst>
          <pc:docMk/>
          <pc:sldMk cId="3371199460" sldId="2147479602"/>
        </pc:sldMkLst>
      </pc:sldChg>
      <pc:sldChg chg="add del">
        <pc:chgData name="Mick Mooney" userId="e6518e4e-af4a-4bea-b39c-20489a1e5519" providerId="ADAL" clId="{3014DE50-B07B-4776-BEAC-0F779D92A13E}" dt="2023-07-22T14:19:35.728" v="8103"/>
        <pc:sldMkLst>
          <pc:docMk/>
          <pc:sldMk cId="3278198198" sldId="2147479603"/>
        </pc:sldMkLst>
      </pc:sldChg>
      <pc:sldChg chg="modSp mod">
        <pc:chgData name="Mick Mooney" userId="e6518e4e-af4a-4bea-b39c-20489a1e5519" providerId="ADAL" clId="{3014DE50-B07B-4776-BEAC-0F779D92A13E}" dt="2023-07-31T15:33:33.197" v="33151" actId="207"/>
        <pc:sldMkLst>
          <pc:docMk/>
          <pc:sldMk cId="1981180335" sldId="2147479604"/>
        </pc:sldMkLst>
        <pc:spChg chg="mod replST delST">
          <ac:chgData name="Mick Mooney" userId="e6518e4e-af4a-4bea-b39c-20489a1e5519" providerId="ADAL" clId="{3014DE50-B07B-4776-BEAC-0F779D92A13E}" dt="2023-07-31T15:33:30.953" v="33148" actId="207"/>
          <ac:spMkLst>
            <pc:docMk/>
            <pc:sldMk cId="1981180335" sldId="2147479604"/>
            <ac:spMk id="2" creationId="{871C9022-CAD4-0F4A-058D-60DAB13CD738}"/>
          </ac:spMkLst>
        </pc:spChg>
        <pc:spChg chg="mod replST delST">
          <ac:chgData name="Mick Mooney" userId="e6518e4e-af4a-4bea-b39c-20489a1e5519" providerId="ADAL" clId="{3014DE50-B07B-4776-BEAC-0F779D92A13E}" dt="2023-07-31T15:33:33.197" v="33151" actId="207"/>
          <ac:spMkLst>
            <pc:docMk/>
            <pc:sldMk cId="1981180335" sldId="2147479604"/>
            <ac:spMk id="3" creationId="{D06167CC-523B-53EC-0222-01CE5C1661D4}"/>
          </ac:spMkLst>
        </pc:spChg>
        <pc:spChg chg="mod">
          <ac:chgData name="Mick Mooney" userId="e6518e4e-af4a-4bea-b39c-20489a1e5519" providerId="ADAL" clId="{3014DE50-B07B-4776-BEAC-0F779D92A13E}" dt="2023-07-31T12:31:56.330" v="25413" actId="2711"/>
          <ac:spMkLst>
            <pc:docMk/>
            <pc:sldMk cId="1981180335" sldId="2147479604"/>
            <ac:spMk id="4" creationId="{1177C685-1250-C7F2-8EF5-7F82241CB729}"/>
          </ac:spMkLst>
        </pc:spChg>
      </pc:sldChg>
      <pc:sldChg chg="add del">
        <pc:chgData name="Mick Mooney" userId="e6518e4e-af4a-4bea-b39c-20489a1e5519" providerId="ADAL" clId="{3014DE50-B07B-4776-BEAC-0F779D92A13E}" dt="2023-07-22T14:19:35.728" v="8103"/>
        <pc:sldMkLst>
          <pc:docMk/>
          <pc:sldMk cId="2881600789" sldId="2147479604"/>
        </pc:sldMkLst>
      </pc:sldChg>
      <pc:sldChg chg="add del">
        <pc:chgData name="Mick Mooney" userId="e6518e4e-af4a-4bea-b39c-20489a1e5519" providerId="ADAL" clId="{3014DE50-B07B-4776-BEAC-0F779D92A13E}" dt="2023-07-22T14:19:35.728" v="8103"/>
        <pc:sldMkLst>
          <pc:docMk/>
          <pc:sldMk cId="1302228372" sldId="2147479605"/>
        </pc:sldMkLst>
      </pc:sldChg>
      <pc:sldChg chg="del">
        <pc:chgData name="Mick Mooney" userId="e6518e4e-af4a-4bea-b39c-20489a1e5519" providerId="ADAL" clId="{3014DE50-B07B-4776-BEAC-0F779D92A13E}" dt="2023-07-25T12:14:05.705" v="8977" actId="2696"/>
        <pc:sldMkLst>
          <pc:docMk/>
          <pc:sldMk cId="3995252604" sldId="2147479605"/>
        </pc:sldMkLst>
      </pc:sldChg>
      <pc:sldChg chg="add del">
        <pc:chgData name="Mick Mooney" userId="e6518e4e-af4a-4bea-b39c-20489a1e5519" providerId="ADAL" clId="{3014DE50-B07B-4776-BEAC-0F779D92A13E}" dt="2023-07-22T14:19:35.728" v="8103"/>
        <pc:sldMkLst>
          <pc:docMk/>
          <pc:sldMk cId="1832705980" sldId="2147479606"/>
        </pc:sldMkLst>
      </pc:sldChg>
      <pc:sldChg chg="add del">
        <pc:chgData name="Mick Mooney" userId="e6518e4e-af4a-4bea-b39c-20489a1e5519" providerId="ADAL" clId="{3014DE50-B07B-4776-BEAC-0F779D92A13E}" dt="2023-07-22T14:19:35.728" v="8103"/>
        <pc:sldMkLst>
          <pc:docMk/>
          <pc:sldMk cId="2867233943" sldId="2147479607"/>
        </pc:sldMkLst>
      </pc:sldChg>
      <pc:sldChg chg="modSp mod">
        <pc:chgData name="Mick Mooney" userId="e6518e4e-af4a-4bea-b39c-20489a1e5519" providerId="ADAL" clId="{3014DE50-B07B-4776-BEAC-0F779D92A13E}" dt="2023-07-31T16:04:06.908" v="33402"/>
        <pc:sldMkLst>
          <pc:docMk/>
          <pc:sldMk cId="4281992946" sldId="2147479607"/>
        </pc:sldMkLst>
        <pc:spChg chg="mod">
          <ac:chgData name="Mick Mooney" userId="e6518e4e-af4a-4bea-b39c-20489a1e5519" providerId="ADAL" clId="{3014DE50-B07B-4776-BEAC-0F779D92A13E}" dt="2023-07-31T12:29:15.748" v="25391" actId="2711"/>
          <ac:spMkLst>
            <pc:docMk/>
            <pc:sldMk cId="4281992946" sldId="2147479607"/>
            <ac:spMk id="7" creationId="{CFDD937B-3112-47A6-B0B1-3C193428DAEB}"/>
          </ac:spMkLst>
        </pc:spChg>
        <pc:spChg chg="mod replST delST">
          <ac:chgData name="Mick Mooney" userId="e6518e4e-af4a-4bea-b39c-20489a1e5519" providerId="ADAL" clId="{3014DE50-B07B-4776-BEAC-0F779D92A13E}" dt="2023-07-31T16:04:06.908" v="33402"/>
          <ac:spMkLst>
            <pc:docMk/>
            <pc:sldMk cId="4281992946" sldId="2147479607"/>
            <ac:spMk id="8" creationId="{7824D54C-15D2-467C-A016-166944D0781C}"/>
          </ac:spMkLst>
        </pc:spChg>
        <pc:spChg chg="mod">
          <ac:chgData name="Mick Mooney" userId="e6518e4e-af4a-4bea-b39c-20489a1e5519" providerId="ADAL" clId="{3014DE50-B07B-4776-BEAC-0F779D92A13E}" dt="2023-07-31T12:29:15.748" v="25391" actId="2711"/>
          <ac:spMkLst>
            <pc:docMk/>
            <pc:sldMk cId="4281992946" sldId="2147479607"/>
            <ac:spMk id="9" creationId="{6C153CAD-CB4E-4351-8C09-19E5BC5E2B25}"/>
          </ac:spMkLst>
        </pc:spChg>
        <pc:spChg chg="mod">
          <ac:chgData name="Mick Mooney" userId="e6518e4e-af4a-4bea-b39c-20489a1e5519" providerId="ADAL" clId="{3014DE50-B07B-4776-BEAC-0F779D92A13E}" dt="2023-07-31T12:29:15.748" v="25391" actId="2711"/>
          <ac:spMkLst>
            <pc:docMk/>
            <pc:sldMk cId="4281992946" sldId="2147479607"/>
            <ac:spMk id="10" creationId="{8DB344F0-FF8B-4BFF-A3EE-6E94F5B6096B}"/>
          </ac:spMkLst>
        </pc:spChg>
        <pc:spChg chg="mod">
          <ac:chgData name="Mick Mooney" userId="e6518e4e-af4a-4bea-b39c-20489a1e5519" providerId="ADAL" clId="{3014DE50-B07B-4776-BEAC-0F779D92A13E}" dt="2023-07-31T12:29:15.748" v="25391" actId="2711"/>
          <ac:spMkLst>
            <pc:docMk/>
            <pc:sldMk cId="4281992946" sldId="2147479607"/>
            <ac:spMk id="11" creationId="{9EE04F04-F794-4453-963E-5CFBB6620A43}"/>
          </ac:spMkLst>
        </pc:spChg>
        <pc:spChg chg="mod">
          <ac:chgData name="Mick Mooney" userId="e6518e4e-af4a-4bea-b39c-20489a1e5519" providerId="ADAL" clId="{3014DE50-B07B-4776-BEAC-0F779D92A13E}" dt="2023-07-31T12:29:15.748" v="25391" actId="2711"/>
          <ac:spMkLst>
            <pc:docMk/>
            <pc:sldMk cId="4281992946" sldId="2147479607"/>
            <ac:spMk id="12" creationId="{FB93CF21-DAD5-4B79-9666-F5B05BE3DD14}"/>
          </ac:spMkLst>
        </pc:spChg>
        <pc:spChg chg="mod">
          <ac:chgData name="Mick Mooney" userId="e6518e4e-af4a-4bea-b39c-20489a1e5519" providerId="ADAL" clId="{3014DE50-B07B-4776-BEAC-0F779D92A13E}" dt="2023-07-31T12:29:15.748" v="25391" actId="2711"/>
          <ac:spMkLst>
            <pc:docMk/>
            <pc:sldMk cId="4281992946" sldId="2147479607"/>
            <ac:spMk id="13" creationId="{D642F10C-58A5-4B16-A89B-076AEE9416C7}"/>
          </ac:spMkLst>
        </pc:spChg>
        <pc:spChg chg="mod">
          <ac:chgData name="Mick Mooney" userId="e6518e4e-af4a-4bea-b39c-20489a1e5519" providerId="ADAL" clId="{3014DE50-B07B-4776-BEAC-0F779D92A13E}" dt="2023-07-31T12:29:15.748" v="25391" actId="2711"/>
          <ac:spMkLst>
            <pc:docMk/>
            <pc:sldMk cId="4281992946" sldId="2147479607"/>
            <ac:spMk id="22" creationId="{95F9899C-EE66-4EC6-80ED-8640CE7AA491}"/>
          </ac:spMkLst>
        </pc:spChg>
      </pc:sldChg>
      <pc:sldChg chg="add del">
        <pc:chgData name="Mick Mooney" userId="e6518e4e-af4a-4bea-b39c-20489a1e5519" providerId="ADAL" clId="{3014DE50-B07B-4776-BEAC-0F779D92A13E}" dt="2023-07-22T14:19:35.728" v="8103"/>
        <pc:sldMkLst>
          <pc:docMk/>
          <pc:sldMk cId="1641312243" sldId="2147479608"/>
        </pc:sldMkLst>
      </pc:sldChg>
      <pc:sldChg chg="modSp mod">
        <pc:chgData name="Mick Mooney" userId="e6518e4e-af4a-4bea-b39c-20489a1e5519" providerId="ADAL" clId="{3014DE50-B07B-4776-BEAC-0F779D92A13E}" dt="2023-07-31T16:04:04.740" v="33400"/>
        <pc:sldMkLst>
          <pc:docMk/>
          <pc:sldMk cId="2192119907" sldId="2147479608"/>
        </pc:sldMkLst>
        <pc:spChg chg="mod">
          <ac:chgData name="Mick Mooney" userId="e6518e4e-af4a-4bea-b39c-20489a1e5519" providerId="ADAL" clId="{3014DE50-B07B-4776-BEAC-0F779D92A13E}" dt="2023-07-31T12:29:07.417" v="25390" actId="2711"/>
          <ac:spMkLst>
            <pc:docMk/>
            <pc:sldMk cId="2192119907" sldId="2147479608"/>
            <ac:spMk id="7" creationId="{CFDD937B-3112-47A6-B0B1-3C193428DAEB}"/>
          </ac:spMkLst>
        </pc:spChg>
        <pc:spChg chg="mod replST delST">
          <ac:chgData name="Mick Mooney" userId="e6518e4e-af4a-4bea-b39c-20489a1e5519" providerId="ADAL" clId="{3014DE50-B07B-4776-BEAC-0F779D92A13E}" dt="2023-07-31T16:04:04.740" v="33400"/>
          <ac:spMkLst>
            <pc:docMk/>
            <pc:sldMk cId="2192119907" sldId="2147479608"/>
            <ac:spMk id="8" creationId="{7824D54C-15D2-467C-A016-166944D0781C}"/>
          </ac:spMkLst>
        </pc:spChg>
        <pc:spChg chg="mod">
          <ac:chgData name="Mick Mooney" userId="e6518e4e-af4a-4bea-b39c-20489a1e5519" providerId="ADAL" clId="{3014DE50-B07B-4776-BEAC-0F779D92A13E}" dt="2023-07-31T12:29:07.417" v="25390" actId="2711"/>
          <ac:spMkLst>
            <pc:docMk/>
            <pc:sldMk cId="2192119907" sldId="2147479608"/>
            <ac:spMk id="9" creationId="{6C153CAD-CB4E-4351-8C09-19E5BC5E2B25}"/>
          </ac:spMkLst>
        </pc:spChg>
        <pc:spChg chg="mod">
          <ac:chgData name="Mick Mooney" userId="e6518e4e-af4a-4bea-b39c-20489a1e5519" providerId="ADAL" clId="{3014DE50-B07B-4776-BEAC-0F779D92A13E}" dt="2023-07-31T12:29:07.417" v="25390" actId="2711"/>
          <ac:spMkLst>
            <pc:docMk/>
            <pc:sldMk cId="2192119907" sldId="2147479608"/>
            <ac:spMk id="10" creationId="{8DB344F0-FF8B-4BFF-A3EE-6E94F5B6096B}"/>
          </ac:spMkLst>
        </pc:spChg>
        <pc:spChg chg="mod replST delST">
          <ac:chgData name="Mick Mooney" userId="e6518e4e-af4a-4bea-b39c-20489a1e5519" providerId="ADAL" clId="{3014DE50-B07B-4776-BEAC-0F779D92A13E}" dt="2023-07-31T12:29:07.417" v="25390" actId="2711"/>
          <ac:spMkLst>
            <pc:docMk/>
            <pc:sldMk cId="2192119907" sldId="2147479608"/>
            <ac:spMk id="11" creationId="{9EE04F04-F794-4453-963E-5CFBB6620A43}"/>
          </ac:spMkLst>
        </pc:spChg>
        <pc:spChg chg="mod">
          <ac:chgData name="Mick Mooney" userId="e6518e4e-af4a-4bea-b39c-20489a1e5519" providerId="ADAL" clId="{3014DE50-B07B-4776-BEAC-0F779D92A13E}" dt="2023-07-31T12:29:07.417" v="25390" actId="2711"/>
          <ac:spMkLst>
            <pc:docMk/>
            <pc:sldMk cId="2192119907" sldId="2147479608"/>
            <ac:spMk id="12" creationId="{FB93CF21-DAD5-4B79-9666-F5B05BE3DD14}"/>
          </ac:spMkLst>
        </pc:spChg>
        <pc:spChg chg="mod replST delST">
          <ac:chgData name="Mick Mooney" userId="e6518e4e-af4a-4bea-b39c-20489a1e5519" providerId="ADAL" clId="{3014DE50-B07B-4776-BEAC-0F779D92A13E}" dt="2023-07-31T12:29:07.417" v="25390" actId="2711"/>
          <ac:spMkLst>
            <pc:docMk/>
            <pc:sldMk cId="2192119907" sldId="2147479608"/>
            <ac:spMk id="13" creationId="{D642F10C-58A5-4B16-A89B-076AEE9416C7}"/>
          </ac:spMkLst>
        </pc:spChg>
        <pc:spChg chg="mod">
          <ac:chgData name="Mick Mooney" userId="e6518e4e-af4a-4bea-b39c-20489a1e5519" providerId="ADAL" clId="{3014DE50-B07B-4776-BEAC-0F779D92A13E}" dt="2023-07-31T12:29:07.417" v="25390" actId="2711"/>
          <ac:spMkLst>
            <pc:docMk/>
            <pc:sldMk cId="2192119907" sldId="2147479608"/>
            <ac:spMk id="22" creationId="{95F9899C-EE66-4EC6-80ED-8640CE7AA491}"/>
          </ac:spMkLst>
        </pc:spChg>
      </pc:sldChg>
      <pc:sldChg chg="add del">
        <pc:chgData name="Mick Mooney" userId="e6518e4e-af4a-4bea-b39c-20489a1e5519" providerId="ADAL" clId="{3014DE50-B07B-4776-BEAC-0F779D92A13E}" dt="2023-07-22T14:19:35.728" v="8103"/>
        <pc:sldMkLst>
          <pc:docMk/>
          <pc:sldMk cId="608532465" sldId="2147479609"/>
        </pc:sldMkLst>
      </pc:sldChg>
      <pc:sldChg chg="modSp mod">
        <pc:chgData name="Mick Mooney" userId="e6518e4e-af4a-4bea-b39c-20489a1e5519" providerId="ADAL" clId="{3014DE50-B07B-4776-BEAC-0F779D92A13E}" dt="2023-07-31T16:03:55.996" v="33396" actId="2711"/>
        <pc:sldMkLst>
          <pc:docMk/>
          <pc:sldMk cId="2074381867" sldId="2147479609"/>
        </pc:sldMkLst>
        <pc:spChg chg="mod replST delST">
          <ac:chgData name="Mick Mooney" userId="e6518e4e-af4a-4bea-b39c-20489a1e5519" providerId="ADAL" clId="{3014DE50-B07B-4776-BEAC-0F779D92A13E}" dt="2023-07-31T16:03:55.996" v="33396" actId="2711"/>
          <ac:spMkLst>
            <pc:docMk/>
            <pc:sldMk cId="2074381867" sldId="2147479609"/>
            <ac:spMk id="8" creationId="{7824D54C-15D2-467C-A016-166944D0781C}"/>
          </ac:spMkLst>
        </pc:spChg>
        <pc:graphicFrameChg chg="modGraphic">
          <ac:chgData name="Mick Mooney" userId="e6518e4e-af4a-4bea-b39c-20489a1e5519" providerId="ADAL" clId="{3014DE50-B07B-4776-BEAC-0F779D92A13E}" dt="2023-07-31T16:03:46.128" v="33391" actId="2711"/>
          <ac:graphicFrameMkLst>
            <pc:docMk/>
            <pc:sldMk cId="2074381867" sldId="2147479609"/>
            <ac:graphicFrameMk id="3" creationId="{A8C79D6C-A7C9-DB57-D69D-756EB168AE4F}"/>
          </ac:graphicFrameMkLst>
        </pc:graphicFrameChg>
      </pc:sldChg>
      <pc:sldChg chg="add del">
        <pc:chgData name="Mick Mooney" userId="e6518e4e-af4a-4bea-b39c-20489a1e5519" providerId="ADAL" clId="{3014DE50-B07B-4776-BEAC-0F779D92A13E}" dt="2023-07-22T14:19:35.728" v="8103"/>
        <pc:sldMkLst>
          <pc:docMk/>
          <pc:sldMk cId="3827159504" sldId="2147479610"/>
        </pc:sldMkLst>
      </pc:sldChg>
      <pc:sldChg chg="add del">
        <pc:chgData name="Mick Mooney" userId="e6518e4e-af4a-4bea-b39c-20489a1e5519" providerId="ADAL" clId="{3014DE50-B07B-4776-BEAC-0F779D92A13E}" dt="2023-07-22T14:19:35.728" v="8103"/>
        <pc:sldMkLst>
          <pc:docMk/>
          <pc:sldMk cId="501429771" sldId="2147479611"/>
        </pc:sldMkLst>
      </pc:sldChg>
      <pc:sldChg chg="add del">
        <pc:chgData name="Mick Mooney" userId="e6518e4e-af4a-4bea-b39c-20489a1e5519" providerId="ADAL" clId="{3014DE50-B07B-4776-BEAC-0F779D92A13E}" dt="2023-07-22T14:19:35.728" v="8103"/>
        <pc:sldMkLst>
          <pc:docMk/>
          <pc:sldMk cId="773354659" sldId="2147479612"/>
        </pc:sldMkLst>
      </pc:sldChg>
      <pc:sldChg chg="modSp del mod ord">
        <pc:chgData name="Mick Mooney" userId="e6518e4e-af4a-4bea-b39c-20489a1e5519" providerId="ADAL" clId="{3014DE50-B07B-4776-BEAC-0F779D92A13E}" dt="2023-07-31T11:36:59.296" v="24595" actId="2696"/>
        <pc:sldMkLst>
          <pc:docMk/>
          <pc:sldMk cId="1254315988" sldId="2147479612"/>
        </pc:sldMkLst>
        <pc:spChg chg="replST delST">
          <ac:chgData name="Mick Mooney" userId="e6518e4e-af4a-4bea-b39c-20489a1e5519" providerId="ADAL" clId="{3014DE50-B07B-4776-BEAC-0F779D92A13E}" dt="2023-07-31T08:46:53.078" v="19860"/>
          <ac:spMkLst>
            <pc:docMk/>
            <pc:sldMk cId="1254315988" sldId="2147479612"/>
            <ac:spMk id="3" creationId="{11530716-23C3-C058-B6E0-21ED257F9047}"/>
          </ac:spMkLst>
        </pc:spChg>
        <pc:spChg chg="mod replST delST">
          <ac:chgData name="Mick Mooney" userId="e6518e4e-af4a-4bea-b39c-20489a1e5519" providerId="ADAL" clId="{3014DE50-B07B-4776-BEAC-0F779D92A13E}" dt="2023-07-25T15:19:33.518" v="13408" actId="208"/>
          <ac:spMkLst>
            <pc:docMk/>
            <pc:sldMk cId="1254315988" sldId="2147479612"/>
            <ac:spMk id="9" creationId="{71A14029-BABA-B099-0193-50E67263EAE8}"/>
          </ac:spMkLst>
        </pc:spChg>
        <pc:spChg chg="mod replST delST">
          <ac:chgData name="Mick Mooney" userId="e6518e4e-af4a-4bea-b39c-20489a1e5519" providerId="ADAL" clId="{3014DE50-B07B-4776-BEAC-0F779D92A13E}" dt="2023-07-25T15:28:01.216" v="13452" actId="113"/>
          <ac:spMkLst>
            <pc:docMk/>
            <pc:sldMk cId="1254315988" sldId="2147479612"/>
            <ac:spMk id="10" creationId="{117F1344-4369-FE50-0E7A-A8A89D7EA364}"/>
          </ac:spMkLst>
        </pc:spChg>
        <pc:spChg chg="mod replST delST">
          <ac:chgData name="Mick Mooney" userId="e6518e4e-af4a-4bea-b39c-20489a1e5519" providerId="ADAL" clId="{3014DE50-B07B-4776-BEAC-0F779D92A13E}" dt="2023-07-26T09:19:44.908" v="17299"/>
          <ac:spMkLst>
            <pc:docMk/>
            <pc:sldMk cId="1254315988" sldId="2147479612"/>
            <ac:spMk id="11" creationId="{48582D0B-C293-30DA-64AF-23763FE96D27}"/>
          </ac:spMkLst>
        </pc:spChg>
        <pc:spChg chg="mod replST delST">
          <ac:chgData name="Mick Mooney" userId="e6518e4e-af4a-4bea-b39c-20489a1e5519" providerId="ADAL" clId="{3014DE50-B07B-4776-BEAC-0F779D92A13E}" dt="2023-07-25T15:19:25.441" v="13404" actId="208"/>
          <ac:spMkLst>
            <pc:docMk/>
            <pc:sldMk cId="1254315988" sldId="2147479612"/>
            <ac:spMk id="12" creationId="{9097BE4E-54DF-B302-C8D7-C61B16CE3E03}"/>
          </ac:spMkLst>
        </pc:spChg>
        <pc:spChg chg="mod replST delST">
          <ac:chgData name="Mick Mooney" userId="e6518e4e-af4a-4bea-b39c-20489a1e5519" providerId="ADAL" clId="{3014DE50-B07B-4776-BEAC-0F779D92A13E}" dt="2023-07-25T15:28:10.832" v="13459" actId="14100"/>
          <ac:spMkLst>
            <pc:docMk/>
            <pc:sldMk cId="1254315988" sldId="2147479612"/>
            <ac:spMk id="13" creationId="{070EA595-0183-5872-F57F-CBE95BA3F6BF}"/>
          </ac:spMkLst>
        </pc:spChg>
        <pc:spChg chg="mod replST delST">
          <ac:chgData name="Mick Mooney" userId="e6518e4e-af4a-4bea-b39c-20489a1e5519" providerId="ADAL" clId="{3014DE50-B07B-4776-BEAC-0F779D92A13E}" dt="2023-07-26T09:19:43.742" v="17294"/>
          <ac:spMkLst>
            <pc:docMk/>
            <pc:sldMk cId="1254315988" sldId="2147479612"/>
            <ac:spMk id="14" creationId="{8AC524B4-A583-53CD-EDB2-CD9BEA22E7A0}"/>
          </ac:spMkLst>
        </pc:spChg>
        <pc:spChg chg="mod replST delST">
          <ac:chgData name="Mick Mooney" userId="e6518e4e-af4a-4bea-b39c-20489a1e5519" providerId="ADAL" clId="{3014DE50-B07B-4776-BEAC-0F779D92A13E}" dt="2023-07-26T09:12:47.264" v="17227" actId="207"/>
          <ac:spMkLst>
            <pc:docMk/>
            <pc:sldMk cId="1254315988" sldId="2147479612"/>
            <ac:spMk id="15" creationId="{5B240A68-A6C5-92F8-5A67-B4ED35EFF2C4}"/>
          </ac:spMkLst>
        </pc:spChg>
      </pc:sldChg>
      <pc:sldChg chg="modSp mod">
        <pc:chgData name="Mick Mooney" userId="e6518e4e-af4a-4bea-b39c-20489a1e5519" providerId="ADAL" clId="{3014DE50-B07B-4776-BEAC-0F779D92A13E}" dt="2023-07-31T12:28:13.081" v="25375" actId="2711"/>
        <pc:sldMkLst>
          <pc:docMk/>
          <pc:sldMk cId="2582236747" sldId="2147479613"/>
        </pc:sldMkLst>
        <pc:spChg chg="mod">
          <ac:chgData name="Mick Mooney" userId="e6518e4e-af4a-4bea-b39c-20489a1e5519" providerId="ADAL" clId="{3014DE50-B07B-4776-BEAC-0F779D92A13E}" dt="2023-07-31T12:28:13.081" v="25375" actId="2711"/>
          <ac:spMkLst>
            <pc:docMk/>
            <pc:sldMk cId="2582236747" sldId="2147479613"/>
            <ac:spMk id="6" creationId="{5A815F8A-DB22-BCE1-3194-08640B4428A8}"/>
          </ac:spMkLst>
        </pc:spChg>
        <pc:spChg chg="mod">
          <ac:chgData name="Mick Mooney" userId="e6518e4e-af4a-4bea-b39c-20489a1e5519" providerId="ADAL" clId="{3014DE50-B07B-4776-BEAC-0F779D92A13E}" dt="2023-07-31T12:28:13.081" v="25375" actId="2711"/>
          <ac:spMkLst>
            <pc:docMk/>
            <pc:sldMk cId="2582236747" sldId="2147479613"/>
            <ac:spMk id="8" creationId="{7EE7EE3A-92D7-9089-147D-39DEE42BE10C}"/>
          </ac:spMkLst>
        </pc:spChg>
        <pc:spChg chg="mod">
          <ac:chgData name="Mick Mooney" userId="e6518e4e-af4a-4bea-b39c-20489a1e5519" providerId="ADAL" clId="{3014DE50-B07B-4776-BEAC-0F779D92A13E}" dt="2023-07-31T12:28:13.081" v="25375" actId="2711"/>
          <ac:spMkLst>
            <pc:docMk/>
            <pc:sldMk cId="2582236747" sldId="2147479613"/>
            <ac:spMk id="10" creationId="{18869A38-C6CC-83C0-2F72-40E67190C048}"/>
          </ac:spMkLst>
        </pc:spChg>
        <pc:spChg chg="mod">
          <ac:chgData name="Mick Mooney" userId="e6518e4e-af4a-4bea-b39c-20489a1e5519" providerId="ADAL" clId="{3014DE50-B07B-4776-BEAC-0F779D92A13E}" dt="2023-07-31T12:28:13.081" v="25375" actId="2711"/>
          <ac:spMkLst>
            <pc:docMk/>
            <pc:sldMk cId="2582236747" sldId="2147479613"/>
            <ac:spMk id="12" creationId="{330C0DF1-8F82-CB8A-FEDC-75C28B690273}"/>
          </ac:spMkLst>
        </pc:spChg>
        <pc:spChg chg="mod">
          <ac:chgData name="Mick Mooney" userId="e6518e4e-af4a-4bea-b39c-20489a1e5519" providerId="ADAL" clId="{3014DE50-B07B-4776-BEAC-0F779D92A13E}" dt="2023-07-31T12:28:13.081" v="25375" actId="2711"/>
          <ac:spMkLst>
            <pc:docMk/>
            <pc:sldMk cId="2582236747" sldId="2147479613"/>
            <ac:spMk id="14" creationId="{FB0E70B3-21F4-67A8-38FA-44249C12B01E}"/>
          </ac:spMkLst>
        </pc:spChg>
        <pc:spChg chg="mod">
          <ac:chgData name="Mick Mooney" userId="e6518e4e-af4a-4bea-b39c-20489a1e5519" providerId="ADAL" clId="{3014DE50-B07B-4776-BEAC-0F779D92A13E}" dt="2023-07-31T12:28:13.081" v="25375" actId="2711"/>
          <ac:spMkLst>
            <pc:docMk/>
            <pc:sldMk cId="2582236747" sldId="2147479613"/>
            <ac:spMk id="16" creationId="{25CD794F-7968-BB55-B2BA-A718D315E9DC}"/>
          </ac:spMkLst>
        </pc:spChg>
        <pc:spChg chg="mod">
          <ac:chgData name="Mick Mooney" userId="e6518e4e-af4a-4bea-b39c-20489a1e5519" providerId="ADAL" clId="{3014DE50-B07B-4776-BEAC-0F779D92A13E}" dt="2023-07-31T12:28:13.081" v="25375" actId="2711"/>
          <ac:spMkLst>
            <pc:docMk/>
            <pc:sldMk cId="2582236747" sldId="2147479613"/>
            <ac:spMk id="18" creationId="{8ABF9574-8DDA-76A4-E1AA-D2CBDF981DC8}"/>
          </ac:spMkLst>
        </pc:spChg>
        <pc:spChg chg="mod">
          <ac:chgData name="Mick Mooney" userId="e6518e4e-af4a-4bea-b39c-20489a1e5519" providerId="ADAL" clId="{3014DE50-B07B-4776-BEAC-0F779D92A13E}" dt="2023-07-31T12:28:13.081" v="25375" actId="2711"/>
          <ac:spMkLst>
            <pc:docMk/>
            <pc:sldMk cId="2582236747" sldId="2147479613"/>
            <ac:spMk id="20" creationId="{B644B638-0117-FBEC-2CAC-0EEBA0406BFF}"/>
          </ac:spMkLst>
        </pc:spChg>
        <pc:spChg chg="mod">
          <ac:chgData name="Mick Mooney" userId="e6518e4e-af4a-4bea-b39c-20489a1e5519" providerId="ADAL" clId="{3014DE50-B07B-4776-BEAC-0F779D92A13E}" dt="2023-07-31T12:28:13.081" v="25375" actId="2711"/>
          <ac:spMkLst>
            <pc:docMk/>
            <pc:sldMk cId="2582236747" sldId="2147479613"/>
            <ac:spMk id="22" creationId="{147E764A-C015-7468-0DD7-8A630A896DFA}"/>
          </ac:spMkLst>
        </pc:spChg>
        <pc:spChg chg="mod">
          <ac:chgData name="Mick Mooney" userId="e6518e4e-af4a-4bea-b39c-20489a1e5519" providerId="ADAL" clId="{3014DE50-B07B-4776-BEAC-0F779D92A13E}" dt="2023-07-31T12:28:13.081" v="25375" actId="2711"/>
          <ac:spMkLst>
            <pc:docMk/>
            <pc:sldMk cId="2582236747" sldId="2147479613"/>
            <ac:spMk id="24" creationId="{EE1F3937-453B-EC28-9397-C09287C952AA}"/>
          </ac:spMkLst>
        </pc:spChg>
        <pc:spChg chg="mod">
          <ac:chgData name="Mick Mooney" userId="e6518e4e-af4a-4bea-b39c-20489a1e5519" providerId="ADAL" clId="{3014DE50-B07B-4776-BEAC-0F779D92A13E}" dt="2023-07-31T12:28:13.081" v="25375" actId="2711"/>
          <ac:spMkLst>
            <pc:docMk/>
            <pc:sldMk cId="2582236747" sldId="2147479613"/>
            <ac:spMk id="26" creationId="{66A55367-781E-B741-2829-58D43494F019}"/>
          </ac:spMkLst>
        </pc:spChg>
        <pc:spChg chg="mod">
          <ac:chgData name="Mick Mooney" userId="e6518e4e-af4a-4bea-b39c-20489a1e5519" providerId="ADAL" clId="{3014DE50-B07B-4776-BEAC-0F779D92A13E}" dt="2023-07-31T12:28:13.081" v="25375" actId="2711"/>
          <ac:spMkLst>
            <pc:docMk/>
            <pc:sldMk cId="2582236747" sldId="2147479613"/>
            <ac:spMk id="28" creationId="{D6ED209F-CE61-ECBC-1A97-0BBB67E3F5B0}"/>
          </ac:spMkLst>
        </pc:spChg>
        <pc:spChg chg="mod">
          <ac:chgData name="Mick Mooney" userId="e6518e4e-af4a-4bea-b39c-20489a1e5519" providerId="ADAL" clId="{3014DE50-B07B-4776-BEAC-0F779D92A13E}" dt="2023-07-31T12:28:13.081" v="25375" actId="2711"/>
          <ac:spMkLst>
            <pc:docMk/>
            <pc:sldMk cId="2582236747" sldId="2147479613"/>
            <ac:spMk id="30" creationId="{472A8A6B-5ED0-EBDF-66D3-9469542D95B7}"/>
          </ac:spMkLst>
        </pc:spChg>
        <pc:spChg chg="mod">
          <ac:chgData name="Mick Mooney" userId="e6518e4e-af4a-4bea-b39c-20489a1e5519" providerId="ADAL" clId="{3014DE50-B07B-4776-BEAC-0F779D92A13E}" dt="2023-07-31T12:28:13.081" v="25375" actId="2711"/>
          <ac:spMkLst>
            <pc:docMk/>
            <pc:sldMk cId="2582236747" sldId="2147479613"/>
            <ac:spMk id="34" creationId="{6FC6E2C6-8AE4-DBA8-E557-CA955ABD4A17}"/>
          </ac:spMkLst>
        </pc:spChg>
      </pc:sldChg>
      <pc:sldChg chg="add del">
        <pc:chgData name="Mick Mooney" userId="e6518e4e-af4a-4bea-b39c-20489a1e5519" providerId="ADAL" clId="{3014DE50-B07B-4776-BEAC-0F779D92A13E}" dt="2023-07-22T14:19:35.728" v="8103"/>
        <pc:sldMkLst>
          <pc:docMk/>
          <pc:sldMk cId="3914647873" sldId="2147479613"/>
        </pc:sldMkLst>
      </pc:sldChg>
      <pc:sldChg chg="add del">
        <pc:chgData name="Mick Mooney" userId="e6518e4e-af4a-4bea-b39c-20489a1e5519" providerId="ADAL" clId="{3014DE50-B07B-4776-BEAC-0F779D92A13E}" dt="2023-07-22T14:19:35.728" v="8103"/>
        <pc:sldMkLst>
          <pc:docMk/>
          <pc:sldMk cId="3912504504" sldId="2147479614"/>
        </pc:sldMkLst>
      </pc:sldChg>
      <pc:sldChg chg="add del">
        <pc:chgData name="Mick Mooney" userId="e6518e4e-af4a-4bea-b39c-20489a1e5519" providerId="ADAL" clId="{3014DE50-B07B-4776-BEAC-0F779D92A13E}" dt="2023-07-22T14:19:35.728" v="8103"/>
        <pc:sldMkLst>
          <pc:docMk/>
          <pc:sldMk cId="808400844" sldId="2147479615"/>
        </pc:sldMkLst>
      </pc:sldChg>
      <pc:sldChg chg="add del">
        <pc:chgData name="Mick Mooney" userId="e6518e4e-af4a-4bea-b39c-20489a1e5519" providerId="ADAL" clId="{3014DE50-B07B-4776-BEAC-0F779D92A13E}" dt="2023-07-22T14:19:35.728" v="8103"/>
        <pc:sldMkLst>
          <pc:docMk/>
          <pc:sldMk cId="1342947663" sldId="2147479616"/>
        </pc:sldMkLst>
      </pc:sldChg>
      <pc:sldChg chg="modSp mod">
        <pc:chgData name="Mick Mooney" userId="e6518e4e-af4a-4bea-b39c-20489a1e5519" providerId="ADAL" clId="{3014DE50-B07B-4776-BEAC-0F779D92A13E}" dt="2023-07-31T12:27:48.724" v="25364"/>
        <pc:sldMkLst>
          <pc:docMk/>
          <pc:sldMk cId="554842699" sldId="2147479617"/>
        </pc:sldMkLst>
        <pc:spChg chg="mod replST delST">
          <ac:chgData name="Mick Mooney" userId="e6518e4e-af4a-4bea-b39c-20489a1e5519" providerId="ADAL" clId="{3014DE50-B07B-4776-BEAC-0F779D92A13E}" dt="2023-07-31T12:27:07.955" v="25329" actId="2711"/>
          <ac:spMkLst>
            <pc:docMk/>
            <pc:sldMk cId="554842699" sldId="2147479617"/>
            <ac:spMk id="5" creationId="{1AA4F3D1-45B7-A72E-14AB-197DB6665F5F}"/>
          </ac:spMkLst>
        </pc:spChg>
        <pc:spChg chg="mod replST delST">
          <ac:chgData name="Mick Mooney" userId="e6518e4e-af4a-4bea-b39c-20489a1e5519" providerId="ADAL" clId="{3014DE50-B07B-4776-BEAC-0F779D92A13E}" dt="2023-07-31T12:27:07.955" v="25329" actId="2711"/>
          <ac:spMkLst>
            <pc:docMk/>
            <pc:sldMk cId="554842699" sldId="2147479617"/>
            <ac:spMk id="6" creationId="{489D7E36-E5EC-111E-AE3B-B05ADA2650CA}"/>
          </ac:spMkLst>
        </pc:spChg>
        <pc:spChg chg="mod replST delST">
          <ac:chgData name="Mick Mooney" userId="e6518e4e-af4a-4bea-b39c-20489a1e5519" providerId="ADAL" clId="{3014DE50-B07B-4776-BEAC-0F779D92A13E}" dt="2023-07-31T12:27:07.955" v="25329" actId="2711"/>
          <ac:spMkLst>
            <pc:docMk/>
            <pc:sldMk cId="554842699" sldId="2147479617"/>
            <ac:spMk id="8" creationId="{CF4624E7-2012-177F-42FD-075B529C96E2}"/>
          </ac:spMkLst>
        </pc:spChg>
        <pc:spChg chg="mod replST delST">
          <ac:chgData name="Mick Mooney" userId="e6518e4e-af4a-4bea-b39c-20489a1e5519" providerId="ADAL" clId="{3014DE50-B07B-4776-BEAC-0F779D92A13E}" dt="2023-07-31T12:27:07.955" v="25329" actId="2711"/>
          <ac:spMkLst>
            <pc:docMk/>
            <pc:sldMk cId="554842699" sldId="2147479617"/>
            <ac:spMk id="9" creationId="{54149453-3DEF-2E15-6311-535F75F8CCA1}"/>
          </ac:spMkLst>
        </pc:spChg>
        <pc:spChg chg="mod replST delST">
          <ac:chgData name="Mick Mooney" userId="e6518e4e-af4a-4bea-b39c-20489a1e5519" providerId="ADAL" clId="{3014DE50-B07B-4776-BEAC-0F779D92A13E}" dt="2023-07-31T12:27:07.955" v="25329" actId="2711"/>
          <ac:spMkLst>
            <pc:docMk/>
            <pc:sldMk cId="554842699" sldId="2147479617"/>
            <ac:spMk id="10" creationId="{A9930A43-D411-994C-F0E8-7D9582857EF9}"/>
          </ac:spMkLst>
        </pc:spChg>
        <pc:spChg chg="mod replST delST">
          <ac:chgData name="Mick Mooney" userId="e6518e4e-af4a-4bea-b39c-20489a1e5519" providerId="ADAL" clId="{3014DE50-B07B-4776-BEAC-0F779D92A13E}" dt="2023-07-31T12:27:44.490" v="25362"/>
          <ac:spMkLst>
            <pc:docMk/>
            <pc:sldMk cId="554842699" sldId="2147479617"/>
            <ac:spMk id="12" creationId="{213C6BCD-69D2-90ED-2BC4-196EF5E3F298}"/>
          </ac:spMkLst>
        </pc:spChg>
        <pc:spChg chg="mod replST delST">
          <ac:chgData name="Mick Mooney" userId="e6518e4e-af4a-4bea-b39c-20489a1e5519" providerId="ADAL" clId="{3014DE50-B07B-4776-BEAC-0F779D92A13E}" dt="2023-07-31T12:27:07.955" v="25329" actId="2711"/>
          <ac:spMkLst>
            <pc:docMk/>
            <pc:sldMk cId="554842699" sldId="2147479617"/>
            <ac:spMk id="14" creationId="{1B4891F9-FC37-F82A-520C-548C6F536DE2}"/>
          </ac:spMkLst>
        </pc:spChg>
        <pc:spChg chg="mod replST delST">
          <ac:chgData name="Mick Mooney" userId="e6518e4e-af4a-4bea-b39c-20489a1e5519" providerId="ADAL" clId="{3014DE50-B07B-4776-BEAC-0F779D92A13E}" dt="2023-07-31T12:27:07.955" v="25329" actId="2711"/>
          <ac:spMkLst>
            <pc:docMk/>
            <pc:sldMk cId="554842699" sldId="2147479617"/>
            <ac:spMk id="18" creationId="{26DBC6F2-B27C-8EA3-B4A4-A720416361DC}"/>
          </ac:spMkLst>
        </pc:spChg>
        <pc:spChg chg="mod replST delST">
          <ac:chgData name="Mick Mooney" userId="e6518e4e-af4a-4bea-b39c-20489a1e5519" providerId="ADAL" clId="{3014DE50-B07B-4776-BEAC-0F779D92A13E}" dt="2023-07-31T12:27:07.955" v="25329" actId="2711"/>
          <ac:spMkLst>
            <pc:docMk/>
            <pc:sldMk cId="554842699" sldId="2147479617"/>
            <ac:spMk id="20" creationId="{71597D73-FC0D-0F7C-BC32-B2FA32899DF9}"/>
          </ac:spMkLst>
        </pc:spChg>
        <pc:spChg chg="mod">
          <ac:chgData name="Mick Mooney" userId="e6518e4e-af4a-4bea-b39c-20489a1e5519" providerId="ADAL" clId="{3014DE50-B07B-4776-BEAC-0F779D92A13E}" dt="2023-07-31T12:27:07.955" v="25329" actId="2711"/>
          <ac:spMkLst>
            <pc:docMk/>
            <pc:sldMk cId="554842699" sldId="2147479617"/>
            <ac:spMk id="22" creationId="{9A4AB788-397F-A777-536A-71E510E11985}"/>
          </ac:spMkLst>
        </pc:spChg>
        <pc:spChg chg="mod replST delST">
          <ac:chgData name="Mick Mooney" userId="e6518e4e-af4a-4bea-b39c-20489a1e5519" providerId="ADAL" clId="{3014DE50-B07B-4776-BEAC-0F779D92A13E}" dt="2023-07-31T12:27:48.724" v="25364"/>
          <ac:spMkLst>
            <pc:docMk/>
            <pc:sldMk cId="554842699" sldId="2147479617"/>
            <ac:spMk id="24" creationId="{F157CDD7-E4B0-DBE6-3BF9-A80704C2E8E2}"/>
          </ac:spMkLst>
        </pc:spChg>
        <pc:spChg chg="mod replST delST">
          <ac:chgData name="Mick Mooney" userId="e6518e4e-af4a-4bea-b39c-20489a1e5519" providerId="ADAL" clId="{3014DE50-B07B-4776-BEAC-0F779D92A13E}" dt="2023-07-31T12:27:07.955" v="25329" actId="2711"/>
          <ac:spMkLst>
            <pc:docMk/>
            <pc:sldMk cId="554842699" sldId="2147479617"/>
            <ac:spMk id="26" creationId="{CE8179ED-1E75-8A00-A70C-EF944AB7261F}"/>
          </ac:spMkLst>
        </pc:spChg>
        <pc:spChg chg="mod">
          <ac:chgData name="Mick Mooney" userId="e6518e4e-af4a-4bea-b39c-20489a1e5519" providerId="ADAL" clId="{3014DE50-B07B-4776-BEAC-0F779D92A13E}" dt="2023-07-31T12:27:07.955" v="25329" actId="2711"/>
          <ac:spMkLst>
            <pc:docMk/>
            <pc:sldMk cId="554842699" sldId="2147479617"/>
            <ac:spMk id="28" creationId="{3C2A5434-720E-4AA9-21BF-0B0E8A76CA06}"/>
          </ac:spMkLst>
        </pc:spChg>
        <pc:spChg chg="mod replST delST">
          <ac:chgData name="Mick Mooney" userId="e6518e4e-af4a-4bea-b39c-20489a1e5519" providerId="ADAL" clId="{3014DE50-B07B-4776-BEAC-0F779D92A13E}" dt="2023-07-31T12:27:07.955" v="25329" actId="2711"/>
          <ac:spMkLst>
            <pc:docMk/>
            <pc:sldMk cId="554842699" sldId="2147479617"/>
            <ac:spMk id="30" creationId="{D93FAA2B-249B-226A-0A9D-DF62EFC7C39A}"/>
          </ac:spMkLst>
        </pc:spChg>
        <pc:picChg chg="mod">
          <ac:chgData name="Mick Mooney" userId="e6518e4e-af4a-4bea-b39c-20489a1e5519" providerId="ADAL" clId="{3014DE50-B07B-4776-BEAC-0F779D92A13E}" dt="2023-07-25T13:20:49.828" v="11411" actId="14100"/>
          <ac:picMkLst>
            <pc:docMk/>
            <pc:sldMk cId="554842699" sldId="2147479617"/>
            <ac:picMk id="2" creationId="{AD00B404-6657-FE90-AF81-8C217C5C6F4E}"/>
          </ac:picMkLst>
        </pc:picChg>
      </pc:sldChg>
      <pc:sldChg chg="add del">
        <pc:chgData name="Mick Mooney" userId="e6518e4e-af4a-4bea-b39c-20489a1e5519" providerId="ADAL" clId="{3014DE50-B07B-4776-BEAC-0F779D92A13E}" dt="2023-07-22T14:19:35.728" v="8103"/>
        <pc:sldMkLst>
          <pc:docMk/>
          <pc:sldMk cId="3644116433" sldId="2147479617"/>
        </pc:sldMkLst>
      </pc:sldChg>
      <pc:sldChg chg="modSp mod">
        <pc:chgData name="Mick Mooney" userId="e6518e4e-af4a-4bea-b39c-20489a1e5519" providerId="ADAL" clId="{3014DE50-B07B-4776-BEAC-0F779D92A13E}" dt="2023-07-25T16:36:08.252" v="14200"/>
        <pc:sldMkLst>
          <pc:docMk/>
          <pc:sldMk cId="1127760975" sldId="2147479618"/>
        </pc:sldMkLst>
        <pc:spChg chg="replST delST">
          <ac:chgData name="Mick Mooney" userId="e6518e4e-af4a-4bea-b39c-20489a1e5519" providerId="ADAL" clId="{3014DE50-B07B-4776-BEAC-0F779D92A13E}" dt="2023-07-25T16:36:08.252" v="14200"/>
          <ac:spMkLst>
            <pc:docMk/>
            <pc:sldMk cId="1127760975" sldId="2147479618"/>
            <ac:spMk id="20" creationId="{71597D73-FC0D-0F7C-BC32-B2FA32899DF9}"/>
          </ac:spMkLst>
        </pc:spChg>
      </pc:sldChg>
      <pc:sldChg chg="add del">
        <pc:chgData name="Mick Mooney" userId="e6518e4e-af4a-4bea-b39c-20489a1e5519" providerId="ADAL" clId="{3014DE50-B07B-4776-BEAC-0F779D92A13E}" dt="2023-07-22T14:19:35.728" v="8103"/>
        <pc:sldMkLst>
          <pc:docMk/>
          <pc:sldMk cId="4078689241" sldId="2147479618"/>
        </pc:sldMkLst>
      </pc:sldChg>
      <pc:sldChg chg="add del">
        <pc:chgData name="Mick Mooney" userId="e6518e4e-af4a-4bea-b39c-20489a1e5519" providerId="ADAL" clId="{3014DE50-B07B-4776-BEAC-0F779D92A13E}" dt="2023-07-22T14:19:35.728" v="8103"/>
        <pc:sldMkLst>
          <pc:docMk/>
          <pc:sldMk cId="837350492" sldId="2147479619"/>
        </pc:sldMkLst>
      </pc:sldChg>
      <pc:sldChg chg="addSp delSp modSp add mod ord">
        <pc:chgData name="Mick Mooney" userId="e6518e4e-af4a-4bea-b39c-20489a1e5519" providerId="ADAL" clId="{3014DE50-B07B-4776-BEAC-0F779D92A13E}" dt="2023-07-31T15:07:41.524" v="32852"/>
        <pc:sldMkLst>
          <pc:docMk/>
          <pc:sldMk cId="1044739431" sldId="2147479619"/>
        </pc:sldMkLst>
        <pc:spChg chg="del replST delST">
          <ac:chgData name="Mick Mooney" userId="e6518e4e-af4a-4bea-b39c-20489a1e5519" providerId="ADAL" clId="{3014DE50-B07B-4776-BEAC-0F779D92A13E}" dt="2023-07-25T12:02:38.511" v="8879" actId="478"/>
          <ac:spMkLst>
            <pc:docMk/>
            <pc:sldMk cId="1044739431" sldId="2147479619"/>
            <ac:spMk id="2" creationId="{6F0BD19F-2765-502B-50D6-8D09996B0A07}"/>
          </ac:spMkLst>
        </pc:spChg>
        <pc:spChg chg="add mod replST delST">
          <ac:chgData name="Mick Mooney" userId="e6518e4e-af4a-4bea-b39c-20489a1e5519" providerId="ADAL" clId="{3014DE50-B07B-4776-BEAC-0F779D92A13E}" dt="2023-07-31T14:16:44.764" v="30268"/>
          <ac:spMkLst>
            <pc:docMk/>
            <pc:sldMk cId="1044739431" sldId="2147479619"/>
            <ac:spMk id="2" creationId="{CC3D146B-9B59-3D28-5BA4-EA1A8BE23F8C}"/>
          </ac:spMkLst>
        </pc:spChg>
        <pc:spChg chg="add mod">
          <ac:chgData name="Mick Mooney" userId="e6518e4e-af4a-4bea-b39c-20489a1e5519" providerId="ADAL" clId="{3014DE50-B07B-4776-BEAC-0F779D92A13E}" dt="2023-07-31T14:44:43.784" v="31498"/>
          <ac:spMkLst>
            <pc:docMk/>
            <pc:sldMk cId="1044739431" sldId="2147479619"/>
            <ac:spMk id="3" creationId="{214616C4-560D-8371-70A6-EB3A718488C8}"/>
          </ac:spMkLst>
        </pc:spChg>
        <pc:spChg chg="mod replST delST">
          <ac:chgData name="Mick Mooney" userId="e6518e4e-af4a-4bea-b39c-20489a1e5519" providerId="ADAL" clId="{3014DE50-B07B-4776-BEAC-0F779D92A13E}" dt="2023-07-31T12:35:41.989" v="25444" actId="2711"/>
          <ac:spMkLst>
            <pc:docMk/>
            <pc:sldMk cId="1044739431" sldId="2147479619"/>
            <ac:spMk id="4" creationId="{522BADA7-2281-0AED-62EA-23400A6B96B9}"/>
          </ac:spMkLst>
        </pc:spChg>
        <pc:spChg chg="del mod replST delST">
          <ac:chgData name="Mick Mooney" userId="e6518e4e-af4a-4bea-b39c-20489a1e5519" providerId="ADAL" clId="{3014DE50-B07B-4776-BEAC-0F779D92A13E}" dt="2023-07-25T12:14:53.408" v="8989"/>
          <ac:spMkLst>
            <pc:docMk/>
            <pc:sldMk cId="1044739431" sldId="2147479619"/>
            <ac:spMk id="5" creationId="{DCDFDBCD-0CBB-0997-A3A4-75AEC01EFED4}"/>
          </ac:spMkLst>
        </pc:spChg>
        <pc:spChg chg="add mod replST delST">
          <ac:chgData name="Mick Mooney" userId="e6518e4e-af4a-4bea-b39c-20489a1e5519" providerId="ADAL" clId="{3014DE50-B07B-4776-BEAC-0F779D92A13E}" dt="2023-07-31T15:07:41.524" v="32852"/>
          <ac:spMkLst>
            <pc:docMk/>
            <pc:sldMk cId="1044739431" sldId="2147479619"/>
            <ac:spMk id="5" creationId="{F77EEC95-6B62-BC76-F18A-EBE6776FD3F2}"/>
          </ac:spMkLst>
        </pc:spChg>
        <pc:spChg chg="add del mod replST delST">
          <ac:chgData name="Mick Mooney" userId="e6518e4e-af4a-4bea-b39c-20489a1e5519" providerId="ADAL" clId="{3014DE50-B07B-4776-BEAC-0F779D92A13E}" dt="2023-07-31T14:44:42.576" v="31497" actId="478"/>
          <ac:spMkLst>
            <pc:docMk/>
            <pc:sldMk cId="1044739431" sldId="2147479619"/>
            <ac:spMk id="6" creationId="{7B9F3A31-1076-D573-1E49-420B2FD87ACE}"/>
          </ac:spMkLst>
        </pc:spChg>
        <pc:spChg chg="mod replST delST">
          <ac:chgData name="Mick Mooney" userId="e6518e4e-af4a-4bea-b39c-20489a1e5519" providerId="ADAL" clId="{3014DE50-B07B-4776-BEAC-0F779D92A13E}" dt="2023-07-31T12:35:41.989" v="25444" actId="2711"/>
          <ac:spMkLst>
            <pc:docMk/>
            <pc:sldMk cId="1044739431" sldId="2147479619"/>
            <ac:spMk id="8" creationId="{7824D54C-15D2-467C-A016-166944D0781C}"/>
          </ac:spMkLst>
        </pc:spChg>
        <pc:spChg chg="add del mod replST delST">
          <ac:chgData name="Mick Mooney" userId="e6518e4e-af4a-4bea-b39c-20489a1e5519" providerId="ADAL" clId="{3014DE50-B07B-4776-BEAC-0F779D92A13E}" dt="2023-07-25T12:40:00.930" v="9385" actId="478"/>
          <ac:spMkLst>
            <pc:docMk/>
            <pc:sldMk cId="1044739431" sldId="2147479619"/>
            <ac:spMk id="13" creationId="{D6A25848-5234-159C-F41F-1A47668CC6D2}"/>
          </ac:spMkLst>
        </pc:spChg>
        <pc:spChg chg="add mod replST delST">
          <ac:chgData name="Mick Mooney" userId="e6518e4e-af4a-4bea-b39c-20489a1e5519" providerId="ADAL" clId="{3014DE50-B07B-4776-BEAC-0F779D92A13E}" dt="2023-07-31T13:04:55.227" v="28709" actId="207"/>
          <ac:spMkLst>
            <pc:docMk/>
            <pc:sldMk cId="1044739431" sldId="2147479619"/>
            <ac:spMk id="14" creationId="{5B304DB3-95E8-EE62-0519-B33926284FFC}"/>
          </ac:spMkLst>
        </pc:spChg>
        <pc:spChg chg="mod">
          <ac:chgData name="Mick Mooney" userId="e6518e4e-af4a-4bea-b39c-20489a1e5519" providerId="ADAL" clId="{3014DE50-B07B-4776-BEAC-0F779D92A13E}" dt="2023-07-31T12:35:41.989" v="25444" actId="2711"/>
          <ac:spMkLst>
            <pc:docMk/>
            <pc:sldMk cId="1044739431" sldId="2147479619"/>
            <ac:spMk id="83" creationId="{38BA1687-496F-4C8F-AF0B-DB160EEA7CE5}"/>
          </ac:spMkLst>
        </pc:spChg>
        <pc:picChg chg="del">
          <ac:chgData name="Mick Mooney" userId="e6518e4e-af4a-4bea-b39c-20489a1e5519" providerId="ADAL" clId="{3014DE50-B07B-4776-BEAC-0F779D92A13E}" dt="2023-07-25T12:02:36.338" v="8875" actId="478"/>
          <ac:picMkLst>
            <pc:docMk/>
            <pc:sldMk cId="1044739431" sldId="2147479619"/>
            <ac:picMk id="3" creationId="{3164C2A3-2BF7-A5E3-0322-28D3640E7453}"/>
          </ac:picMkLst>
        </pc:picChg>
        <pc:picChg chg="add del mod">
          <ac:chgData name="Mick Mooney" userId="e6518e4e-af4a-4bea-b39c-20489a1e5519" providerId="ADAL" clId="{3014DE50-B07B-4776-BEAC-0F779D92A13E}" dt="2023-07-31T14:44:46.687" v="31499" actId="478"/>
          <ac:picMkLst>
            <pc:docMk/>
            <pc:sldMk cId="1044739431" sldId="2147479619"/>
            <ac:picMk id="7" creationId="{196EEE28-4190-02C7-88AF-87895ABBC6E4}"/>
          </ac:picMkLst>
        </pc:picChg>
        <pc:picChg chg="del">
          <ac:chgData name="Mick Mooney" userId="e6518e4e-af4a-4bea-b39c-20489a1e5519" providerId="ADAL" clId="{3014DE50-B07B-4776-BEAC-0F779D92A13E}" dt="2023-07-25T12:03:32" v="8895" actId="478"/>
          <ac:picMkLst>
            <pc:docMk/>
            <pc:sldMk cId="1044739431" sldId="2147479619"/>
            <ac:picMk id="7" creationId="{C87D29C3-C7DC-6849-D7A3-7E0195D7158F}"/>
          </ac:picMkLst>
        </pc:picChg>
        <pc:picChg chg="add mod ord">
          <ac:chgData name="Mick Mooney" userId="e6518e4e-af4a-4bea-b39c-20489a1e5519" providerId="ADAL" clId="{3014DE50-B07B-4776-BEAC-0F779D92A13E}" dt="2023-07-31T14:44:52.305" v="31501" actId="1076"/>
          <ac:picMkLst>
            <pc:docMk/>
            <pc:sldMk cId="1044739431" sldId="2147479619"/>
            <ac:picMk id="9" creationId="{09E06A8A-3258-079A-90EF-853CF7C25628}"/>
          </ac:picMkLst>
        </pc:picChg>
        <pc:picChg chg="add mod">
          <ac:chgData name="Mick Mooney" userId="e6518e4e-af4a-4bea-b39c-20489a1e5519" providerId="ADAL" clId="{3014DE50-B07B-4776-BEAC-0F779D92A13E}" dt="2023-07-31T14:16:09.109" v="30211" actId="1076"/>
          <ac:picMkLst>
            <pc:docMk/>
            <pc:sldMk cId="1044739431" sldId="2147479619"/>
            <ac:picMk id="11" creationId="{6E8AC8CA-76D8-4913-EC84-F79FF0E23A9A}"/>
          </ac:picMkLst>
        </pc:picChg>
      </pc:sldChg>
      <pc:sldChg chg="addSp delSp modSp add mod">
        <pc:chgData name="Mick Mooney" userId="e6518e4e-af4a-4bea-b39c-20489a1e5519" providerId="ADAL" clId="{3014DE50-B07B-4776-BEAC-0F779D92A13E}" dt="2023-07-25T13:03:00.511" v="11057"/>
        <pc:sldMkLst>
          <pc:docMk/>
          <pc:sldMk cId="708211554" sldId="2147479620"/>
        </pc:sldMkLst>
        <pc:spChg chg="add mod">
          <ac:chgData name="Mick Mooney" userId="e6518e4e-af4a-4bea-b39c-20489a1e5519" providerId="ADAL" clId="{3014DE50-B07B-4776-BEAC-0F779D92A13E}" dt="2023-07-25T12:16:05.857" v="9083"/>
          <ac:spMkLst>
            <pc:docMk/>
            <pc:sldMk cId="708211554" sldId="2147479620"/>
            <ac:spMk id="2" creationId="{2A3E6A58-59B6-66EC-DCBF-147B11D64D80}"/>
          </ac:spMkLst>
        </pc:spChg>
        <pc:spChg chg="add mod">
          <ac:chgData name="Mick Mooney" userId="e6518e4e-af4a-4bea-b39c-20489a1e5519" providerId="ADAL" clId="{3014DE50-B07B-4776-BEAC-0F779D92A13E}" dt="2023-07-25T12:16:05.857" v="9083"/>
          <ac:spMkLst>
            <pc:docMk/>
            <pc:sldMk cId="708211554" sldId="2147479620"/>
            <ac:spMk id="3" creationId="{CFB267DA-7178-6B10-B032-0214E0933B7B}"/>
          </ac:spMkLst>
        </pc:spChg>
        <pc:spChg chg="add mod replST delST">
          <ac:chgData name="Mick Mooney" userId="e6518e4e-af4a-4bea-b39c-20489a1e5519" providerId="ADAL" clId="{3014DE50-B07B-4776-BEAC-0F779D92A13E}" dt="2023-07-25T12:16:21.469" v="9103"/>
          <ac:spMkLst>
            <pc:docMk/>
            <pc:sldMk cId="708211554" sldId="2147479620"/>
            <ac:spMk id="4" creationId="{F85701F8-51DB-DD40-31E0-F3D4A8A839EA}"/>
          </ac:spMkLst>
        </pc:spChg>
        <pc:spChg chg="add mod replST delST">
          <ac:chgData name="Mick Mooney" userId="e6518e4e-af4a-4bea-b39c-20489a1e5519" providerId="ADAL" clId="{3014DE50-B07B-4776-BEAC-0F779D92A13E}" dt="2023-07-25T13:03:00.511" v="11057"/>
          <ac:spMkLst>
            <pc:docMk/>
            <pc:sldMk cId="708211554" sldId="2147479620"/>
            <ac:spMk id="6" creationId="{E2571F8B-AD2A-D600-602E-DB30E505AC01}"/>
          </ac:spMkLst>
        </pc:spChg>
        <pc:spChg chg="del replST delST">
          <ac:chgData name="Mick Mooney" userId="e6518e4e-af4a-4bea-b39c-20489a1e5519" providerId="ADAL" clId="{3014DE50-B07B-4776-BEAC-0F779D92A13E}" dt="2023-07-25T12:16:04.818" v="9082" actId="478"/>
          <ac:spMkLst>
            <pc:docMk/>
            <pc:sldMk cId="708211554" sldId="2147479620"/>
            <ac:spMk id="83" creationId="{38BA1687-496F-4C8F-AF0B-DB160EEA7CE5}"/>
          </ac:spMkLst>
        </pc:spChg>
        <pc:picChg chg="add del mod">
          <ac:chgData name="Mick Mooney" userId="e6518e4e-af4a-4bea-b39c-20489a1e5519" providerId="ADAL" clId="{3014DE50-B07B-4776-BEAC-0F779D92A13E}" dt="2023-07-25T12:16:58.623" v="9122" actId="478"/>
          <ac:picMkLst>
            <pc:docMk/>
            <pc:sldMk cId="708211554" sldId="2147479620"/>
            <ac:picMk id="5" creationId="{123658EC-94E4-1192-1F8D-FFD09E2EE551}"/>
          </ac:picMkLst>
        </pc:picChg>
        <pc:picChg chg="add mod">
          <ac:chgData name="Mick Mooney" userId="e6518e4e-af4a-4bea-b39c-20489a1e5519" providerId="ADAL" clId="{3014DE50-B07B-4776-BEAC-0F779D92A13E}" dt="2023-07-25T12:17:31.570" v="9128" actId="1076"/>
          <ac:picMkLst>
            <pc:docMk/>
            <pc:sldMk cId="708211554" sldId="2147479620"/>
            <ac:picMk id="9" creationId="{59D205A3-F0F8-155A-CECA-506998F1A2B8}"/>
          </ac:picMkLst>
        </pc:picChg>
      </pc:sldChg>
      <pc:sldChg chg="add del">
        <pc:chgData name="Mick Mooney" userId="e6518e4e-af4a-4bea-b39c-20489a1e5519" providerId="ADAL" clId="{3014DE50-B07B-4776-BEAC-0F779D92A13E}" dt="2023-07-22T14:19:35.728" v="8103"/>
        <pc:sldMkLst>
          <pc:docMk/>
          <pc:sldMk cId="2676108211" sldId="2147479620"/>
        </pc:sldMkLst>
      </pc:sldChg>
      <pc:sldChg chg="addSp delSp modSp add mod">
        <pc:chgData name="Mick Mooney" userId="e6518e4e-af4a-4bea-b39c-20489a1e5519" providerId="ADAL" clId="{3014DE50-B07B-4776-BEAC-0F779D92A13E}" dt="2023-07-31T14:30:07.237" v="30807" actId="1076"/>
        <pc:sldMkLst>
          <pc:docMk/>
          <pc:sldMk cId="946023888" sldId="2147479621"/>
        </pc:sldMkLst>
        <pc:spChg chg="mod">
          <ac:chgData name="Mick Mooney" userId="e6518e4e-af4a-4bea-b39c-20489a1e5519" providerId="ADAL" clId="{3014DE50-B07B-4776-BEAC-0F779D92A13E}" dt="2023-07-31T09:45:59.775" v="23287" actId="2711"/>
          <ac:spMkLst>
            <pc:docMk/>
            <pc:sldMk cId="946023888" sldId="2147479621"/>
            <ac:spMk id="2" creationId="{2A3E6A58-59B6-66EC-DCBF-147B11D64D80}"/>
          </ac:spMkLst>
        </pc:spChg>
        <pc:spChg chg="mod replST delST">
          <ac:chgData name="Mick Mooney" userId="e6518e4e-af4a-4bea-b39c-20489a1e5519" providerId="ADAL" clId="{3014DE50-B07B-4776-BEAC-0F779D92A13E}" dt="2023-07-31T09:45:59.775" v="23287" actId="2711"/>
          <ac:spMkLst>
            <pc:docMk/>
            <pc:sldMk cId="946023888" sldId="2147479621"/>
            <ac:spMk id="3" creationId="{CFB267DA-7178-6B10-B032-0214E0933B7B}"/>
          </ac:spMkLst>
        </pc:spChg>
        <pc:spChg chg="del mod replST delST">
          <ac:chgData name="Mick Mooney" userId="e6518e4e-af4a-4bea-b39c-20489a1e5519" providerId="ADAL" clId="{3014DE50-B07B-4776-BEAC-0F779D92A13E}" dt="2023-07-31T14:28:38.064" v="30736" actId="478"/>
          <ac:spMkLst>
            <pc:docMk/>
            <pc:sldMk cId="946023888" sldId="2147479621"/>
            <ac:spMk id="4" creationId="{F85701F8-51DB-DD40-31E0-F3D4A8A839EA}"/>
          </ac:spMkLst>
        </pc:spChg>
        <pc:spChg chg="mod replST delST">
          <ac:chgData name="Mick Mooney" userId="e6518e4e-af4a-4bea-b39c-20489a1e5519" providerId="ADAL" clId="{3014DE50-B07B-4776-BEAC-0F779D92A13E}" dt="2023-07-31T13:51:58.630" v="29987"/>
          <ac:spMkLst>
            <pc:docMk/>
            <pc:sldMk cId="946023888" sldId="2147479621"/>
            <ac:spMk id="6" creationId="{E2571F8B-AD2A-D600-602E-DB30E505AC01}"/>
          </ac:spMkLst>
        </pc:spChg>
        <pc:spChg chg="mod">
          <ac:chgData name="Mick Mooney" userId="e6518e4e-af4a-4bea-b39c-20489a1e5519" providerId="ADAL" clId="{3014DE50-B07B-4776-BEAC-0F779D92A13E}" dt="2023-07-31T09:45:59.775" v="23287" actId="2711"/>
          <ac:spMkLst>
            <pc:docMk/>
            <pc:sldMk cId="946023888" sldId="2147479621"/>
            <ac:spMk id="7" creationId="{CD2E0F66-01F1-3033-20B7-73AC22B694F9}"/>
          </ac:spMkLst>
        </pc:spChg>
        <pc:spChg chg="mod replST delST">
          <ac:chgData name="Mick Mooney" userId="e6518e4e-af4a-4bea-b39c-20489a1e5519" providerId="ADAL" clId="{3014DE50-B07B-4776-BEAC-0F779D92A13E}" dt="2023-07-31T09:45:59.775" v="23287" actId="2711"/>
          <ac:spMkLst>
            <pc:docMk/>
            <pc:sldMk cId="946023888" sldId="2147479621"/>
            <ac:spMk id="8" creationId="{7824D54C-15D2-467C-A016-166944D0781C}"/>
          </ac:spMkLst>
        </pc:spChg>
        <pc:spChg chg="add mod replST delST">
          <ac:chgData name="Mick Mooney" userId="e6518e4e-af4a-4bea-b39c-20489a1e5519" providerId="ADAL" clId="{3014DE50-B07B-4776-BEAC-0F779D92A13E}" dt="2023-07-31T13:37:14.160" v="29875" actId="1076"/>
          <ac:spMkLst>
            <pc:docMk/>
            <pc:sldMk cId="946023888" sldId="2147479621"/>
            <ac:spMk id="9" creationId="{83760D19-A613-4D14-0AB1-CA0FA010B805}"/>
          </ac:spMkLst>
        </pc:spChg>
        <pc:spChg chg="add mod">
          <ac:chgData name="Mick Mooney" userId="e6518e4e-af4a-4bea-b39c-20489a1e5519" providerId="ADAL" clId="{3014DE50-B07B-4776-BEAC-0F779D92A13E}" dt="2023-07-31T14:28:39.703" v="30737"/>
          <ac:spMkLst>
            <pc:docMk/>
            <pc:sldMk cId="946023888" sldId="2147479621"/>
            <ac:spMk id="10" creationId="{2DBA2EC9-B8C2-9F0B-DA83-E02E666BFEA0}"/>
          </ac:spMkLst>
        </pc:spChg>
        <pc:spChg chg="add mod replST delST">
          <ac:chgData name="Mick Mooney" userId="e6518e4e-af4a-4bea-b39c-20489a1e5519" providerId="ADAL" clId="{3014DE50-B07B-4776-BEAC-0F779D92A13E}" dt="2023-07-31T14:30:07.237" v="30807" actId="1076"/>
          <ac:spMkLst>
            <pc:docMk/>
            <pc:sldMk cId="946023888" sldId="2147479621"/>
            <ac:spMk id="12" creationId="{08BEDC15-550A-8B09-8EE9-B656C25CCE0E}"/>
          </ac:spMkLst>
        </pc:spChg>
        <pc:spChg chg="mod replST delST">
          <ac:chgData name="Mick Mooney" userId="e6518e4e-af4a-4bea-b39c-20489a1e5519" providerId="ADAL" clId="{3014DE50-B07B-4776-BEAC-0F779D92A13E}" dt="2023-07-31T13:52:00.654" v="29989"/>
          <ac:spMkLst>
            <pc:docMk/>
            <pc:sldMk cId="946023888" sldId="2147479621"/>
            <ac:spMk id="13" creationId="{E748F713-E74C-59FC-9CFF-3BCC4E83C7CF}"/>
          </ac:spMkLst>
        </pc:spChg>
        <pc:picChg chg="add mod ord">
          <ac:chgData name="Mick Mooney" userId="e6518e4e-af4a-4bea-b39c-20489a1e5519" providerId="ADAL" clId="{3014DE50-B07B-4776-BEAC-0F779D92A13E}" dt="2023-07-31T14:28:51.968" v="30741" actId="1076"/>
          <ac:picMkLst>
            <pc:docMk/>
            <pc:sldMk cId="946023888" sldId="2147479621"/>
            <ac:picMk id="5" creationId="{39EB1CE7-D4D0-3F20-25EC-4498051AEAED}"/>
          </ac:picMkLst>
        </pc:picChg>
        <pc:picChg chg="del">
          <ac:chgData name="Mick Mooney" userId="e6518e4e-af4a-4bea-b39c-20489a1e5519" providerId="ADAL" clId="{3014DE50-B07B-4776-BEAC-0F779D92A13E}" dt="2023-07-25T12:18:57.476" v="9157" actId="478"/>
          <ac:picMkLst>
            <pc:docMk/>
            <pc:sldMk cId="946023888" sldId="2147479621"/>
            <ac:picMk id="9" creationId="{59D205A3-F0F8-155A-CECA-506998F1A2B8}"/>
          </ac:picMkLst>
        </pc:picChg>
        <pc:picChg chg="add del mod">
          <ac:chgData name="Mick Mooney" userId="e6518e4e-af4a-4bea-b39c-20489a1e5519" providerId="ADAL" clId="{3014DE50-B07B-4776-BEAC-0F779D92A13E}" dt="2023-07-31T14:28:42.831" v="30738" actId="478"/>
          <ac:picMkLst>
            <pc:docMk/>
            <pc:sldMk cId="946023888" sldId="2147479621"/>
            <ac:picMk id="14" creationId="{32D59FA3-AD8E-F5EE-BFD7-75B90FFE0D82}"/>
          </ac:picMkLst>
        </pc:picChg>
      </pc:sldChg>
      <pc:sldChg chg="add del">
        <pc:chgData name="Mick Mooney" userId="e6518e4e-af4a-4bea-b39c-20489a1e5519" providerId="ADAL" clId="{3014DE50-B07B-4776-BEAC-0F779D92A13E}" dt="2023-07-22T14:19:35.728" v="8103"/>
        <pc:sldMkLst>
          <pc:docMk/>
          <pc:sldMk cId="1909328083" sldId="2147479621"/>
        </pc:sldMkLst>
      </pc:sldChg>
      <pc:sldChg chg="addSp delSp modSp add mod ord">
        <pc:chgData name="Mick Mooney" userId="e6518e4e-af4a-4bea-b39c-20489a1e5519" providerId="ADAL" clId="{3014DE50-B07B-4776-BEAC-0F779D92A13E}" dt="2023-07-31T16:05:48.956" v="33417" actId="1076"/>
        <pc:sldMkLst>
          <pc:docMk/>
          <pc:sldMk cId="2348443221" sldId="2147479622"/>
        </pc:sldMkLst>
        <pc:spChg chg="mod">
          <ac:chgData name="Mick Mooney" userId="e6518e4e-af4a-4bea-b39c-20489a1e5519" providerId="ADAL" clId="{3014DE50-B07B-4776-BEAC-0F779D92A13E}" dt="2023-07-31T12:35:13.476" v="25441" actId="2711"/>
          <ac:spMkLst>
            <pc:docMk/>
            <pc:sldMk cId="2348443221" sldId="2147479622"/>
            <ac:spMk id="2" creationId="{625525EB-FC28-C8C5-48E4-EA4A7BF0AB52}"/>
          </ac:spMkLst>
        </pc:spChg>
        <pc:spChg chg="mod replST delST">
          <ac:chgData name="Mick Mooney" userId="e6518e4e-af4a-4bea-b39c-20489a1e5519" providerId="ADAL" clId="{3014DE50-B07B-4776-BEAC-0F779D92A13E}" dt="2023-07-31T14:32:46.847" v="30826"/>
          <ac:spMkLst>
            <pc:docMk/>
            <pc:sldMk cId="2348443221" sldId="2147479622"/>
            <ac:spMk id="3" creationId="{A3E0401D-34B9-84E0-1877-7D73E3473042}"/>
          </ac:spMkLst>
        </pc:spChg>
        <pc:spChg chg="del mod replST delST">
          <ac:chgData name="Mick Mooney" userId="e6518e4e-af4a-4bea-b39c-20489a1e5519" providerId="ADAL" clId="{3014DE50-B07B-4776-BEAC-0F779D92A13E}" dt="2023-07-31T14:32:45.487" v="30824" actId="478"/>
          <ac:spMkLst>
            <pc:docMk/>
            <pc:sldMk cId="2348443221" sldId="2147479622"/>
            <ac:spMk id="4" creationId="{9D9421DD-DB00-CF7A-A121-3D0BD2C32607}"/>
          </ac:spMkLst>
        </pc:spChg>
        <pc:spChg chg="add mod replST delST">
          <ac:chgData name="Mick Mooney" userId="e6518e4e-af4a-4bea-b39c-20489a1e5519" providerId="ADAL" clId="{3014DE50-B07B-4776-BEAC-0F779D92A13E}" dt="2023-07-31T14:05:32.581" v="30196"/>
          <ac:spMkLst>
            <pc:docMk/>
            <pc:sldMk cId="2348443221" sldId="2147479622"/>
            <ac:spMk id="5" creationId="{CF4E274D-B7ED-2D64-AB63-B0C9BB57FDCF}"/>
          </ac:spMkLst>
        </pc:spChg>
        <pc:spChg chg="mod replST delST">
          <ac:chgData name="Mick Mooney" userId="e6518e4e-af4a-4bea-b39c-20489a1e5519" providerId="ADAL" clId="{3014DE50-B07B-4776-BEAC-0F779D92A13E}" dt="2023-07-31T16:05:40.935" v="33416" actId="1076"/>
          <ac:spMkLst>
            <pc:docMk/>
            <pc:sldMk cId="2348443221" sldId="2147479622"/>
            <ac:spMk id="6" creationId="{DB57BDEC-391C-BDCB-C111-D57C96DB51A4}"/>
          </ac:spMkLst>
        </pc:spChg>
        <pc:spChg chg="mod replST delST">
          <ac:chgData name="Mick Mooney" userId="e6518e4e-af4a-4bea-b39c-20489a1e5519" providerId="ADAL" clId="{3014DE50-B07B-4776-BEAC-0F779D92A13E}" dt="2023-07-31T12:35:13.476" v="25441" actId="2711"/>
          <ac:spMkLst>
            <pc:docMk/>
            <pc:sldMk cId="2348443221" sldId="2147479622"/>
            <ac:spMk id="8" creationId="{7824D54C-15D2-467C-A016-166944D0781C}"/>
          </ac:spMkLst>
        </pc:spChg>
        <pc:spChg chg="add mod replST delST">
          <ac:chgData name="Mick Mooney" userId="e6518e4e-af4a-4bea-b39c-20489a1e5519" providerId="ADAL" clId="{3014DE50-B07B-4776-BEAC-0F779D92A13E}" dt="2023-07-31T14:40:06.705" v="31398"/>
          <ac:spMkLst>
            <pc:docMk/>
            <pc:sldMk cId="2348443221" sldId="2147479622"/>
            <ac:spMk id="10" creationId="{825ABD85-D2E5-3CC1-5709-2E5EC261BD12}"/>
          </ac:spMkLst>
        </pc:spChg>
        <pc:spChg chg="add mod replST delST">
          <ac:chgData name="Mick Mooney" userId="e6518e4e-af4a-4bea-b39c-20489a1e5519" providerId="ADAL" clId="{3014DE50-B07B-4776-BEAC-0F779D92A13E}" dt="2023-07-31T14:39:17.002" v="31392"/>
          <ac:spMkLst>
            <pc:docMk/>
            <pc:sldMk cId="2348443221" sldId="2147479622"/>
            <ac:spMk id="12" creationId="{F65F4078-3A04-71C4-0C77-CAD56459F671}"/>
          </ac:spMkLst>
        </pc:spChg>
        <pc:picChg chg="mod">
          <ac:chgData name="Mick Mooney" userId="e6518e4e-af4a-4bea-b39c-20489a1e5519" providerId="ADAL" clId="{3014DE50-B07B-4776-BEAC-0F779D92A13E}" dt="2023-07-31T16:05:48.956" v="33417" actId="1076"/>
          <ac:picMkLst>
            <pc:docMk/>
            <pc:sldMk cId="2348443221" sldId="2147479622"/>
            <ac:picMk id="7" creationId="{3D3258AA-D6C4-182A-1AA3-26F4352AB9C5}"/>
          </ac:picMkLst>
        </pc:picChg>
        <pc:picChg chg="mod ord">
          <ac:chgData name="Mick Mooney" userId="e6518e4e-af4a-4bea-b39c-20489a1e5519" providerId="ADAL" clId="{3014DE50-B07B-4776-BEAC-0F779D92A13E}" dt="2023-07-31T14:32:59.528" v="30831" actId="1076"/>
          <ac:picMkLst>
            <pc:docMk/>
            <pc:sldMk cId="2348443221" sldId="2147479622"/>
            <ac:picMk id="9" creationId="{A0D89E03-A0BA-701F-14F9-499D1834008B}"/>
          </ac:picMkLst>
        </pc:picChg>
        <pc:picChg chg="add del mod">
          <ac:chgData name="Mick Mooney" userId="e6518e4e-af4a-4bea-b39c-20489a1e5519" providerId="ADAL" clId="{3014DE50-B07B-4776-BEAC-0F779D92A13E}" dt="2023-07-31T14:32:51.722" v="30828" actId="478"/>
          <ac:picMkLst>
            <pc:docMk/>
            <pc:sldMk cId="2348443221" sldId="2147479622"/>
            <ac:picMk id="11" creationId="{0888B921-4B3C-CFCE-77BC-32D3F0A9FF81}"/>
          </ac:picMkLst>
        </pc:picChg>
      </pc:sldChg>
      <pc:sldChg chg="add del">
        <pc:chgData name="Mick Mooney" userId="e6518e4e-af4a-4bea-b39c-20489a1e5519" providerId="ADAL" clId="{3014DE50-B07B-4776-BEAC-0F779D92A13E}" dt="2023-07-22T14:19:35.728" v="8103"/>
        <pc:sldMkLst>
          <pc:docMk/>
          <pc:sldMk cId="3519506323" sldId="2147479622"/>
        </pc:sldMkLst>
      </pc:sldChg>
      <pc:sldChg chg="addSp delSp modSp add mod">
        <pc:chgData name="Mick Mooney" userId="e6518e4e-af4a-4bea-b39c-20489a1e5519" providerId="ADAL" clId="{3014DE50-B07B-4776-BEAC-0F779D92A13E}" dt="2023-07-31T15:00:47.671" v="32465"/>
        <pc:sldMkLst>
          <pc:docMk/>
          <pc:sldMk cId="1254331358" sldId="2147479623"/>
        </pc:sldMkLst>
        <pc:spChg chg="mod">
          <ac:chgData name="Mick Mooney" userId="e6518e4e-af4a-4bea-b39c-20489a1e5519" providerId="ADAL" clId="{3014DE50-B07B-4776-BEAC-0F779D92A13E}" dt="2023-07-31T12:35:58.842" v="25446" actId="2711"/>
          <ac:spMkLst>
            <pc:docMk/>
            <pc:sldMk cId="1254331358" sldId="2147479623"/>
            <ac:spMk id="2" creationId="{625525EB-FC28-C8C5-48E4-EA4A7BF0AB52}"/>
          </ac:spMkLst>
        </pc:spChg>
        <pc:spChg chg="mod replST delST">
          <ac:chgData name="Mick Mooney" userId="e6518e4e-af4a-4bea-b39c-20489a1e5519" providerId="ADAL" clId="{3014DE50-B07B-4776-BEAC-0F779D92A13E}" dt="2023-07-31T15:00:44.525" v="32461"/>
          <ac:spMkLst>
            <pc:docMk/>
            <pc:sldMk cId="1254331358" sldId="2147479623"/>
            <ac:spMk id="3" creationId="{A3E0401D-34B9-84E0-1877-7D73E3473042}"/>
          </ac:spMkLst>
        </pc:spChg>
        <pc:spChg chg="del mod replST delST">
          <ac:chgData name="Mick Mooney" userId="e6518e4e-af4a-4bea-b39c-20489a1e5519" providerId="ADAL" clId="{3014DE50-B07B-4776-BEAC-0F779D92A13E}" dt="2023-07-31T14:40:56.516" v="31465" actId="478"/>
          <ac:spMkLst>
            <pc:docMk/>
            <pc:sldMk cId="1254331358" sldId="2147479623"/>
            <ac:spMk id="4" creationId="{9D9421DD-DB00-CF7A-A121-3D0BD2C32607}"/>
          </ac:spMkLst>
        </pc:spChg>
        <pc:spChg chg="add mod replST delST">
          <ac:chgData name="Mick Mooney" userId="e6518e4e-af4a-4bea-b39c-20489a1e5519" providerId="ADAL" clId="{3014DE50-B07B-4776-BEAC-0F779D92A13E}" dt="2023-07-31T14:19:13.464" v="30591"/>
          <ac:spMkLst>
            <pc:docMk/>
            <pc:sldMk cId="1254331358" sldId="2147479623"/>
            <ac:spMk id="5" creationId="{3367FD1E-1DB7-5A9A-C6A8-4D951B0FC9E1}"/>
          </ac:spMkLst>
        </pc:spChg>
        <pc:spChg chg="mod replST delST">
          <ac:chgData name="Mick Mooney" userId="e6518e4e-af4a-4bea-b39c-20489a1e5519" providerId="ADAL" clId="{3014DE50-B07B-4776-BEAC-0F779D92A13E}" dt="2023-07-31T13:05:10.921" v="28721" actId="207"/>
          <ac:spMkLst>
            <pc:docMk/>
            <pc:sldMk cId="1254331358" sldId="2147479623"/>
            <ac:spMk id="6" creationId="{DB57BDEC-391C-BDCB-C111-D57C96DB51A4}"/>
          </ac:spMkLst>
        </pc:spChg>
        <pc:spChg chg="add mod replST delST">
          <ac:chgData name="Mick Mooney" userId="e6518e4e-af4a-4bea-b39c-20489a1e5519" providerId="ADAL" clId="{3014DE50-B07B-4776-BEAC-0F779D92A13E}" dt="2023-07-31T15:00:47.671" v="32465"/>
          <ac:spMkLst>
            <pc:docMk/>
            <pc:sldMk cId="1254331358" sldId="2147479623"/>
            <ac:spMk id="7" creationId="{4C859766-C7CA-A526-F04E-4105ADCA1A33}"/>
          </ac:spMkLst>
        </pc:spChg>
        <pc:spChg chg="mod">
          <ac:chgData name="Mick Mooney" userId="e6518e4e-af4a-4bea-b39c-20489a1e5519" providerId="ADAL" clId="{3014DE50-B07B-4776-BEAC-0F779D92A13E}" dt="2023-07-31T12:35:58.842" v="25446" actId="2711"/>
          <ac:spMkLst>
            <pc:docMk/>
            <pc:sldMk cId="1254331358" sldId="2147479623"/>
            <ac:spMk id="8" creationId="{7824D54C-15D2-467C-A016-166944D0781C}"/>
          </ac:spMkLst>
        </pc:spChg>
        <pc:spChg chg="add mod replST delST">
          <ac:chgData name="Mick Mooney" userId="e6518e4e-af4a-4bea-b39c-20489a1e5519" providerId="ADAL" clId="{3014DE50-B07B-4776-BEAC-0F779D92A13E}" dt="2023-07-31T15:00:46.222" v="32463"/>
          <ac:spMkLst>
            <pc:docMk/>
            <pc:sldMk cId="1254331358" sldId="2147479623"/>
            <ac:spMk id="9" creationId="{1FC709B3-38DF-1A84-C161-86A28D557B38}"/>
          </ac:spMkLst>
        </pc:spChg>
        <pc:picChg chg="mod ord">
          <ac:chgData name="Mick Mooney" userId="e6518e4e-af4a-4bea-b39c-20489a1e5519" providerId="ADAL" clId="{3014DE50-B07B-4776-BEAC-0F779D92A13E}" dt="2023-07-31T14:41:07.222" v="31469" actId="1076"/>
          <ac:picMkLst>
            <pc:docMk/>
            <pc:sldMk cId="1254331358" sldId="2147479623"/>
            <ac:picMk id="10" creationId="{4805DFD9-8C5F-8A46-B4DE-D9D7DB0EADFF}"/>
          </ac:picMkLst>
        </pc:picChg>
        <pc:picChg chg="mod">
          <ac:chgData name="Mick Mooney" userId="e6518e4e-af4a-4bea-b39c-20489a1e5519" providerId="ADAL" clId="{3014DE50-B07B-4776-BEAC-0F779D92A13E}" dt="2023-07-31T08:36:14.051" v="19799" actId="1076"/>
          <ac:picMkLst>
            <pc:docMk/>
            <pc:sldMk cId="1254331358" sldId="2147479623"/>
            <ac:picMk id="11" creationId="{061D49B1-D579-FC7A-79A1-38143B97C9CD}"/>
          </ac:picMkLst>
        </pc:picChg>
        <pc:picChg chg="add del mod">
          <ac:chgData name="Mick Mooney" userId="e6518e4e-af4a-4bea-b39c-20489a1e5519" providerId="ADAL" clId="{3014DE50-B07B-4776-BEAC-0F779D92A13E}" dt="2023-07-31T14:41:00.421" v="31467" actId="478"/>
          <ac:picMkLst>
            <pc:docMk/>
            <pc:sldMk cId="1254331358" sldId="2147479623"/>
            <ac:picMk id="12" creationId="{1B5E3195-CDAA-F061-02B0-B7865C9F58FE}"/>
          </ac:picMkLst>
        </pc:picChg>
      </pc:sldChg>
      <pc:sldChg chg="add del">
        <pc:chgData name="Mick Mooney" userId="e6518e4e-af4a-4bea-b39c-20489a1e5519" providerId="ADAL" clId="{3014DE50-B07B-4776-BEAC-0F779D92A13E}" dt="2023-07-22T14:19:35.728" v="8103"/>
        <pc:sldMkLst>
          <pc:docMk/>
          <pc:sldMk cId="4152190571" sldId="2147479623"/>
        </pc:sldMkLst>
      </pc:sldChg>
      <pc:sldChg chg="modSp add del mod ord">
        <pc:chgData name="Mick Mooney" userId="e6518e4e-af4a-4bea-b39c-20489a1e5519" providerId="ADAL" clId="{3014DE50-B07B-4776-BEAC-0F779D92A13E}" dt="2023-07-25T16:53:03.926" v="14431" actId="2696"/>
        <pc:sldMkLst>
          <pc:docMk/>
          <pc:sldMk cId="3958388879" sldId="2147479624"/>
        </pc:sldMkLst>
        <pc:spChg chg="replST delST">
          <ac:chgData name="Mick Mooney" userId="e6518e4e-af4a-4bea-b39c-20489a1e5519" providerId="ADAL" clId="{3014DE50-B07B-4776-BEAC-0F779D92A13E}" dt="2023-07-25T15:17:47.526" v="13385"/>
          <ac:spMkLst>
            <pc:docMk/>
            <pc:sldMk cId="3958388879" sldId="2147479624"/>
            <ac:spMk id="3" creationId="{A3E0401D-34B9-84E0-1877-7D73E3473042}"/>
          </ac:spMkLst>
        </pc:spChg>
        <pc:spChg chg="replST delST">
          <ac:chgData name="Mick Mooney" userId="e6518e4e-af4a-4bea-b39c-20489a1e5519" providerId="ADAL" clId="{3014DE50-B07B-4776-BEAC-0F779D92A13E}" dt="2023-07-25T16:52:49.555" v="14428"/>
          <ac:spMkLst>
            <pc:docMk/>
            <pc:sldMk cId="3958388879" sldId="2147479624"/>
            <ac:spMk id="4" creationId="{9D9421DD-DB00-CF7A-A121-3D0BD2C32607}"/>
          </ac:spMkLst>
        </pc:spChg>
        <pc:spChg chg="mod replST delST">
          <ac:chgData name="Mick Mooney" userId="e6518e4e-af4a-4bea-b39c-20489a1e5519" providerId="ADAL" clId="{3014DE50-B07B-4776-BEAC-0F779D92A13E}" dt="2023-07-25T15:17:39.777" v="13379"/>
          <ac:spMkLst>
            <pc:docMk/>
            <pc:sldMk cId="3958388879" sldId="2147479624"/>
            <ac:spMk id="8" creationId="{7824D54C-15D2-467C-A016-166944D0781C}"/>
          </ac:spMkLst>
        </pc:spChg>
      </pc:sldChg>
      <pc:sldChg chg="add del">
        <pc:chgData name="Mick Mooney" userId="e6518e4e-af4a-4bea-b39c-20489a1e5519" providerId="ADAL" clId="{3014DE50-B07B-4776-BEAC-0F779D92A13E}" dt="2023-07-22T14:19:35.728" v="8103"/>
        <pc:sldMkLst>
          <pc:docMk/>
          <pc:sldMk cId="4259820044" sldId="2147479624"/>
        </pc:sldMkLst>
      </pc:sldChg>
      <pc:sldChg chg="delSp modSp add mod ord">
        <pc:chgData name="Mick Mooney" userId="e6518e4e-af4a-4bea-b39c-20489a1e5519" providerId="ADAL" clId="{3014DE50-B07B-4776-BEAC-0F779D92A13E}" dt="2023-07-31T09:50:38.252" v="23337" actId="2711"/>
        <pc:sldMkLst>
          <pc:docMk/>
          <pc:sldMk cId="191095386" sldId="2147479625"/>
        </pc:sldMkLst>
        <pc:spChg chg="mod">
          <ac:chgData name="Mick Mooney" userId="e6518e4e-af4a-4bea-b39c-20489a1e5519" providerId="ADAL" clId="{3014DE50-B07B-4776-BEAC-0F779D92A13E}" dt="2023-07-31T09:50:38.252" v="23337" actId="2711"/>
          <ac:spMkLst>
            <pc:docMk/>
            <pc:sldMk cId="191095386" sldId="2147479625"/>
            <ac:spMk id="3" creationId="{39ABD435-15FB-40A4-BA87-DE1432D0CB94}"/>
          </ac:spMkLst>
        </pc:spChg>
        <pc:spChg chg="mod">
          <ac:chgData name="Mick Mooney" userId="e6518e4e-af4a-4bea-b39c-20489a1e5519" providerId="ADAL" clId="{3014DE50-B07B-4776-BEAC-0F779D92A13E}" dt="2023-07-31T09:50:38.252" v="23337" actId="2711"/>
          <ac:spMkLst>
            <pc:docMk/>
            <pc:sldMk cId="191095386" sldId="2147479625"/>
            <ac:spMk id="8" creationId="{7824D54C-15D2-467C-A016-166944D0781C}"/>
          </ac:spMkLst>
        </pc:spChg>
        <pc:spChg chg="mod">
          <ac:chgData name="Mick Mooney" userId="e6518e4e-af4a-4bea-b39c-20489a1e5519" providerId="ADAL" clId="{3014DE50-B07B-4776-BEAC-0F779D92A13E}" dt="2023-07-31T09:50:38.252" v="23337" actId="2711"/>
          <ac:spMkLst>
            <pc:docMk/>
            <pc:sldMk cId="191095386" sldId="2147479625"/>
            <ac:spMk id="13" creationId="{048EA923-201C-4127-A92A-D71D55B16DD9}"/>
          </ac:spMkLst>
        </pc:spChg>
        <pc:spChg chg="mod">
          <ac:chgData name="Mick Mooney" userId="e6518e4e-af4a-4bea-b39c-20489a1e5519" providerId="ADAL" clId="{3014DE50-B07B-4776-BEAC-0F779D92A13E}" dt="2023-07-31T09:50:38.252" v="23337" actId="2711"/>
          <ac:spMkLst>
            <pc:docMk/>
            <pc:sldMk cId="191095386" sldId="2147479625"/>
            <ac:spMk id="15" creationId="{2FC46DA3-6AC1-45FB-A9CF-08126F196F61}"/>
          </ac:spMkLst>
        </pc:spChg>
        <pc:spChg chg="mod">
          <ac:chgData name="Mick Mooney" userId="e6518e4e-af4a-4bea-b39c-20489a1e5519" providerId="ADAL" clId="{3014DE50-B07B-4776-BEAC-0F779D92A13E}" dt="2023-07-31T09:50:38.252" v="23337" actId="2711"/>
          <ac:spMkLst>
            <pc:docMk/>
            <pc:sldMk cId="191095386" sldId="2147479625"/>
            <ac:spMk id="17" creationId="{8C9460DB-676C-4AF1-BB43-13950E17CBA7}"/>
          </ac:spMkLst>
        </pc:spChg>
        <pc:spChg chg="mod">
          <ac:chgData name="Mick Mooney" userId="e6518e4e-af4a-4bea-b39c-20489a1e5519" providerId="ADAL" clId="{3014DE50-B07B-4776-BEAC-0F779D92A13E}" dt="2023-07-31T09:50:38.252" v="23337" actId="2711"/>
          <ac:spMkLst>
            <pc:docMk/>
            <pc:sldMk cId="191095386" sldId="2147479625"/>
            <ac:spMk id="22" creationId="{CA33DD07-C332-43FF-B1BE-BC81570F83D3}"/>
          </ac:spMkLst>
        </pc:spChg>
        <pc:picChg chg="del">
          <ac:chgData name="Mick Mooney" userId="e6518e4e-af4a-4bea-b39c-20489a1e5519" providerId="ADAL" clId="{3014DE50-B07B-4776-BEAC-0F779D92A13E}" dt="2023-07-25T16:09:04.546" v="13749" actId="478"/>
          <ac:picMkLst>
            <pc:docMk/>
            <pc:sldMk cId="191095386" sldId="2147479625"/>
            <ac:picMk id="21" creationId="{E0D13825-B7BB-4F15-B464-A1A7250A6995}"/>
          </ac:picMkLst>
        </pc:picChg>
      </pc:sldChg>
      <pc:sldChg chg="add del">
        <pc:chgData name="Mick Mooney" userId="e6518e4e-af4a-4bea-b39c-20489a1e5519" providerId="ADAL" clId="{3014DE50-B07B-4776-BEAC-0F779D92A13E}" dt="2023-07-22T14:19:35.728" v="8103"/>
        <pc:sldMkLst>
          <pc:docMk/>
          <pc:sldMk cId="895194094" sldId="2147479625"/>
        </pc:sldMkLst>
      </pc:sldChg>
      <pc:sldChg chg="delSp modSp add mod">
        <pc:chgData name="Mick Mooney" userId="e6518e4e-af4a-4bea-b39c-20489a1e5519" providerId="ADAL" clId="{3014DE50-B07B-4776-BEAC-0F779D92A13E}" dt="2023-07-31T13:07:33.835" v="28843" actId="207"/>
        <pc:sldMkLst>
          <pc:docMk/>
          <pc:sldMk cId="421217003" sldId="2147479626"/>
        </pc:sldMkLst>
        <pc:spChg chg="mod">
          <ac:chgData name="Mick Mooney" userId="e6518e4e-af4a-4bea-b39c-20489a1e5519" providerId="ADAL" clId="{3014DE50-B07B-4776-BEAC-0F779D92A13E}" dt="2023-07-31T09:50:56.413" v="23339" actId="2711"/>
          <ac:spMkLst>
            <pc:docMk/>
            <pc:sldMk cId="421217003" sldId="2147479626"/>
            <ac:spMk id="8" creationId="{7824D54C-15D2-467C-A016-166944D0781C}"/>
          </ac:spMkLst>
        </pc:spChg>
        <pc:spChg chg="mod replST delST">
          <ac:chgData name="Mick Mooney" userId="e6518e4e-af4a-4bea-b39c-20489a1e5519" providerId="ADAL" clId="{3014DE50-B07B-4776-BEAC-0F779D92A13E}" dt="2023-07-31T13:07:33.835" v="28843" actId="207"/>
          <ac:spMkLst>
            <pc:docMk/>
            <pc:sldMk cId="421217003" sldId="2147479626"/>
            <ac:spMk id="18" creationId="{C00157E9-39A2-4FFC-8E46-24A93D4C7648}"/>
          </ac:spMkLst>
        </pc:spChg>
        <pc:spChg chg="mod">
          <ac:chgData name="Mick Mooney" userId="e6518e4e-af4a-4bea-b39c-20489a1e5519" providerId="ADAL" clId="{3014DE50-B07B-4776-BEAC-0F779D92A13E}" dt="2023-07-31T09:50:56.413" v="23339" actId="2711"/>
          <ac:spMkLst>
            <pc:docMk/>
            <pc:sldMk cId="421217003" sldId="2147479626"/>
            <ac:spMk id="19" creationId="{18C4C8E8-9820-4B2E-8EFE-A0E4F956F4F3}"/>
          </ac:spMkLst>
        </pc:spChg>
        <pc:spChg chg="mod">
          <ac:chgData name="Mick Mooney" userId="e6518e4e-af4a-4bea-b39c-20489a1e5519" providerId="ADAL" clId="{3014DE50-B07B-4776-BEAC-0F779D92A13E}" dt="2023-07-31T09:50:56.413" v="23339" actId="2711"/>
          <ac:spMkLst>
            <pc:docMk/>
            <pc:sldMk cId="421217003" sldId="2147479626"/>
            <ac:spMk id="21" creationId="{D0F6DDB3-B96F-47A4-A4F4-B842B1541BB6}"/>
          </ac:spMkLst>
        </pc:spChg>
        <pc:spChg chg="mod">
          <ac:chgData name="Mick Mooney" userId="e6518e4e-af4a-4bea-b39c-20489a1e5519" providerId="ADAL" clId="{3014DE50-B07B-4776-BEAC-0F779D92A13E}" dt="2023-07-31T09:50:56.413" v="23339" actId="2711"/>
          <ac:spMkLst>
            <pc:docMk/>
            <pc:sldMk cId="421217003" sldId="2147479626"/>
            <ac:spMk id="22" creationId="{8DB1FB27-BF23-4295-B277-85AD63830CFC}"/>
          </ac:spMkLst>
        </pc:spChg>
        <pc:spChg chg="mod replST delST">
          <ac:chgData name="Mick Mooney" userId="e6518e4e-af4a-4bea-b39c-20489a1e5519" providerId="ADAL" clId="{3014DE50-B07B-4776-BEAC-0F779D92A13E}" dt="2023-07-31T13:07:30.761" v="28838" actId="207"/>
          <ac:spMkLst>
            <pc:docMk/>
            <pc:sldMk cId="421217003" sldId="2147479626"/>
            <ac:spMk id="25" creationId="{0DC094DE-1D57-4D51-92A5-0B180F397D41}"/>
          </ac:spMkLst>
        </pc:spChg>
        <pc:spChg chg="mod">
          <ac:chgData name="Mick Mooney" userId="e6518e4e-af4a-4bea-b39c-20489a1e5519" providerId="ADAL" clId="{3014DE50-B07B-4776-BEAC-0F779D92A13E}" dt="2023-07-31T09:50:56.413" v="23339" actId="2711"/>
          <ac:spMkLst>
            <pc:docMk/>
            <pc:sldMk cId="421217003" sldId="2147479626"/>
            <ac:spMk id="26" creationId="{5F2B020A-4A25-451D-9E75-4546944EAC5F}"/>
          </ac:spMkLst>
        </pc:spChg>
        <pc:spChg chg="mod">
          <ac:chgData name="Mick Mooney" userId="e6518e4e-af4a-4bea-b39c-20489a1e5519" providerId="ADAL" clId="{3014DE50-B07B-4776-BEAC-0F779D92A13E}" dt="2023-07-31T09:50:56.413" v="23339" actId="2711"/>
          <ac:spMkLst>
            <pc:docMk/>
            <pc:sldMk cId="421217003" sldId="2147479626"/>
            <ac:spMk id="29" creationId="{722716A3-4C6B-4BDD-B853-3834E8B3D5CE}"/>
          </ac:spMkLst>
        </pc:spChg>
        <pc:spChg chg="mod">
          <ac:chgData name="Mick Mooney" userId="e6518e4e-af4a-4bea-b39c-20489a1e5519" providerId="ADAL" clId="{3014DE50-B07B-4776-BEAC-0F779D92A13E}" dt="2023-07-31T09:50:56.413" v="23339" actId="2711"/>
          <ac:spMkLst>
            <pc:docMk/>
            <pc:sldMk cId="421217003" sldId="2147479626"/>
            <ac:spMk id="30" creationId="{49B35A46-1C58-44F0-9D48-74B3C431263D}"/>
          </ac:spMkLst>
        </pc:spChg>
        <pc:spChg chg="mod">
          <ac:chgData name="Mick Mooney" userId="e6518e4e-af4a-4bea-b39c-20489a1e5519" providerId="ADAL" clId="{3014DE50-B07B-4776-BEAC-0F779D92A13E}" dt="2023-07-31T09:50:56.413" v="23339" actId="2711"/>
          <ac:spMkLst>
            <pc:docMk/>
            <pc:sldMk cId="421217003" sldId="2147479626"/>
            <ac:spMk id="32" creationId="{DB971CE2-14B2-45B2-9AEF-8F71C6B33554}"/>
          </ac:spMkLst>
        </pc:spChg>
        <pc:spChg chg="mod">
          <ac:chgData name="Mick Mooney" userId="e6518e4e-af4a-4bea-b39c-20489a1e5519" providerId="ADAL" clId="{3014DE50-B07B-4776-BEAC-0F779D92A13E}" dt="2023-07-31T09:50:56.413" v="23339" actId="2711"/>
          <ac:spMkLst>
            <pc:docMk/>
            <pc:sldMk cId="421217003" sldId="2147479626"/>
            <ac:spMk id="33" creationId="{F297C593-006A-453A-A191-0ED9C134E530}"/>
          </ac:spMkLst>
        </pc:spChg>
        <pc:spChg chg="mod">
          <ac:chgData name="Mick Mooney" userId="e6518e4e-af4a-4bea-b39c-20489a1e5519" providerId="ADAL" clId="{3014DE50-B07B-4776-BEAC-0F779D92A13E}" dt="2023-07-31T09:50:56.413" v="23339" actId="2711"/>
          <ac:spMkLst>
            <pc:docMk/>
            <pc:sldMk cId="421217003" sldId="2147479626"/>
            <ac:spMk id="34" creationId="{AB071B5F-FBA3-4385-B165-3FB5DFF7C849}"/>
          </ac:spMkLst>
        </pc:spChg>
        <pc:spChg chg="mod">
          <ac:chgData name="Mick Mooney" userId="e6518e4e-af4a-4bea-b39c-20489a1e5519" providerId="ADAL" clId="{3014DE50-B07B-4776-BEAC-0F779D92A13E}" dt="2023-07-31T09:50:56.413" v="23339" actId="2711"/>
          <ac:spMkLst>
            <pc:docMk/>
            <pc:sldMk cId="421217003" sldId="2147479626"/>
            <ac:spMk id="35" creationId="{D038867F-3CAB-412E-8025-F3F2472FAD41}"/>
          </ac:spMkLst>
        </pc:spChg>
        <pc:spChg chg="mod">
          <ac:chgData name="Mick Mooney" userId="e6518e4e-af4a-4bea-b39c-20489a1e5519" providerId="ADAL" clId="{3014DE50-B07B-4776-BEAC-0F779D92A13E}" dt="2023-07-31T09:50:56.413" v="23339" actId="2711"/>
          <ac:spMkLst>
            <pc:docMk/>
            <pc:sldMk cId="421217003" sldId="2147479626"/>
            <ac:spMk id="36" creationId="{A8A64BB7-79B3-435F-BF56-7716E5AADA4F}"/>
          </ac:spMkLst>
        </pc:spChg>
        <pc:spChg chg="mod replST delST">
          <ac:chgData name="Mick Mooney" userId="e6518e4e-af4a-4bea-b39c-20489a1e5519" providerId="ADAL" clId="{3014DE50-B07B-4776-BEAC-0F779D92A13E}" dt="2023-07-31T09:50:56.413" v="23339" actId="2711"/>
          <ac:spMkLst>
            <pc:docMk/>
            <pc:sldMk cId="421217003" sldId="2147479626"/>
            <ac:spMk id="37" creationId="{735E579C-072C-4ACE-A770-10165A7B7B84}"/>
          </ac:spMkLst>
        </pc:spChg>
        <pc:spChg chg="mod">
          <ac:chgData name="Mick Mooney" userId="e6518e4e-af4a-4bea-b39c-20489a1e5519" providerId="ADAL" clId="{3014DE50-B07B-4776-BEAC-0F779D92A13E}" dt="2023-07-31T09:50:56.413" v="23339" actId="2711"/>
          <ac:spMkLst>
            <pc:docMk/>
            <pc:sldMk cId="421217003" sldId="2147479626"/>
            <ac:spMk id="38" creationId="{CB1CC138-E6A9-42FE-BB72-DDB30DC71192}"/>
          </ac:spMkLst>
        </pc:spChg>
        <pc:spChg chg="mod">
          <ac:chgData name="Mick Mooney" userId="e6518e4e-af4a-4bea-b39c-20489a1e5519" providerId="ADAL" clId="{3014DE50-B07B-4776-BEAC-0F779D92A13E}" dt="2023-07-31T09:50:56.413" v="23339" actId="2711"/>
          <ac:spMkLst>
            <pc:docMk/>
            <pc:sldMk cId="421217003" sldId="2147479626"/>
            <ac:spMk id="40" creationId="{196C586E-A2C7-483D-9D3B-FD3F2EBECA14}"/>
          </ac:spMkLst>
        </pc:spChg>
        <pc:spChg chg="mod replST delST">
          <ac:chgData name="Mick Mooney" userId="e6518e4e-af4a-4bea-b39c-20489a1e5519" providerId="ADAL" clId="{3014DE50-B07B-4776-BEAC-0F779D92A13E}" dt="2023-07-31T13:07:27.584" v="28833" actId="207"/>
          <ac:spMkLst>
            <pc:docMk/>
            <pc:sldMk cId="421217003" sldId="2147479626"/>
            <ac:spMk id="41" creationId="{D6A9CE47-96DC-4F03-903B-463C9C8A6DBF}"/>
          </ac:spMkLst>
        </pc:spChg>
        <pc:spChg chg="mod replST delST">
          <ac:chgData name="Mick Mooney" userId="e6518e4e-af4a-4bea-b39c-20489a1e5519" providerId="ADAL" clId="{3014DE50-B07B-4776-BEAC-0F779D92A13E}" dt="2023-07-31T09:50:56.413" v="23339" actId="2711"/>
          <ac:spMkLst>
            <pc:docMk/>
            <pc:sldMk cId="421217003" sldId="2147479626"/>
            <ac:spMk id="42" creationId="{33342C3C-E577-4D3F-AACC-6DE72D6DBD0F}"/>
          </ac:spMkLst>
        </pc:spChg>
        <pc:picChg chg="del">
          <ac:chgData name="Mick Mooney" userId="e6518e4e-af4a-4bea-b39c-20489a1e5519" providerId="ADAL" clId="{3014DE50-B07B-4776-BEAC-0F779D92A13E}" dt="2023-07-25T16:09:10.804" v="13750" actId="478"/>
          <ac:picMkLst>
            <pc:docMk/>
            <pc:sldMk cId="421217003" sldId="2147479626"/>
            <ac:picMk id="45" creationId="{D1D49888-CF17-496E-94E5-73C12A0560E8}"/>
          </ac:picMkLst>
        </pc:picChg>
      </pc:sldChg>
      <pc:sldChg chg="add del">
        <pc:chgData name="Mick Mooney" userId="e6518e4e-af4a-4bea-b39c-20489a1e5519" providerId="ADAL" clId="{3014DE50-B07B-4776-BEAC-0F779D92A13E}" dt="2023-07-22T14:19:35.728" v="8103"/>
        <pc:sldMkLst>
          <pc:docMk/>
          <pc:sldMk cId="3942941569" sldId="2147479626"/>
        </pc:sldMkLst>
      </pc:sldChg>
      <pc:sldChg chg="add del">
        <pc:chgData name="Mick Mooney" userId="e6518e4e-af4a-4bea-b39c-20489a1e5519" providerId="ADAL" clId="{3014DE50-B07B-4776-BEAC-0F779D92A13E}" dt="2023-07-22T14:19:35.728" v="8103"/>
        <pc:sldMkLst>
          <pc:docMk/>
          <pc:sldMk cId="2581191341" sldId="2147479627"/>
        </pc:sldMkLst>
      </pc:sldChg>
      <pc:sldChg chg="delSp modSp add mod">
        <pc:chgData name="Mick Mooney" userId="e6518e4e-af4a-4bea-b39c-20489a1e5519" providerId="ADAL" clId="{3014DE50-B07B-4776-BEAC-0F779D92A13E}" dt="2023-07-31T13:07:45.978" v="28855"/>
        <pc:sldMkLst>
          <pc:docMk/>
          <pc:sldMk cId="3932437091" sldId="2147479627"/>
        </pc:sldMkLst>
        <pc:spChg chg="mod replST delST">
          <ac:chgData name="Mick Mooney" userId="e6518e4e-af4a-4bea-b39c-20489a1e5519" providerId="ADAL" clId="{3014DE50-B07B-4776-BEAC-0F779D92A13E}" dt="2023-07-31T13:07:45.978" v="28855"/>
          <ac:spMkLst>
            <pc:docMk/>
            <pc:sldMk cId="3932437091" sldId="2147479627"/>
            <ac:spMk id="3" creationId="{344904A7-DCF3-485F-99B8-3977E039158D}"/>
          </ac:spMkLst>
        </pc:spChg>
        <pc:spChg chg="mod replST delST">
          <ac:chgData name="Mick Mooney" userId="e6518e4e-af4a-4bea-b39c-20489a1e5519" providerId="ADAL" clId="{3014DE50-B07B-4776-BEAC-0F779D92A13E}" dt="2023-07-31T13:07:44.320" v="28853" actId="207"/>
          <ac:spMkLst>
            <pc:docMk/>
            <pc:sldMk cId="3932437091" sldId="2147479627"/>
            <ac:spMk id="4" creationId="{E033BA0A-2ED6-4627-A066-21E646392CC9}"/>
          </ac:spMkLst>
        </pc:spChg>
        <pc:spChg chg="mod">
          <ac:chgData name="Mick Mooney" userId="e6518e4e-af4a-4bea-b39c-20489a1e5519" providerId="ADAL" clId="{3014DE50-B07B-4776-BEAC-0F779D92A13E}" dt="2023-07-31T09:51:03.437" v="23340" actId="2711"/>
          <ac:spMkLst>
            <pc:docMk/>
            <pc:sldMk cId="3932437091" sldId="2147479627"/>
            <ac:spMk id="8" creationId="{7824D54C-15D2-467C-A016-166944D0781C}"/>
          </ac:spMkLst>
        </pc:spChg>
        <pc:picChg chg="del">
          <ac:chgData name="Mick Mooney" userId="e6518e4e-af4a-4bea-b39c-20489a1e5519" providerId="ADAL" clId="{3014DE50-B07B-4776-BEAC-0F779D92A13E}" dt="2023-07-25T16:09:12.720" v="13751" actId="478"/>
          <ac:picMkLst>
            <pc:docMk/>
            <pc:sldMk cId="3932437091" sldId="2147479627"/>
            <ac:picMk id="9" creationId="{ECBE92CA-B453-47D4-B740-B1F3795E66B0}"/>
          </ac:picMkLst>
        </pc:picChg>
      </pc:sldChg>
      <pc:sldChg chg="add del">
        <pc:chgData name="Mick Mooney" userId="e6518e4e-af4a-4bea-b39c-20489a1e5519" providerId="ADAL" clId="{3014DE50-B07B-4776-BEAC-0F779D92A13E}" dt="2023-07-22T14:19:35.728" v="8103"/>
        <pc:sldMkLst>
          <pc:docMk/>
          <pc:sldMk cId="2644402879" sldId="2147479628"/>
        </pc:sldMkLst>
      </pc:sldChg>
      <pc:sldChg chg="delSp add del ord">
        <pc:chgData name="Mick Mooney" userId="e6518e4e-af4a-4bea-b39c-20489a1e5519" providerId="ADAL" clId="{3014DE50-B07B-4776-BEAC-0F779D92A13E}" dt="2023-07-25T16:24:41.056" v="14014" actId="47"/>
        <pc:sldMkLst>
          <pc:docMk/>
          <pc:sldMk cId="3180851827" sldId="2147479628"/>
        </pc:sldMkLst>
        <pc:picChg chg="del">
          <ac:chgData name="Mick Mooney" userId="e6518e4e-af4a-4bea-b39c-20489a1e5519" providerId="ADAL" clId="{3014DE50-B07B-4776-BEAC-0F779D92A13E}" dt="2023-07-25T16:09:14.621" v="13752" actId="478"/>
          <ac:picMkLst>
            <pc:docMk/>
            <pc:sldMk cId="3180851827" sldId="2147479628"/>
            <ac:picMk id="49" creationId="{1E2AF0D8-56F9-43DF-8888-B7422904981C}"/>
          </ac:picMkLst>
        </pc:picChg>
      </pc:sldChg>
      <pc:sldChg chg="addSp delSp modSp add mod">
        <pc:chgData name="Mick Mooney" userId="e6518e4e-af4a-4bea-b39c-20489a1e5519" providerId="ADAL" clId="{3014DE50-B07B-4776-BEAC-0F779D92A13E}" dt="2023-07-31T13:07:52.212" v="28862" actId="207"/>
        <pc:sldMkLst>
          <pc:docMk/>
          <pc:sldMk cId="3523144604" sldId="2147479628"/>
        </pc:sldMkLst>
        <pc:spChg chg="add del mod replST delST">
          <ac:chgData name="Mick Mooney" userId="e6518e4e-af4a-4bea-b39c-20489a1e5519" providerId="ADAL" clId="{3014DE50-B07B-4776-BEAC-0F779D92A13E}" dt="2023-07-31T13:07:52.212" v="28862" actId="207"/>
          <ac:spMkLst>
            <pc:docMk/>
            <pc:sldMk cId="3523144604" sldId="2147479628"/>
            <ac:spMk id="3" creationId="{344904A7-DCF3-485F-99B8-3977E039158D}"/>
          </ac:spMkLst>
        </pc:spChg>
        <pc:spChg chg="del replST delST">
          <ac:chgData name="Mick Mooney" userId="e6518e4e-af4a-4bea-b39c-20489a1e5519" providerId="ADAL" clId="{3014DE50-B07B-4776-BEAC-0F779D92A13E}" dt="2023-07-25T16:44:31.040" v="14245" actId="478"/>
          <ac:spMkLst>
            <pc:docMk/>
            <pc:sldMk cId="3523144604" sldId="2147479628"/>
            <ac:spMk id="4" creationId="{E033BA0A-2ED6-4627-A066-21E646392CC9}"/>
          </ac:spMkLst>
        </pc:spChg>
        <pc:spChg chg="add del mod replST">
          <ac:chgData name="Mick Mooney" userId="e6518e4e-af4a-4bea-b39c-20489a1e5519" providerId="ADAL" clId="{3014DE50-B07B-4776-BEAC-0F779D92A13E}" dt="2023-07-25T16:44:32.735" v="14247" actId="478"/>
          <ac:spMkLst>
            <pc:docMk/>
            <pc:sldMk cId="3523144604" sldId="2147479628"/>
            <ac:spMk id="5" creationId="{C8C2535B-3D30-9847-1072-4F96B41058C6}"/>
          </ac:spMkLst>
        </pc:spChg>
        <pc:spChg chg="add del mod">
          <ac:chgData name="Mick Mooney" userId="e6518e4e-af4a-4bea-b39c-20489a1e5519" providerId="ADAL" clId="{3014DE50-B07B-4776-BEAC-0F779D92A13E}" dt="2023-07-25T16:47:26.003" v="14366" actId="478"/>
          <ac:spMkLst>
            <pc:docMk/>
            <pc:sldMk cId="3523144604" sldId="2147479628"/>
            <ac:spMk id="6" creationId="{D5B7360C-6353-3CAC-4E32-2D469DCE3B12}"/>
          </ac:spMkLst>
        </pc:spChg>
        <pc:spChg chg="mod replST delST">
          <ac:chgData name="Mick Mooney" userId="e6518e4e-af4a-4bea-b39c-20489a1e5519" providerId="ADAL" clId="{3014DE50-B07B-4776-BEAC-0F779D92A13E}" dt="2023-07-31T09:51:11.095" v="23341" actId="2711"/>
          <ac:spMkLst>
            <pc:docMk/>
            <pc:sldMk cId="3523144604" sldId="2147479628"/>
            <ac:spMk id="8" creationId="{7824D54C-15D2-467C-A016-166944D0781C}"/>
          </ac:spMkLst>
        </pc:spChg>
        <pc:picChg chg="add mod">
          <ac:chgData name="Mick Mooney" userId="e6518e4e-af4a-4bea-b39c-20489a1e5519" providerId="ADAL" clId="{3014DE50-B07B-4776-BEAC-0F779D92A13E}" dt="2023-07-25T16:48:02.715" v="14372" actId="1076"/>
          <ac:picMkLst>
            <pc:docMk/>
            <pc:sldMk cId="3523144604" sldId="2147479628"/>
            <ac:picMk id="9" creationId="{5CC46602-D536-4402-C734-6846F43662FB}"/>
          </ac:picMkLst>
        </pc:picChg>
        <pc:picChg chg="add del mod">
          <ac:chgData name="Mick Mooney" userId="e6518e4e-af4a-4bea-b39c-20489a1e5519" providerId="ADAL" clId="{3014DE50-B07B-4776-BEAC-0F779D92A13E}" dt="2023-07-25T16:47:29.642" v="14369" actId="478"/>
          <ac:picMkLst>
            <pc:docMk/>
            <pc:sldMk cId="3523144604" sldId="2147479628"/>
            <ac:picMk id="1026" creationId="{21E3A39D-CAE3-72EB-0468-13375EF0980E}"/>
          </ac:picMkLst>
        </pc:picChg>
      </pc:sldChg>
      <pc:sldChg chg="addSp delSp modSp add mod chgLayout">
        <pc:chgData name="Mick Mooney" userId="e6518e4e-af4a-4bea-b39c-20489a1e5519" providerId="ADAL" clId="{3014DE50-B07B-4776-BEAC-0F779D92A13E}" dt="2023-07-31T14:20:10.461" v="30682" actId="1076"/>
        <pc:sldMkLst>
          <pc:docMk/>
          <pc:sldMk cId="307834480" sldId="2147479629"/>
        </pc:sldMkLst>
        <pc:spChg chg="mod">
          <ac:chgData name="Mick Mooney" userId="e6518e4e-af4a-4bea-b39c-20489a1e5519" providerId="ADAL" clId="{3014DE50-B07B-4776-BEAC-0F779D92A13E}" dt="2023-07-31T09:49:03.267" v="23326" actId="2711"/>
          <ac:spMkLst>
            <pc:docMk/>
            <pc:sldMk cId="307834480" sldId="2147479629"/>
            <ac:spMk id="3" creationId="{B07A0EB0-2B35-F658-812A-2AA41295AF29}"/>
          </ac:spMkLst>
        </pc:spChg>
        <pc:spChg chg="del">
          <ac:chgData name="Mick Mooney" userId="e6518e4e-af4a-4bea-b39c-20489a1e5519" providerId="ADAL" clId="{3014DE50-B07B-4776-BEAC-0F779D92A13E}" dt="2023-07-25T16:54:33.914" v="14481" actId="478"/>
          <ac:spMkLst>
            <pc:docMk/>
            <pc:sldMk cId="307834480" sldId="2147479629"/>
            <ac:spMk id="5" creationId="{813B1C43-2AEA-4172-9E36-48BBA8301F9E}"/>
          </ac:spMkLst>
        </pc:spChg>
        <pc:spChg chg="add mod replST delST">
          <ac:chgData name="Mick Mooney" userId="e6518e4e-af4a-4bea-b39c-20489a1e5519" providerId="ADAL" clId="{3014DE50-B07B-4776-BEAC-0F779D92A13E}" dt="2023-07-31T14:20:10.461" v="30682" actId="1076"/>
          <ac:spMkLst>
            <pc:docMk/>
            <pc:sldMk cId="307834480" sldId="2147479629"/>
            <ac:spMk id="5" creationId="{871A34CD-3E18-AAB1-CF9D-0B6BA3BDD662}"/>
          </ac:spMkLst>
        </pc:spChg>
        <pc:spChg chg="mod">
          <ac:chgData name="Mick Mooney" userId="e6518e4e-af4a-4bea-b39c-20489a1e5519" providerId="ADAL" clId="{3014DE50-B07B-4776-BEAC-0F779D92A13E}" dt="2023-07-31T09:49:03.267" v="23326" actId="2711"/>
          <ac:spMkLst>
            <pc:docMk/>
            <pc:sldMk cId="307834480" sldId="2147479629"/>
            <ac:spMk id="7" creationId="{DEFA93C3-4045-2024-8726-8A32ED9C4C93}"/>
          </ac:spMkLst>
        </pc:spChg>
        <pc:spChg chg="mod ord replST delST">
          <ac:chgData name="Mick Mooney" userId="e6518e4e-af4a-4bea-b39c-20489a1e5519" providerId="ADAL" clId="{3014DE50-B07B-4776-BEAC-0F779D92A13E}" dt="2023-07-31T09:49:03.267" v="23326" actId="2711"/>
          <ac:spMkLst>
            <pc:docMk/>
            <pc:sldMk cId="307834480" sldId="2147479629"/>
            <ac:spMk id="8" creationId="{7824D54C-15D2-467C-A016-166944D0781C}"/>
          </ac:spMkLst>
        </pc:spChg>
        <pc:spChg chg="mod">
          <ac:chgData name="Mick Mooney" userId="e6518e4e-af4a-4bea-b39c-20489a1e5519" providerId="ADAL" clId="{3014DE50-B07B-4776-BEAC-0F779D92A13E}" dt="2023-07-31T09:49:03.267" v="23326" actId="2711"/>
          <ac:spMkLst>
            <pc:docMk/>
            <pc:sldMk cId="307834480" sldId="2147479629"/>
            <ac:spMk id="9" creationId="{3087E929-E980-7B89-3F4A-9A1426DB1FA0}"/>
          </ac:spMkLst>
        </pc:spChg>
        <pc:spChg chg="mod">
          <ac:chgData name="Mick Mooney" userId="e6518e4e-af4a-4bea-b39c-20489a1e5519" providerId="ADAL" clId="{3014DE50-B07B-4776-BEAC-0F779D92A13E}" dt="2023-07-31T09:49:03.267" v="23326" actId="2711"/>
          <ac:spMkLst>
            <pc:docMk/>
            <pc:sldMk cId="307834480" sldId="2147479629"/>
            <ac:spMk id="10" creationId="{C68090D2-B877-FDE6-110F-DE1B9FF7B2FE}"/>
          </ac:spMkLst>
        </pc:spChg>
        <pc:spChg chg="mod">
          <ac:chgData name="Mick Mooney" userId="e6518e4e-af4a-4bea-b39c-20489a1e5519" providerId="ADAL" clId="{3014DE50-B07B-4776-BEAC-0F779D92A13E}" dt="2023-07-31T09:49:03.267" v="23326" actId="2711"/>
          <ac:spMkLst>
            <pc:docMk/>
            <pc:sldMk cId="307834480" sldId="2147479629"/>
            <ac:spMk id="11" creationId="{97C06B9D-C5C9-0A54-A52E-923D013B3E37}"/>
          </ac:spMkLst>
        </pc:spChg>
        <pc:spChg chg="mod">
          <ac:chgData name="Mick Mooney" userId="e6518e4e-af4a-4bea-b39c-20489a1e5519" providerId="ADAL" clId="{3014DE50-B07B-4776-BEAC-0F779D92A13E}" dt="2023-07-31T09:49:03.267" v="23326" actId="2711"/>
          <ac:spMkLst>
            <pc:docMk/>
            <pc:sldMk cId="307834480" sldId="2147479629"/>
            <ac:spMk id="12" creationId="{ED34D0DA-44AC-AF8D-E2EF-F1EA82887CEC}"/>
          </ac:spMkLst>
        </pc:spChg>
        <pc:spChg chg="mod">
          <ac:chgData name="Mick Mooney" userId="e6518e4e-af4a-4bea-b39c-20489a1e5519" providerId="ADAL" clId="{3014DE50-B07B-4776-BEAC-0F779D92A13E}" dt="2023-07-31T09:49:03.267" v="23326" actId="2711"/>
          <ac:spMkLst>
            <pc:docMk/>
            <pc:sldMk cId="307834480" sldId="2147479629"/>
            <ac:spMk id="13" creationId="{1BD673B3-9878-CD0F-87ED-1A3869EBEAE5}"/>
          </ac:spMkLst>
        </pc:spChg>
        <pc:spChg chg="mod">
          <ac:chgData name="Mick Mooney" userId="e6518e4e-af4a-4bea-b39c-20489a1e5519" providerId="ADAL" clId="{3014DE50-B07B-4776-BEAC-0F779D92A13E}" dt="2023-07-31T09:49:03.267" v="23326" actId="2711"/>
          <ac:spMkLst>
            <pc:docMk/>
            <pc:sldMk cId="307834480" sldId="2147479629"/>
            <ac:spMk id="14" creationId="{6728CBA2-9DBA-F75C-3B47-BB9A325A5629}"/>
          </ac:spMkLst>
        </pc:spChg>
        <pc:spChg chg="mod">
          <ac:chgData name="Mick Mooney" userId="e6518e4e-af4a-4bea-b39c-20489a1e5519" providerId="ADAL" clId="{3014DE50-B07B-4776-BEAC-0F779D92A13E}" dt="2023-07-31T09:49:03.267" v="23326" actId="2711"/>
          <ac:spMkLst>
            <pc:docMk/>
            <pc:sldMk cId="307834480" sldId="2147479629"/>
            <ac:spMk id="15" creationId="{05F1CF5C-B00B-F98E-681D-BF2D51E911F7}"/>
          </ac:spMkLst>
        </pc:spChg>
        <pc:spChg chg="mod">
          <ac:chgData name="Mick Mooney" userId="e6518e4e-af4a-4bea-b39c-20489a1e5519" providerId="ADAL" clId="{3014DE50-B07B-4776-BEAC-0F779D92A13E}" dt="2023-07-31T09:49:03.267" v="23326" actId="2711"/>
          <ac:spMkLst>
            <pc:docMk/>
            <pc:sldMk cId="307834480" sldId="2147479629"/>
            <ac:spMk id="16" creationId="{0BF88C25-40DE-10F7-E381-99535E2CE061}"/>
          </ac:spMkLst>
        </pc:spChg>
        <pc:spChg chg="mod">
          <ac:chgData name="Mick Mooney" userId="e6518e4e-af4a-4bea-b39c-20489a1e5519" providerId="ADAL" clId="{3014DE50-B07B-4776-BEAC-0F779D92A13E}" dt="2023-07-31T09:49:03.267" v="23326" actId="2711"/>
          <ac:spMkLst>
            <pc:docMk/>
            <pc:sldMk cId="307834480" sldId="2147479629"/>
            <ac:spMk id="17" creationId="{9CF1A98F-CF51-9725-B086-5FE70222D0DA}"/>
          </ac:spMkLst>
        </pc:spChg>
        <pc:spChg chg="mod">
          <ac:chgData name="Mick Mooney" userId="e6518e4e-af4a-4bea-b39c-20489a1e5519" providerId="ADAL" clId="{3014DE50-B07B-4776-BEAC-0F779D92A13E}" dt="2023-07-31T09:49:03.267" v="23326" actId="2711"/>
          <ac:spMkLst>
            <pc:docMk/>
            <pc:sldMk cId="307834480" sldId="2147479629"/>
            <ac:spMk id="18" creationId="{3047015B-689A-B7AB-36F3-59E95A1DA521}"/>
          </ac:spMkLst>
        </pc:spChg>
        <pc:spChg chg="mod">
          <ac:chgData name="Mick Mooney" userId="e6518e4e-af4a-4bea-b39c-20489a1e5519" providerId="ADAL" clId="{3014DE50-B07B-4776-BEAC-0F779D92A13E}" dt="2023-07-31T09:49:03.267" v="23326" actId="2711"/>
          <ac:spMkLst>
            <pc:docMk/>
            <pc:sldMk cId="307834480" sldId="2147479629"/>
            <ac:spMk id="20" creationId="{D600DB88-CEF8-E7BA-670E-A5B2267C245B}"/>
          </ac:spMkLst>
        </pc:spChg>
        <pc:spChg chg="mod">
          <ac:chgData name="Mick Mooney" userId="e6518e4e-af4a-4bea-b39c-20489a1e5519" providerId="ADAL" clId="{3014DE50-B07B-4776-BEAC-0F779D92A13E}" dt="2023-07-31T09:49:03.267" v="23326" actId="2711"/>
          <ac:spMkLst>
            <pc:docMk/>
            <pc:sldMk cId="307834480" sldId="2147479629"/>
            <ac:spMk id="21" creationId="{2ADE797D-0D38-BC54-D8AB-952F920CBA42}"/>
          </ac:spMkLst>
        </pc:spChg>
        <pc:spChg chg="mod">
          <ac:chgData name="Mick Mooney" userId="e6518e4e-af4a-4bea-b39c-20489a1e5519" providerId="ADAL" clId="{3014DE50-B07B-4776-BEAC-0F779D92A13E}" dt="2023-07-31T09:49:03.267" v="23326" actId="2711"/>
          <ac:spMkLst>
            <pc:docMk/>
            <pc:sldMk cId="307834480" sldId="2147479629"/>
            <ac:spMk id="22" creationId="{ECFA03E2-3E10-366E-A344-3BA37E890CA1}"/>
          </ac:spMkLst>
        </pc:spChg>
        <pc:spChg chg="mod">
          <ac:chgData name="Mick Mooney" userId="e6518e4e-af4a-4bea-b39c-20489a1e5519" providerId="ADAL" clId="{3014DE50-B07B-4776-BEAC-0F779D92A13E}" dt="2023-07-31T09:49:03.267" v="23326" actId="2711"/>
          <ac:spMkLst>
            <pc:docMk/>
            <pc:sldMk cId="307834480" sldId="2147479629"/>
            <ac:spMk id="23" creationId="{EEAB7B70-FB94-910B-2603-36F241AFEBF9}"/>
          </ac:spMkLst>
        </pc:spChg>
        <pc:spChg chg="mod">
          <ac:chgData name="Mick Mooney" userId="e6518e4e-af4a-4bea-b39c-20489a1e5519" providerId="ADAL" clId="{3014DE50-B07B-4776-BEAC-0F779D92A13E}" dt="2023-07-31T09:49:03.267" v="23326" actId="2711"/>
          <ac:spMkLst>
            <pc:docMk/>
            <pc:sldMk cId="307834480" sldId="2147479629"/>
            <ac:spMk id="24" creationId="{1DADEC07-A92F-89E1-B64D-56F1AF733946}"/>
          </ac:spMkLst>
        </pc:spChg>
        <pc:spChg chg="mod">
          <ac:chgData name="Mick Mooney" userId="e6518e4e-af4a-4bea-b39c-20489a1e5519" providerId="ADAL" clId="{3014DE50-B07B-4776-BEAC-0F779D92A13E}" dt="2023-07-31T09:49:03.267" v="23326" actId="2711"/>
          <ac:spMkLst>
            <pc:docMk/>
            <pc:sldMk cId="307834480" sldId="2147479629"/>
            <ac:spMk id="25" creationId="{F849BF3F-444F-0370-4608-4ACEC90A3FBF}"/>
          </ac:spMkLst>
        </pc:spChg>
        <pc:spChg chg="mod">
          <ac:chgData name="Mick Mooney" userId="e6518e4e-af4a-4bea-b39c-20489a1e5519" providerId="ADAL" clId="{3014DE50-B07B-4776-BEAC-0F779D92A13E}" dt="2023-07-31T09:49:03.267" v="23326" actId="2711"/>
          <ac:spMkLst>
            <pc:docMk/>
            <pc:sldMk cId="307834480" sldId="2147479629"/>
            <ac:spMk id="26" creationId="{3FFC9A2C-D480-1E6D-5879-460E74343C14}"/>
          </ac:spMkLst>
        </pc:spChg>
        <pc:spChg chg="del">
          <ac:chgData name="Mick Mooney" userId="e6518e4e-af4a-4bea-b39c-20489a1e5519" providerId="ADAL" clId="{3014DE50-B07B-4776-BEAC-0F779D92A13E}" dt="2023-07-25T16:54:28.854" v="14480" actId="478"/>
          <ac:spMkLst>
            <pc:docMk/>
            <pc:sldMk cId="307834480" sldId="2147479629"/>
            <ac:spMk id="27" creationId="{93F79525-FA35-436C-97F9-2B7036ABF201}"/>
          </ac:spMkLst>
        </pc:spChg>
        <pc:spChg chg="mod">
          <ac:chgData name="Mick Mooney" userId="e6518e4e-af4a-4bea-b39c-20489a1e5519" providerId="ADAL" clId="{3014DE50-B07B-4776-BEAC-0F779D92A13E}" dt="2023-07-31T09:49:03.267" v="23326" actId="2711"/>
          <ac:spMkLst>
            <pc:docMk/>
            <pc:sldMk cId="307834480" sldId="2147479629"/>
            <ac:spMk id="28" creationId="{A1F86EE3-B5AA-6461-0573-65B543E08BBA}"/>
          </ac:spMkLst>
        </pc:spChg>
        <pc:spChg chg="del">
          <ac:chgData name="Mick Mooney" userId="e6518e4e-af4a-4bea-b39c-20489a1e5519" providerId="ADAL" clId="{3014DE50-B07B-4776-BEAC-0F779D92A13E}" dt="2023-07-25T16:54:28.854" v="14480" actId="478"/>
          <ac:spMkLst>
            <pc:docMk/>
            <pc:sldMk cId="307834480" sldId="2147479629"/>
            <ac:spMk id="29" creationId="{BB3B4067-6405-47D0-AA66-D894A60EC84C}"/>
          </ac:spMkLst>
        </pc:spChg>
        <pc:spChg chg="del">
          <ac:chgData name="Mick Mooney" userId="e6518e4e-af4a-4bea-b39c-20489a1e5519" providerId="ADAL" clId="{3014DE50-B07B-4776-BEAC-0F779D92A13E}" dt="2023-07-25T16:54:28.854" v="14480" actId="478"/>
          <ac:spMkLst>
            <pc:docMk/>
            <pc:sldMk cId="307834480" sldId="2147479629"/>
            <ac:spMk id="30" creationId="{27DEE0E8-7497-484F-A42A-E057AC314262}"/>
          </ac:spMkLst>
        </pc:spChg>
        <pc:spChg chg="del">
          <ac:chgData name="Mick Mooney" userId="e6518e4e-af4a-4bea-b39c-20489a1e5519" providerId="ADAL" clId="{3014DE50-B07B-4776-BEAC-0F779D92A13E}" dt="2023-07-25T16:54:28.854" v="14480" actId="478"/>
          <ac:spMkLst>
            <pc:docMk/>
            <pc:sldMk cId="307834480" sldId="2147479629"/>
            <ac:spMk id="31" creationId="{9411D9F3-7F66-4F20-B982-BFC963824790}"/>
          </ac:spMkLst>
        </pc:spChg>
        <pc:spChg chg="del">
          <ac:chgData name="Mick Mooney" userId="e6518e4e-af4a-4bea-b39c-20489a1e5519" providerId="ADAL" clId="{3014DE50-B07B-4776-BEAC-0F779D92A13E}" dt="2023-07-25T16:54:28.854" v="14480" actId="478"/>
          <ac:spMkLst>
            <pc:docMk/>
            <pc:sldMk cId="307834480" sldId="2147479629"/>
            <ac:spMk id="32" creationId="{D2671382-C5DB-4226-9A50-A01792A9FA06}"/>
          </ac:spMkLst>
        </pc:spChg>
        <pc:spChg chg="del">
          <ac:chgData name="Mick Mooney" userId="e6518e4e-af4a-4bea-b39c-20489a1e5519" providerId="ADAL" clId="{3014DE50-B07B-4776-BEAC-0F779D92A13E}" dt="2023-07-25T16:54:28.854" v="14480" actId="478"/>
          <ac:spMkLst>
            <pc:docMk/>
            <pc:sldMk cId="307834480" sldId="2147479629"/>
            <ac:spMk id="33" creationId="{999B776F-6EC9-4F29-B058-5503A5B54B90}"/>
          </ac:spMkLst>
        </pc:spChg>
        <pc:spChg chg="del">
          <ac:chgData name="Mick Mooney" userId="e6518e4e-af4a-4bea-b39c-20489a1e5519" providerId="ADAL" clId="{3014DE50-B07B-4776-BEAC-0F779D92A13E}" dt="2023-07-25T16:54:28.854" v="14480" actId="478"/>
          <ac:spMkLst>
            <pc:docMk/>
            <pc:sldMk cId="307834480" sldId="2147479629"/>
            <ac:spMk id="34" creationId="{E7AE88EF-76A4-4FBC-A4C6-5A45FFD1E312}"/>
          </ac:spMkLst>
        </pc:spChg>
        <pc:spChg chg="del">
          <ac:chgData name="Mick Mooney" userId="e6518e4e-af4a-4bea-b39c-20489a1e5519" providerId="ADAL" clId="{3014DE50-B07B-4776-BEAC-0F779D92A13E}" dt="2023-07-25T16:54:28.854" v="14480" actId="478"/>
          <ac:spMkLst>
            <pc:docMk/>
            <pc:sldMk cId="307834480" sldId="2147479629"/>
            <ac:spMk id="35" creationId="{45419B2E-DFA0-4A28-9518-524950E46B57}"/>
          </ac:spMkLst>
        </pc:spChg>
        <pc:spChg chg="del">
          <ac:chgData name="Mick Mooney" userId="e6518e4e-af4a-4bea-b39c-20489a1e5519" providerId="ADAL" clId="{3014DE50-B07B-4776-BEAC-0F779D92A13E}" dt="2023-07-25T16:54:28.854" v="14480" actId="478"/>
          <ac:spMkLst>
            <pc:docMk/>
            <pc:sldMk cId="307834480" sldId="2147479629"/>
            <ac:spMk id="36" creationId="{4F22DAF6-704A-4BFF-BBB3-9DE506C148E1}"/>
          </ac:spMkLst>
        </pc:spChg>
        <pc:spChg chg="del">
          <ac:chgData name="Mick Mooney" userId="e6518e4e-af4a-4bea-b39c-20489a1e5519" providerId="ADAL" clId="{3014DE50-B07B-4776-BEAC-0F779D92A13E}" dt="2023-07-25T16:54:28.854" v="14480" actId="478"/>
          <ac:spMkLst>
            <pc:docMk/>
            <pc:sldMk cId="307834480" sldId="2147479629"/>
            <ac:spMk id="37" creationId="{3B1A594E-A020-464C-9102-3AA63A8212A7}"/>
          </ac:spMkLst>
        </pc:spChg>
        <pc:spChg chg="del">
          <ac:chgData name="Mick Mooney" userId="e6518e4e-af4a-4bea-b39c-20489a1e5519" providerId="ADAL" clId="{3014DE50-B07B-4776-BEAC-0F779D92A13E}" dt="2023-07-25T16:54:28.854" v="14480" actId="478"/>
          <ac:spMkLst>
            <pc:docMk/>
            <pc:sldMk cId="307834480" sldId="2147479629"/>
            <ac:spMk id="38" creationId="{0F3F3889-2D39-421A-9083-DA8DF3672AFA}"/>
          </ac:spMkLst>
        </pc:spChg>
        <pc:spChg chg="del">
          <ac:chgData name="Mick Mooney" userId="e6518e4e-af4a-4bea-b39c-20489a1e5519" providerId="ADAL" clId="{3014DE50-B07B-4776-BEAC-0F779D92A13E}" dt="2023-07-25T16:54:28.854" v="14480" actId="478"/>
          <ac:spMkLst>
            <pc:docMk/>
            <pc:sldMk cId="307834480" sldId="2147479629"/>
            <ac:spMk id="39" creationId="{54C936DA-C4AC-4255-8308-4B44A8CDCFD1}"/>
          </ac:spMkLst>
        </pc:spChg>
        <pc:spChg chg="del">
          <ac:chgData name="Mick Mooney" userId="e6518e4e-af4a-4bea-b39c-20489a1e5519" providerId="ADAL" clId="{3014DE50-B07B-4776-BEAC-0F779D92A13E}" dt="2023-07-25T16:54:28.854" v="14480" actId="478"/>
          <ac:spMkLst>
            <pc:docMk/>
            <pc:sldMk cId="307834480" sldId="2147479629"/>
            <ac:spMk id="128" creationId="{1717DE44-8782-47F3-8C2D-A687F1A3A2FC}"/>
          </ac:spMkLst>
        </pc:spChg>
        <pc:spChg chg="del">
          <ac:chgData name="Mick Mooney" userId="e6518e4e-af4a-4bea-b39c-20489a1e5519" providerId="ADAL" clId="{3014DE50-B07B-4776-BEAC-0F779D92A13E}" dt="2023-07-25T16:54:28.854" v="14480" actId="478"/>
          <ac:spMkLst>
            <pc:docMk/>
            <pc:sldMk cId="307834480" sldId="2147479629"/>
            <ac:spMk id="129" creationId="{C4CC0DC6-C788-449F-A95F-ABC4B8DC62EB}"/>
          </ac:spMkLst>
        </pc:spChg>
        <pc:spChg chg="del">
          <ac:chgData name="Mick Mooney" userId="e6518e4e-af4a-4bea-b39c-20489a1e5519" providerId="ADAL" clId="{3014DE50-B07B-4776-BEAC-0F779D92A13E}" dt="2023-07-25T16:54:28.854" v="14480" actId="478"/>
          <ac:spMkLst>
            <pc:docMk/>
            <pc:sldMk cId="307834480" sldId="2147479629"/>
            <ac:spMk id="130" creationId="{196DFE78-26FA-499C-BBE5-AD3ACF29E953}"/>
          </ac:spMkLst>
        </pc:spChg>
        <pc:spChg chg="del">
          <ac:chgData name="Mick Mooney" userId="e6518e4e-af4a-4bea-b39c-20489a1e5519" providerId="ADAL" clId="{3014DE50-B07B-4776-BEAC-0F779D92A13E}" dt="2023-07-25T16:54:28.854" v="14480" actId="478"/>
          <ac:spMkLst>
            <pc:docMk/>
            <pc:sldMk cId="307834480" sldId="2147479629"/>
            <ac:spMk id="131" creationId="{287C6111-E000-4040-80B9-BE29F0ED74AE}"/>
          </ac:spMkLst>
        </pc:spChg>
        <pc:spChg chg="del">
          <ac:chgData name="Mick Mooney" userId="e6518e4e-af4a-4bea-b39c-20489a1e5519" providerId="ADAL" clId="{3014DE50-B07B-4776-BEAC-0F779D92A13E}" dt="2023-07-25T16:54:28.854" v="14480" actId="478"/>
          <ac:spMkLst>
            <pc:docMk/>
            <pc:sldMk cId="307834480" sldId="2147479629"/>
            <ac:spMk id="132" creationId="{76C3354B-3FBE-4725-8D9A-642C028FBFF3}"/>
          </ac:spMkLst>
        </pc:spChg>
        <pc:spChg chg="del">
          <ac:chgData name="Mick Mooney" userId="e6518e4e-af4a-4bea-b39c-20489a1e5519" providerId="ADAL" clId="{3014DE50-B07B-4776-BEAC-0F779D92A13E}" dt="2023-07-25T16:54:33.914" v="14481" actId="478"/>
          <ac:spMkLst>
            <pc:docMk/>
            <pc:sldMk cId="307834480" sldId="2147479629"/>
            <ac:spMk id="133" creationId="{EF89BEC2-0F73-4E60-BB3B-50D851253B69}"/>
          </ac:spMkLst>
        </pc:spChg>
        <pc:spChg chg="del">
          <ac:chgData name="Mick Mooney" userId="e6518e4e-af4a-4bea-b39c-20489a1e5519" providerId="ADAL" clId="{3014DE50-B07B-4776-BEAC-0F779D92A13E}" dt="2023-07-25T16:54:33.914" v="14481" actId="478"/>
          <ac:spMkLst>
            <pc:docMk/>
            <pc:sldMk cId="307834480" sldId="2147479629"/>
            <ac:spMk id="134" creationId="{C6FDF5D4-D6D4-4019-BB78-6C1A16E94160}"/>
          </ac:spMkLst>
        </pc:spChg>
        <pc:spChg chg="del">
          <ac:chgData name="Mick Mooney" userId="e6518e4e-af4a-4bea-b39c-20489a1e5519" providerId="ADAL" clId="{3014DE50-B07B-4776-BEAC-0F779D92A13E}" dt="2023-07-25T16:54:33.914" v="14481" actId="478"/>
          <ac:spMkLst>
            <pc:docMk/>
            <pc:sldMk cId="307834480" sldId="2147479629"/>
            <ac:spMk id="135" creationId="{4392058A-7785-4989-87C3-FF33A7345CFC}"/>
          </ac:spMkLst>
        </pc:spChg>
        <pc:spChg chg="del">
          <ac:chgData name="Mick Mooney" userId="e6518e4e-af4a-4bea-b39c-20489a1e5519" providerId="ADAL" clId="{3014DE50-B07B-4776-BEAC-0F779D92A13E}" dt="2023-07-25T16:54:33.914" v="14481" actId="478"/>
          <ac:spMkLst>
            <pc:docMk/>
            <pc:sldMk cId="307834480" sldId="2147479629"/>
            <ac:spMk id="136" creationId="{3C49F8C8-C246-4AE4-88F0-DC1C052602D0}"/>
          </ac:spMkLst>
        </pc:spChg>
        <pc:spChg chg="del">
          <ac:chgData name="Mick Mooney" userId="e6518e4e-af4a-4bea-b39c-20489a1e5519" providerId="ADAL" clId="{3014DE50-B07B-4776-BEAC-0F779D92A13E}" dt="2023-07-25T16:54:33.914" v="14481" actId="478"/>
          <ac:spMkLst>
            <pc:docMk/>
            <pc:sldMk cId="307834480" sldId="2147479629"/>
            <ac:spMk id="137" creationId="{B51CC133-C72C-40AC-8D37-B7AA95129E52}"/>
          </ac:spMkLst>
        </pc:spChg>
        <pc:spChg chg="mod">
          <ac:chgData name="Mick Mooney" userId="e6518e4e-af4a-4bea-b39c-20489a1e5519" providerId="ADAL" clId="{3014DE50-B07B-4776-BEAC-0F779D92A13E}" dt="2023-07-31T09:49:03.267" v="23326" actId="2711"/>
          <ac:spMkLst>
            <pc:docMk/>
            <pc:sldMk cId="307834480" sldId="2147479629"/>
            <ac:spMk id="138" creationId="{1238B4B3-41E6-1400-7586-FC49501E53C5}"/>
          </ac:spMkLst>
        </pc:spChg>
        <pc:spChg chg="mod">
          <ac:chgData name="Mick Mooney" userId="e6518e4e-af4a-4bea-b39c-20489a1e5519" providerId="ADAL" clId="{3014DE50-B07B-4776-BEAC-0F779D92A13E}" dt="2023-07-31T09:49:03.267" v="23326" actId="2711"/>
          <ac:spMkLst>
            <pc:docMk/>
            <pc:sldMk cId="307834480" sldId="2147479629"/>
            <ac:spMk id="139" creationId="{7F899D68-41FD-7E14-8FA5-578E0468B5E1}"/>
          </ac:spMkLst>
        </pc:spChg>
        <pc:spChg chg="add mod replST delST">
          <ac:chgData name="Mick Mooney" userId="e6518e4e-af4a-4bea-b39c-20489a1e5519" providerId="ADAL" clId="{3014DE50-B07B-4776-BEAC-0F779D92A13E}" dt="2023-07-31T09:49:03.267" v="23326" actId="2711"/>
          <ac:spMkLst>
            <pc:docMk/>
            <pc:sldMk cId="307834480" sldId="2147479629"/>
            <ac:spMk id="140" creationId="{6373D95E-E7D6-F46B-BB6F-88390F461C04}"/>
          </ac:spMkLst>
        </pc:spChg>
        <pc:spChg chg="add mod replST delST">
          <ac:chgData name="Mick Mooney" userId="e6518e4e-af4a-4bea-b39c-20489a1e5519" providerId="ADAL" clId="{3014DE50-B07B-4776-BEAC-0F779D92A13E}" dt="2023-07-31T09:49:03.267" v="23326" actId="2711"/>
          <ac:spMkLst>
            <pc:docMk/>
            <pc:sldMk cId="307834480" sldId="2147479629"/>
            <ac:spMk id="141" creationId="{B33FC378-9EE0-E5EB-8E72-AC9EE2108209}"/>
          </ac:spMkLst>
        </pc:spChg>
        <pc:spChg chg="add mod replST delST">
          <ac:chgData name="Mick Mooney" userId="e6518e4e-af4a-4bea-b39c-20489a1e5519" providerId="ADAL" clId="{3014DE50-B07B-4776-BEAC-0F779D92A13E}" dt="2023-07-31T09:49:03.267" v="23326" actId="2711"/>
          <ac:spMkLst>
            <pc:docMk/>
            <pc:sldMk cId="307834480" sldId="2147479629"/>
            <ac:spMk id="142" creationId="{23CF22E7-BEEB-EA1A-1CC8-4EAF921BD63D}"/>
          </ac:spMkLst>
        </pc:spChg>
        <pc:spChg chg="add mod replST delST">
          <ac:chgData name="Mick Mooney" userId="e6518e4e-af4a-4bea-b39c-20489a1e5519" providerId="ADAL" clId="{3014DE50-B07B-4776-BEAC-0F779D92A13E}" dt="2023-07-31T09:49:03.267" v="23326" actId="2711"/>
          <ac:spMkLst>
            <pc:docMk/>
            <pc:sldMk cId="307834480" sldId="2147479629"/>
            <ac:spMk id="143" creationId="{97E5F040-A562-80B3-36DB-0C031C9F1DFC}"/>
          </ac:spMkLst>
        </pc:spChg>
        <pc:spChg chg="add mod replST delST">
          <ac:chgData name="Mick Mooney" userId="e6518e4e-af4a-4bea-b39c-20489a1e5519" providerId="ADAL" clId="{3014DE50-B07B-4776-BEAC-0F779D92A13E}" dt="2023-07-31T09:49:03.267" v="23326" actId="2711"/>
          <ac:spMkLst>
            <pc:docMk/>
            <pc:sldMk cId="307834480" sldId="2147479629"/>
            <ac:spMk id="144" creationId="{C7435F7B-5F33-F9AD-48AE-9BAA441DC2ED}"/>
          </ac:spMkLst>
        </pc:spChg>
        <pc:spChg chg="add mod replST delST">
          <ac:chgData name="Mick Mooney" userId="e6518e4e-af4a-4bea-b39c-20489a1e5519" providerId="ADAL" clId="{3014DE50-B07B-4776-BEAC-0F779D92A13E}" dt="2023-07-31T09:49:03.267" v="23326" actId="2711"/>
          <ac:spMkLst>
            <pc:docMk/>
            <pc:sldMk cId="307834480" sldId="2147479629"/>
            <ac:spMk id="145" creationId="{9961995A-D567-EEF6-90F6-8BBC9C54F7DC}"/>
          </ac:spMkLst>
        </pc:spChg>
        <pc:spChg chg="add mod replST delST">
          <ac:chgData name="Mick Mooney" userId="e6518e4e-af4a-4bea-b39c-20489a1e5519" providerId="ADAL" clId="{3014DE50-B07B-4776-BEAC-0F779D92A13E}" dt="2023-07-31T09:49:03.267" v="23326" actId="2711"/>
          <ac:spMkLst>
            <pc:docMk/>
            <pc:sldMk cId="307834480" sldId="2147479629"/>
            <ac:spMk id="146" creationId="{E5912ADF-5379-2A9C-55AF-5D0F10703D15}"/>
          </ac:spMkLst>
        </pc:spChg>
        <pc:spChg chg="add mod replST delST">
          <ac:chgData name="Mick Mooney" userId="e6518e4e-af4a-4bea-b39c-20489a1e5519" providerId="ADAL" clId="{3014DE50-B07B-4776-BEAC-0F779D92A13E}" dt="2023-07-31T09:49:03.267" v="23326" actId="2711"/>
          <ac:spMkLst>
            <pc:docMk/>
            <pc:sldMk cId="307834480" sldId="2147479629"/>
            <ac:spMk id="147" creationId="{73B5F62A-512C-7B7A-0F36-71E394FFB8B1}"/>
          </ac:spMkLst>
        </pc:spChg>
        <pc:spChg chg="add mod replST delST">
          <ac:chgData name="Mick Mooney" userId="e6518e4e-af4a-4bea-b39c-20489a1e5519" providerId="ADAL" clId="{3014DE50-B07B-4776-BEAC-0F779D92A13E}" dt="2023-07-31T09:49:03.267" v="23326" actId="2711"/>
          <ac:spMkLst>
            <pc:docMk/>
            <pc:sldMk cId="307834480" sldId="2147479629"/>
            <ac:spMk id="148" creationId="{3D055152-D40B-89EE-0052-B9C1E23AAEAD}"/>
          </ac:spMkLst>
        </pc:spChg>
        <pc:spChg chg="add mod replST delST">
          <ac:chgData name="Mick Mooney" userId="e6518e4e-af4a-4bea-b39c-20489a1e5519" providerId="ADAL" clId="{3014DE50-B07B-4776-BEAC-0F779D92A13E}" dt="2023-07-31T09:49:03.267" v="23326" actId="2711"/>
          <ac:spMkLst>
            <pc:docMk/>
            <pc:sldMk cId="307834480" sldId="2147479629"/>
            <ac:spMk id="149" creationId="{141CD9B4-9C17-C08A-A305-E87C608B2C31}"/>
          </ac:spMkLst>
        </pc:spChg>
        <pc:spChg chg="add del mod ord">
          <ac:chgData name="Mick Mooney" userId="e6518e4e-af4a-4bea-b39c-20489a1e5519" providerId="ADAL" clId="{3014DE50-B07B-4776-BEAC-0F779D92A13E}" dt="2023-07-25T17:28:24.430" v="15366" actId="700"/>
          <ac:spMkLst>
            <pc:docMk/>
            <pc:sldMk cId="307834480" sldId="2147479629"/>
            <ac:spMk id="151" creationId="{BF0D4FBE-D4AC-CB30-4E25-4A17491B3AF3}"/>
          </ac:spMkLst>
        </pc:spChg>
        <pc:spChg chg="mod replST delST">
          <ac:chgData name="Mick Mooney" userId="e6518e4e-af4a-4bea-b39c-20489a1e5519" providerId="ADAL" clId="{3014DE50-B07B-4776-BEAC-0F779D92A13E}" dt="2023-07-31T13:06:28.769" v="28790" actId="207"/>
          <ac:spMkLst>
            <pc:docMk/>
            <pc:sldMk cId="307834480" sldId="2147479629"/>
            <ac:spMk id="191" creationId="{A60E4E8F-C185-43CB-B46D-D2A389AC55FF}"/>
          </ac:spMkLst>
        </pc:spChg>
        <pc:spChg chg="del">
          <ac:chgData name="Mick Mooney" userId="e6518e4e-af4a-4bea-b39c-20489a1e5519" providerId="ADAL" clId="{3014DE50-B07B-4776-BEAC-0F779D92A13E}" dt="2023-07-25T16:54:33.914" v="14481" actId="478"/>
          <ac:spMkLst>
            <pc:docMk/>
            <pc:sldMk cId="307834480" sldId="2147479629"/>
            <ac:spMk id="207" creationId="{6A5412A3-B550-407F-96AA-AD856BC718FB}"/>
          </ac:spMkLst>
        </pc:spChg>
        <pc:grpChg chg="add mod">
          <ac:chgData name="Mick Mooney" userId="e6518e4e-af4a-4bea-b39c-20489a1e5519" providerId="ADAL" clId="{3014DE50-B07B-4776-BEAC-0F779D92A13E}" dt="2023-07-25T17:03:02.361" v="14756" actId="14100"/>
          <ac:grpSpMkLst>
            <pc:docMk/>
            <pc:sldMk cId="307834480" sldId="2147479629"/>
            <ac:grpSpMk id="2" creationId="{D0ACABCA-67C6-E953-208B-7D09E4CFF268}"/>
          </ac:grpSpMkLst>
        </pc:grpChg>
        <pc:grpChg chg="mod">
          <ac:chgData name="Mick Mooney" userId="e6518e4e-af4a-4bea-b39c-20489a1e5519" providerId="ADAL" clId="{3014DE50-B07B-4776-BEAC-0F779D92A13E}" dt="2023-07-25T16:58:19.500" v="14700"/>
          <ac:grpSpMkLst>
            <pc:docMk/>
            <pc:sldMk cId="307834480" sldId="2147479629"/>
            <ac:grpSpMk id="4" creationId="{001F8693-7AF6-FDD8-ABB3-3AEE031A920C}"/>
          </ac:grpSpMkLst>
        </pc:grpChg>
        <pc:grpChg chg="mod">
          <ac:chgData name="Mick Mooney" userId="e6518e4e-af4a-4bea-b39c-20489a1e5519" providerId="ADAL" clId="{3014DE50-B07B-4776-BEAC-0F779D92A13E}" dt="2023-07-25T16:58:19.500" v="14700"/>
          <ac:grpSpMkLst>
            <pc:docMk/>
            <pc:sldMk cId="307834480" sldId="2147479629"/>
            <ac:grpSpMk id="6" creationId="{E45BECF9-390C-B3EB-B409-02DB7276442C}"/>
          </ac:grpSpMkLst>
        </pc:grpChg>
        <pc:grpChg chg="del">
          <ac:chgData name="Mick Mooney" userId="e6518e4e-af4a-4bea-b39c-20489a1e5519" providerId="ADAL" clId="{3014DE50-B07B-4776-BEAC-0F779D92A13E}" dt="2023-07-25T16:54:28.854" v="14480" actId="478"/>
          <ac:grpSpMkLst>
            <pc:docMk/>
            <pc:sldMk cId="307834480" sldId="2147479629"/>
            <ac:grpSpMk id="40" creationId="{FD5EF340-1383-4440-9686-F960CE871F5D}"/>
          </ac:grpSpMkLst>
        </pc:grpChg>
        <pc:grpChg chg="del">
          <ac:chgData name="Mick Mooney" userId="e6518e4e-af4a-4bea-b39c-20489a1e5519" providerId="ADAL" clId="{3014DE50-B07B-4776-BEAC-0F779D92A13E}" dt="2023-07-25T16:54:28.854" v="14480" actId="478"/>
          <ac:grpSpMkLst>
            <pc:docMk/>
            <pc:sldMk cId="307834480" sldId="2147479629"/>
            <ac:grpSpMk id="53" creationId="{A9555641-9511-4C94-BEA0-A5E4EC6CF8DF}"/>
          </ac:grpSpMkLst>
        </pc:grpChg>
        <pc:grpChg chg="del">
          <ac:chgData name="Mick Mooney" userId="e6518e4e-af4a-4bea-b39c-20489a1e5519" providerId="ADAL" clId="{3014DE50-B07B-4776-BEAC-0F779D92A13E}" dt="2023-07-25T16:54:28.854" v="14480" actId="478"/>
          <ac:grpSpMkLst>
            <pc:docMk/>
            <pc:sldMk cId="307834480" sldId="2147479629"/>
            <ac:grpSpMk id="65" creationId="{D01CDE07-1898-44E5-8C42-A599E8E39C5E}"/>
          </ac:grpSpMkLst>
        </pc:grpChg>
        <pc:grpChg chg="del">
          <ac:chgData name="Mick Mooney" userId="e6518e4e-af4a-4bea-b39c-20489a1e5519" providerId="ADAL" clId="{3014DE50-B07B-4776-BEAC-0F779D92A13E}" dt="2023-07-25T16:54:28.854" v="14480" actId="478"/>
          <ac:grpSpMkLst>
            <pc:docMk/>
            <pc:sldMk cId="307834480" sldId="2147479629"/>
            <ac:grpSpMk id="83" creationId="{1D464E95-87AE-484D-AEAF-CA4FE8F505C3}"/>
          </ac:grpSpMkLst>
        </pc:grpChg>
        <pc:grpChg chg="del">
          <ac:chgData name="Mick Mooney" userId="e6518e4e-af4a-4bea-b39c-20489a1e5519" providerId="ADAL" clId="{3014DE50-B07B-4776-BEAC-0F779D92A13E}" dt="2023-07-25T16:54:28.854" v="14480" actId="478"/>
          <ac:grpSpMkLst>
            <pc:docMk/>
            <pc:sldMk cId="307834480" sldId="2147479629"/>
            <ac:grpSpMk id="99" creationId="{D58700D8-2A18-4A77-8FD1-DDFD1ACA1F6D}"/>
          </ac:grpSpMkLst>
        </pc:grpChg>
        <pc:grpChg chg="del">
          <ac:chgData name="Mick Mooney" userId="e6518e4e-af4a-4bea-b39c-20489a1e5519" providerId="ADAL" clId="{3014DE50-B07B-4776-BEAC-0F779D92A13E}" dt="2023-07-25T16:54:28.854" v="14480" actId="478"/>
          <ac:grpSpMkLst>
            <pc:docMk/>
            <pc:sldMk cId="307834480" sldId="2147479629"/>
            <ac:grpSpMk id="117" creationId="{78019E90-AAC4-4702-BF30-5AB8110AA8B8}"/>
          </ac:grpSpMkLst>
        </pc:grpChg>
        <pc:cxnChg chg="mod">
          <ac:chgData name="Mick Mooney" userId="e6518e4e-af4a-4bea-b39c-20489a1e5519" providerId="ADAL" clId="{3014DE50-B07B-4776-BEAC-0F779D92A13E}" dt="2023-07-25T17:08:41.609" v="14923" actId="1582"/>
          <ac:cxnSpMkLst>
            <pc:docMk/>
            <pc:sldMk cId="307834480" sldId="2147479629"/>
            <ac:cxnSpMk id="19" creationId="{EEEB2B57-48F8-519F-2F42-AAEEFB61EEF5}"/>
          </ac:cxnSpMkLst>
        </pc:cxnChg>
      </pc:sldChg>
      <pc:sldChg chg="add del">
        <pc:chgData name="Mick Mooney" userId="e6518e4e-af4a-4bea-b39c-20489a1e5519" providerId="ADAL" clId="{3014DE50-B07B-4776-BEAC-0F779D92A13E}" dt="2023-07-25T16:53:01.086" v="14430" actId="2696"/>
        <pc:sldMkLst>
          <pc:docMk/>
          <pc:sldMk cId="1317255851" sldId="2147479629"/>
        </pc:sldMkLst>
      </pc:sldChg>
      <pc:sldChg chg="delSp modSp add del mod">
        <pc:chgData name="Mick Mooney" userId="e6518e4e-af4a-4bea-b39c-20489a1e5519" providerId="ADAL" clId="{3014DE50-B07B-4776-BEAC-0F779D92A13E}" dt="2023-07-25T16:24:39.275" v="14013" actId="47"/>
        <pc:sldMkLst>
          <pc:docMk/>
          <pc:sldMk cId="2911362394" sldId="2147479629"/>
        </pc:sldMkLst>
        <pc:spChg chg="mod replST delST">
          <ac:chgData name="Mick Mooney" userId="e6518e4e-af4a-4bea-b39c-20489a1e5519" providerId="ADAL" clId="{3014DE50-B07B-4776-BEAC-0F779D92A13E}" dt="2023-07-25T16:13:52.121" v="13799"/>
          <ac:spMkLst>
            <pc:docMk/>
            <pc:sldMk cId="2911362394" sldId="2147479629"/>
            <ac:spMk id="2" creationId="{891449F1-373B-460D-9406-98872BA5A64C}"/>
          </ac:spMkLst>
        </pc:spChg>
        <pc:spChg chg="replST delST">
          <ac:chgData name="Mick Mooney" userId="e6518e4e-af4a-4bea-b39c-20489a1e5519" providerId="ADAL" clId="{3014DE50-B07B-4776-BEAC-0F779D92A13E}" dt="2023-07-25T16:15:51.448" v="13921"/>
          <ac:spMkLst>
            <pc:docMk/>
            <pc:sldMk cId="2911362394" sldId="2147479629"/>
            <ac:spMk id="7" creationId="{E629160E-DFB4-4D91-A506-5C8CC94F79E6}"/>
          </ac:spMkLst>
        </pc:spChg>
        <pc:spChg chg="mod replST delST">
          <ac:chgData name="Mick Mooney" userId="e6518e4e-af4a-4bea-b39c-20489a1e5519" providerId="ADAL" clId="{3014DE50-B07B-4776-BEAC-0F779D92A13E}" dt="2023-07-25T16:18:27.728" v="13959"/>
          <ac:spMkLst>
            <pc:docMk/>
            <pc:sldMk cId="2911362394" sldId="2147479629"/>
            <ac:spMk id="8" creationId="{7824D54C-15D2-467C-A016-166944D0781C}"/>
          </ac:spMkLst>
        </pc:spChg>
        <pc:spChg chg="mod replST delST">
          <ac:chgData name="Mick Mooney" userId="e6518e4e-af4a-4bea-b39c-20489a1e5519" providerId="ADAL" clId="{3014DE50-B07B-4776-BEAC-0F779D92A13E}" dt="2023-07-25T16:14:54.201" v="13891"/>
          <ac:spMkLst>
            <pc:docMk/>
            <pc:sldMk cId="2911362394" sldId="2147479629"/>
            <ac:spMk id="20" creationId="{D28E758B-D6FE-4F29-967D-00C669DD2176}"/>
          </ac:spMkLst>
        </pc:spChg>
        <pc:spChg chg="mod replST delST">
          <ac:chgData name="Mick Mooney" userId="e6518e4e-af4a-4bea-b39c-20489a1e5519" providerId="ADAL" clId="{3014DE50-B07B-4776-BEAC-0F779D92A13E}" dt="2023-07-25T16:15:42.665" v="13919"/>
          <ac:spMkLst>
            <pc:docMk/>
            <pc:sldMk cId="2911362394" sldId="2147479629"/>
            <ac:spMk id="23" creationId="{38B2570F-E3D3-45CF-97DB-BD26E962337E}"/>
          </ac:spMkLst>
        </pc:spChg>
        <pc:spChg chg="mod replST delST">
          <ac:chgData name="Mick Mooney" userId="e6518e4e-af4a-4bea-b39c-20489a1e5519" providerId="ADAL" clId="{3014DE50-B07B-4776-BEAC-0F779D92A13E}" dt="2023-07-25T16:15:03.568" v="13898"/>
          <ac:spMkLst>
            <pc:docMk/>
            <pc:sldMk cId="2911362394" sldId="2147479629"/>
            <ac:spMk id="38" creationId="{164BFCD5-7DD6-4581-9BCC-F9E991644D34}"/>
          </ac:spMkLst>
        </pc:spChg>
        <pc:spChg chg="mod replST delST">
          <ac:chgData name="Mick Mooney" userId="e6518e4e-af4a-4bea-b39c-20489a1e5519" providerId="ADAL" clId="{3014DE50-B07B-4776-BEAC-0F779D92A13E}" dt="2023-07-25T16:15:12.752" v="13909"/>
          <ac:spMkLst>
            <pc:docMk/>
            <pc:sldMk cId="2911362394" sldId="2147479629"/>
            <ac:spMk id="39" creationId="{371B88C4-851E-4FF0-B38A-71D7A8991AAB}"/>
          </ac:spMkLst>
        </pc:spChg>
        <pc:spChg chg="mod replST delST">
          <ac:chgData name="Mick Mooney" userId="e6518e4e-af4a-4bea-b39c-20489a1e5519" providerId="ADAL" clId="{3014DE50-B07B-4776-BEAC-0F779D92A13E}" dt="2023-07-25T16:15:28.907" v="13914"/>
          <ac:spMkLst>
            <pc:docMk/>
            <pc:sldMk cId="2911362394" sldId="2147479629"/>
            <ac:spMk id="40" creationId="{C04E56A3-3102-411D-96CA-E6EC0F9C6BE4}"/>
          </ac:spMkLst>
        </pc:spChg>
        <pc:picChg chg="del">
          <ac:chgData name="Mick Mooney" userId="e6518e4e-af4a-4bea-b39c-20489a1e5519" providerId="ADAL" clId="{3014DE50-B07B-4776-BEAC-0F779D92A13E}" dt="2023-07-25T16:13:08.962" v="13754" actId="478"/>
          <ac:picMkLst>
            <pc:docMk/>
            <pc:sldMk cId="2911362394" sldId="2147479629"/>
            <ac:picMk id="50" creationId="{3B35613A-7AC7-4C36-B270-2EC60CEB0776}"/>
          </ac:picMkLst>
        </pc:picChg>
      </pc:sldChg>
      <pc:sldChg chg="add del">
        <pc:chgData name="Mick Mooney" userId="e6518e4e-af4a-4bea-b39c-20489a1e5519" providerId="ADAL" clId="{3014DE50-B07B-4776-BEAC-0F779D92A13E}" dt="2023-07-22T14:19:35.728" v="8103"/>
        <pc:sldMkLst>
          <pc:docMk/>
          <pc:sldMk cId="3060549155" sldId="2147479629"/>
        </pc:sldMkLst>
      </pc:sldChg>
      <pc:sldChg chg="add del">
        <pc:chgData name="Mick Mooney" userId="e6518e4e-af4a-4bea-b39c-20489a1e5519" providerId="ADAL" clId="{3014DE50-B07B-4776-BEAC-0F779D92A13E}" dt="2023-07-22T14:19:35.728" v="8103"/>
        <pc:sldMkLst>
          <pc:docMk/>
          <pc:sldMk cId="3245720297" sldId="2147479630"/>
        </pc:sldMkLst>
      </pc:sldChg>
      <pc:sldChg chg="delSp modSp add del mod">
        <pc:chgData name="Mick Mooney" userId="e6518e4e-af4a-4bea-b39c-20489a1e5519" providerId="ADAL" clId="{3014DE50-B07B-4776-BEAC-0F779D92A13E}" dt="2023-07-25T17:31:55.598" v="15483" actId="2696"/>
        <pc:sldMkLst>
          <pc:docMk/>
          <pc:sldMk cId="3509701607" sldId="2147479630"/>
        </pc:sldMkLst>
        <pc:spChg chg="del">
          <ac:chgData name="Mick Mooney" userId="e6518e4e-af4a-4bea-b39c-20489a1e5519" providerId="ADAL" clId="{3014DE50-B07B-4776-BEAC-0F779D92A13E}" dt="2023-07-25T17:27:24.571" v="15364" actId="478"/>
          <ac:spMkLst>
            <pc:docMk/>
            <pc:sldMk cId="3509701607" sldId="2147479630"/>
            <ac:spMk id="3" creationId="{39ABD435-15FB-40A4-BA87-DE1432D0CB94}"/>
          </ac:spMkLst>
        </pc:spChg>
        <pc:spChg chg="mod replST delST">
          <ac:chgData name="Mick Mooney" userId="e6518e4e-af4a-4bea-b39c-20489a1e5519" providerId="ADAL" clId="{3014DE50-B07B-4776-BEAC-0F779D92A13E}" dt="2023-07-25T17:27:09.090" v="15353"/>
          <ac:spMkLst>
            <pc:docMk/>
            <pc:sldMk cId="3509701607" sldId="2147479630"/>
            <ac:spMk id="8" creationId="{7824D54C-15D2-467C-A016-166944D0781C}"/>
          </ac:spMkLst>
        </pc:spChg>
        <pc:spChg chg="del">
          <ac:chgData name="Mick Mooney" userId="e6518e4e-af4a-4bea-b39c-20489a1e5519" providerId="ADAL" clId="{3014DE50-B07B-4776-BEAC-0F779D92A13E}" dt="2023-07-25T17:27:24.571" v="15364" actId="478"/>
          <ac:spMkLst>
            <pc:docMk/>
            <pc:sldMk cId="3509701607" sldId="2147479630"/>
            <ac:spMk id="13" creationId="{048EA923-201C-4127-A92A-D71D55B16DD9}"/>
          </ac:spMkLst>
        </pc:spChg>
        <pc:spChg chg="del mod replST delST">
          <ac:chgData name="Mick Mooney" userId="e6518e4e-af4a-4bea-b39c-20489a1e5519" providerId="ADAL" clId="{3014DE50-B07B-4776-BEAC-0F779D92A13E}" dt="2023-07-25T17:27:24.571" v="15364" actId="478"/>
          <ac:spMkLst>
            <pc:docMk/>
            <pc:sldMk cId="3509701607" sldId="2147479630"/>
            <ac:spMk id="15" creationId="{2FC46DA3-6AC1-45FB-A9CF-08126F196F61}"/>
          </ac:spMkLst>
        </pc:spChg>
        <pc:spChg chg="del mod replST delST">
          <ac:chgData name="Mick Mooney" userId="e6518e4e-af4a-4bea-b39c-20489a1e5519" providerId="ADAL" clId="{3014DE50-B07B-4776-BEAC-0F779D92A13E}" dt="2023-07-25T17:27:16.175" v="15359" actId="478"/>
          <ac:spMkLst>
            <pc:docMk/>
            <pc:sldMk cId="3509701607" sldId="2147479630"/>
            <ac:spMk id="17" creationId="{8C9460DB-676C-4AF1-BB43-13950E17CBA7}"/>
          </ac:spMkLst>
        </pc:spChg>
        <pc:spChg chg="del">
          <ac:chgData name="Mick Mooney" userId="e6518e4e-af4a-4bea-b39c-20489a1e5519" providerId="ADAL" clId="{3014DE50-B07B-4776-BEAC-0F779D92A13E}" dt="2023-07-25T17:27:24.571" v="15364" actId="478"/>
          <ac:spMkLst>
            <pc:docMk/>
            <pc:sldMk cId="3509701607" sldId="2147479630"/>
            <ac:spMk id="22" creationId="{CA33DD07-C332-43FF-B1BE-BC81570F83D3}"/>
          </ac:spMkLst>
        </pc:spChg>
        <pc:picChg chg="del">
          <ac:chgData name="Mick Mooney" userId="e6518e4e-af4a-4bea-b39c-20489a1e5519" providerId="ADAL" clId="{3014DE50-B07B-4776-BEAC-0F779D92A13E}" dt="2023-07-25T17:27:19.614" v="15360" actId="478"/>
          <ac:picMkLst>
            <pc:docMk/>
            <pc:sldMk cId="3509701607" sldId="2147479630"/>
            <ac:picMk id="16" creationId="{4757B2B1-4730-470F-B866-761B6AB490A8}"/>
          </ac:picMkLst>
        </pc:picChg>
        <pc:cxnChg chg="del">
          <ac:chgData name="Mick Mooney" userId="e6518e4e-af4a-4bea-b39c-20489a1e5519" providerId="ADAL" clId="{3014DE50-B07B-4776-BEAC-0F779D92A13E}" dt="2023-07-25T17:27:24.571" v="15364" actId="478"/>
          <ac:cxnSpMkLst>
            <pc:docMk/>
            <pc:sldMk cId="3509701607" sldId="2147479630"/>
            <ac:cxnSpMk id="12" creationId="{E69D93B9-FD47-4D2D-ACDA-EB43855A1E04}"/>
          </ac:cxnSpMkLst>
        </pc:cxnChg>
        <pc:cxnChg chg="del">
          <ac:chgData name="Mick Mooney" userId="e6518e4e-af4a-4bea-b39c-20489a1e5519" providerId="ADAL" clId="{3014DE50-B07B-4776-BEAC-0F779D92A13E}" dt="2023-07-25T17:27:24.571" v="15364" actId="478"/>
          <ac:cxnSpMkLst>
            <pc:docMk/>
            <pc:sldMk cId="3509701607" sldId="2147479630"/>
            <ac:cxnSpMk id="14" creationId="{E75D4A01-2AAB-40C3-B3D8-12C00E63778F}"/>
          </ac:cxnSpMkLst>
        </pc:cxnChg>
      </pc:sldChg>
      <pc:sldChg chg="addSp delSp modSp add mod ord">
        <pc:chgData name="Mick Mooney" userId="e6518e4e-af4a-4bea-b39c-20489a1e5519" providerId="ADAL" clId="{3014DE50-B07B-4776-BEAC-0F779D92A13E}" dt="2023-07-31T15:05:19.575" v="32725"/>
        <pc:sldMkLst>
          <pc:docMk/>
          <pc:sldMk cId="2662456620" sldId="2147479631"/>
        </pc:sldMkLst>
        <pc:spChg chg="mod replST delST">
          <ac:chgData name="Mick Mooney" userId="e6518e4e-af4a-4bea-b39c-20489a1e5519" providerId="ADAL" clId="{3014DE50-B07B-4776-BEAC-0F779D92A13E}" dt="2023-07-31T09:50:46.180" v="23338" actId="2711"/>
          <ac:spMkLst>
            <pc:docMk/>
            <pc:sldMk cId="2662456620" sldId="2147479631"/>
            <ac:spMk id="8" creationId="{7824D54C-15D2-467C-A016-166944D0781C}"/>
          </ac:spMkLst>
        </pc:spChg>
        <pc:spChg chg="add del replST delST">
          <ac:chgData name="Mick Mooney" userId="e6518e4e-af4a-4bea-b39c-20489a1e5519" providerId="ADAL" clId="{3014DE50-B07B-4776-BEAC-0F779D92A13E}" dt="2023-07-25T17:41:35.463" v="15489" actId="22"/>
          <ac:spMkLst>
            <pc:docMk/>
            <pc:sldMk cId="2662456620" sldId="2147479631"/>
            <ac:spMk id="27" creationId="{69137356-B368-3A08-0096-111DF3C4AF32}"/>
          </ac:spMkLst>
        </pc:spChg>
        <pc:spChg chg="add mod replST delST">
          <ac:chgData name="Mick Mooney" userId="e6518e4e-af4a-4bea-b39c-20489a1e5519" providerId="ADAL" clId="{3014DE50-B07B-4776-BEAC-0F779D92A13E}" dt="2023-07-31T09:50:46.180" v="23338" actId="2711"/>
          <ac:spMkLst>
            <pc:docMk/>
            <pc:sldMk cId="2662456620" sldId="2147479631"/>
            <ac:spMk id="29" creationId="{8665DCBC-789F-E53A-7E03-22918E2A1291}"/>
          </ac:spMkLst>
        </pc:spChg>
        <pc:spChg chg="add mod replST delST">
          <ac:chgData name="Mick Mooney" userId="e6518e4e-af4a-4bea-b39c-20489a1e5519" providerId="ADAL" clId="{3014DE50-B07B-4776-BEAC-0F779D92A13E}" dt="2023-07-31T09:50:46.180" v="23338" actId="2711"/>
          <ac:spMkLst>
            <pc:docMk/>
            <pc:sldMk cId="2662456620" sldId="2147479631"/>
            <ac:spMk id="30" creationId="{04896F09-1A79-46BD-42D0-E527BB44D29C}"/>
          </ac:spMkLst>
        </pc:spChg>
        <pc:spChg chg="add mod replST delST">
          <ac:chgData name="Mick Mooney" userId="e6518e4e-af4a-4bea-b39c-20489a1e5519" providerId="ADAL" clId="{3014DE50-B07B-4776-BEAC-0F779D92A13E}" dt="2023-07-31T15:05:02.742" v="32721"/>
          <ac:spMkLst>
            <pc:docMk/>
            <pc:sldMk cId="2662456620" sldId="2147479631"/>
            <ac:spMk id="31" creationId="{4836C7E4-AA22-8CF6-980C-47EAD33CCD4E}"/>
          </ac:spMkLst>
        </pc:spChg>
        <pc:spChg chg="add mod replST delST">
          <ac:chgData name="Mick Mooney" userId="e6518e4e-af4a-4bea-b39c-20489a1e5519" providerId="ADAL" clId="{3014DE50-B07B-4776-BEAC-0F779D92A13E}" dt="2023-07-31T09:50:46.180" v="23338" actId="2711"/>
          <ac:spMkLst>
            <pc:docMk/>
            <pc:sldMk cId="2662456620" sldId="2147479631"/>
            <ac:spMk id="128" creationId="{67A6B1C8-76F7-9E9E-5ED0-48C8111BC9F5}"/>
          </ac:spMkLst>
        </pc:spChg>
        <pc:spChg chg="add mod replST delST">
          <ac:chgData name="Mick Mooney" userId="e6518e4e-af4a-4bea-b39c-20489a1e5519" providerId="ADAL" clId="{3014DE50-B07B-4776-BEAC-0F779D92A13E}" dt="2023-07-31T15:05:01.382" v="32719"/>
          <ac:spMkLst>
            <pc:docMk/>
            <pc:sldMk cId="2662456620" sldId="2147479631"/>
            <ac:spMk id="129" creationId="{C3E1CA8C-85EF-4846-7B26-0AFD5D27D26D}"/>
          </ac:spMkLst>
        </pc:spChg>
        <pc:spChg chg="add mod replST delST">
          <ac:chgData name="Mick Mooney" userId="e6518e4e-af4a-4bea-b39c-20489a1e5519" providerId="ADAL" clId="{3014DE50-B07B-4776-BEAC-0F779D92A13E}" dt="2023-07-31T09:50:46.180" v="23338" actId="2711"/>
          <ac:spMkLst>
            <pc:docMk/>
            <pc:sldMk cId="2662456620" sldId="2147479631"/>
            <ac:spMk id="130" creationId="{6C8B7035-AE28-23AE-37C0-185D69739A14}"/>
          </ac:spMkLst>
        </pc:spChg>
        <pc:spChg chg="add mod replST delST">
          <ac:chgData name="Mick Mooney" userId="e6518e4e-af4a-4bea-b39c-20489a1e5519" providerId="ADAL" clId="{3014DE50-B07B-4776-BEAC-0F779D92A13E}" dt="2023-07-31T09:50:46.180" v="23338" actId="2711"/>
          <ac:spMkLst>
            <pc:docMk/>
            <pc:sldMk cId="2662456620" sldId="2147479631"/>
            <ac:spMk id="131" creationId="{E42862BB-2BDF-ECD2-2424-28D41EFD57E3}"/>
          </ac:spMkLst>
        </pc:spChg>
        <pc:spChg chg="add mod">
          <ac:chgData name="Mick Mooney" userId="e6518e4e-af4a-4bea-b39c-20489a1e5519" providerId="ADAL" clId="{3014DE50-B07B-4776-BEAC-0F779D92A13E}" dt="2023-07-31T09:50:46.180" v="23338" actId="2711"/>
          <ac:spMkLst>
            <pc:docMk/>
            <pc:sldMk cId="2662456620" sldId="2147479631"/>
            <ac:spMk id="132" creationId="{4AB58BCF-AD7C-C008-D5D5-7C21292BE0C1}"/>
          </ac:spMkLst>
        </pc:spChg>
        <pc:spChg chg="add mod replST delST">
          <ac:chgData name="Mick Mooney" userId="e6518e4e-af4a-4bea-b39c-20489a1e5519" providerId="ADAL" clId="{3014DE50-B07B-4776-BEAC-0F779D92A13E}" dt="2023-07-31T09:50:46.180" v="23338" actId="2711"/>
          <ac:spMkLst>
            <pc:docMk/>
            <pc:sldMk cId="2662456620" sldId="2147479631"/>
            <ac:spMk id="133" creationId="{886E9BFF-32B8-00A6-6793-3779022CA0A7}"/>
          </ac:spMkLst>
        </pc:spChg>
        <pc:spChg chg="add mod replST delST">
          <ac:chgData name="Mick Mooney" userId="e6518e4e-af4a-4bea-b39c-20489a1e5519" providerId="ADAL" clId="{3014DE50-B07B-4776-BEAC-0F779D92A13E}" dt="2023-07-31T09:50:46.180" v="23338" actId="2711"/>
          <ac:spMkLst>
            <pc:docMk/>
            <pc:sldMk cId="2662456620" sldId="2147479631"/>
            <ac:spMk id="134" creationId="{C8A916DA-DEEF-F32F-1E32-62CFC0234229}"/>
          </ac:spMkLst>
        </pc:spChg>
        <pc:spChg chg="add del mod">
          <ac:chgData name="Mick Mooney" userId="e6518e4e-af4a-4bea-b39c-20489a1e5519" providerId="ADAL" clId="{3014DE50-B07B-4776-BEAC-0F779D92A13E}" dt="2023-07-25T17:47:59.178" v="15615"/>
          <ac:spMkLst>
            <pc:docMk/>
            <pc:sldMk cId="2662456620" sldId="2147479631"/>
            <ac:spMk id="136" creationId="{8B090B8A-7D6B-FC3D-7EDA-6DD1F4FBC0D0}"/>
          </ac:spMkLst>
        </pc:spChg>
        <pc:spChg chg="del">
          <ac:chgData name="Mick Mooney" userId="e6518e4e-af4a-4bea-b39c-20489a1e5519" providerId="ADAL" clId="{3014DE50-B07B-4776-BEAC-0F779D92A13E}" dt="2023-07-25T17:30:18.589" v="15402" actId="478"/>
          <ac:spMkLst>
            <pc:docMk/>
            <pc:sldMk cId="2662456620" sldId="2147479631"/>
            <ac:spMk id="140" creationId="{6373D95E-E7D6-F46B-BB6F-88390F461C04}"/>
          </ac:spMkLst>
        </pc:spChg>
        <pc:spChg chg="del">
          <ac:chgData name="Mick Mooney" userId="e6518e4e-af4a-4bea-b39c-20489a1e5519" providerId="ADAL" clId="{3014DE50-B07B-4776-BEAC-0F779D92A13E}" dt="2023-07-25T17:30:18.589" v="15402" actId="478"/>
          <ac:spMkLst>
            <pc:docMk/>
            <pc:sldMk cId="2662456620" sldId="2147479631"/>
            <ac:spMk id="141" creationId="{B33FC378-9EE0-E5EB-8E72-AC9EE2108209}"/>
          </ac:spMkLst>
        </pc:spChg>
        <pc:spChg chg="del">
          <ac:chgData name="Mick Mooney" userId="e6518e4e-af4a-4bea-b39c-20489a1e5519" providerId="ADAL" clId="{3014DE50-B07B-4776-BEAC-0F779D92A13E}" dt="2023-07-25T17:30:18.589" v="15402" actId="478"/>
          <ac:spMkLst>
            <pc:docMk/>
            <pc:sldMk cId="2662456620" sldId="2147479631"/>
            <ac:spMk id="142" creationId="{23CF22E7-BEEB-EA1A-1CC8-4EAF921BD63D}"/>
          </ac:spMkLst>
        </pc:spChg>
        <pc:spChg chg="del">
          <ac:chgData name="Mick Mooney" userId="e6518e4e-af4a-4bea-b39c-20489a1e5519" providerId="ADAL" clId="{3014DE50-B07B-4776-BEAC-0F779D92A13E}" dt="2023-07-25T17:30:18.589" v="15402" actId="478"/>
          <ac:spMkLst>
            <pc:docMk/>
            <pc:sldMk cId="2662456620" sldId="2147479631"/>
            <ac:spMk id="143" creationId="{97E5F040-A562-80B3-36DB-0C031C9F1DFC}"/>
          </ac:spMkLst>
        </pc:spChg>
        <pc:spChg chg="del">
          <ac:chgData name="Mick Mooney" userId="e6518e4e-af4a-4bea-b39c-20489a1e5519" providerId="ADAL" clId="{3014DE50-B07B-4776-BEAC-0F779D92A13E}" dt="2023-07-25T17:30:18.589" v="15402" actId="478"/>
          <ac:spMkLst>
            <pc:docMk/>
            <pc:sldMk cId="2662456620" sldId="2147479631"/>
            <ac:spMk id="144" creationId="{C7435F7B-5F33-F9AD-48AE-9BAA441DC2ED}"/>
          </ac:spMkLst>
        </pc:spChg>
        <pc:spChg chg="del">
          <ac:chgData name="Mick Mooney" userId="e6518e4e-af4a-4bea-b39c-20489a1e5519" providerId="ADAL" clId="{3014DE50-B07B-4776-BEAC-0F779D92A13E}" dt="2023-07-25T17:30:18.589" v="15402" actId="478"/>
          <ac:spMkLst>
            <pc:docMk/>
            <pc:sldMk cId="2662456620" sldId="2147479631"/>
            <ac:spMk id="145" creationId="{9961995A-D567-EEF6-90F6-8BBC9C54F7DC}"/>
          </ac:spMkLst>
        </pc:spChg>
        <pc:spChg chg="del">
          <ac:chgData name="Mick Mooney" userId="e6518e4e-af4a-4bea-b39c-20489a1e5519" providerId="ADAL" clId="{3014DE50-B07B-4776-BEAC-0F779D92A13E}" dt="2023-07-25T17:30:18.589" v="15402" actId="478"/>
          <ac:spMkLst>
            <pc:docMk/>
            <pc:sldMk cId="2662456620" sldId="2147479631"/>
            <ac:spMk id="146" creationId="{E5912ADF-5379-2A9C-55AF-5D0F10703D15}"/>
          </ac:spMkLst>
        </pc:spChg>
        <pc:spChg chg="del">
          <ac:chgData name="Mick Mooney" userId="e6518e4e-af4a-4bea-b39c-20489a1e5519" providerId="ADAL" clId="{3014DE50-B07B-4776-BEAC-0F779D92A13E}" dt="2023-07-25T17:30:18.589" v="15402" actId="478"/>
          <ac:spMkLst>
            <pc:docMk/>
            <pc:sldMk cId="2662456620" sldId="2147479631"/>
            <ac:spMk id="147" creationId="{73B5F62A-512C-7B7A-0F36-71E394FFB8B1}"/>
          </ac:spMkLst>
        </pc:spChg>
        <pc:spChg chg="del">
          <ac:chgData name="Mick Mooney" userId="e6518e4e-af4a-4bea-b39c-20489a1e5519" providerId="ADAL" clId="{3014DE50-B07B-4776-BEAC-0F779D92A13E}" dt="2023-07-25T17:30:18.589" v="15402" actId="478"/>
          <ac:spMkLst>
            <pc:docMk/>
            <pc:sldMk cId="2662456620" sldId="2147479631"/>
            <ac:spMk id="148" creationId="{3D055152-D40B-89EE-0052-B9C1E23AAEAD}"/>
          </ac:spMkLst>
        </pc:spChg>
        <pc:spChg chg="del">
          <ac:chgData name="Mick Mooney" userId="e6518e4e-af4a-4bea-b39c-20489a1e5519" providerId="ADAL" clId="{3014DE50-B07B-4776-BEAC-0F779D92A13E}" dt="2023-07-25T17:30:18.589" v="15402" actId="478"/>
          <ac:spMkLst>
            <pc:docMk/>
            <pc:sldMk cId="2662456620" sldId="2147479631"/>
            <ac:spMk id="149" creationId="{141CD9B4-9C17-C08A-A305-E87C608B2C31}"/>
          </ac:spMkLst>
        </pc:spChg>
        <pc:spChg chg="add mod replST delST">
          <ac:chgData name="Mick Mooney" userId="e6518e4e-af4a-4bea-b39c-20489a1e5519" providerId="ADAL" clId="{3014DE50-B07B-4776-BEAC-0F779D92A13E}" dt="2023-07-31T15:04:59.336" v="32717"/>
          <ac:spMkLst>
            <pc:docMk/>
            <pc:sldMk cId="2662456620" sldId="2147479631"/>
            <ac:spMk id="150" creationId="{D81CF46C-A337-0FD9-5B16-8BC43D8D28B0}"/>
          </ac:spMkLst>
        </pc:spChg>
        <pc:spChg chg="mod replST delST">
          <ac:chgData name="Mick Mooney" userId="e6518e4e-af4a-4bea-b39c-20489a1e5519" providerId="ADAL" clId="{3014DE50-B07B-4776-BEAC-0F779D92A13E}" dt="2023-07-31T15:05:19.575" v="32725"/>
          <ac:spMkLst>
            <pc:docMk/>
            <pc:sldMk cId="2662456620" sldId="2147479631"/>
            <ac:spMk id="191" creationId="{A60E4E8F-C185-43CB-B46D-D2A389AC55FF}"/>
          </ac:spMkLst>
        </pc:spChg>
        <pc:grpChg chg="del">
          <ac:chgData name="Mick Mooney" userId="e6518e4e-af4a-4bea-b39c-20489a1e5519" providerId="ADAL" clId="{3014DE50-B07B-4776-BEAC-0F779D92A13E}" dt="2023-07-25T17:30:18.589" v="15402" actId="478"/>
          <ac:grpSpMkLst>
            <pc:docMk/>
            <pc:sldMk cId="2662456620" sldId="2147479631"/>
            <ac:grpSpMk id="2" creationId="{D0ACABCA-67C6-E953-208B-7D09E4CFF268}"/>
          </ac:grpSpMkLst>
        </pc:grpChg>
        <pc:graphicFrameChg chg="add del mod modGraphic">
          <ac:chgData name="Mick Mooney" userId="e6518e4e-af4a-4bea-b39c-20489a1e5519" providerId="ADAL" clId="{3014DE50-B07B-4776-BEAC-0F779D92A13E}" dt="2023-07-25T17:47:59.178" v="15615"/>
          <ac:graphicFrameMkLst>
            <pc:docMk/>
            <pc:sldMk cId="2662456620" sldId="2147479631"/>
            <ac:graphicFrameMk id="135" creationId="{FBDF5E40-C0F8-D427-E85E-B0ECC86D4846}"/>
          </ac:graphicFrameMkLst>
        </pc:graphicFrameChg>
        <pc:graphicFrameChg chg="add mod modGraphic">
          <ac:chgData name="Mick Mooney" userId="e6518e4e-af4a-4bea-b39c-20489a1e5519" providerId="ADAL" clId="{3014DE50-B07B-4776-BEAC-0F779D92A13E}" dt="2023-07-31T15:04:51.691" v="32715" actId="2711"/>
          <ac:graphicFrameMkLst>
            <pc:docMk/>
            <pc:sldMk cId="2662456620" sldId="2147479631"/>
            <ac:graphicFrameMk id="137" creationId="{050AE303-7E65-64D8-11B1-D22B041FAC0F}"/>
          </ac:graphicFrameMkLst>
        </pc:graphicFrameChg>
        <pc:cxnChg chg="mod">
          <ac:chgData name="Mick Mooney" userId="e6518e4e-af4a-4bea-b39c-20489a1e5519" providerId="ADAL" clId="{3014DE50-B07B-4776-BEAC-0F779D92A13E}" dt="2023-07-25T17:30:18.589" v="15402" actId="478"/>
          <ac:cxnSpMkLst>
            <pc:docMk/>
            <pc:sldMk cId="2662456620" sldId="2147479631"/>
            <ac:cxnSpMk id="19" creationId="{EEEB2B57-48F8-519F-2F42-AAEEFB61EEF5}"/>
          </ac:cxnSpMkLst>
        </pc:cxnChg>
      </pc:sldChg>
      <pc:sldChg chg="add del">
        <pc:chgData name="Mick Mooney" userId="e6518e4e-af4a-4bea-b39c-20489a1e5519" providerId="ADAL" clId="{3014DE50-B07B-4776-BEAC-0F779D92A13E}" dt="2023-07-22T14:19:35.728" v="8103"/>
        <pc:sldMkLst>
          <pc:docMk/>
          <pc:sldMk cId="3259305441" sldId="2147479631"/>
        </pc:sldMkLst>
      </pc:sldChg>
      <pc:sldChg chg="modSp mod">
        <pc:chgData name="Mick Mooney" userId="e6518e4e-af4a-4bea-b39c-20489a1e5519" providerId="ADAL" clId="{3014DE50-B07B-4776-BEAC-0F779D92A13E}" dt="2023-07-31T13:14:39.111" v="29092" actId="123"/>
        <pc:sldMkLst>
          <pc:docMk/>
          <pc:sldMk cId="1361792716" sldId="2147479632"/>
        </pc:sldMkLst>
        <pc:spChg chg="mod">
          <ac:chgData name="Mick Mooney" userId="e6518e4e-af4a-4bea-b39c-20489a1e5519" providerId="ADAL" clId="{3014DE50-B07B-4776-BEAC-0F779D92A13E}" dt="2023-07-31T13:14:24.136" v="29083" actId="2711"/>
          <ac:spMkLst>
            <pc:docMk/>
            <pc:sldMk cId="1361792716" sldId="2147479632"/>
            <ac:spMk id="8" creationId="{7824D54C-15D2-467C-A016-166944D0781C}"/>
          </ac:spMkLst>
        </pc:spChg>
        <pc:spChg chg="mod replST delST">
          <ac:chgData name="Mick Mooney" userId="e6518e4e-af4a-4bea-b39c-20489a1e5519" providerId="ADAL" clId="{3014DE50-B07B-4776-BEAC-0F779D92A13E}" dt="2023-07-31T13:14:39.111" v="29092" actId="123"/>
          <ac:spMkLst>
            <pc:docMk/>
            <pc:sldMk cId="1361792716" sldId="2147479632"/>
            <ac:spMk id="17" creationId="{8C9460DB-676C-4AF1-BB43-13950E17CBA7}"/>
          </ac:spMkLst>
        </pc:spChg>
      </pc:sldChg>
      <pc:sldChg chg="add del">
        <pc:chgData name="Mick Mooney" userId="e6518e4e-af4a-4bea-b39c-20489a1e5519" providerId="ADAL" clId="{3014DE50-B07B-4776-BEAC-0F779D92A13E}" dt="2023-07-22T14:19:35.728" v="8103"/>
        <pc:sldMkLst>
          <pc:docMk/>
          <pc:sldMk cId="3603643000" sldId="2147479632"/>
        </pc:sldMkLst>
      </pc:sldChg>
      <pc:sldChg chg="add del">
        <pc:chgData name="Mick Mooney" userId="e6518e4e-af4a-4bea-b39c-20489a1e5519" providerId="ADAL" clId="{3014DE50-B07B-4776-BEAC-0F779D92A13E}" dt="2023-07-22T14:19:35.728" v="8103"/>
        <pc:sldMkLst>
          <pc:docMk/>
          <pc:sldMk cId="266576299" sldId="2147479633"/>
        </pc:sldMkLst>
      </pc:sldChg>
      <pc:sldChg chg="modSp mod">
        <pc:chgData name="Mick Mooney" userId="e6518e4e-af4a-4bea-b39c-20489a1e5519" providerId="ADAL" clId="{3014DE50-B07B-4776-BEAC-0F779D92A13E}" dt="2023-07-31T13:13:34.147" v="29077" actId="2711"/>
        <pc:sldMkLst>
          <pc:docMk/>
          <pc:sldMk cId="2175479650" sldId="2147479633"/>
        </pc:sldMkLst>
        <pc:spChg chg="mod replST delST">
          <ac:chgData name="Mick Mooney" userId="e6518e4e-af4a-4bea-b39c-20489a1e5519" providerId="ADAL" clId="{3014DE50-B07B-4776-BEAC-0F779D92A13E}" dt="2023-07-31T13:13:34.147" v="29077" actId="2711"/>
          <ac:spMkLst>
            <pc:docMk/>
            <pc:sldMk cId="2175479650" sldId="2147479633"/>
            <ac:spMk id="2" creationId="{B62662A1-6231-C9A3-CB98-DA447F38793A}"/>
          </ac:spMkLst>
        </pc:spChg>
        <pc:spChg chg="mod replST delST">
          <ac:chgData name="Mick Mooney" userId="e6518e4e-af4a-4bea-b39c-20489a1e5519" providerId="ADAL" clId="{3014DE50-B07B-4776-BEAC-0F779D92A13E}" dt="2023-07-31T13:13:34.147" v="29077" actId="2711"/>
          <ac:spMkLst>
            <pc:docMk/>
            <pc:sldMk cId="2175479650" sldId="2147479633"/>
            <ac:spMk id="3" creationId="{22C81416-4AB8-4384-86B4-FD1BAA773C93}"/>
          </ac:spMkLst>
        </pc:spChg>
        <pc:spChg chg="mod replST delST">
          <ac:chgData name="Mick Mooney" userId="e6518e4e-af4a-4bea-b39c-20489a1e5519" providerId="ADAL" clId="{3014DE50-B07B-4776-BEAC-0F779D92A13E}" dt="2023-07-31T13:13:34.147" v="29077" actId="2711"/>
          <ac:spMkLst>
            <pc:docMk/>
            <pc:sldMk cId="2175479650" sldId="2147479633"/>
            <ac:spMk id="4" creationId="{C60F421B-BF94-1677-9595-B5C1422289A2}"/>
          </ac:spMkLst>
        </pc:spChg>
        <pc:spChg chg="mod">
          <ac:chgData name="Mick Mooney" userId="e6518e4e-af4a-4bea-b39c-20489a1e5519" providerId="ADAL" clId="{3014DE50-B07B-4776-BEAC-0F779D92A13E}" dt="2023-07-31T13:13:34.147" v="29077" actId="2711"/>
          <ac:spMkLst>
            <pc:docMk/>
            <pc:sldMk cId="2175479650" sldId="2147479633"/>
            <ac:spMk id="8" creationId="{7824D54C-15D2-467C-A016-166944D0781C}"/>
          </ac:spMkLst>
        </pc:spChg>
        <pc:spChg chg="mod">
          <ac:chgData name="Mick Mooney" userId="e6518e4e-af4a-4bea-b39c-20489a1e5519" providerId="ADAL" clId="{3014DE50-B07B-4776-BEAC-0F779D92A13E}" dt="2023-07-31T13:13:34.147" v="29077" actId="2711"/>
          <ac:spMkLst>
            <pc:docMk/>
            <pc:sldMk cId="2175479650" sldId="2147479633"/>
            <ac:spMk id="66" creationId="{CE5931FD-5F69-4236-8638-2F8B2FFFAAF0}"/>
          </ac:spMkLst>
        </pc:spChg>
      </pc:sldChg>
      <pc:sldChg chg="add del">
        <pc:chgData name="Mick Mooney" userId="e6518e4e-af4a-4bea-b39c-20489a1e5519" providerId="ADAL" clId="{3014DE50-B07B-4776-BEAC-0F779D92A13E}" dt="2023-07-22T14:19:35.728" v="8103"/>
        <pc:sldMkLst>
          <pc:docMk/>
          <pc:sldMk cId="857576240" sldId="2147479634"/>
        </pc:sldMkLst>
      </pc:sldChg>
      <pc:sldChg chg="modSp mod">
        <pc:chgData name="Mick Mooney" userId="e6518e4e-af4a-4bea-b39c-20489a1e5519" providerId="ADAL" clId="{3014DE50-B07B-4776-BEAC-0F779D92A13E}" dt="2023-08-02T09:17:29.885" v="33793"/>
        <pc:sldMkLst>
          <pc:docMk/>
          <pc:sldMk cId="1878775612" sldId="2147479634"/>
        </pc:sldMkLst>
        <pc:spChg chg="mod replST delST">
          <ac:chgData name="Mick Mooney" userId="e6518e4e-af4a-4bea-b39c-20489a1e5519" providerId="ADAL" clId="{3014DE50-B07B-4776-BEAC-0F779D92A13E}" dt="2023-08-02T09:17:29.885" v="33793"/>
          <ac:spMkLst>
            <pc:docMk/>
            <pc:sldMk cId="1878775612" sldId="2147479634"/>
            <ac:spMk id="2" creationId="{35CD8BED-68CF-D983-C8AF-A9AD64B592B0}"/>
          </ac:spMkLst>
        </pc:spChg>
        <pc:spChg chg="mod replST delST">
          <ac:chgData name="Mick Mooney" userId="e6518e4e-af4a-4bea-b39c-20489a1e5519" providerId="ADAL" clId="{3014DE50-B07B-4776-BEAC-0F779D92A13E}" dt="2023-07-31T15:38:31.294" v="33325" actId="207"/>
          <ac:spMkLst>
            <pc:docMk/>
            <pc:sldMk cId="1878775612" sldId="2147479634"/>
            <ac:spMk id="4" creationId="{E432C490-8501-4DEB-9800-36DD8F00D9DA}"/>
          </ac:spMkLst>
        </pc:spChg>
        <pc:spChg chg="mod">
          <ac:chgData name="Mick Mooney" userId="e6518e4e-af4a-4bea-b39c-20489a1e5519" providerId="ADAL" clId="{3014DE50-B07B-4776-BEAC-0F779D92A13E}" dt="2023-07-31T15:38:28.685" v="33320" actId="2711"/>
          <ac:spMkLst>
            <pc:docMk/>
            <pc:sldMk cId="1878775612" sldId="2147479634"/>
            <ac:spMk id="5" creationId="{82ACE101-9079-4B28-90D1-41FFC709BAB0}"/>
          </ac:spMkLst>
        </pc:spChg>
        <pc:spChg chg="mod">
          <ac:chgData name="Mick Mooney" userId="e6518e4e-af4a-4bea-b39c-20489a1e5519" providerId="ADAL" clId="{3014DE50-B07B-4776-BEAC-0F779D92A13E}" dt="2023-07-31T15:38:28.685" v="33320" actId="2711"/>
          <ac:spMkLst>
            <pc:docMk/>
            <pc:sldMk cId="1878775612" sldId="2147479634"/>
            <ac:spMk id="7" creationId="{33F269DE-0479-486E-87F7-03A541C10513}"/>
          </ac:spMkLst>
        </pc:spChg>
      </pc:sldChg>
      <pc:sldChg chg="addSp delSp modSp del mod">
        <pc:chgData name="Mick Mooney" userId="e6518e4e-af4a-4bea-b39c-20489a1e5519" providerId="ADAL" clId="{3014DE50-B07B-4776-BEAC-0F779D92A13E}" dt="2023-07-31T09:41:15.074" v="23252" actId="2696"/>
        <pc:sldMkLst>
          <pc:docMk/>
          <pc:sldMk cId="1589809623" sldId="2147479635"/>
        </pc:sldMkLst>
        <pc:spChg chg="mod replST delST">
          <ac:chgData name="Mick Mooney" userId="e6518e4e-af4a-4bea-b39c-20489a1e5519" providerId="ADAL" clId="{3014DE50-B07B-4776-BEAC-0F779D92A13E}" dt="2023-07-26T10:55:08.012" v="17456" actId="2085"/>
          <ac:spMkLst>
            <pc:docMk/>
            <pc:sldMk cId="1589809623" sldId="2147479635"/>
            <ac:spMk id="4" creationId="{462594B4-B2E0-BDA2-9692-D55B0832D8AE}"/>
          </ac:spMkLst>
        </pc:spChg>
        <pc:spChg chg="mod">
          <ac:chgData name="Mick Mooney" userId="e6518e4e-af4a-4bea-b39c-20489a1e5519" providerId="ADAL" clId="{3014DE50-B07B-4776-BEAC-0F779D92A13E}" dt="2023-07-31T09:38:20.572" v="23153" actId="14100"/>
          <ac:spMkLst>
            <pc:docMk/>
            <pc:sldMk cId="1589809623" sldId="2147479635"/>
            <ac:spMk id="5" creationId="{A9A30C74-C736-0B13-FD13-F4BFC44A82F7}"/>
          </ac:spMkLst>
        </pc:spChg>
        <pc:spChg chg="mod replST delST">
          <ac:chgData name="Mick Mooney" userId="e6518e4e-af4a-4bea-b39c-20489a1e5519" providerId="ADAL" clId="{3014DE50-B07B-4776-BEAC-0F779D92A13E}" dt="2023-07-26T10:55:11.864" v="17459" actId="2085"/>
          <ac:spMkLst>
            <pc:docMk/>
            <pc:sldMk cId="1589809623" sldId="2147479635"/>
            <ac:spMk id="6" creationId="{4AFE2752-386A-3552-C559-8B60A9AE6B46}"/>
          </ac:spMkLst>
        </pc:spChg>
        <pc:spChg chg="mod replST delST">
          <ac:chgData name="Mick Mooney" userId="e6518e4e-af4a-4bea-b39c-20489a1e5519" providerId="ADAL" clId="{3014DE50-B07B-4776-BEAC-0F779D92A13E}" dt="2023-07-31T09:37:31.742" v="23147" actId="14100"/>
          <ac:spMkLst>
            <pc:docMk/>
            <pc:sldMk cId="1589809623" sldId="2147479635"/>
            <ac:spMk id="7" creationId="{9CFBD4A5-4AE2-8163-175E-64C3747F1823}"/>
          </ac:spMkLst>
        </pc:spChg>
        <pc:spChg chg="mod replST delST">
          <ac:chgData name="Mick Mooney" userId="e6518e4e-af4a-4bea-b39c-20489a1e5519" providerId="ADAL" clId="{3014DE50-B07B-4776-BEAC-0F779D92A13E}" dt="2023-07-31T09:29:01.367" v="22772" actId="1076"/>
          <ac:spMkLst>
            <pc:docMk/>
            <pc:sldMk cId="1589809623" sldId="2147479635"/>
            <ac:spMk id="8" creationId="{7824D54C-15D2-467C-A016-166944D0781C}"/>
          </ac:spMkLst>
        </pc:spChg>
        <pc:spChg chg="mod replST delST">
          <ac:chgData name="Mick Mooney" userId="e6518e4e-af4a-4bea-b39c-20489a1e5519" providerId="ADAL" clId="{3014DE50-B07B-4776-BEAC-0F779D92A13E}" dt="2023-07-31T09:39:02.136" v="23167"/>
          <ac:spMkLst>
            <pc:docMk/>
            <pc:sldMk cId="1589809623" sldId="2147479635"/>
            <ac:spMk id="12" creationId="{2587D7D9-D8E2-CB96-44C2-2631761A43FF}"/>
          </ac:spMkLst>
        </pc:spChg>
        <pc:spChg chg="add del mod replST delST">
          <ac:chgData name="Mick Mooney" userId="e6518e4e-af4a-4bea-b39c-20489a1e5519" providerId="ADAL" clId="{3014DE50-B07B-4776-BEAC-0F779D92A13E}" dt="2023-07-31T08:46:58.687" v="19863" actId="478"/>
          <ac:spMkLst>
            <pc:docMk/>
            <pc:sldMk cId="1589809623" sldId="2147479635"/>
            <ac:spMk id="13" creationId="{3A90C5BA-D780-BF7C-D5DB-1A60D3B5A04F}"/>
          </ac:spMkLst>
        </pc:spChg>
        <pc:spChg chg="add del mod replST delST">
          <ac:chgData name="Mick Mooney" userId="e6518e4e-af4a-4bea-b39c-20489a1e5519" providerId="ADAL" clId="{3014DE50-B07B-4776-BEAC-0F779D92A13E}" dt="2023-07-31T09:29:05.277" v="22773" actId="478"/>
          <ac:spMkLst>
            <pc:docMk/>
            <pc:sldMk cId="1589809623" sldId="2147479635"/>
            <ac:spMk id="15" creationId="{CCA8469A-FD58-9623-4B35-82BF11EDF96F}"/>
          </ac:spMkLst>
        </pc:spChg>
        <pc:spChg chg="add del mod replST delST">
          <ac:chgData name="Mick Mooney" userId="e6518e4e-af4a-4bea-b39c-20489a1e5519" providerId="ADAL" clId="{3014DE50-B07B-4776-BEAC-0F779D92A13E}" dt="2023-07-31T09:29:05.277" v="22773" actId="478"/>
          <ac:spMkLst>
            <pc:docMk/>
            <pc:sldMk cId="1589809623" sldId="2147479635"/>
            <ac:spMk id="16" creationId="{11C3C000-3228-7808-AF88-954112EB61C4}"/>
          </ac:spMkLst>
        </pc:spChg>
        <pc:spChg chg="add mod replST delST">
          <ac:chgData name="Mick Mooney" userId="e6518e4e-af4a-4bea-b39c-20489a1e5519" providerId="ADAL" clId="{3014DE50-B07B-4776-BEAC-0F779D92A13E}" dt="2023-07-31T09:33:05.779" v="23079"/>
          <ac:spMkLst>
            <pc:docMk/>
            <pc:sldMk cId="1589809623" sldId="2147479635"/>
            <ac:spMk id="17" creationId="{D9B9A7BB-3609-9723-3283-ED5D49C5B164}"/>
          </ac:spMkLst>
        </pc:spChg>
        <pc:spChg chg="mod replST delST">
          <ac:chgData name="Mick Mooney" userId="e6518e4e-af4a-4bea-b39c-20489a1e5519" providerId="ADAL" clId="{3014DE50-B07B-4776-BEAC-0F779D92A13E}" dt="2023-07-31T09:36:33.810" v="23136" actId="255"/>
          <ac:spMkLst>
            <pc:docMk/>
            <pc:sldMk cId="1589809623" sldId="2147479635"/>
            <ac:spMk id="19" creationId="{0402A804-6776-1525-0790-BF6CCE9EE275}"/>
          </ac:spMkLst>
        </pc:spChg>
        <pc:spChg chg="mod replST delST">
          <ac:chgData name="Mick Mooney" userId="e6518e4e-af4a-4bea-b39c-20489a1e5519" providerId="ADAL" clId="{3014DE50-B07B-4776-BEAC-0F779D92A13E}" dt="2023-07-31T09:36:59.748" v="23142" actId="1076"/>
          <ac:spMkLst>
            <pc:docMk/>
            <pc:sldMk cId="1589809623" sldId="2147479635"/>
            <ac:spMk id="20" creationId="{C6F78C86-1415-B3EB-31C6-560F641479D8}"/>
          </ac:spMkLst>
        </pc:spChg>
        <pc:spChg chg="add mod">
          <ac:chgData name="Mick Mooney" userId="e6518e4e-af4a-4bea-b39c-20489a1e5519" providerId="ADAL" clId="{3014DE50-B07B-4776-BEAC-0F779D92A13E}" dt="2023-07-31T09:29:06.318" v="22774"/>
          <ac:spMkLst>
            <pc:docMk/>
            <pc:sldMk cId="1589809623" sldId="2147479635"/>
            <ac:spMk id="23" creationId="{729FC69E-C8BB-17EC-6223-5FAF31FC2A41}"/>
          </ac:spMkLst>
        </pc:spChg>
        <pc:grpChg chg="mod">
          <ac:chgData name="Mick Mooney" userId="e6518e4e-af4a-4bea-b39c-20489a1e5519" providerId="ADAL" clId="{3014DE50-B07B-4776-BEAC-0F779D92A13E}" dt="2023-07-31T09:38:36.355" v="23155" actId="1076"/>
          <ac:grpSpMkLst>
            <pc:docMk/>
            <pc:sldMk cId="1589809623" sldId="2147479635"/>
            <ac:grpSpMk id="3" creationId="{C5C1ADC7-D601-DDA2-4E63-F5437BCE6883}"/>
          </ac:grpSpMkLst>
        </pc:grpChg>
        <pc:grpChg chg="mod">
          <ac:chgData name="Mick Mooney" userId="e6518e4e-af4a-4bea-b39c-20489a1e5519" providerId="ADAL" clId="{3014DE50-B07B-4776-BEAC-0F779D92A13E}" dt="2023-07-31T09:38:28.480" v="23154" actId="1076"/>
          <ac:grpSpMkLst>
            <pc:docMk/>
            <pc:sldMk cId="1589809623" sldId="2147479635"/>
            <ac:grpSpMk id="9" creationId="{EA576DF5-AF60-21EC-804E-76D551BA0E28}"/>
          </ac:grpSpMkLst>
        </pc:grpChg>
        <pc:grpChg chg="mod">
          <ac:chgData name="Mick Mooney" userId="e6518e4e-af4a-4bea-b39c-20489a1e5519" providerId="ADAL" clId="{3014DE50-B07B-4776-BEAC-0F779D92A13E}" dt="2023-07-31T09:37:04.513" v="23143" actId="14100"/>
          <ac:grpSpMkLst>
            <pc:docMk/>
            <pc:sldMk cId="1589809623" sldId="2147479635"/>
            <ac:grpSpMk id="11" creationId="{38D7487B-CA3D-DF62-6F0B-E1D0537203EE}"/>
          </ac:grpSpMkLst>
        </pc:grpChg>
        <pc:graphicFrameChg chg="mod modGraphic">
          <ac:chgData name="Mick Mooney" userId="e6518e4e-af4a-4bea-b39c-20489a1e5519" providerId="ADAL" clId="{3014DE50-B07B-4776-BEAC-0F779D92A13E}" dt="2023-07-31T09:38:10.979" v="23151" actId="255"/>
          <ac:graphicFrameMkLst>
            <pc:docMk/>
            <pc:sldMk cId="1589809623" sldId="2147479635"/>
            <ac:graphicFrameMk id="2" creationId="{1F5D11B8-653F-D081-DA58-D774F4CA5EAC}"/>
          </ac:graphicFrameMkLst>
        </pc:graphicFrameChg>
        <pc:graphicFrameChg chg="mod modGraphic">
          <ac:chgData name="Mick Mooney" userId="e6518e4e-af4a-4bea-b39c-20489a1e5519" providerId="ADAL" clId="{3014DE50-B07B-4776-BEAC-0F779D92A13E}" dt="2023-07-31T09:37:22.508" v="23145" actId="255"/>
          <ac:graphicFrameMkLst>
            <pc:docMk/>
            <pc:sldMk cId="1589809623" sldId="2147479635"/>
            <ac:graphicFrameMk id="10" creationId="{C1DB1D42-F0E9-2987-E3C6-B233926A2174}"/>
          </ac:graphicFrameMkLst>
        </pc:graphicFrameChg>
        <pc:graphicFrameChg chg="mod modGraphic">
          <ac:chgData name="Mick Mooney" userId="e6518e4e-af4a-4bea-b39c-20489a1e5519" providerId="ADAL" clId="{3014DE50-B07B-4776-BEAC-0F779D92A13E}" dt="2023-07-31T09:36:47.886" v="23139" actId="255"/>
          <ac:graphicFrameMkLst>
            <pc:docMk/>
            <pc:sldMk cId="1589809623" sldId="2147479635"/>
            <ac:graphicFrameMk id="21" creationId="{1A27AEE9-0335-2951-B4A4-3A926F5C507A}"/>
          </ac:graphicFrameMkLst>
        </pc:graphicFrameChg>
        <pc:picChg chg="add del mod ord">
          <ac:chgData name="Mick Mooney" userId="e6518e4e-af4a-4bea-b39c-20489a1e5519" providerId="ADAL" clId="{3014DE50-B07B-4776-BEAC-0F779D92A13E}" dt="2023-07-31T09:29:05.277" v="22773" actId="478"/>
          <ac:picMkLst>
            <pc:docMk/>
            <pc:sldMk cId="1589809623" sldId="2147479635"/>
            <ac:picMk id="14" creationId="{C40C4E04-18A5-BAC3-FF63-98F6859EB080}"/>
          </ac:picMkLst>
        </pc:picChg>
        <pc:picChg chg="add mod">
          <ac:chgData name="Mick Mooney" userId="e6518e4e-af4a-4bea-b39c-20489a1e5519" providerId="ADAL" clId="{3014DE50-B07B-4776-BEAC-0F779D92A13E}" dt="2023-07-31T09:29:06.318" v="22774"/>
          <ac:picMkLst>
            <pc:docMk/>
            <pc:sldMk cId="1589809623" sldId="2147479635"/>
            <ac:picMk id="18" creationId="{BFDF5E65-7FC4-0F35-866C-672BABA91BDA}"/>
          </ac:picMkLst>
        </pc:picChg>
      </pc:sldChg>
      <pc:sldChg chg="add del">
        <pc:chgData name="Mick Mooney" userId="e6518e4e-af4a-4bea-b39c-20489a1e5519" providerId="ADAL" clId="{3014DE50-B07B-4776-BEAC-0F779D92A13E}" dt="2023-07-22T14:19:35.728" v="8103"/>
        <pc:sldMkLst>
          <pc:docMk/>
          <pc:sldMk cId="2814811005" sldId="2147479635"/>
        </pc:sldMkLst>
      </pc:sldChg>
      <pc:sldChg chg="add del">
        <pc:chgData name="Mick Mooney" userId="e6518e4e-af4a-4bea-b39c-20489a1e5519" providerId="ADAL" clId="{3014DE50-B07B-4776-BEAC-0F779D92A13E}" dt="2023-07-22T14:19:35.728" v="8103"/>
        <pc:sldMkLst>
          <pc:docMk/>
          <pc:sldMk cId="802420876" sldId="2147479636"/>
        </pc:sldMkLst>
      </pc:sldChg>
      <pc:sldChg chg="addSp delSp modSp mod addCm">
        <pc:chgData name="Mick Mooney" userId="e6518e4e-af4a-4bea-b39c-20489a1e5519" providerId="ADAL" clId="{3014DE50-B07B-4776-BEAC-0F779D92A13E}" dt="2023-07-31T14:55:08.706" v="31756"/>
        <pc:sldMkLst>
          <pc:docMk/>
          <pc:sldMk cId="523484127" sldId="2147479637"/>
        </pc:sldMkLst>
        <pc:spChg chg="mod">
          <ac:chgData name="Mick Mooney" userId="e6518e4e-af4a-4bea-b39c-20489a1e5519" providerId="ADAL" clId="{3014DE50-B07B-4776-BEAC-0F779D92A13E}" dt="2023-07-31T09:46:17.157" v="23289" actId="2711"/>
          <ac:spMkLst>
            <pc:docMk/>
            <pc:sldMk cId="523484127" sldId="2147479637"/>
            <ac:spMk id="2" creationId="{2A3E6A58-59B6-66EC-DCBF-147B11D64D80}"/>
          </ac:spMkLst>
        </pc:spChg>
        <pc:spChg chg="add del mod replST delST">
          <ac:chgData name="Mick Mooney" userId="e6518e4e-af4a-4bea-b39c-20489a1e5519" providerId="ADAL" clId="{3014DE50-B07B-4776-BEAC-0F779D92A13E}" dt="2023-07-31T14:46:26.224" v="31583"/>
          <ac:spMkLst>
            <pc:docMk/>
            <pc:sldMk cId="523484127" sldId="2147479637"/>
            <ac:spMk id="3" creationId="{CFB267DA-7178-6B10-B032-0214E0933B7B}"/>
          </ac:spMkLst>
        </pc:spChg>
        <pc:spChg chg="mod replST delST">
          <ac:chgData name="Mick Mooney" userId="e6518e4e-af4a-4bea-b39c-20489a1e5519" providerId="ADAL" clId="{3014DE50-B07B-4776-BEAC-0F779D92A13E}" dt="2023-07-31T09:46:17.157" v="23289" actId="2711"/>
          <ac:spMkLst>
            <pc:docMk/>
            <pc:sldMk cId="523484127" sldId="2147479637"/>
            <ac:spMk id="4" creationId="{F85701F8-51DB-DD40-31E0-F3D4A8A839EA}"/>
          </ac:spMkLst>
        </pc:spChg>
        <pc:spChg chg="add mod replST delST">
          <ac:chgData name="Mick Mooney" userId="e6518e4e-af4a-4bea-b39c-20489a1e5519" providerId="ADAL" clId="{3014DE50-B07B-4776-BEAC-0F779D92A13E}" dt="2023-07-31T14:55:08.706" v="31756"/>
          <ac:spMkLst>
            <pc:docMk/>
            <pc:sldMk cId="523484127" sldId="2147479637"/>
            <ac:spMk id="5" creationId="{4BE620CC-8970-9241-3629-C5327D229BB4}"/>
          </ac:spMkLst>
        </pc:spChg>
        <pc:spChg chg="del mod replST delST">
          <ac:chgData name="Mick Mooney" userId="e6518e4e-af4a-4bea-b39c-20489a1e5519" providerId="ADAL" clId="{3014DE50-B07B-4776-BEAC-0F779D92A13E}" dt="2023-07-31T14:46:24.273" v="31581" actId="478"/>
          <ac:spMkLst>
            <pc:docMk/>
            <pc:sldMk cId="523484127" sldId="2147479637"/>
            <ac:spMk id="7" creationId="{A363E02E-F8EA-D923-9477-A1BB92AE3601}"/>
          </ac:spMkLst>
        </pc:spChg>
        <pc:spChg chg="mod replST delST">
          <ac:chgData name="Mick Mooney" userId="e6518e4e-af4a-4bea-b39c-20489a1e5519" providerId="ADAL" clId="{3014DE50-B07B-4776-BEAC-0F779D92A13E}" dt="2023-07-31T09:46:17.157" v="23289" actId="2711"/>
          <ac:spMkLst>
            <pc:docMk/>
            <pc:sldMk cId="523484127" sldId="2147479637"/>
            <ac:spMk id="8" creationId="{7824D54C-15D2-467C-A016-166944D0781C}"/>
          </ac:spMkLst>
        </pc:spChg>
        <pc:spChg chg="mod replST delST">
          <ac:chgData name="Mick Mooney" userId="e6518e4e-af4a-4bea-b39c-20489a1e5519" providerId="ADAL" clId="{3014DE50-B07B-4776-BEAC-0F779D92A13E}" dt="2023-07-31T14:45:40.112" v="31550"/>
          <ac:spMkLst>
            <pc:docMk/>
            <pc:sldMk cId="523484127" sldId="2147479637"/>
            <ac:spMk id="10" creationId="{FBFA8DAE-1093-AD7D-A547-843DB0D98E19}"/>
          </ac:spMkLst>
        </pc:spChg>
        <pc:spChg chg="add mod replST delST">
          <ac:chgData name="Mick Mooney" userId="e6518e4e-af4a-4bea-b39c-20489a1e5519" providerId="ADAL" clId="{3014DE50-B07B-4776-BEAC-0F779D92A13E}" dt="2023-07-31T13:32:00.204" v="29737"/>
          <ac:spMkLst>
            <pc:docMk/>
            <pc:sldMk cId="523484127" sldId="2147479637"/>
            <ac:spMk id="11" creationId="{F9BCC7BA-47B8-A647-A0A4-C273A6DFC44B}"/>
          </ac:spMkLst>
        </pc:spChg>
        <pc:picChg chg="mod">
          <ac:chgData name="Mick Mooney" userId="e6518e4e-af4a-4bea-b39c-20489a1e5519" providerId="ADAL" clId="{3014DE50-B07B-4776-BEAC-0F779D92A13E}" dt="2023-07-31T09:32:06.197" v="23044" actId="1076"/>
          <ac:picMkLst>
            <pc:docMk/>
            <pc:sldMk cId="523484127" sldId="2147479637"/>
            <ac:picMk id="6" creationId="{58D3B64C-AC1E-0937-0195-DF123D4DB712}"/>
          </ac:picMkLst>
        </pc:picChg>
      </pc:sldChg>
      <pc:sldChg chg="add del">
        <pc:chgData name="Mick Mooney" userId="e6518e4e-af4a-4bea-b39c-20489a1e5519" providerId="ADAL" clId="{3014DE50-B07B-4776-BEAC-0F779D92A13E}" dt="2023-07-22T14:19:35.728" v="8103"/>
        <pc:sldMkLst>
          <pc:docMk/>
          <pc:sldMk cId="3325303706" sldId="2147479637"/>
        </pc:sldMkLst>
      </pc:sldChg>
      <pc:sldChg chg="add del">
        <pc:chgData name="Mick Mooney" userId="e6518e4e-af4a-4bea-b39c-20489a1e5519" providerId="ADAL" clId="{3014DE50-B07B-4776-BEAC-0F779D92A13E}" dt="2023-07-22T14:19:35.728" v="8103"/>
        <pc:sldMkLst>
          <pc:docMk/>
          <pc:sldMk cId="3707843494" sldId="2147479638"/>
        </pc:sldMkLst>
      </pc:sldChg>
      <pc:sldChg chg="add del">
        <pc:chgData name="Mick Mooney" userId="e6518e4e-af4a-4bea-b39c-20489a1e5519" providerId="ADAL" clId="{3014DE50-B07B-4776-BEAC-0F779D92A13E}" dt="2023-07-22T14:19:35.728" v="8103"/>
        <pc:sldMkLst>
          <pc:docMk/>
          <pc:sldMk cId="1353412403" sldId="2147479639"/>
        </pc:sldMkLst>
      </pc:sldChg>
      <pc:sldChg chg="add del">
        <pc:chgData name="Mick Mooney" userId="e6518e4e-af4a-4bea-b39c-20489a1e5519" providerId="ADAL" clId="{3014DE50-B07B-4776-BEAC-0F779D92A13E}" dt="2023-07-22T14:19:35.728" v="8103"/>
        <pc:sldMkLst>
          <pc:docMk/>
          <pc:sldMk cId="2593567517" sldId="2147479640"/>
        </pc:sldMkLst>
      </pc:sldChg>
      <pc:sldChg chg="modSp mod">
        <pc:chgData name="Mick Mooney" userId="e6518e4e-af4a-4bea-b39c-20489a1e5519" providerId="ADAL" clId="{3014DE50-B07B-4776-BEAC-0F779D92A13E}" dt="2023-07-31T12:27:58.655" v="25371" actId="2711"/>
        <pc:sldMkLst>
          <pc:docMk/>
          <pc:sldMk cId="2835511252" sldId="2147479640"/>
        </pc:sldMkLst>
        <pc:spChg chg="mod">
          <ac:chgData name="Mick Mooney" userId="e6518e4e-af4a-4bea-b39c-20489a1e5519" providerId="ADAL" clId="{3014DE50-B07B-4776-BEAC-0F779D92A13E}" dt="2023-07-31T12:27:58.655" v="25371" actId="2711"/>
          <ac:spMkLst>
            <pc:docMk/>
            <pc:sldMk cId="2835511252" sldId="2147479640"/>
            <ac:spMk id="5" creationId="{1AA4F3D1-45B7-A72E-14AB-197DB6665F5F}"/>
          </ac:spMkLst>
        </pc:spChg>
        <pc:spChg chg="mod">
          <ac:chgData name="Mick Mooney" userId="e6518e4e-af4a-4bea-b39c-20489a1e5519" providerId="ADAL" clId="{3014DE50-B07B-4776-BEAC-0F779D92A13E}" dt="2023-07-31T12:27:58.655" v="25371" actId="2711"/>
          <ac:spMkLst>
            <pc:docMk/>
            <pc:sldMk cId="2835511252" sldId="2147479640"/>
            <ac:spMk id="6" creationId="{489D7E36-E5EC-111E-AE3B-B05ADA2650CA}"/>
          </ac:spMkLst>
        </pc:spChg>
        <pc:spChg chg="mod">
          <ac:chgData name="Mick Mooney" userId="e6518e4e-af4a-4bea-b39c-20489a1e5519" providerId="ADAL" clId="{3014DE50-B07B-4776-BEAC-0F779D92A13E}" dt="2023-07-31T12:27:58.655" v="25371" actId="2711"/>
          <ac:spMkLst>
            <pc:docMk/>
            <pc:sldMk cId="2835511252" sldId="2147479640"/>
            <ac:spMk id="8" creationId="{CF4624E7-2012-177F-42FD-075B529C96E2}"/>
          </ac:spMkLst>
        </pc:spChg>
        <pc:spChg chg="mod">
          <ac:chgData name="Mick Mooney" userId="e6518e4e-af4a-4bea-b39c-20489a1e5519" providerId="ADAL" clId="{3014DE50-B07B-4776-BEAC-0F779D92A13E}" dt="2023-07-31T12:27:58.655" v="25371" actId="2711"/>
          <ac:spMkLst>
            <pc:docMk/>
            <pc:sldMk cId="2835511252" sldId="2147479640"/>
            <ac:spMk id="9" creationId="{54149453-3DEF-2E15-6311-535F75F8CCA1}"/>
          </ac:spMkLst>
        </pc:spChg>
        <pc:spChg chg="mod replST delST">
          <ac:chgData name="Mick Mooney" userId="e6518e4e-af4a-4bea-b39c-20489a1e5519" providerId="ADAL" clId="{3014DE50-B07B-4776-BEAC-0F779D92A13E}" dt="2023-07-31T12:27:58.655" v="25371" actId="2711"/>
          <ac:spMkLst>
            <pc:docMk/>
            <pc:sldMk cId="2835511252" sldId="2147479640"/>
            <ac:spMk id="10" creationId="{A9930A43-D411-994C-F0E8-7D9582857EF9}"/>
          </ac:spMkLst>
        </pc:spChg>
        <pc:spChg chg="mod">
          <ac:chgData name="Mick Mooney" userId="e6518e4e-af4a-4bea-b39c-20489a1e5519" providerId="ADAL" clId="{3014DE50-B07B-4776-BEAC-0F779D92A13E}" dt="2023-07-31T12:27:58.655" v="25371" actId="2711"/>
          <ac:spMkLst>
            <pc:docMk/>
            <pc:sldMk cId="2835511252" sldId="2147479640"/>
            <ac:spMk id="12" creationId="{213C6BCD-69D2-90ED-2BC4-196EF5E3F298}"/>
          </ac:spMkLst>
        </pc:spChg>
        <pc:spChg chg="mod">
          <ac:chgData name="Mick Mooney" userId="e6518e4e-af4a-4bea-b39c-20489a1e5519" providerId="ADAL" clId="{3014DE50-B07B-4776-BEAC-0F779D92A13E}" dt="2023-07-31T12:27:58.655" v="25371" actId="2711"/>
          <ac:spMkLst>
            <pc:docMk/>
            <pc:sldMk cId="2835511252" sldId="2147479640"/>
            <ac:spMk id="14" creationId="{1B4891F9-FC37-F82A-520C-548C6F536DE2}"/>
          </ac:spMkLst>
        </pc:spChg>
        <pc:spChg chg="mod">
          <ac:chgData name="Mick Mooney" userId="e6518e4e-af4a-4bea-b39c-20489a1e5519" providerId="ADAL" clId="{3014DE50-B07B-4776-BEAC-0F779D92A13E}" dt="2023-07-31T12:27:58.655" v="25371" actId="2711"/>
          <ac:spMkLst>
            <pc:docMk/>
            <pc:sldMk cId="2835511252" sldId="2147479640"/>
            <ac:spMk id="18" creationId="{26DBC6F2-B27C-8EA3-B4A4-A720416361DC}"/>
          </ac:spMkLst>
        </pc:spChg>
        <pc:spChg chg="mod">
          <ac:chgData name="Mick Mooney" userId="e6518e4e-af4a-4bea-b39c-20489a1e5519" providerId="ADAL" clId="{3014DE50-B07B-4776-BEAC-0F779D92A13E}" dt="2023-07-31T12:27:58.655" v="25371" actId="2711"/>
          <ac:spMkLst>
            <pc:docMk/>
            <pc:sldMk cId="2835511252" sldId="2147479640"/>
            <ac:spMk id="20" creationId="{71597D73-FC0D-0F7C-BC32-B2FA32899DF9}"/>
          </ac:spMkLst>
        </pc:spChg>
        <pc:spChg chg="mod replST delST">
          <ac:chgData name="Mick Mooney" userId="e6518e4e-af4a-4bea-b39c-20489a1e5519" providerId="ADAL" clId="{3014DE50-B07B-4776-BEAC-0F779D92A13E}" dt="2023-07-31T12:27:58.655" v="25371" actId="2711"/>
          <ac:spMkLst>
            <pc:docMk/>
            <pc:sldMk cId="2835511252" sldId="2147479640"/>
            <ac:spMk id="22" creationId="{9A4AB788-397F-A777-536A-71E510E11985}"/>
          </ac:spMkLst>
        </pc:spChg>
        <pc:spChg chg="mod">
          <ac:chgData name="Mick Mooney" userId="e6518e4e-af4a-4bea-b39c-20489a1e5519" providerId="ADAL" clId="{3014DE50-B07B-4776-BEAC-0F779D92A13E}" dt="2023-07-31T12:27:58.655" v="25371" actId="2711"/>
          <ac:spMkLst>
            <pc:docMk/>
            <pc:sldMk cId="2835511252" sldId="2147479640"/>
            <ac:spMk id="24" creationId="{F157CDD7-E4B0-DBE6-3BF9-A80704C2E8E2}"/>
          </ac:spMkLst>
        </pc:spChg>
        <pc:spChg chg="mod">
          <ac:chgData name="Mick Mooney" userId="e6518e4e-af4a-4bea-b39c-20489a1e5519" providerId="ADAL" clId="{3014DE50-B07B-4776-BEAC-0F779D92A13E}" dt="2023-07-31T12:27:58.655" v="25371" actId="2711"/>
          <ac:spMkLst>
            <pc:docMk/>
            <pc:sldMk cId="2835511252" sldId="2147479640"/>
            <ac:spMk id="26" creationId="{CE8179ED-1E75-8A00-A70C-EF944AB7261F}"/>
          </ac:spMkLst>
        </pc:spChg>
        <pc:spChg chg="mod">
          <ac:chgData name="Mick Mooney" userId="e6518e4e-af4a-4bea-b39c-20489a1e5519" providerId="ADAL" clId="{3014DE50-B07B-4776-BEAC-0F779D92A13E}" dt="2023-07-31T12:27:58.655" v="25371" actId="2711"/>
          <ac:spMkLst>
            <pc:docMk/>
            <pc:sldMk cId="2835511252" sldId="2147479640"/>
            <ac:spMk id="28" creationId="{3C2A5434-720E-4AA9-21BF-0B0E8A76CA06}"/>
          </ac:spMkLst>
        </pc:spChg>
        <pc:spChg chg="mod">
          <ac:chgData name="Mick Mooney" userId="e6518e4e-af4a-4bea-b39c-20489a1e5519" providerId="ADAL" clId="{3014DE50-B07B-4776-BEAC-0F779D92A13E}" dt="2023-07-31T12:27:58.655" v="25371" actId="2711"/>
          <ac:spMkLst>
            <pc:docMk/>
            <pc:sldMk cId="2835511252" sldId="2147479640"/>
            <ac:spMk id="30" creationId="{D93FAA2B-249B-226A-0A9D-DF62EFC7C39A}"/>
          </ac:spMkLst>
        </pc:spChg>
      </pc:sldChg>
      <pc:sldChg chg="add del">
        <pc:chgData name="Mick Mooney" userId="e6518e4e-af4a-4bea-b39c-20489a1e5519" providerId="ADAL" clId="{3014DE50-B07B-4776-BEAC-0F779D92A13E}" dt="2023-07-22T14:19:35.728" v="8103"/>
        <pc:sldMkLst>
          <pc:docMk/>
          <pc:sldMk cId="3567504513" sldId="2147479641"/>
        </pc:sldMkLst>
      </pc:sldChg>
      <pc:sldChg chg="add del">
        <pc:chgData name="Mick Mooney" userId="e6518e4e-af4a-4bea-b39c-20489a1e5519" providerId="ADAL" clId="{3014DE50-B07B-4776-BEAC-0F779D92A13E}" dt="2023-07-22T14:19:35.728" v="8103"/>
        <pc:sldMkLst>
          <pc:docMk/>
          <pc:sldMk cId="1917694186" sldId="2147479642"/>
        </pc:sldMkLst>
      </pc:sldChg>
      <pc:sldChg chg="modSp mod">
        <pc:chgData name="Mick Mooney" userId="e6518e4e-af4a-4bea-b39c-20489a1e5519" providerId="ADAL" clId="{3014DE50-B07B-4776-BEAC-0F779D92A13E}" dt="2023-07-31T12:30:12.262" v="25399" actId="2711"/>
        <pc:sldMkLst>
          <pc:docMk/>
          <pc:sldMk cId="3831876268" sldId="2147479642"/>
        </pc:sldMkLst>
        <pc:spChg chg="mod replST delST">
          <ac:chgData name="Mick Mooney" userId="e6518e4e-af4a-4bea-b39c-20489a1e5519" providerId="ADAL" clId="{3014DE50-B07B-4776-BEAC-0F779D92A13E}" dt="2023-07-31T12:30:12.262" v="25399" actId="2711"/>
          <ac:spMkLst>
            <pc:docMk/>
            <pc:sldMk cId="3831876268" sldId="2147479642"/>
            <ac:spMk id="6" creationId="{D6B3904C-298A-03C4-17A9-9F7CC2E8F5BA}"/>
          </ac:spMkLst>
        </pc:spChg>
        <pc:spChg chg="mod">
          <ac:chgData name="Mick Mooney" userId="e6518e4e-af4a-4bea-b39c-20489a1e5519" providerId="ADAL" clId="{3014DE50-B07B-4776-BEAC-0F779D92A13E}" dt="2023-07-31T12:30:12.262" v="25399" actId="2711"/>
          <ac:spMkLst>
            <pc:docMk/>
            <pc:sldMk cId="3831876268" sldId="2147479642"/>
            <ac:spMk id="34" creationId="{810BA9CC-2C5C-4AE6-AD9A-085AE329CD3B}"/>
          </ac:spMkLst>
        </pc:spChg>
      </pc:sldChg>
      <pc:sldChg chg="add del">
        <pc:chgData name="Mick Mooney" userId="e6518e4e-af4a-4bea-b39c-20489a1e5519" providerId="ADAL" clId="{3014DE50-B07B-4776-BEAC-0F779D92A13E}" dt="2023-07-22T14:19:35.728" v="8103"/>
        <pc:sldMkLst>
          <pc:docMk/>
          <pc:sldMk cId="2002851766" sldId="2147479643"/>
        </pc:sldMkLst>
      </pc:sldChg>
      <pc:sldChg chg="add del">
        <pc:chgData name="Mick Mooney" userId="e6518e4e-af4a-4bea-b39c-20489a1e5519" providerId="ADAL" clId="{3014DE50-B07B-4776-BEAC-0F779D92A13E}" dt="2023-07-22T14:19:35.728" v="8103"/>
        <pc:sldMkLst>
          <pc:docMk/>
          <pc:sldMk cId="2677130078" sldId="2147479644"/>
        </pc:sldMkLst>
      </pc:sldChg>
      <pc:sldChg chg="modSp mod">
        <pc:chgData name="Mick Mooney" userId="e6518e4e-af4a-4bea-b39c-20489a1e5519" providerId="ADAL" clId="{3014DE50-B07B-4776-BEAC-0F779D92A13E}" dt="2023-07-31T12:29:58.948" v="25396" actId="2711"/>
        <pc:sldMkLst>
          <pc:docMk/>
          <pc:sldMk cId="2915504962" sldId="2147479644"/>
        </pc:sldMkLst>
        <pc:spChg chg="mod">
          <ac:chgData name="Mick Mooney" userId="e6518e4e-af4a-4bea-b39c-20489a1e5519" providerId="ADAL" clId="{3014DE50-B07B-4776-BEAC-0F779D92A13E}" dt="2023-07-31T12:29:48.803" v="25395" actId="2711"/>
          <ac:spMkLst>
            <pc:docMk/>
            <pc:sldMk cId="2915504962" sldId="2147479644"/>
            <ac:spMk id="34" creationId="{810BA9CC-2C5C-4AE6-AD9A-085AE329CD3B}"/>
          </ac:spMkLst>
        </pc:spChg>
        <pc:graphicFrameChg chg="modGraphic">
          <ac:chgData name="Mick Mooney" userId="e6518e4e-af4a-4bea-b39c-20489a1e5519" providerId="ADAL" clId="{3014DE50-B07B-4776-BEAC-0F779D92A13E}" dt="2023-07-31T12:29:58.948" v="25396" actId="2711"/>
          <ac:graphicFrameMkLst>
            <pc:docMk/>
            <pc:sldMk cId="2915504962" sldId="2147479644"/>
            <ac:graphicFrameMk id="10" creationId="{C373DE96-CF83-C1C7-EAE3-76F41D608563}"/>
          </ac:graphicFrameMkLst>
        </pc:graphicFrameChg>
      </pc:sldChg>
      <pc:sldChg chg="add del">
        <pc:chgData name="Mick Mooney" userId="e6518e4e-af4a-4bea-b39c-20489a1e5519" providerId="ADAL" clId="{3014DE50-B07B-4776-BEAC-0F779D92A13E}" dt="2023-07-22T14:19:35.728" v="8103"/>
        <pc:sldMkLst>
          <pc:docMk/>
          <pc:sldMk cId="2314249971" sldId="2147479645"/>
        </pc:sldMkLst>
      </pc:sldChg>
      <pc:sldChg chg="modSp mod">
        <pc:chgData name="Mick Mooney" userId="e6518e4e-af4a-4bea-b39c-20489a1e5519" providerId="ADAL" clId="{3014DE50-B07B-4776-BEAC-0F779D92A13E}" dt="2023-07-31T16:05:14.539" v="33411"/>
        <pc:sldMkLst>
          <pc:docMk/>
          <pc:sldMk cId="1066138" sldId="2147479646"/>
        </pc:sldMkLst>
        <pc:spChg chg="mod">
          <ac:chgData name="Mick Mooney" userId="e6518e4e-af4a-4bea-b39c-20489a1e5519" providerId="ADAL" clId="{3014DE50-B07B-4776-BEAC-0F779D92A13E}" dt="2023-07-31T12:29:21.315" v="25392" actId="2711"/>
          <ac:spMkLst>
            <pc:docMk/>
            <pc:sldMk cId="1066138" sldId="2147479646"/>
            <ac:spMk id="6" creationId="{375A8375-8BDA-8591-7CD2-CF1F98D8E40F}"/>
          </ac:spMkLst>
        </pc:spChg>
        <pc:spChg chg="mod">
          <ac:chgData name="Mick Mooney" userId="e6518e4e-af4a-4bea-b39c-20489a1e5519" providerId="ADAL" clId="{3014DE50-B07B-4776-BEAC-0F779D92A13E}" dt="2023-07-31T12:29:21.315" v="25392" actId="2711"/>
          <ac:spMkLst>
            <pc:docMk/>
            <pc:sldMk cId="1066138" sldId="2147479646"/>
            <ac:spMk id="8" creationId="{B60A0EA7-BFC8-2138-B2E4-1DB2C7A4A750}"/>
          </ac:spMkLst>
        </pc:spChg>
        <pc:spChg chg="mod">
          <ac:chgData name="Mick Mooney" userId="e6518e4e-af4a-4bea-b39c-20489a1e5519" providerId="ADAL" clId="{3014DE50-B07B-4776-BEAC-0F779D92A13E}" dt="2023-07-31T12:29:21.315" v="25392" actId="2711"/>
          <ac:spMkLst>
            <pc:docMk/>
            <pc:sldMk cId="1066138" sldId="2147479646"/>
            <ac:spMk id="10" creationId="{94BC6B52-470B-4F59-4E4C-58B5DCC1F763}"/>
          </ac:spMkLst>
        </pc:spChg>
        <pc:spChg chg="mod">
          <ac:chgData name="Mick Mooney" userId="e6518e4e-af4a-4bea-b39c-20489a1e5519" providerId="ADAL" clId="{3014DE50-B07B-4776-BEAC-0F779D92A13E}" dt="2023-07-31T12:29:21.315" v="25392" actId="2711"/>
          <ac:spMkLst>
            <pc:docMk/>
            <pc:sldMk cId="1066138" sldId="2147479646"/>
            <ac:spMk id="12" creationId="{255B8FE5-3EF6-EAFF-2ABD-5DC3003D7693}"/>
          </ac:spMkLst>
        </pc:spChg>
        <pc:spChg chg="mod">
          <ac:chgData name="Mick Mooney" userId="e6518e4e-af4a-4bea-b39c-20489a1e5519" providerId="ADAL" clId="{3014DE50-B07B-4776-BEAC-0F779D92A13E}" dt="2023-07-31T12:29:21.315" v="25392" actId="2711"/>
          <ac:spMkLst>
            <pc:docMk/>
            <pc:sldMk cId="1066138" sldId="2147479646"/>
            <ac:spMk id="14" creationId="{E8A55644-11AD-FD70-1A30-6A95013BD141}"/>
          </ac:spMkLst>
        </pc:spChg>
        <pc:spChg chg="mod">
          <ac:chgData name="Mick Mooney" userId="e6518e4e-af4a-4bea-b39c-20489a1e5519" providerId="ADAL" clId="{3014DE50-B07B-4776-BEAC-0F779D92A13E}" dt="2023-07-31T12:29:21.315" v="25392" actId="2711"/>
          <ac:spMkLst>
            <pc:docMk/>
            <pc:sldMk cId="1066138" sldId="2147479646"/>
            <ac:spMk id="16" creationId="{E1F487BF-2DB8-5EDD-C394-30A9E2FAAF66}"/>
          </ac:spMkLst>
        </pc:spChg>
        <pc:spChg chg="mod replST delST">
          <ac:chgData name="Mick Mooney" userId="e6518e4e-af4a-4bea-b39c-20489a1e5519" providerId="ADAL" clId="{3014DE50-B07B-4776-BEAC-0F779D92A13E}" dt="2023-07-31T16:05:14.539" v="33411"/>
          <ac:spMkLst>
            <pc:docMk/>
            <pc:sldMk cId="1066138" sldId="2147479646"/>
            <ac:spMk id="18" creationId="{CF0BC8A6-1F16-21B1-A715-9879FE7EE926}"/>
          </ac:spMkLst>
        </pc:spChg>
        <pc:spChg chg="mod">
          <ac:chgData name="Mick Mooney" userId="e6518e4e-af4a-4bea-b39c-20489a1e5519" providerId="ADAL" clId="{3014DE50-B07B-4776-BEAC-0F779D92A13E}" dt="2023-07-31T12:29:21.315" v="25392" actId="2711"/>
          <ac:spMkLst>
            <pc:docMk/>
            <pc:sldMk cId="1066138" sldId="2147479646"/>
            <ac:spMk id="22" creationId="{AA265383-9421-C2D4-AA09-19FC73F89E9C}"/>
          </ac:spMkLst>
        </pc:spChg>
      </pc:sldChg>
      <pc:sldChg chg="add del">
        <pc:chgData name="Mick Mooney" userId="e6518e4e-af4a-4bea-b39c-20489a1e5519" providerId="ADAL" clId="{3014DE50-B07B-4776-BEAC-0F779D92A13E}" dt="2023-07-22T14:19:35.728" v="8103"/>
        <pc:sldMkLst>
          <pc:docMk/>
          <pc:sldMk cId="2635997469" sldId="2147479646"/>
        </pc:sldMkLst>
      </pc:sldChg>
      <pc:sldChg chg="add del">
        <pc:chgData name="Mick Mooney" userId="e6518e4e-af4a-4bea-b39c-20489a1e5519" providerId="ADAL" clId="{3014DE50-B07B-4776-BEAC-0F779D92A13E}" dt="2023-07-22T14:19:35.728" v="8103"/>
        <pc:sldMkLst>
          <pc:docMk/>
          <pc:sldMk cId="576848050" sldId="2147479647"/>
        </pc:sldMkLst>
      </pc:sldChg>
      <pc:sldChg chg="delSp modSp del mod">
        <pc:chgData name="Mick Mooney" userId="e6518e4e-af4a-4bea-b39c-20489a1e5519" providerId="ADAL" clId="{3014DE50-B07B-4776-BEAC-0F779D92A13E}" dt="2023-07-31T11:22:37.892" v="23448" actId="2696"/>
        <pc:sldMkLst>
          <pc:docMk/>
          <pc:sldMk cId="1364223608" sldId="2147479647"/>
        </pc:sldMkLst>
        <pc:spChg chg="mod replST delST">
          <ac:chgData name="Mick Mooney" userId="e6518e4e-af4a-4bea-b39c-20489a1e5519" providerId="ADAL" clId="{3014DE50-B07B-4776-BEAC-0F779D92A13E}" dt="2023-07-31T10:11:40.488" v="23423" actId="1076"/>
          <ac:spMkLst>
            <pc:docMk/>
            <pc:sldMk cId="1364223608" sldId="2147479647"/>
            <ac:spMk id="2" creationId="{83F35AF8-374F-9074-BDAD-724A502CDC67}"/>
          </ac:spMkLst>
        </pc:spChg>
        <pc:picChg chg="del">
          <ac:chgData name="Mick Mooney" userId="e6518e4e-af4a-4bea-b39c-20489a1e5519" providerId="ADAL" clId="{3014DE50-B07B-4776-BEAC-0F779D92A13E}" dt="2023-07-31T10:11:36.466" v="23420" actId="478"/>
          <ac:picMkLst>
            <pc:docMk/>
            <pc:sldMk cId="1364223608" sldId="2147479647"/>
            <ac:picMk id="3" creationId="{2ED91E61-049B-C31D-6965-131C2572C961}"/>
          </ac:picMkLst>
        </pc:picChg>
      </pc:sldChg>
      <pc:sldChg chg="add del">
        <pc:chgData name="Mick Mooney" userId="e6518e4e-af4a-4bea-b39c-20489a1e5519" providerId="ADAL" clId="{3014DE50-B07B-4776-BEAC-0F779D92A13E}" dt="2023-07-22T14:19:35.728" v="8103"/>
        <pc:sldMkLst>
          <pc:docMk/>
          <pc:sldMk cId="4103057498" sldId="2147479648"/>
        </pc:sldMkLst>
      </pc:sldChg>
      <pc:sldChg chg="modSp mod">
        <pc:chgData name="Mick Mooney" userId="e6518e4e-af4a-4bea-b39c-20489a1e5519" providerId="ADAL" clId="{3014DE50-B07B-4776-BEAC-0F779D92A13E}" dt="2023-07-31T13:14:13.246" v="29082" actId="2711"/>
        <pc:sldMkLst>
          <pc:docMk/>
          <pc:sldMk cId="1412110567" sldId="2147479649"/>
        </pc:sldMkLst>
        <pc:spChg chg="mod">
          <ac:chgData name="Mick Mooney" userId="e6518e4e-af4a-4bea-b39c-20489a1e5519" providerId="ADAL" clId="{3014DE50-B07B-4776-BEAC-0F779D92A13E}" dt="2023-07-31T13:14:13.246" v="29082" actId="2711"/>
          <ac:spMkLst>
            <pc:docMk/>
            <pc:sldMk cId="1412110567" sldId="2147479649"/>
            <ac:spMk id="8" creationId="{7824D54C-15D2-467C-A016-166944D0781C}"/>
          </ac:spMkLst>
        </pc:spChg>
        <pc:spChg chg="mod">
          <ac:chgData name="Mick Mooney" userId="e6518e4e-af4a-4bea-b39c-20489a1e5519" providerId="ADAL" clId="{3014DE50-B07B-4776-BEAC-0F779D92A13E}" dt="2023-07-31T13:14:13.246" v="29082" actId="2711"/>
          <ac:spMkLst>
            <pc:docMk/>
            <pc:sldMk cId="1412110567" sldId="2147479649"/>
            <ac:spMk id="17" creationId="{8C9460DB-676C-4AF1-BB43-13950E17CBA7}"/>
          </ac:spMkLst>
        </pc:spChg>
      </pc:sldChg>
      <pc:sldChg chg="add del">
        <pc:chgData name="Mick Mooney" userId="e6518e4e-af4a-4bea-b39c-20489a1e5519" providerId="ADAL" clId="{3014DE50-B07B-4776-BEAC-0F779D92A13E}" dt="2023-07-22T14:19:35.728" v="8103"/>
        <pc:sldMkLst>
          <pc:docMk/>
          <pc:sldMk cId="3234639428" sldId="2147479649"/>
        </pc:sldMkLst>
      </pc:sldChg>
      <pc:sldChg chg="add del">
        <pc:chgData name="Mick Mooney" userId="e6518e4e-af4a-4bea-b39c-20489a1e5519" providerId="ADAL" clId="{3014DE50-B07B-4776-BEAC-0F779D92A13E}" dt="2023-07-22T14:19:35.728" v="8103"/>
        <pc:sldMkLst>
          <pc:docMk/>
          <pc:sldMk cId="3194615098" sldId="2147479650"/>
        </pc:sldMkLst>
      </pc:sldChg>
      <pc:sldChg chg="modSp mod">
        <pc:chgData name="Mick Mooney" userId="e6518e4e-af4a-4bea-b39c-20489a1e5519" providerId="ADAL" clId="{3014DE50-B07B-4776-BEAC-0F779D92A13E}" dt="2023-07-31T13:13:42.066" v="29078" actId="2711"/>
        <pc:sldMkLst>
          <pc:docMk/>
          <pc:sldMk cId="3733227749" sldId="2147479650"/>
        </pc:sldMkLst>
        <pc:spChg chg="mod">
          <ac:chgData name="Mick Mooney" userId="e6518e4e-af4a-4bea-b39c-20489a1e5519" providerId="ADAL" clId="{3014DE50-B07B-4776-BEAC-0F779D92A13E}" dt="2023-07-31T13:13:42.066" v="29078" actId="2711"/>
          <ac:spMkLst>
            <pc:docMk/>
            <pc:sldMk cId="3733227749" sldId="2147479650"/>
            <ac:spMk id="8" creationId="{7824D54C-15D2-467C-A016-166944D0781C}"/>
          </ac:spMkLst>
        </pc:spChg>
        <pc:spChg chg="mod">
          <ac:chgData name="Mick Mooney" userId="e6518e4e-af4a-4bea-b39c-20489a1e5519" providerId="ADAL" clId="{3014DE50-B07B-4776-BEAC-0F779D92A13E}" dt="2023-07-31T13:13:42.066" v="29078" actId="2711"/>
          <ac:spMkLst>
            <pc:docMk/>
            <pc:sldMk cId="3733227749" sldId="2147479650"/>
            <ac:spMk id="110" creationId="{D9FAB352-CA46-811F-3D49-27E2367AE0CC}"/>
          </ac:spMkLst>
        </pc:spChg>
        <pc:spChg chg="mod">
          <ac:chgData name="Mick Mooney" userId="e6518e4e-af4a-4bea-b39c-20489a1e5519" providerId="ADAL" clId="{3014DE50-B07B-4776-BEAC-0F779D92A13E}" dt="2023-07-31T13:13:42.066" v="29078" actId="2711"/>
          <ac:spMkLst>
            <pc:docMk/>
            <pc:sldMk cId="3733227749" sldId="2147479650"/>
            <ac:spMk id="111" creationId="{564B556F-FB64-D7DE-D219-FA7C493AD617}"/>
          </ac:spMkLst>
        </pc:spChg>
        <pc:spChg chg="mod">
          <ac:chgData name="Mick Mooney" userId="e6518e4e-af4a-4bea-b39c-20489a1e5519" providerId="ADAL" clId="{3014DE50-B07B-4776-BEAC-0F779D92A13E}" dt="2023-07-31T13:13:42.066" v="29078" actId="2711"/>
          <ac:spMkLst>
            <pc:docMk/>
            <pc:sldMk cId="3733227749" sldId="2147479650"/>
            <ac:spMk id="112" creationId="{F40C5D27-A65E-0BED-243B-22341C764DB1}"/>
          </ac:spMkLst>
        </pc:spChg>
        <pc:spChg chg="mod">
          <ac:chgData name="Mick Mooney" userId="e6518e4e-af4a-4bea-b39c-20489a1e5519" providerId="ADAL" clId="{3014DE50-B07B-4776-BEAC-0F779D92A13E}" dt="2023-07-31T13:13:42.066" v="29078" actId="2711"/>
          <ac:spMkLst>
            <pc:docMk/>
            <pc:sldMk cId="3733227749" sldId="2147479650"/>
            <ac:spMk id="113" creationId="{A25DB9C0-53AD-0CE1-D89B-4C9A1D3CB9BA}"/>
          </ac:spMkLst>
        </pc:spChg>
        <pc:spChg chg="mod">
          <ac:chgData name="Mick Mooney" userId="e6518e4e-af4a-4bea-b39c-20489a1e5519" providerId="ADAL" clId="{3014DE50-B07B-4776-BEAC-0F779D92A13E}" dt="2023-07-31T13:13:42.066" v="29078" actId="2711"/>
          <ac:spMkLst>
            <pc:docMk/>
            <pc:sldMk cId="3733227749" sldId="2147479650"/>
            <ac:spMk id="114" creationId="{14DBA85B-69FB-FABC-7052-97ABD5B656B6}"/>
          </ac:spMkLst>
        </pc:spChg>
        <pc:spChg chg="mod">
          <ac:chgData name="Mick Mooney" userId="e6518e4e-af4a-4bea-b39c-20489a1e5519" providerId="ADAL" clId="{3014DE50-B07B-4776-BEAC-0F779D92A13E}" dt="2023-07-31T13:13:42.066" v="29078" actId="2711"/>
          <ac:spMkLst>
            <pc:docMk/>
            <pc:sldMk cId="3733227749" sldId="2147479650"/>
            <ac:spMk id="115" creationId="{9C2B0133-DE3C-1C4D-B78C-74462022E4B8}"/>
          </ac:spMkLst>
        </pc:spChg>
        <pc:spChg chg="mod">
          <ac:chgData name="Mick Mooney" userId="e6518e4e-af4a-4bea-b39c-20489a1e5519" providerId="ADAL" clId="{3014DE50-B07B-4776-BEAC-0F779D92A13E}" dt="2023-07-31T13:13:42.066" v="29078" actId="2711"/>
          <ac:spMkLst>
            <pc:docMk/>
            <pc:sldMk cId="3733227749" sldId="2147479650"/>
            <ac:spMk id="117" creationId="{56B2FCA3-EB6C-37C3-E25B-FBF14507F2AD}"/>
          </ac:spMkLst>
        </pc:spChg>
        <pc:spChg chg="mod">
          <ac:chgData name="Mick Mooney" userId="e6518e4e-af4a-4bea-b39c-20489a1e5519" providerId="ADAL" clId="{3014DE50-B07B-4776-BEAC-0F779D92A13E}" dt="2023-07-31T13:13:42.066" v="29078" actId="2711"/>
          <ac:spMkLst>
            <pc:docMk/>
            <pc:sldMk cId="3733227749" sldId="2147479650"/>
            <ac:spMk id="118" creationId="{992B61DC-A20E-E5DC-EEE4-006D266FEE14}"/>
          </ac:spMkLst>
        </pc:spChg>
        <pc:spChg chg="mod">
          <ac:chgData name="Mick Mooney" userId="e6518e4e-af4a-4bea-b39c-20489a1e5519" providerId="ADAL" clId="{3014DE50-B07B-4776-BEAC-0F779D92A13E}" dt="2023-07-31T13:13:42.066" v="29078" actId="2711"/>
          <ac:spMkLst>
            <pc:docMk/>
            <pc:sldMk cId="3733227749" sldId="2147479650"/>
            <ac:spMk id="120" creationId="{8E4CD8C4-466F-F7D9-6125-C0643A0D8DF5}"/>
          </ac:spMkLst>
        </pc:spChg>
        <pc:spChg chg="mod">
          <ac:chgData name="Mick Mooney" userId="e6518e4e-af4a-4bea-b39c-20489a1e5519" providerId="ADAL" clId="{3014DE50-B07B-4776-BEAC-0F779D92A13E}" dt="2023-07-31T13:13:42.066" v="29078" actId="2711"/>
          <ac:spMkLst>
            <pc:docMk/>
            <pc:sldMk cId="3733227749" sldId="2147479650"/>
            <ac:spMk id="121" creationId="{E09CC333-5B00-2B8B-4F63-A879C5282EA6}"/>
          </ac:spMkLst>
        </pc:spChg>
        <pc:spChg chg="mod">
          <ac:chgData name="Mick Mooney" userId="e6518e4e-af4a-4bea-b39c-20489a1e5519" providerId="ADAL" clId="{3014DE50-B07B-4776-BEAC-0F779D92A13E}" dt="2023-07-31T13:13:42.066" v="29078" actId="2711"/>
          <ac:spMkLst>
            <pc:docMk/>
            <pc:sldMk cId="3733227749" sldId="2147479650"/>
            <ac:spMk id="123" creationId="{6CC1B568-58F4-12DB-860E-406C2887FF02}"/>
          </ac:spMkLst>
        </pc:spChg>
        <pc:spChg chg="mod">
          <ac:chgData name="Mick Mooney" userId="e6518e4e-af4a-4bea-b39c-20489a1e5519" providerId="ADAL" clId="{3014DE50-B07B-4776-BEAC-0F779D92A13E}" dt="2023-07-31T13:13:42.066" v="29078" actId="2711"/>
          <ac:spMkLst>
            <pc:docMk/>
            <pc:sldMk cId="3733227749" sldId="2147479650"/>
            <ac:spMk id="124" creationId="{D660F9E7-2341-DB82-B10A-5CD1ED75AC77}"/>
          </ac:spMkLst>
        </pc:spChg>
        <pc:spChg chg="mod">
          <ac:chgData name="Mick Mooney" userId="e6518e4e-af4a-4bea-b39c-20489a1e5519" providerId="ADAL" clId="{3014DE50-B07B-4776-BEAC-0F779D92A13E}" dt="2023-07-31T13:13:42.066" v="29078" actId="2711"/>
          <ac:spMkLst>
            <pc:docMk/>
            <pc:sldMk cId="3733227749" sldId="2147479650"/>
            <ac:spMk id="125" creationId="{ABA63DE8-7BC0-62E4-5A85-4918D757A1EB}"/>
          </ac:spMkLst>
        </pc:spChg>
        <pc:spChg chg="mod">
          <ac:chgData name="Mick Mooney" userId="e6518e4e-af4a-4bea-b39c-20489a1e5519" providerId="ADAL" clId="{3014DE50-B07B-4776-BEAC-0F779D92A13E}" dt="2023-07-31T13:13:42.066" v="29078" actId="2711"/>
          <ac:spMkLst>
            <pc:docMk/>
            <pc:sldMk cId="3733227749" sldId="2147479650"/>
            <ac:spMk id="126" creationId="{7FC01B13-7B57-19C5-A8E3-72490E140B58}"/>
          </ac:spMkLst>
        </pc:spChg>
        <pc:spChg chg="mod">
          <ac:chgData name="Mick Mooney" userId="e6518e4e-af4a-4bea-b39c-20489a1e5519" providerId="ADAL" clId="{3014DE50-B07B-4776-BEAC-0F779D92A13E}" dt="2023-07-31T13:13:42.066" v="29078" actId="2711"/>
          <ac:spMkLst>
            <pc:docMk/>
            <pc:sldMk cId="3733227749" sldId="2147479650"/>
            <ac:spMk id="127" creationId="{A1CD7DD6-B954-1E58-9F64-31084D79C510}"/>
          </ac:spMkLst>
        </pc:spChg>
        <pc:spChg chg="mod">
          <ac:chgData name="Mick Mooney" userId="e6518e4e-af4a-4bea-b39c-20489a1e5519" providerId="ADAL" clId="{3014DE50-B07B-4776-BEAC-0F779D92A13E}" dt="2023-07-31T13:13:42.066" v="29078" actId="2711"/>
          <ac:spMkLst>
            <pc:docMk/>
            <pc:sldMk cId="3733227749" sldId="2147479650"/>
            <ac:spMk id="128" creationId="{820909C1-4F7E-3872-9A96-D3EAECE38C55}"/>
          </ac:spMkLst>
        </pc:spChg>
        <pc:spChg chg="mod">
          <ac:chgData name="Mick Mooney" userId="e6518e4e-af4a-4bea-b39c-20489a1e5519" providerId="ADAL" clId="{3014DE50-B07B-4776-BEAC-0F779D92A13E}" dt="2023-07-31T13:13:42.066" v="29078" actId="2711"/>
          <ac:spMkLst>
            <pc:docMk/>
            <pc:sldMk cId="3733227749" sldId="2147479650"/>
            <ac:spMk id="130" creationId="{25E6DC50-3520-CB2E-8E8F-03EEDF7006EA}"/>
          </ac:spMkLst>
        </pc:spChg>
        <pc:spChg chg="mod">
          <ac:chgData name="Mick Mooney" userId="e6518e4e-af4a-4bea-b39c-20489a1e5519" providerId="ADAL" clId="{3014DE50-B07B-4776-BEAC-0F779D92A13E}" dt="2023-07-31T13:13:42.066" v="29078" actId="2711"/>
          <ac:spMkLst>
            <pc:docMk/>
            <pc:sldMk cId="3733227749" sldId="2147479650"/>
            <ac:spMk id="131" creationId="{B98CBD43-8E4A-9C8E-3CCD-60B087386E31}"/>
          </ac:spMkLst>
        </pc:spChg>
        <pc:spChg chg="mod">
          <ac:chgData name="Mick Mooney" userId="e6518e4e-af4a-4bea-b39c-20489a1e5519" providerId="ADAL" clId="{3014DE50-B07B-4776-BEAC-0F779D92A13E}" dt="2023-07-31T13:13:42.066" v="29078" actId="2711"/>
          <ac:spMkLst>
            <pc:docMk/>
            <pc:sldMk cId="3733227749" sldId="2147479650"/>
            <ac:spMk id="132" creationId="{86F9CD59-DF1F-35E6-6D82-E70154E87D92}"/>
          </ac:spMkLst>
        </pc:spChg>
        <pc:spChg chg="mod">
          <ac:chgData name="Mick Mooney" userId="e6518e4e-af4a-4bea-b39c-20489a1e5519" providerId="ADAL" clId="{3014DE50-B07B-4776-BEAC-0F779D92A13E}" dt="2023-07-31T13:13:42.066" v="29078" actId="2711"/>
          <ac:spMkLst>
            <pc:docMk/>
            <pc:sldMk cId="3733227749" sldId="2147479650"/>
            <ac:spMk id="133" creationId="{C0533F1F-2A58-17BC-DCB7-98D64C5392CA}"/>
          </ac:spMkLst>
        </pc:spChg>
        <pc:spChg chg="mod">
          <ac:chgData name="Mick Mooney" userId="e6518e4e-af4a-4bea-b39c-20489a1e5519" providerId="ADAL" clId="{3014DE50-B07B-4776-BEAC-0F779D92A13E}" dt="2023-07-31T13:13:42.066" v="29078" actId="2711"/>
          <ac:spMkLst>
            <pc:docMk/>
            <pc:sldMk cId="3733227749" sldId="2147479650"/>
            <ac:spMk id="134" creationId="{26A26251-35A7-555C-B853-251EAAE4C0B3}"/>
          </ac:spMkLst>
        </pc:spChg>
        <pc:spChg chg="mod">
          <ac:chgData name="Mick Mooney" userId="e6518e4e-af4a-4bea-b39c-20489a1e5519" providerId="ADAL" clId="{3014DE50-B07B-4776-BEAC-0F779D92A13E}" dt="2023-07-31T13:13:42.066" v="29078" actId="2711"/>
          <ac:spMkLst>
            <pc:docMk/>
            <pc:sldMk cId="3733227749" sldId="2147479650"/>
            <ac:spMk id="135" creationId="{99DF9916-31D3-9497-89DA-B78672F32FEA}"/>
          </ac:spMkLst>
        </pc:spChg>
        <pc:spChg chg="mod">
          <ac:chgData name="Mick Mooney" userId="e6518e4e-af4a-4bea-b39c-20489a1e5519" providerId="ADAL" clId="{3014DE50-B07B-4776-BEAC-0F779D92A13E}" dt="2023-07-31T13:13:42.066" v="29078" actId="2711"/>
          <ac:spMkLst>
            <pc:docMk/>
            <pc:sldMk cId="3733227749" sldId="2147479650"/>
            <ac:spMk id="136" creationId="{ACCC3A05-4361-CD2A-8C4A-D2DCF3C0A719}"/>
          </ac:spMkLst>
        </pc:spChg>
        <pc:spChg chg="mod replST delST">
          <ac:chgData name="Mick Mooney" userId="e6518e4e-af4a-4bea-b39c-20489a1e5519" providerId="ADAL" clId="{3014DE50-B07B-4776-BEAC-0F779D92A13E}" dt="2023-07-31T13:13:42.066" v="29078" actId="2711"/>
          <ac:spMkLst>
            <pc:docMk/>
            <pc:sldMk cId="3733227749" sldId="2147479650"/>
            <ac:spMk id="137" creationId="{AF6C175B-768D-D787-B4B8-127FAD9FB644}"/>
          </ac:spMkLst>
        </pc:spChg>
        <pc:spChg chg="mod">
          <ac:chgData name="Mick Mooney" userId="e6518e4e-af4a-4bea-b39c-20489a1e5519" providerId="ADAL" clId="{3014DE50-B07B-4776-BEAC-0F779D92A13E}" dt="2023-07-31T13:13:42.066" v="29078" actId="2711"/>
          <ac:spMkLst>
            <pc:docMk/>
            <pc:sldMk cId="3733227749" sldId="2147479650"/>
            <ac:spMk id="138" creationId="{78780F4A-B8F2-1525-9EE4-3D3FB679D192}"/>
          </ac:spMkLst>
        </pc:spChg>
        <pc:spChg chg="mod">
          <ac:chgData name="Mick Mooney" userId="e6518e4e-af4a-4bea-b39c-20489a1e5519" providerId="ADAL" clId="{3014DE50-B07B-4776-BEAC-0F779D92A13E}" dt="2023-07-31T13:13:42.066" v="29078" actId="2711"/>
          <ac:spMkLst>
            <pc:docMk/>
            <pc:sldMk cId="3733227749" sldId="2147479650"/>
            <ac:spMk id="140" creationId="{D7FF1205-F9F8-B06C-8313-0A8A06CB9391}"/>
          </ac:spMkLst>
        </pc:spChg>
        <pc:spChg chg="mod">
          <ac:chgData name="Mick Mooney" userId="e6518e4e-af4a-4bea-b39c-20489a1e5519" providerId="ADAL" clId="{3014DE50-B07B-4776-BEAC-0F779D92A13E}" dt="2023-07-31T13:13:42.066" v="29078" actId="2711"/>
          <ac:spMkLst>
            <pc:docMk/>
            <pc:sldMk cId="3733227749" sldId="2147479650"/>
            <ac:spMk id="141" creationId="{C030FB14-8CAF-DF28-497F-FE4F6765D802}"/>
          </ac:spMkLst>
        </pc:spChg>
        <pc:spChg chg="mod">
          <ac:chgData name="Mick Mooney" userId="e6518e4e-af4a-4bea-b39c-20489a1e5519" providerId="ADAL" clId="{3014DE50-B07B-4776-BEAC-0F779D92A13E}" dt="2023-07-31T13:13:42.066" v="29078" actId="2711"/>
          <ac:spMkLst>
            <pc:docMk/>
            <pc:sldMk cId="3733227749" sldId="2147479650"/>
            <ac:spMk id="143" creationId="{5AF9F232-B364-45C7-25DE-89DA784775E4}"/>
          </ac:spMkLst>
        </pc:spChg>
        <pc:spChg chg="mod">
          <ac:chgData name="Mick Mooney" userId="e6518e4e-af4a-4bea-b39c-20489a1e5519" providerId="ADAL" clId="{3014DE50-B07B-4776-BEAC-0F779D92A13E}" dt="2023-07-31T13:13:42.066" v="29078" actId="2711"/>
          <ac:spMkLst>
            <pc:docMk/>
            <pc:sldMk cId="3733227749" sldId="2147479650"/>
            <ac:spMk id="144" creationId="{0433680D-32A5-7238-BFA5-50C12B3F3634}"/>
          </ac:spMkLst>
        </pc:spChg>
        <pc:spChg chg="mod">
          <ac:chgData name="Mick Mooney" userId="e6518e4e-af4a-4bea-b39c-20489a1e5519" providerId="ADAL" clId="{3014DE50-B07B-4776-BEAC-0F779D92A13E}" dt="2023-07-31T13:13:42.066" v="29078" actId="2711"/>
          <ac:spMkLst>
            <pc:docMk/>
            <pc:sldMk cId="3733227749" sldId="2147479650"/>
            <ac:spMk id="149" creationId="{0D8FEB3A-5C54-062C-8F14-C1527CEED0E8}"/>
          </ac:spMkLst>
        </pc:spChg>
        <pc:spChg chg="mod">
          <ac:chgData name="Mick Mooney" userId="e6518e4e-af4a-4bea-b39c-20489a1e5519" providerId="ADAL" clId="{3014DE50-B07B-4776-BEAC-0F779D92A13E}" dt="2023-07-31T13:13:42.066" v="29078" actId="2711"/>
          <ac:spMkLst>
            <pc:docMk/>
            <pc:sldMk cId="3733227749" sldId="2147479650"/>
            <ac:spMk id="150" creationId="{0D5122B7-D3A4-4FBB-9E4D-C972ED55BA11}"/>
          </ac:spMkLst>
        </pc:spChg>
        <pc:spChg chg="mod">
          <ac:chgData name="Mick Mooney" userId="e6518e4e-af4a-4bea-b39c-20489a1e5519" providerId="ADAL" clId="{3014DE50-B07B-4776-BEAC-0F779D92A13E}" dt="2023-07-31T13:13:42.066" v="29078" actId="2711"/>
          <ac:spMkLst>
            <pc:docMk/>
            <pc:sldMk cId="3733227749" sldId="2147479650"/>
            <ac:spMk id="151" creationId="{F4240194-3083-7122-86EE-172E470B777B}"/>
          </ac:spMkLst>
        </pc:spChg>
        <pc:spChg chg="mod">
          <ac:chgData name="Mick Mooney" userId="e6518e4e-af4a-4bea-b39c-20489a1e5519" providerId="ADAL" clId="{3014DE50-B07B-4776-BEAC-0F779D92A13E}" dt="2023-07-31T13:13:42.066" v="29078" actId="2711"/>
          <ac:spMkLst>
            <pc:docMk/>
            <pc:sldMk cId="3733227749" sldId="2147479650"/>
            <ac:spMk id="152" creationId="{D1884D06-6703-DF72-193C-BA8655000126}"/>
          </ac:spMkLst>
        </pc:spChg>
        <pc:spChg chg="mod">
          <ac:chgData name="Mick Mooney" userId="e6518e4e-af4a-4bea-b39c-20489a1e5519" providerId="ADAL" clId="{3014DE50-B07B-4776-BEAC-0F779D92A13E}" dt="2023-07-31T13:13:42.066" v="29078" actId="2711"/>
          <ac:spMkLst>
            <pc:docMk/>
            <pc:sldMk cId="3733227749" sldId="2147479650"/>
            <ac:spMk id="153" creationId="{B6954AB1-B74F-6460-6C2A-FF1A00A8954D}"/>
          </ac:spMkLst>
        </pc:spChg>
        <pc:spChg chg="mod">
          <ac:chgData name="Mick Mooney" userId="e6518e4e-af4a-4bea-b39c-20489a1e5519" providerId="ADAL" clId="{3014DE50-B07B-4776-BEAC-0F779D92A13E}" dt="2023-07-31T13:13:42.066" v="29078" actId="2711"/>
          <ac:spMkLst>
            <pc:docMk/>
            <pc:sldMk cId="3733227749" sldId="2147479650"/>
            <ac:spMk id="154" creationId="{745F21F4-C5A5-BDA0-D1EA-6ACF5C2C2B8D}"/>
          </ac:spMkLst>
        </pc:spChg>
        <pc:spChg chg="mod">
          <ac:chgData name="Mick Mooney" userId="e6518e4e-af4a-4bea-b39c-20489a1e5519" providerId="ADAL" clId="{3014DE50-B07B-4776-BEAC-0F779D92A13E}" dt="2023-07-31T13:13:42.066" v="29078" actId="2711"/>
          <ac:spMkLst>
            <pc:docMk/>
            <pc:sldMk cId="3733227749" sldId="2147479650"/>
            <ac:spMk id="157" creationId="{DEB953E4-5BBB-AC49-56F4-8E6B4C80313A}"/>
          </ac:spMkLst>
        </pc:spChg>
        <pc:spChg chg="mod">
          <ac:chgData name="Mick Mooney" userId="e6518e4e-af4a-4bea-b39c-20489a1e5519" providerId="ADAL" clId="{3014DE50-B07B-4776-BEAC-0F779D92A13E}" dt="2023-07-31T13:13:42.066" v="29078" actId="2711"/>
          <ac:spMkLst>
            <pc:docMk/>
            <pc:sldMk cId="3733227749" sldId="2147479650"/>
            <ac:spMk id="158" creationId="{714C78D8-061B-90ED-9995-33707F432BA2}"/>
          </ac:spMkLst>
        </pc:spChg>
        <pc:spChg chg="mod">
          <ac:chgData name="Mick Mooney" userId="e6518e4e-af4a-4bea-b39c-20489a1e5519" providerId="ADAL" clId="{3014DE50-B07B-4776-BEAC-0F779D92A13E}" dt="2023-07-31T13:13:42.066" v="29078" actId="2711"/>
          <ac:spMkLst>
            <pc:docMk/>
            <pc:sldMk cId="3733227749" sldId="2147479650"/>
            <ac:spMk id="159" creationId="{152D1E8B-657E-1696-4676-BE83C29C51D6}"/>
          </ac:spMkLst>
        </pc:spChg>
        <pc:spChg chg="mod">
          <ac:chgData name="Mick Mooney" userId="e6518e4e-af4a-4bea-b39c-20489a1e5519" providerId="ADAL" clId="{3014DE50-B07B-4776-BEAC-0F779D92A13E}" dt="2023-07-31T13:13:42.066" v="29078" actId="2711"/>
          <ac:spMkLst>
            <pc:docMk/>
            <pc:sldMk cId="3733227749" sldId="2147479650"/>
            <ac:spMk id="160" creationId="{FCD0FB3C-1F2D-6DCB-2389-799A4390B9B4}"/>
          </ac:spMkLst>
        </pc:spChg>
        <pc:spChg chg="mod">
          <ac:chgData name="Mick Mooney" userId="e6518e4e-af4a-4bea-b39c-20489a1e5519" providerId="ADAL" clId="{3014DE50-B07B-4776-BEAC-0F779D92A13E}" dt="2023-07-31T13:13:42.066" v="29078" actId="2711"/>
          <ac:spMkLst>
            <pc:docMk/>
            <pc:sldMk cId="3733227749" sldId="2147479650"/>
            <ac:spMk id="161" creationId="{BFBAE10A-9152-1B1D-1C1C-94025E7A5688}"/>
          </ac:spMkLst>
        </pc:spChg>
        <pc:spChg chg="mod">
          <ac:chgData name="Mick Mooney" userId="e6518e4e-af4a-4bea-b39c-20489a1e5519" providerId="ADAL" clId="{3014DE50-B07B-4776-BEAC-0F779D92A13E}" dt="2023-07-31T13:13:42.066" v="29078" actId="2711"/>
          <ac:spMkLst>
            <pc:docMk/>
            <pc:sldMk cId="3733227749" sldId="2147479650"/>
            <ac:spMk id="162" creationId="{6723833B-C703-F899-5EDA-45F15073C0D3}"/>
          </ac:spMkLst>
        </pc:spChg>
        <pc:spChg chg="mod">
          <ac:chgData name="Mick Mooney" userId="e6518e4e-af4a-4bea-b39c-20489a1e5519" providerId="ADAL" clId="{3014DE50-B07B-4776-BEAC-0F779D92A13E}" dt="2023-07-31T13:13:42.066" v="29078" actId="2711"/>
          <ac:spMkLst>
            <pc:docMk/>
            <pc:sldMk cId="3733227749" sldId="2147479650"/>
            <ac:spMk id="165" creationId="{73992C8E-2FA4-AF7E-8FBC-90C43107BCDC}"/>
          </ac:spMkLst>
        </pc:spChg>
        <pc:spChg chg="mod">
          <ac:chgData name="Mick Mooney" userId="e6518e4e-af4a-4bea-b39c-20489a1e5519" providerId="ADAL" clId="{3014DE50-B07B-4776-BEAC-0F779D92A13E}" dt="2023-07-31T13:13:42.066" v="29078" actId="2711"/>
          <ac:spMkLst>
            <pc:docMk/>
            <pc:sldMk cId="3733227749" sldId="2147479650"/>
            <ac:spMk id="166" creationId="{022713E7-2EB0-B860-B592-2D154D79DF79}"/>
          </ac:spMkLst>
        </pc:spChg>
        <pc:spChg chg="mod">
          <ac:chgData name="Mick Mooney" userId="e6518e4e-af4a-4bea-b39c-20489a1e5519" providerId="ADAL" clId="{3014DE50-B07B-4776-BEAC-0F779D92A13E}" dt="2023-07-31T13:13:42.066" v="29078" actId="2711"/>
          <ac:spMkLst>
            <pc:docMk/>
            <pc:sldMk cId="3733227749" sldId="2147479650"/>
            <ac:spMk id="167" creationId="{3C3B840E-4D0F-1A92-4200-3D4F87907F36}"/>
          </ac:spMkLst>
        </pc:spChg>
        <pc:spChg chg="mod">
          <ac:chgData name="Mick Mooney" userId="e6518e4e-af4a-4bea-b39c-20489a1e5519" providerId="ADAL" clId="{3014DE50-B07B-4776-BEAC-0F779D92A13E}" dt="2023-07-31T13:13:42.066" v="29078" actId="2711"/>
          <ac:spMkLst>
            <pc:docMk/>
            <pc:sldMk cId="3733227749" sldId="2147479650"/>
            <ac:spMk id="172" creationId="{C398ECB9-B2D1-D9EC-0054-A2894EB567B8}"/>
          </ac:spMkLst>
        </pc:spChg>
        <pc:spChg chg="mod">
          <ac:chgData name="Mick Mooney" userId="e6518e4e-af4a-4bea-b39c-20489a1e5519" providerId="ADAL" clId="{3014DE50-B07B-4776-BEAC-0F779D92A13E}" dt="2023-07-31T13:13:42.066" v="29078" actId="2711"/>
          <ac:spMkLst>
            <pc:docMk/>
            <pc:sldMk cId="3733227749" sldId="2147479650"/>
            <ac:spMk id="174" creationId="{A2E3F149-405F-7C9B-2CA5-5875296ADB9E}"/>
          </ac:spMkLst>
        </pc:spChg>
        <pc:spChg chg="mod">
          <ac:chgData name="Mick Mooney" userId="e6518e4e-af4a-4bea-b39c-20489a1e5519" providerId="ADAL" clId="{3014DE50-B07B-4776-BEAC-0F779D92A13E}" dt="2023-07-31T13:13:42.066" v="29078" actId="2711"/>
          <ac:spMkLst>
            <pc:docMk/>
            <pc:sldMk cId="3733227749" sldId="2147479650"/>
            <ac:spMk id="175" creationId="{12AC6349-F324-4C12-78FE-FEB1F2159754}"/>
          </ac:spMkLst>
        </pc:spChg>
        <pc:spChg chg="mod">
          <ac:chgData name="Mick Mooney" userId="e6518e4e-af4a-4bea-b39c-20489a1e5519" providerId="ADAL" clId="{3014DE50-B07B-4776-BEAC-0F779D92A13E}" dt="2023-07-31T13:13:42.066" v="29078" actId="2711"/>
          <ac:spMkLst>
            <pc:docMk/>
            <pc:sldMk cId="3733227749" sldId="2147479650"/>
            <ac:spMk id="176" creationId="{B38EAEFE-41FA-A237-187F-CFA71655723B}"/>
          </ac:spMkLst>
        </pc:spChg>
        <pc:spChg chg="mod">
          <ac:chgData name="Mick Mooney" userId="e6518e4e-af4a-4bea-b39c-20489a1e5519" providerId="ADAL" clId="{3014DE50-B07B-4776-BEAC-0F779D92A13E}" dt="2023-07-31T13:13:42.066" v="29078" actId="2711"/>
          <ac:spMkLst>
            <pc:docMk/>
            <pc:sldMk cId="3733227749" sldId="2147479650"/>
            <ac:spMk id="177" creationId="{C8A03F7A-02D8-1244-695D-016FC7796B6F}"/>
          </ac:spMkLst>
        </pc:spChg>
        <pc:spChg chg="mod">
          <ac:chgData name="Mick Mooney" userId="e6518e4e-af4a-4bea-b39c-20489a1e5519" providerId="ADAL" clId="{3014DE50-B07B-4776-BEAC-0F779D92A13E}" dt="2023-07-31T13:13:42.066" v="29078" actId="2711"/>
          <ac:spMkLst>
            <pc:docMk/>
            <pc:sldMk cId="3733227749" sldId="2147479650"/>
            <ac:spMk id="178" creationId="{D66212FF-AB1C-3F5D-328C-454E97F2E48C}"/>
          </ac:spMkLst>
        </pc:spChg>
        <pc:spChg chg="mod">
          <ac:chgData name="Mick Mooney" userId="e6518e4e-af4a-4bea-b39c-20489a1e5519" providerId="ADAL" clId="{3014DE50-B07B-4776-BEAC-0F779D92A13E}" dt="2023-07-31T13:13:42.066" v="29078" actId="2711"/>
          <ac:spMkLst>
            <pc:docMk/>
            <pc:sldMk cId="3733227749" sldId="2147479650"/>
            <ac:spMk id="180" creationId="{6A52EE71-CCE0-DDDF-F86B-5637C5DAB7D1}"/>
          </ac:spMkLst>
        </pc:spChg>
        <pc:spChg chg="mod">
          <ac:chgData name="Mick Mooney" userId="e6518e4e-af4a-4bea-b39c-20489a1e5519" providerId="ADAL" clId="{3014DE50-B07B-4776-BEAC-0F779D92A13E}" dt="2023-07-31T13:13:42.066" v="29078" actId="2711"/>
          <ac:spMkLst>
            <pc:docMk/>
            <pc:sldMk cId="3733227749" sldId="2147479650"/>
            <ac:spMk id="181" creationId="{E1DEB2EC-AB37-738D-A172-14E6EFADFED3}"/>
          </ac:spMkLst>
        </pc:spChg>
        <pc:spChg chg="mod">
          <ac:chgData name="Mick Mooney" userId="e6518e4e-af4a-4bea-b39c-20489a1e5519" providerId="ADAL" clId="{3014DE50-B07B-4776-BEAC-0F779D92A13E}" dt="2023-07-31T13:13:42.066" v="29078" actId="2711"/>
          <ac:spMkLst>
            <pc:docMk/>
            <pc:sldMk cId="3733227749" sldId="2147479650"/>
            <ac:spMk id="182" creationId="{93473698-57BB-5471-CA76-B809424CBDE2}"/>
          </ac:spMkLst>
        </pc:spChg>
        <pc:spChg chg="mod">
          <ac:chgData name="Mick Mooney" userId="e6518e4e-af4a-4bea-b39c-20489a1e5519" providerId="ADAL" clId="{3014DE50-B07B-4776-BEAC-0F779D92A13E}" dt="2023-07-31T13:13:42.066" v="29078" actId="2711"/>
          <ac:spMkLst>
            <pc:docMk/>
            <pc:sldMk cId="3733227749" sldId="2147479650"/>
            <ac:spMk id="184" creationId="{8BE944C0-98F4-D100-1DC0-E8ACFC19B4C8}"/>
          </ac:spMkLst>
        </pc:spChg>
        <pc:spChg chg="mod">
          <ac:chgData name="Mick Mooney" userId="e6518e4e-af4a-4bea-b39c-20489a1e5519" providerId="ADAL" clId="{3014DE50-B07B-4776-BEAC-0F779D92A13E}" dt="2023-07-31T13:13:42.066" v="29078" actId="2711"/>
          <ac:spMkLst>
            <pc:docMk/>
            <pc:sldMk cId="3733227749" sldId="2147479650"/>
            <ac:spMk id="185" creationId="{3F85C8F7-C41C-D496-7055-434D0BE6C6B5}"/>
          </ac:spMkLst>
        </pc:spChg>
        <pc:spChg chg="mod">
          <ac:chgData name="Mick Mooney" userId="e6518e4e-af4a-4bea-b39c-20489a1e5519" providerId="ADAL" clId="{3014DE50-B07B-4776-BEAC-0F779D92A13E}" dt="2023-07-31T13:13:42.066" v="29078" actId="2711"/>
          <ac:spMkLst>
            <pc:docMk/>
            <pc:sldMk cId="3733227749" sldId="2147479650"/>
            <ac:spMk id="186" creationId="{90039FAC-7D21-0434-B497-9EFEA3079B9B}"/>
          </ac:spMkLst>
        </pc:spChg>
        <pc:spChg chg="mod replST delST">
          <ac:chgData name="Mick Mooney" userId="e6518e4e-af4a-4bea-b39c-20489a1e5519" providerId="ADAL" clId="{3014DE50-B07B-4776-BEAC-0F779D92A13E}" dt="2023-07-31T13:13:42.066" v="29078" actId="2711"/>
          <ac:spMkLst>
            <pc:docMk/>
            <pc:sldMk cId="3733227749" sldId="2147479650"/>
            <ac:spMk id="187" creationId="{5BA3EDD6-D559-C3EE-BE00-7D8F7F3222C3}"/>
          </ac:spMkLst>
        </pc:spChg>
      </pc:sldChg>
      <pc:sldChg chg="modSp mod modCm">
        <pc:chgData name="Mick Mooney" userId="e6518e4e-af4a-4bea-b39c-20489a1e5519" providerId="ADAL" clId="{3014DE50-B07B-4776-BEAC-0F779D92A13E}" dt="2023-07-31T13:12:08.887" v="29064" actId="2711"/>
        <pc:sldMkLst>
          <pc:docMk/>
          <pc:sldMk cId="787045591" sldId="2147479651"/>
        </pc:sldMkLst>
        <pc:spChg chg="mod replST delST">
          <ac:chgData name="Mick Mooney" userId="e6518e4e-af4a-4bea-b39c-20489a1e5519" providerId="ADAL" clId="{3014DE50-B07B-4776-BEAC-0F779D92A13E}" dt="2023-07-31T13:12:08.887" v="29064" actId="2711"/>
          <ac:spMkLst>
            <pc:docMk/>
            <pc:sldMk cId="787045591" sldId="2147479651"/>
            <ac:spMk id="2" creationId="{79492056-A46A-C98F-7C19-8A45ECCB4E81}"/>
          </ac:spMkLst>
        </pc:spChg>
        <pc:spChg chg="mod">
          <ac:chgData name="Mick Mooney" userId="e6518e4e-af4a-4bea-b39c-20489a1e5519" providerId="ADAL" clId="{3014DE50-B07B-4776-BEAC-0F779D92A13E}" dt="2023-07-31T13:12:08.887" v="29064" actId="2711"/>
          <ac:spMkLst>
            <pc:docMk/>
            <pc:sldMk cId="787045591" sldId="2147479651"/>
            <ac:spMk id="3" creationId="{A65D76A2-1687-09D7-94ED-DD5722302F9C}"/>
          </ac:spMkLst>
        </pc:spChg>
        <pc:spChg chg="mod">
          <ac:chgData name="Mick Mooney" userId="e6518e4e-af4a-4bea-b39c-20489a1e5519" providerId="ADAL" clId="{3014DE50-B07B-4776-BEAC-0F779D92A13E}" dt="2023-07-31T13:12:08.887" v="29064" actId="2711"/>
          <ac:spMkLst>
            <pc:docMk/>
            <pc:sldMk cId="787045591" sldId="2147479651"/>
            <ac:spMk id="5" creationId="{1962A7BA-9D82-EFAD-8C41-97885E03EC88}"/>
          </ac:spMkLst>
        </pc:spChg>
      </pc:sldChg>
      <pc:sldChg chg="add del">
        <pc:chgData name="Mick Mooney" userId="e6518e4e-af4a-4bea-b39c-20489a1e5519" providerId="ADAL" clId="{3014DE50-B07B-4776-BEAC-0F779D92A13E}" dt="2023-07-22T14:19:35.728" v="8103"/>
        <pc:sldMkLst>
          <pc:docMk/>
          <pc:sldMk cId="835287449" sldId="2147479651"/>
        </pc:sldMkLst>
      </pc:sldChg>
      <pc:sldChg chg="add del">
        <pc:chgData name="Mick Mooney" userId="e6518e4e-af4a-4bea-b39c-20489a1e5519" providerId="ADAL" clId="{3014DE50-B07B-4776-BEAC-0F779D92A13E}" dt="2023-07-22T14:19:35.728" v="8103"/>
        <pc:sldMkLst>
          <pc:docMk/>
          <pc:sldMk cId="752160311" sldId="2147479652"/>
        </pc:sldMkLst>
      </pc:sldChg>
      <pc:sldChg chg="modSp mod">
        <pc:chgData name="Mick Mooney" userId="e6518e4e-af4a-4bea-b39c-20489a1e5519" providerId="ADAL" clId="{3014DE50-B07B-4776-BEAC-0F779D92A13E}" dt="2023-07-31T13:14:05.692" v="29081" actId="2711"/>
        <pc:sldMkLst>
          <pc:docMk/>
          <pc:sldMk cId="898990910" sldId="2147479652"/>
        </pc:sldMkLst>
        <pc:spChg chg="mod replST delST">
          <ac:chgData name="Mick Mooney" userId="e6518e4e-af4a-4bea-b39c-20489a1e5519" providerId="ADAL" clId="{3014DE50-B07B-4776-BEAC-0F779D92A13E}" dt="2023-07-31T13:14:05.692" v="29081" actId="2711"/>
          <ac:spMkLst>
            <pc:docMk/>
            <pc:sldMk cId="898990910" sldId="2147479652"/>
            <ac:spMk id="2" creationId="{93D91B78-6FD6-30C4-CC7A-DA7511343E65}"/>
          </ac:spMkLst>
        </pc:spChg>
        <pc:spChg chg="mod">
          <ac:chgData name="Mick Mooney" userId="e6518e4e-af4a-4bea-b39c-20489a1e5519" providerId="ADAL" clId="{3014DE50-B07B-4776-BEAC-0F779D92A13E}" dt="2023-07-31T13:14:05.692" v="29081" actId="2711"/>
          <ac:spMkLst>
            <pc:docMk/>
            <pc:sldMk cId="898990910" sldId="2147479652"/>
            <ac:spMk id="8" creationId="{7824D54C-15D2-467C-A016-166944D0781C}"/>
          </ac:spMkLst>
        </pc:spChg>
        <pc:picChg chg="mod">
          <ac:chgData name="Mick Mooney" userId="e6518e4e-af4a-4bea-b39c-20489a1e5519" providerId="ADAL" clId="{3014DE50-B07B-4776-BEAC-0F779D92A13E}" dt="2023-07-31T13:14:05.692" v="29081" actId="2711"/>
          <ac:picMkLst>
            <pc:docMk/>
            <pc:sldMk cId="898990910" sldId="2147479652"/>
            <ac:picMk id="4" creationId="{38B59777-7711-48CE-82D7-AE9AD7324F10}"/>
          </ac:picMkLst>
        </pc:picChg>
      </pc:sldChg>
      <pc:sldChg chg="add del">
        <pc:chgData name="Mick Mooney" userId="e6518e4e-af4a-4bea-b39c-20489a1e5519" providerId="ADAL" clId="{3014DE50-B07B-4776-BEAC-0F779D92A13E}" dt="2023-07-22T14:19:35.728" v="8103"/>
        <pc:sldMkLst>
          <pc:docMk/>
          <pc:sldMk cId="539311375" sldId="2147479653"/>
        </pc:sldMkLst>
      </pc:sldChg>
      <pc:sldChg chg="modSp mod">
        <pc:chgData name="Mick Mooney" userId="e6518e4e-af4a-4bea-b39c-20489a1e5519" providerId="ADAL" clId="{3014DE50-B07B-4776-BEAC-0F779D92A13E}" dt="2023-07-31T13:13:58.793" v="29080" actId="2711"/>
        <pc:sldMkLst>
          <pc:docMk/>
          <pc:sldMk cId="1118370846" sldId="2147479653"/>
        </pc:sldMkLst>
        <pc:spChg chg="mod replST delST">
          <ac:chgData name="Mick Mooney" userId="e6518e4e-af4a-4bea-b39c-20489a1e5519" providerId="ADAL" clId="{3014DE50-B07B-4776-BEAC-0F779D92A13E}" dt="2023-07-31T13:13:58.793" v="29080" actId="2711"/>
          <ac:spMkLst>
            <pc:docMk/>
            <pc:sldMk cId="1118370846" sldId="2147479653"/>
            <ac:spMk id="2" creationId="{E379AB8B-11E0-7D4C-2445-089F705A017B}"/>
          </ac:spMkLst>
        </pc:spChg>
        <pc:spChg chg="mod">
          <ac:chgData name="Mick Mooney" userId="e6518e4e-af4a-4bea-b39c-20489a1e5519" providerId="ADAL" clId="{3014DE50-B07B-4776-BEAC-0F779D92A13E}" dt="2023-07-31T13:13:58.793" v="29080" actId="2711"/>
          <ac:spMkLst>
            <pc:docMk/>
            <pc:sldMk cId="1118370846" sldId="2147479653"/>
            <ac:spMk id="3" creationId="{C54E5CBB-656D-4D20-EC09-02BFD8042557}"/>
          </ac:spMkLst>
        </pc:spChg>
        <pc:spChg chg="mod">
          <ac:chgData name="Mick Mooney" userId="e6518e4e-af4a-4bea-b39c-20489a1e5519" providerId="ADAL" clId="{3014DE50-B07B-4776-BEAC-0F779D92A13E}" dt="2023-07-31T13:13:58.793" v="29080" actId="2711"/>
          <ac:spMkLst>
            <pc:docMk/>
            <pc:sldMk cId="1118370846" sldId="2147479653"/>
            <ac:spMk id="4" creationId="{FB2A78B8-C45F-C6AA-5767-31B4622DBB3D}"/>
          </ac:spMkLst>
        </pc:spChg>
        <pc:spChg chg="mod">
          <ac:chgData name="Mick Mooney" userId="e6518e4e-af4a-4bea-b39c-20489a1e5519" providerId="ADAL" clId="{3014DE50-B07B-4776-BEAC-0F779D92A13E}" dt="2023-07-31T13:13:58.793" v="29080" actId="2711"/>
          <ac:spMkLst>
            <pc:docMk/>
            <pc:sldMk cId="1118370846" sldId="2147479653"/>
            <ac:spMk id="8" creationId="{7824D54C-15D2-467C-A016-166944D0781C}"/>
          </ac:spMkLst>
        </pc:spChg>
        <pc:grpChg chg="mod">
          <ac:chgData name="Mick Mooney" userId="e6518e4e-af4a-4bea-b39c-20489a1e5519" providerId="ADAL" clId="{3014DE50-B07B-4776-BEAC-0F779D92A13E}" dt="2023-07-31T13:13:58.793" v="29080" actId="2711"/>
          <ac:grpSpMkLst>
            <pc:docMk/>
            <pc:sldMk cId="1118370846" sldId="2147479653"/>
            <ac:grpSpMk id="9" creationId="{174C373E-46BB-84C8-81E5-2AE4FE9D9F14}"/>
          </ac:grpSpMkLst>
        </pc:grpChg>
        <pc:picChg chg="mod">
          <ac:chgData name="Mick Mooney" userId="e6518e4e-af4a-4bea-b39c-20489a1e5519" providerId="ADAL" clId="{3014DE50-B07B-4776-BEAC-0F779D92A13E}" dt="2023-07-31T13:13:58.793" v="29080" actId="2711"/>
          <ac:picMkLst>
            <pc:docMk/>
            <pc:sldMk cId="1118370846" sldId="2147479653"/>
            <ac:picMk id="6" creationId="{F8644399-7F34-45B1-970D-95E89F958322}"/>
          </ac:picMkLst>
        </pc:picChg>
      </pc:sldChg>
      <pc:sldChg chg="add del">
        <pc:chgData name="Mick Mooney" userId="e6518e4e-af4a-4bea-b39c-20489a1e5519" providerId="ADAL" clId="{3014DE50-B07B-4776-BEAC-0F779D92A13E}" dt="2023-07-22T14:19:35.728" v="8103"/>
        <pc:sldMkLst>
          <pc:docMk/>
          <pc:sldMk cId="2587535519" sldId="2147479654"/>
        </pc:sldMkLst>
      </pc:sldChg>
      <pc:sldChg chg="modSp mod">
        <pc:chgData name="Mick Mooney" userId="e6518e4e-af4a-4bea-b39c-20489a1e5519" providerId="ADAL" clId="{3014DE50-B07B-4776-BEAC-0F779D92A13E}" dt="2023-07-31T13:13:47.632" v="29079" actId="2711"/>
        <pc:sldMkLst>
          <pc:docMk/>
          <pc:sldMk cId="3656600548" sldId="2147479654"/>
        </pc:sldMkLst>
        <pc:spChg chg="mod">
          <ac:chgData name="Mick Mooney" userId="e6518e4e-af4a-4bea-b39c-20489a1e5519" providerId="ADAL" clId="{3014DE50-B07B-4776-BEAC-0F779D92A13E}" dt="2023-07-31T13:13:47.632" v="29079" actId="2711"/>
          <ac:spMkLst>
            <pc:docMk/>
            <pc:sldMk cId="3656600548" sldId="2147479654"/>
            <ac:spMk id="8" creationId="{7824D54C-15D2-467C-A016-166944D0781C}"/>
          </ac:spMkLst>
        </pc:spChg>
        <pc:spChg chg="mod replST delST">
          <ac:chgData name="Mick Mooney" userId="e6518e4e-af4a-4bea-b39c-20489a1e5519" providerId="ADAL" clId="{3014DE50-B07B-4776-BEAC-0F779D92A13E}" dt="2023-07-31T13:13:47.632" v="29079" actId="2711"/>
          <ac:spMkLst>
            <pc:docMk/>
            <pc:sldMk cId="3656600548" sldId="2147479654"/>
            <ac:spMk id="10" creationId="{AECC769F-BC3C-5CF2-4BF9-72EA6D6FEA0E}"/>
          </ac:spMkLst>
        </pc:spChg>
        <pc:spChg chg="mod replST delST">
          <ac:chgData name="Mick Mooney" userId="e6518e4e-af4a-4bea-b39c-20489a1e5519" providerId="ADAL" clId="{3014DE50-B07B-4776-BEAC-0F779D92A13E}" dt="2023-07-31T13:13:47.632" v="29079" actId="2711"/>
          <ac:spMkLst>
            <pc:docMk/>
            <pc:sldMk cId="3656600548" sldId="2147479654"/>
            <ac:spMk id="133" creationId="{590A35AF-D334-6DA1-9B69-24A0FD6D2883}"/>
          </ac:spMkLst>
        </pc:spChg>
      </pc:sldChg>
      <pc:sldChg chg="modSp mod">
        <pc:chgData name="Mick Mooney" userId="e6518e4e-af4a-4bea-b39c-20489a1e5519" providerId="ADAL" clId="{3014DE50-B07B-4776-BEAC-0F779D92A13E}" dt="2023-07-31T13:15:11.347" v="29106" actId="14100"/>
        <pc:sldMkLst>
          <pc:docMk/>
          <pc:sldMk cId="3258489592" sldId="2147479655"/>
        </pc:sldMkLst>
        <pc:spChg chg="mod replST delST">
          <ac:chgData name="Mick Mooney" userId="e6518e4e-af4a-4bea-b39c-20489a1e5519" providerId="ADAL" clId="{3014DE50-B07B-4776-BEAC-0F779D92A13E}" dt="2023-07-31T13:15:11.347" v="29106" actId="14100"/>
          <ac:spMkLst>
            <pc:docMk/>
            <pc:sldMk cId="3258489592" sldId="2147479655"/>
            <ac:spMk id="5" creationId="{21654268-9AAE-9EA5-53C1-B25FA72969B3}"/>
          </ac:spMkLst>
        </pc:spChg>
        <pc:spChg chg="mod">
          <ac:chgData name="Mick Mooney" userId="e6518e4e-af4a-4bea-b39c-20489a1e5519" providerId="ADAL" clId="{3014DE50-B07B-4776-BEAC-0F779D92A13E}" dt="2023-07-31T13:14:48.151" v="29093" actId="2711"/>
          <ac:spMkLst>
            <pc:docMk/>
            <pc:sldMk cId="3258489592" sldId="2147479655"/>
            <ac:spMk id="8" creationId="{7824D54C-15D2-467C-A016-166944D0781C}"/>
          </ac:spMkLst>
        </pc:spChg>
        <pc:spChg chg="mod replST delST">
          <ac:chgData name="Mick Mooney" userId="e6518e4e-af4a-4bea-b39c-20489a1e5519" providerId="ADAL" clId="{3014DE50-B07B-4776-BEAC-0F779D92A13E}" dt="2023-07-31T13:14:54.431" v="29099" actId="123"/>
          <ac:spMkLst>
            <pc:docMk/>
            <pc:sldMk cId="3258489592" sldId="2147479655"/>
            <ac:spMk id="17" creationId="{8C9460DB-676C-4AF1-BB43-13950E17CBA7}"/>
          </ac:spMkLst>
        </pc:spChg>
      </pc:sldChg>
      <pc:sldChg chg="add del">
        <pc:chgData name="Mick Mooney" userId="e6518e4e-af4a-4bea-b39c-20489a1e5519" providerId="ADAL" clId="{3014DE50-B07B-4776-BEAC-0F779D92A13E}" dt="2023-07-22T14:19:35.728" v="8103"/>
        <pc:sldMkLst>
          <pc:docMk/>
          <pc:sldMk cId="3585583819" sldId="2147479655"/>
        </pc:sldMkLst>
      </pc:sldChg>
      <pc:sldChg chg="add del">
        <pc:chgData name="Mick Mooney" userId="e6518e4e-af4a-4bea-b39c-20489a1e5519" providerId="ADAL" clId="{3014DE50-B07B-4776-BEAC-0F779D92A13E}" dt="2023-07-22T14:19:35.728" v="8103"/>
        <pc:sldMkLst>
          <pc:docMk/>
          <pc:sldMk cId="256186729" sldId="2147479656"/>
        </pc:sldMkLst>
      </pc:sldChg>
      <pc:sldChg chg="addSp delSp modSp mod">
        <pc:chgData name="Mick Mooney" userId="e6518e4e-af4a-4bea-b39c-20489a1e5519" providerId="ADAL" clId="{3014DE50-B07B-4776-BEAC-0F779D92A13E}" dt="2023-07-31T14:30:13.093" v="30812" actId="1076"/>
        <pc:sldMkLst>
          <pc:docMk/>
          <pc:sldMk cId="604340155" sldId="2147479656"/>
        </pc:sldMkLst>
        <pc:spChg chg="add mod replST delST">
          <ac:chgData name="Mick Mooney" userId="e6518e4e-af4a-4bea-b39c-20489a1e5519" providerId="ADAL" clId="{3014DE50-B07B-4776-BEAC-0F779D92A13E}" dt="2023-07-31T14:15:51.927" v="30206"/>
          <ac:spMkLst>
            <pc:docMk/>
            <pc:sldMk cId="604340155" sldId="2147479656"/>
            <ac:spMk id="2" creationId="{4B1D4460-5530-7BF2-FE3B-B827B60B69B7}"/>
          </ac:spMkLst>
        </pc:spChg>
        <pc:spChg chg="del">
          <ac:chgData name="Mick Mooney" userId="e6518e4e-af4a-4bea-b39c-20489a1e5519" providerId="ADAL" clId="{3014DE50-B07B-4776-BEAC-0F779D92A13E}" dt="2023-07-31T09:59:47.262" v="23360" actId="478"/>
          <ac:spMkLst>
            <pc:docMk/>
            <pc:sldMk cId="604340155" sldId="2147479656"/>
            <ac:spMk id="2" creationId="{F8F4807C-A721-8AA3-D6A0-13746C99CB55}"/>
          </ac:spMkLst>
        </pc:spChg>
        <pc:spChg chg="del replST delST">
          <ac:chgData name="Mick Mooney" userId="e6518e4e-af4a-4bea-b39c-20489a1e5519" providerId="ADAL" clId="{3014DE50-B07B-4776-BEAC-0F779D92A13E}" dt="2023-07-31T09:59:47.262" v="23360" actId="478"/>
          <ac:spMkLst>
            <pc:docMk/>
            <pc:sldMk cId="604340155" sldId="2147479656"/>
            <ac:spMk id="3" creationId="{11530716-23C3-C058-B6E0-21ED257F9047}"/>
          </ac:spMkLst>
        </pc:spChg>
        <pc:spChg chg="add mod replST delST">
          <ac:chgData name="Mick Mooney" userId="e6518e4e-af4a-4bea-b39c-20489a1e5519" providerId="ADAL" clId="{3014DE50-B07B-4776-BEAC-0F779D92A13E}" dt="2023-07-31T13:02:52.313" v="28658"/>
          <ac:spMkLst>
            <pc:docMk/>
            <pc:sldMk cId="604340155" sldId="2147479656"/>
            <ac:spMk id="5" creationId="{4F518BBE-2A79-99E0-A189-F13235F45EC6}"/>
          </ac:spMkLst>
        </pc:spChg>
        <pc:spChg chg="add mod replST delST">
          <ac:chgData name="Mick Mooney" userId="e6518e4e-af4a-4bea-b39c-20489a1e5519" providerId="ADAL" clId="{3014DE50-B07B-4776-BEAC-0F779D92A13E}" dt="2023-07-31T13:04:38.198" v="28692"/>
          <ac:spMkLst>
            <pc:docMk/>
            <pc:sldMk cId="604340155" sldId="2147479656"/>
            <ac:spMk id="6" creationId="{CD7AABE2-7EA9-C5AC-E3CC-E77371DCECAA}"/>
          </ac:spMkLst>
        </pc:spChg>
        <pc:spChg chg="add mod replST delST">
          <ac:chgData name="Mick Mooney" userId="e6518e4e-af4a-4bea-b39c-20489a1e5519" providerId="ADAL" clId="{3014DE50-B07B-4776-BEAC-0F779D92A13E}" dt="2023-07-31T14:28:26.486" v="30732"/>
          <ac:spMkLst>
            <pc:docMk/>
            <pc:sldMk cId="604340155" sldId="2147479656"/>
            <ac:spMk id="7" creationId="{6E5A205B-4026-7D41-9B86-6D9826F09344}"/>
          </ac:spMkLst>
        </pc:spChg>
        <pc:spChg chg="mod replST delST">
          <ac:chgData name="Mick Mooney" userId="e6518e4e-af4a-4bea-b39c-20489a1e5519" providerId="ADAL" clId="{3014DE50-B07B-4776-BEAC-0F779D92A13E}" dt="2023-07-31T13:02:50.121" v="28656"/>
          <ac:spMkLst>
            <pc:docMk/>
            <pc:sldMk cId="604340155" sldId="2147479656"/>
            <ac:spMk id="8" creationId="{7824D54C-15D2-467C-A016-166944D0781C}"/>
          </ac:spMkLst>
        </pc:spChg>
        <pc:spChg chg="del">
          <ac:chgData name="Mick Mooney" userId="e6518e4e-af4a-4bea-b39c-20489a1e5519" providerId="ADAL" clId="{3014DE50-B07B-4776-BEAC-0F779D92A13E}" dt="2023-07-31T09:59:47.262" v="23360" actId="478"/>
          <ac:spMkLst>
            <pc:docMk/>
            <pc:sldMk cId="604340155" sldId="2147479656"/>
            <ac:spMk id="9" creationId="{71A14029-BABA-B099-0193-50E67263EAE8}"/>
          </ac:spMkLst>
        </pc:spChg>
        <pc:spChg chg="del">
          <ac:chgData name="Mick Mooney" userId="e6518e4e-af4a-4bea-b39c-20489a1e5519" providerId="ADAL" clId="{3014DE50-B07B-4776-BEAC-0F779D92A13E}" dt="2023-07-31T09:59:47.262" v="23360" actId="478"/>
          <ac:spMkLst>
            <pc:docMk/>
            <pc:sldMk cId="604340155" sldId="2147479656"/>
            <ac:spMk id="10" creationId="{117F1344-4369-FE50-0E7A-A8A89D7EA364}"/>
          </ac:spMkLst>
        </pc:spChg>
        <pc:spChg chg="del">
          <ac:chgData name="Mick Mooney" userId="e6518e4e-af4a-4bea-b39c-20489a1e5519" providerId="ADAL" clId="{3014DE50-B07B-4776-BEAC-0F779D92A13E}" dt="2023-07-31T09:59:47.262" v="23360" actId="478"/>
          <ac:spMkLst>
            <pc:docMk/>
            <pc:sldMk cId="604340155" sldId="2147479656"/>
            <ac:spMk id="11" creationId="{48582D0B-C293-30DA-64AF-23763FE96D27}"/>
          </ac:spMkLst>
        </pc:spChg>
        <pc:spChg chg="del replST delST">
          <ac:chgData name="Mick Mooney" userId="e6518e4e-af4a-4bea-b39c-20489a1e5519" providerId="ADAL" clId="{3014DE50-B07B-4776-BEAC-0F779D92A13E}" dt="2023-07-31T09:59:50.101" v="23363" actId="478"/>
          <ac:spMkLst>
            <pc:docMk/>
            <pc:sldMk cId="604340155" sldId="2147479656"/>
            <ac:spMk id="12" creationId="{9097BE4E-54DF-B302-C8D7-C61B16CE3E03}"/>
          </ac:spMkLst>
        </pc:spChg>
        <pc:spChg chg="del">
          <ac:chgData name="Mick Mooney" userId="e6518e4e-af4a-4bea-b39c-20489a1e5519" providerId="ADAL" clId="{3014DE50-B07B-4776-BEAC-0F779D92A13E}" dt="2023-07-31T09:59:47.262" v="23360" actId="478"/>
          <ac:spMkLst>
            <pc:docMk/>
            <pc:sldMk cId="604340155" sldId="2147479656"/>
            <ac:spMk id="13" creationId="{070EA595-0183-5872-F57F-CBE95BA3F6BF}"/>
          </ac:spMkLst>
        </pc:spChg>
        <pc:spChg chg="del replST delST">
          <ac:chgData name="Mick Mooney" userId="e6518e4e-af4a-4bea-b39c-20489a1e5519" providerId="ADAL" clId="{3014DE50-B07B-4776-BEAC-0F779D92A13E}" dt="2023-07-31T09:59:51.900" v="23366" actId="478"/>
          <ac:spMkLst>
            <pc:docMk/>
            <pc:sldMk cId="604340155" sldId="2147479656"/>
            <ac:spMk id="14" creationId="{8AC524B4-A583-53CD-EDB2-CD9BEA22E7A0}"/>
          </ac:spMkLst>
        </pc:spChg>
        <pc:spChg chg="del replST delST">
          <ac:chgData name="Mick Mooney" userId="e6518e4e-af4a-4bea-b39c-20489a1e5519" providerId="ADAL" clId="{3014DE50-B07B-4776-BEAC-0F779D92A13E}" dt="2023-07-31T09:59:53.300" v="23369" actId="478"/>
          <ac:spMkLst>
            <pc:docMk/>
            <pc:sldMk cId="604340155" sldId="2147479656"/>
            <ac:spMk id="15" creationId="{5B240A68-A6C5-92F8-5A67-B4ED35EFF2C4}"/>
          </ac:spMkLst>
        </pc:spChg>
        <pc:spChg chg="add mod replST delST">
          <ac:chgData name="Mick Mooney" userId="e6518e4e-af4a-4bea-b39c-20489a1e5519" providerId="ADAL" clId="{3014DE50-B07B-4776-BEAC-0F779D92A13E}" dt="2023-07-31T14:30:13.093" v="30812" actId="1076"/>
          <ac:spMkLst>
            <pc:docMk/>
            <pc:sldMk cId="604340155" sldId="2147479656"/>
            <ac:spMk id="17" creationId="{9A825EC2-3B9E-0519-5633-6069BD662543}"/>
          </ac:spMkLst>
        </pc:spChg>
        <pc:spChg chg="del replST delST">
          <ac:chgData name="Mick Mooney" userId="e6518e4e-af4a-4bea-b39c-20489a1e5519" providerId="ADAL" clId="{3014DE50-B07B-4776-BEAC-0F779D92A13E}" dt="2023-07-31T11:37:54.882" v="24600" actId="478"/>
          <ac:spMkLst>
            <pc:docMk/>
            <pc:sldMk cId="604340155" sldId="2147479656"/>
            <ac:spMk id="19" creationId="{A2642889-7394-2D1F-F3CD-8FFDA264930F}"/>
          </ac:spMkLst>
        </pc:spChg>
        <pc:picChg chg="del">
          <ac:chgData name="Mick Mooney" userId="e6518e4e-af4a-4bea-b39c-20489a1e5519" providerId="ADAL" clId="{3014DE50-B07B-4776-BEAC-0F779D92A13E}" dt="2023-07-31T09:59:47.262" v="23360" actId="478"/>
          <ac:picMkLst>
            <pc:docMk/>
            <pc:sldMk cId="604340155" sldId="2147479656"/>
            <ac:picMk id="4" creationId="{FE2E712B-BDCA-4205-6814-746266B523A3}"/>
          </ac:picMkLst>
        </pc:picChg>
        <pc:picChg chg="add del mod">
          <ac:chgData name="Mick Mooney" userId="e6518e4e-af4a-4bea-b39c-20489a1e5519" providerId="ADAL" clId="{3014DE50-B07B-4776-BEAC-0F779D92A13E}" dt="2023-07-31T10:00:21.788" v="23390" actId="478"/>
          <ac:picMkLst>
            <pc:docMk/>
            <pc:sldMk cId="604340155" sldId="2147479656"/>
            <ac:picMk id="16" creationId="{DF9A6848-7ADF-BB75-D8A3-94A9DAE1800C}"/>
          </ac:picMkLst>
        </pc:picChg>
        <pc:picChg chg="add mod">
          <ac:chgData name="Mick Mooney" userId="e6518e4e-af4a-4bea-b39c-20489a1e5519" providerId="ADAL" clId="{3014DE50-B07B-4776-BEAC-0F779D92A13E}" dt="2023-07-31T10:00:26.788" v="23392" actId="1076"/>
          <ac:picMkLst>
            <pc:docMk/>
            <pc:sldMk cId="604340155" sldId="2147479656"/>
            <ac:picMk id="18" creationId="{0C989B41-275B-207A-C435-57EE09F5262B}"/>
          </ac:picMkLst>
        </pc:picChg>
        <pc:picChg chg="add del mod">
          <ac:chgData name="Mick Mooney" userId="e6518e4e-af4a-4bea-b39c-20489a1e5519" providerId="ADAL" clId="{3014DE50-B07B-4776-BEAC-0F779D92A13E}" dt="2023-07-31T11:32:54.080" v="24488" actId="478"/>
          <ac:picMkLst>
            <pc:docMk/>
            <pc:sldMk cId="604340155" sldId="2147479656"/>
            <ac:picMk id="21" creationId="{C6B1E79C-52CD-6F14-8760-B2E6D09E65D8}"/>
          </ac:picMkLst>
        </pc:picChg>
        <pc:picChg chg="add del mod">
          <ac:chgData name="Mick Mooney" userId="e6518e4e-af4a-4bea-b39c-20489a1e5519" providerId="ADAL" clId="{3014DE50-B07B-4776-BEAC-0F779D92A13E}" dt="2023-07-31T11:43:06.594" v="24667" actId="478"/>
          <ac:picMkLst>
            <pc:docMk/>
            <pc:sldMk cId="604340155" sldId="2147479656"/>
            <ac:picMk id="23" creationId="{68C36BED-0D5C-0F15-0DEE-9877ECFCAAB0}"/>
          </ac:picMkLst>
        </pc:picChg>
        <pc:picChg chg="add mod">
          <ac:chgData name="Mick Mooney" userId="e6518e4e-af4a-4bea-b39c-20489a1e5519" providerId="ADAL" clId="{3014DE50-B07B-4776-BEAC-0F779D92A13E}" dt="2023-07-31T13:24:57.790" v="29653" actId="1076"/>
          <ac:picMkLst>
            <pc:docMk/>
            <pc:sldMk cId="604340155" sldId="2147479656"/>
            <ac:picMk id="25" creationId="{715EF296-0B68-3224-8038-A55E19E23D18}"/>
          </ac:picMkLst>
        </pc:picChg>
      </pc:sldChg>
      <pc:sldChg chg="delSp modSp add del mod">
        <pc:chgData name="Mick Mooney" userId="e6518e4e-af4a-4bea-b39c-20489a1e5519" providerId="ADAL" clId="{3014DE50-B07B-4776-BEAC-0F779D92A13E}" dt="2023-07-31T09:28:06.613" v="22745" actId="2696"/>
        <pc:sldMkLst>
          <pc:docMk/>
          <pc:sldMk cId="4219859120" sldId="2147479656"/>
        </pc:sldMkLst>
        <pc:spChg chg="replST delST">
          <ac:chgData name="Mick Mooney" userId="e6518e4e-af4a-4bea-b39c-20489a1e5519" providerId="ADAL" clId="{3014DE50-B07B-4776-BEAC-0F779D92A13E}" dt="2023-07-31T09:18:01.678" v="21357"/>
          <ac:spMkLst>
            <pc:docMk/>
            <pc:sldMk cId="4219859120" sldId="2147479656"/>
            <ac:spMk id="12" creationId="{06D24C6D-8E25-5A2B-6BD3-BCBDB03F142C}"/>
          </ac:spMkLst>
        </pc:spChg>
        <pc:spChg chg="del replST delST">
          <ac:chgData name="Mick Mooney" userId="e6518e4e-af4a-4bea-b39c-20489a1e5519" providerId="ADAL" clId="{3014DE50-B07B-4776-BEAC-0F779D92A13E}" dt="2023-07-31T09:23:10.791" v="22218" actId="478"/>
          <ac:spMkLst>
            <pc:docMk/>
            <pc:sldMk cId="4219859120" sldId="2147479656"/>
            <ac:spMk id="14" creationId="{ABAE14E9-C362-3B1B-87FB-0738255E63D8}"/>
          </ac:spMkLst>
        </pc:spChg>
        <pc:spChg chg="mod replST delST">
          <ac:chgData name="Mick Mooney" userId="e6518e4e-af4a-4bea-b39c-20489a1e5519" providerId="ADAL" clId="{3014DE50-B07B-4776-BEAC-0F779D92A13E}" dt="2023-07-31T09:23:43.038" v="22235"/>
          <ac:spMkLst>
            <pc:docMk/>
            <pc:sldMk cId="4219859120" sldId="2147479656"/>
            <ac:spMk id="17" creationId="{8A558D75-7225-65D5-4300-C608916D75D4}"/>
          </ac:spMkLst>
        </pc:spChg>
        <pc:spChg chg="replST delST">
          <ac:chgData name="Mick Mooney" userId="e6518e4e-af4a-4bea-b39c-20489a1e5519" providerId="ADAL" clId="{3014DE50-B07B-4776-BEAC-0F779D92A13E}" dt="2023-07-31T09:18:05.306" v="21363"/>
          <ac:spMkLst>
            <pc:docMk/>
            <pc:sldMk cId="4219859120" sldId="2147479656"/>
            <ac:spMk id="18" creationId="{1E773D05-D9B9-F217-65F9-55949407428A}"/>
          </ac:spMkLst>
        </pc:spChg>
      </pc:sldChg>
      <pc:sldChg chg="add del">
        <pc:chgData name="Mick Mooney" userId="e6518e4e-af4a-4bea-b39c-20489a1e5519" providerId="ADAL" clId="{3014DE50-B07B-4776-BEAC-0F779D92A13E}" dt="2023-07-22T14:19:35.728" v="8103"/>
        <pc:sldMkLst>
          <pc:docMk/>
          <pc:sldMk cId="1921623555" sldId="2147479657"/>
        </pc:sldMkLst>
      </pc:sldChg>
      <pc:sldChg chg="addSp delSp modSp mod setBg modClrScheme chgLayout">
        <pc:chgData name="Mick Mooney" userId="e6518e4e-af4a-4bea-b39c-20489a1e5519" providerId="ADAL" clId="{3014DE50-B07B-4776-BEAC-0F779D92A13E}" dt="2023-08-02T08:31:43.573" v="33519"/>
        <pc:sldMkLst>
          <pc:docMk/>
          <pc:sldMk cId="3770532317" sldId="2147479657"/>
        </pc:sldMkLst>
        <pc:spChg chg="add del mod ord replST delST">
          <ac:chgData name="Mick Mooney" userId="e6518e4e-af4a-4bea-b39c-20489a1e5519" providerId="ADAL" clId="{3014DE50-B07B-4776-BEAC-0F779D92A13E}" dt="2023-07-31T15:21:48.821" v="32884" actId="700"/>
          <ac:spMkLst>
            <pc:docMk/>
            <pc:sldMk cId="3770532317" sldId="2147479657"/>
            <ac:spMk id="2" creationId="{232BB37A-4CA1-991C-1BD1-2903AF40AA34}"/>
          </ac:spMkLst>
        </pc:spChg>
        <pc:spChg chg="del mod replST delST">
          <ac:chgData name="Mick Mooney" userId="e6518e4e-af4a-4bea-b39c-20489a1e5519" providerId="ADAL" clId="{3014DE50-B07B-4776-BEAC-0F779D92A13E}" dt="2023-07-31T15:23:00.308" v="32902" actId="478"/>
          <ac:spMkLst>
            <pc:docMk/>
            <pc:sldMk cId="3770532317" sldId="2147479657"/>
            <ac:spMk id="3" creationId="{73F2FB44-B140-425B-A792-9A2CDE79AA28}"/>
          </ac:spMkLst>
        </pc:spChg>
        <pc:spChg chg="add del mod ord">
          <ac:chgData name="Mick Mooney" userId="e6518e4e-af4a-4bea-b39c-20489a1e5519" providerId="ADAL" clId="{3014DE50-B07B-4776-BEAC-0F779D92A13E}" dt="2023-07-31T15:21:48.821" v="32884" actId="700"/>
          <ac:spMkLst>
            <pc:docMk/>
            <pc:sldMk cId="3770532317" sldId="2147479657"/>
            <ac:spMk id="4" creationId="{084EA9FB-3F3D-B21A-9AFE-A5AF6FE634B9}"/>
          </ac:spMkLst>
        </pc:spChg>
        <pc:spChg chg="add del mod ord">
          <ac:chgData name="Mick Mooney" userId="e6518e4e-af4a-4bea-b39c-20489a1e5519" providerId="ADAL" clId="{3014DE50-B07B-4776-BEAC-0F779D92A13E}" dt="2023-07-31T15:21:54.547" v="32885" actId="700"/>
          <ac:spMkLst>
            <pc:docMk/>
            <pc:sldMk cId="3770532317" sldId="2147479657"/>
            <ac:spMk id="5" creationId="{8AC728A2-02CB-5FD2-6ED2-1E5C6742BBE8}"/>
          </ac:spMkLst>
        </pc:spChg>
        <pc:spChg chg="add del mod ord">
          <ac:chgData name="Mick Mooney" userId="e6518e4e-af4a-4bea-b39c-20489a1e5519" providerId="ADAL" clId="{3014DE50-B07B-4776-BEAC-0F779D92A13E}" dt="2023-07-31T15:21:54.547" v="32885" actId="700"/>
          <ac:spMkLst>
            <pc:docMk/>
            <pc:sldMk cId="3770532317" sldId="2147479657"/>
            <ac:spMk id="6" creationId="{BBC31C17-AB09-1B7F-64C0-603D04CF19A4}"/>
          </ac:spMkLst>
        </pc:spChg>
        <pc:spChg chg="add del mod ord">
          <ac:chgData name="Mick Mooney" userId="e6518e4e-af4a-4bea-b39c-20489a1e5519" providerId="ADAL" clId="{3014DE50-B07B-4776-BEAC-0F779D92A13E}" dt="2023-07-31T15:22:02.271" v="32886" actId="700"/>
          <ac:spMkLst>
            <pc:docMk/>
            <pc:sldMk cId="3770532317" sldId="2147479657"/>
            <ac:spMk id="7" creationId="{2AAB4264-F077-35BD-5842-EDE3F239D8D1}"/>
          </ac:spMkLst>
        </pc:spChg>
        <pc:spChg chg="add del mod ord">
          <ac:chgData name="Mick Mooney" userId="e6518e4e-af4a-4bea-b39c-20489a1e5519" providerId="ADAL" clId="{3014DE50-B07B-4776-BEAC-0F779D92A13E}" dt="2023-07-31T15:22:02.271" v="32886" actId="700"/>
          <ac:spMkLst>
            <pc:docMk/>
            <pc:sldMk cId="3770532317" sldId="2147479657"/>
            <ac:spMk id="8" creationId="{9FDA5C6C-CFE0-04A8-0AD7-CA72766760C7}"/>
          </ac:spMkLst>
        </pc:spChg>
        <pc:spChg chg="del mod replST delST">
          <ac:chgData name="Mick Mooney" userId="e6518e4e-af4a-4bea-b39c-20489a1e5519" providerId="ADAL" clId="{3014DE50-B07B-4776-BEAC-0F779D92A13E}" dt="2023-07-31T15:24:47.447" v="33082" actId="478"/>
          <ac:spMkLst>
            <pc:docMk/>
            <pc:sldMk cId="3770532317" sldId="2147479657"/>
            <ac:spMk id="9" creationId="{8299AA5D-6F5F-45B3-961B-315840A4F952}"/>
          </ac:spMkLst>
        </pc:spChg>
        <pc:spChg chg="add del mod ord replST delST">
          <ac:chgData name="Mick Mooney" userId="e6518e4e-af4a-4bea-b39c-20489a1e5519" providerId="ADAL" clId="{3014DE50-B07B-4776-BEAC-0F779D92A13E}" dt="2023-07-31T15:22:25.211" v="32894" actId="700"/>
          <ac:spMkLst>
            <pc:docMk/>
            <pc:sldMk cId="3770532317" sldId="2147479657"/>
            <ac:spMk id="10" creationId="{89CDE641-0CD2-EFD7-BBE0-C960496EC336}"/>
          </ac:spMkLst>
        </pc:spChg>
        <pc:spChg chg="mod replST delST">
          <ac:chgData name="Mick Mooney" userId="e6518e4e-af4a-4bea-b39c-20489a1e5519" providerId="ADAL" clId="{3014DE50-B07B-4776-BEAC-0F779D92A13E}" dt="2023-07-31T15:21:43.070" v="32883"/>
          <ac:spMkLst>
            <pc:docMk/>
            <pc:sldMk cId="3770532317" sldId="2147479657"/>
            <ac:spMk id="11" creationId="{69863546-7AFD-434E-B089-7D68680F65E0}"/>
          </ac:spMkLst>
        </pc:spChg>
        <pc:spChg chg="mod">
          <ac:chgData name="Mick Mooney" userId="e6518e4e-af4a-4bea-b39c-20489a1e5519" providerId="ADAL" clId="{3014DE50-B07B-4776-BEAC-0F779D92A13E}" dt="2023-07-31T12:32:10.804" v="25415" actId="2711"/>
          <ac:spMkLst>
            <pc:docMk/>
            <pc:sldMk cId="3770532317" sldId="2147479657"/>
            <ac:spMk id="13" creationId="{A1D86520-FD85-4CD6-B964-1B5B6D37B189}"/>
          </ac:spMkLst>
        </pc:spChg>
        <pc:spChg chg="mod">
          <ac:chgData name="Mick Mooney" userId="e6518e4e-af4a-4bea-b39c-20489a1e5519" providerId="ADAL" clId="{3014DE50-B07B-4776-BEAC-0F779D92A13E}" dt="2023-07-31T12:32:10.804" v="25415" actId="2711"/>
          <ac:spMkLst>
            <pc:docMk/>
            <pc:sldMk cId="3770532317" sldId="2147479657"/>
            <ac:spMk id="14" creationId="{E895FDF4-7033-4A9E-9A50-BAAD05E515B1}"/>
          </ac:spMkLst>
        </pc:spChg>
        <pc:spChg chg="mod">
          <ac:chgData name="Mick Mooney" userId="e6518e4e-af4a-4bea-b39c-20489a1e5519" providerId="ADAL" clId="{3014DE50-B07B-4776-BEAC-0F779D92A13E}" dt="2023-07-31T12:32:10.804" v="25415" actId="2711"/>
          <ac:spMkLst>
            <pc:docMk/>
            <pc:sldMk cId="3770532317" sldId="2147479657"/>
            <ac:spMk id="15" creationId="{9731DF81-987D-4A9E-A019-E1BD28A9A557}"/>
          </ac:spMkLst>
        </pc:spChg>
        <pc:spChg chg="add del mod ord replST delST">
          <ac:chgData name="Mick Mooney" userId="e6518e4e-af4a-4bea-b39c-20489a1e5519" providerId="ADAL" clId="{3014DE50-B07B-4776-BEAC-0F779D92A13E}" dt="2023-07-31T15:22:25.211" v="32894" actId="700"/>
          <ac:spMkLst>
            <pc:docMk/>
            <pc:sldMk cId="3770532317" sldId="2147479657"/>
            <ac:spMk id="16" creationId="{0D4D9707-DAC1-284E-4B0C-9F4F62BDC6C1}"/>
          </ac:spMkLst>
        </pc:spChg>
        <pc:spChg chg="add mod ord replST delST">
          <ac:chgData name="Mick Mooney" userId="e6518e4e-af4a-4bea-b39c-20489a1e5519" providerId="ADAL" clId="{3014DE50-B07B-4776-BEAC-0F779D92A13E}" dt="2023-07-31T15:23:36.706" v="32940" actId="2711"/>
          <ac:spMkLst>
            <pc:docMk/>
            <pc:sldMk cId="3770532317" sldId="2147479657"/>
            <ac:spMk id="17" creationId="{451535D1-19C9-DA0E-B434-A865955706BB}"/>
          </ac:spMkLst>
        </pc:spChg>
        <pc:spChg chg="add mod ord replST delST">
          <ac:chgData name="Mick Mooney" userId="e6518e4e-af4a-4bea-b39c-20489a1e5519" providerId="ADAL" clId="{3014DE50-B07B-4776-BEAC-0F779D92A13E}" dt="2023-08-02T08:31:43.573" v="33519"/>
          <ac:spMkLst>
            <pc:docMk/>
            <pc:sldMk cId="3770532317" sldId="2147479657"/>
            <ac:spMk id="18" creationId="{18627840-C1CF-54FE-CD90-C028AD4F3099}"/>
          </ac:spMkLst>
        </pc:spChg>
        <pc:grpChg chg="del">
          <ac:chgData name="Mick Mooney" userId="e6518e4e-af4a-4bea-b39c-20489a1e5519" providerId="ADAL" clId="{3014DE50-B07B-4776-BEAC-0F779D92A13E}" dt="2023-07-31T15:22:13.220" v="32893" actId="478"/>
          <ac:grpSpMkLst>
            <pc:docMk/>
            <pc:sldMk cId="3770532317" sldId="2147479657"/>
            <ac:grpSpMk id="12" creationId="{A9A1C65B-E862-4A89-892D-52BF5EE14762}"/>
          </ac:grpSpMkLst>
        </pc:grpChg>
      </pc:sldChg>
      <pc:sldChg chg="delSp modSp add mod">
        <pc:chgData name="Mick Mooney" userId="e6518e4e-af4a-4bea-b39c-20489a1e5519" providerId="ADAL" clId="{3014DE50-B07B-4776-BEAC-0F779D92A13E}" dt="2023-07-31T16:35:08.782" v="33486" actId="1076"/>
        <pc:sldMkLst>
          <pc:docMk/>
          <pc:sldMk cId="3132739966" sldId="2147479658"/>
        </pc:sldMkLst>
        <pc:spChg chg="del replST delST">
          <ac:chgData name="Mick Mooney" userId="e6518e4e-af4a-4bea-b39c-20489a1e5519" providerId="ADAL" clId="{3014DE50-B07B-4776-BEAC-0F779D92A13E}" dt="2023-07-31T16:32:35.500" v="33455" actId="478"/>
          <ac:spMkLst>
            <pc:docMk/>
            <pc:sldMk cId="3132739966" sldId="2147479658"/>
            <ac:spMk id="2" creationId="{0D4997D1-7765-48AA-924C-D6412FA7BCF3}"/>
          </ac:spMkLst>
        </pc:spChg>
        <pc:spChg chg="mod replST delST">
          <ac:chgData name="Mick Mooney" userId="e6518e4e-af4a-4bea-b39c-20489a1e5519" providerId="ADAL" clId="{3014DE50-B07B-4776-BEAC-0F779D92A13E}" dt="2023-07-31T16:34:56.850" v="33480"/>
          <ac:spMkLst>
            <pc:docMk/>
            <pc:sldMk cId="3132739966" sldId="2147479658"/>
            <ac:spMk id="8" creationId="{7824D54C-15D2-467C-A016-166944D0781C}"/>
          </ac:spMkLst>
        </pc:spChg>
        <pc:spChg chg="mod">
          <ac:chgData name="Mick Mooney" userId="e6518e4e-af4a-4bea-b39c-20489a1e5519" providerId="ADAL" clId="{3014DE50-B07B-4776-BEAC-0F779D92A13E}" dt="2023-07-31T16:34:25.355" v="33458" actId="2711"/>
          <ac:spMkLst>
            <pc:docMk/>
            <pc:sldMk cId="3132739966" sldId="2147479658"/>
            <ac:spMk id="15" creationId="{38F5E1B3-DD85-45D2-A9CB-9203B84D1955}"/>
          </ac:spMkLst>
        </pc:spChg>
        <pc:spChg chg="mod">
          <ac:chgData name="Mick Mooney" userId="e6518e4e-af4a-4bea-b39c-20489a1e5519" providerId="ADAL" clId="{3014DE50-B07B-4776-BEAC-0F779D92A13E}" dt="2023-07-31T16:34:25.355" v="33458" actId="2711"/>
          <ac:spMkLst>
            <pc:docMk/>
            <pc:sldMk cId="3132739966" sldId="2147479658"/>
            <ac:spMk id="60" creationId="{5FD4F996-4703-4807-A196-8EBEFF0E4D0C}"/>
          </ac:spMkLst>
        </pc:spChg>
        <pc:spChg chg="mod">
          <ac:chgData name="Mick Mooney" userId="e6518e4e-af4a-4bea-b39c-20489a1e5519" providerId="ADAL" clId="{3014DE50-B07B-4776-BEAC-0F779D92A13E}" dt="2023-07-31T16:34:25.355" v="33458" actId="2711"/>
          <ac:spMkLst>
            <pc:docMk/>
            <pc:sldMk cId="3132739966" sldId="2147479658"/>
            <ac:spMk id="61" creationId="{EDB73CF0-76C8-46A5-9C74-DEB0D40A6862}"/>
          </ac:spMkLst>
        </pc:spChg>
        <pc:spChg chg="mod">
          <ac:chgData name="Mick Mooney" userId="e6518e4e-af4a-4bea-b39c-20489a1e5519" providerId="ADAL" clId="{3014DE50-B07B-4776-BEAC-0F779D92A13E}" dt="2023-07-31T16:34:25.355" v="33458" actId="2711"/>
          <ac:spMkLst>
            <pc:docMk/>
            <pc:sldMk cId="3132739966" sldId="2147479658"/>
            <ac:spMk id="62" creationId="{9FD7B515-9120-4FE1-8FBD-FD06C848CBD3}"/>
          </ac:spMkLst>
        </pc:spChg>
        <pc:spChg chg="mod">
          <ac:chgData name="Mick Mooney" userId="e6518e4e-af4a-4bea-b39c-20489a1e5519" providerId="ADAL" clId="{3014DE50-B07B-4776-BEAC-0F779D92A13E}" dt="2023-07-31T16:34:25.355" v="33458" actId="2711"/>
          <ac:spMkLst>
            <pc:docMk/>
            <pc:sldMk cId="3132739966" sldId="2147479658"/>
            <ac:spMk id="63" creationId="{003679B0-78D6-4A30-B9A8-E729D83ECDDE}"/>
          </ac:spMkLst>
        </pc:spChg>
        <pc:spChg chg="mod">
          <ac:chgData name="Mick Mooney" userId="e6518e4e-af4a-4bea-b39c-20489a1e5519" providerId="ADAL" clId="{3014DE50-B07B-4776-BEAC-0F779D92A13E}" dt="2023-07-31T16:34:25.355" v="33458" actId="2711"/>
          <ac:spMkLst>
            <pc:docMk/>
            <pc:sldMk cId="3132739966" sldId="2147479658"/>
            <ac:spMk id="64" creationId="{86C52E4F-D068-4CAE-A8C2-EB5B3530F5B9}"/>
          </ac:spMkLst>
        </pc:spChg>
        <pc:spChg chg="mod">
          <ac:chgData name="Mick Mooney" userId="e6518e4e-af4a-4bea-b39c-20489a1e5519" providerId="ADAL" clId="{3014DE50-B07B-4776-BEAC-0F779D92A13E}" dt="2023-07-31T16:34:25.355" v="33458" actId="2711"/>
          <ac:spMkLst>
            <pc:docMk/>
            <pc:sldMk cId="3132739966" sldId="2147479658"/>
            <ac:spMk id="65" creationId="{B8BE428C-8AE7-49FC-9BA6-AE88B8D3E047}"/>
          </ac:spMkLst>
        </pc:spChg>
        <pc:spChg chg="mod">
          <ac:chgData name="Mick Mooney" userId="e6518e4e-af4a-4bea-b39c-20489a1e5519" providerId="ADAL" clId="{3014DE50-B07B-4776-BEAC-0F779D92A13E}" dt="2023-07-31T16:34:25.355" v="33458" actId="2711"/>
          <ac:spMkLst>
            <pc:docMk/>
            <pc:sldMk cId="3132739966" sldId="2147479658"/>
            <ac:spMk id="66" creationId="{F3F742D9-31EA-4812-A9F9-B29EDD285C41}"/>
          </ac:spMkLst>
        </pc:spChg>
        <pc:spChg chg="mod">
          <ac:chgData name="Mick Mooney" userId="e6518e4e-af4a-4bea-b39c-20489a1e5519" providerId="ADAL" clId="{3014DE50-B07B-4776-BEAC-0F779D92A13E}" dt="2023-07-31T16:34:25.355" v="33458" actId="2711"/>
          <ac:spMkLst>
            <pc:docMk/>
            <pc:sldMk cId="3132739966" sldId="2147479658"/>
            <ac:spMk id="67" creationId="{59E59BA5-80D7-44D7-92F5-BEAB931D9B2A}"/>
          </ac:spMkLst>
        </pc:spChg>
        <pc:spChg chg="mod">
          <ac:chgData name="Mick Mooney" userId="e6518e4e-af4a-4bea-b39c-20489a1e5519" providerId="ADAL" clId="{3014DE50-B07B-4776-BEAC-0F779D92A13E}" dt="2023-07-31T16:34:25.355" v="33458" actId="2711"/>
          <ac:spMkLst>
            <pc:docMk/>
            <pc:sldMk cId="3132739966" sldId="2147479658"/>
            <ac:spMk id="75" creationId="{EE3B33AF-CA93-425A-9AB8-62D698B412C9}"/>
          </ac:spMkLst>
        </pc:spChg>
        <pc:spChg chg="mod">
          <ac:chgData name="Mick Mooney" userId="e6518e4e-af4a-4bea-b39c-20489a1e5519" providerId="ADAL" clId="{3014DE50-B07B-4776-BEAC-0F779D92A13E}" dt="2023-07-31T16:34:25.355" v="33458" actId="2711"/>
          <ac:spMkLst>
            <pc:docMk/>
            <pc:sldMk cId="3132739966" sldId="2147479658"/>
            <ac:spMk id="77" creationId="{8CD2B851-E12A-40D3-81C4-81685BDB50D2}"/>
          </ac:spMkLst>
        </pc:spChg>
        <pc:spChg chg="mod">
          <ac:chgData name="Mick Mooney" userId="e6518e4e-af4a-4bea-b39c-20489a1e5519" providerId="ADAL" clId="{3014DE50-B07B-4776-BEAC-0F779D92A13E}" dt="2023-07-31T16:34:25.355" v="33458" actId="2711"/>
          <ac:spMkLst>
            <pc:docMk/>
            <pc:sldMk cId="3132739966" sldId="2147479658"/>
            <ac:spMk id="82" creationId="{857976EF-AB3E-4B76-A483-6AC2CFD736FA}"/>
          </ac:spMkLst>
        </pc:spChg>
        <pc:spChg chg="mod">
          <ac:chgData name="Mick Mooney" userId="e6518e4e-af4a-4bea-b39c-20489a1e5519" providerId="ADAL" clId="{3014DE50-B07B-4776-BEAC-0F779D92A13E}" dt="2023-07-31T16:34:25.355" v="33458" actId="2711"/>
          <ac:spMkLst>
            <pc:docMk/>
            <pc:sldMk cId="3132739966" sldId="2147479658"/>
            <ac:spMk id="83" creationId="{B24CAAA0-182B-4AFB-AB85-B40272070A7F}"/>
          </ac:spMkLst>
        </pc:spChg>
        <pc:spChg chg="mod">
          <ac:chgData name="Mick Mooney" userId="e6518e4e-af4a-4bea-b39c-20489a1e5519" providerId="ADAL" clId="{3014DE50-B07B-4776-BEAC-0F779D92A13E}" dt="2023-07-31T16:34:25.355" v="33458" actId="2711"/>
          <ac:spMkLst>
            <pc:docMk/>
            <pc:sldMk cId="3132739966" sldId="2147479658"/>
            <ac:spMk id="84" creationId="{094A912F-3988-493B-9CFE-4A527FF2B477}"/>
          </ac:spMkLst>
        </pc:spChg>
        <pc:spChg chg="mod">
          <ac:chgData name="Mick Mooney" userId="e6518e4e-af4a-4bea-b39c-20489a1e5519" providerId="ADAL" clId="{3014DE50-B07B-4776-BEAC-0F779D92A13E}" dt="2023-07-31T16:34:25.355" v="33458" actId="2711"/>
          <ac:spMkLst>
            <pc:docMk/>
            <pc:sldMk cId="3132739966" sldId="2147479658"/>
            <ac:spMk id="85" creationId="{B95A80EE-9582-4EA3-B099-0224DDA9650D}"/>
          </ac:spMkLst>
        </pc:spChg>
        <pc:spChg chg="mod">
          <ac:chgData name="Mick Mooney" userId="e6518e4e-af4a-4bea-b39c-20489a1e5519" providerId="ADAL" clId="{3014DE50-B07B-4776-BEAC-0F779D92A13E}" dt="2023-07-31T16:34:25.355" v="33458" actId="2711"/>
          <ac:spMkLst>
            <pc:docMk/>
            <pc:sldMk cId="3132739966" sldId="2147479658"/>
            <ac:spMk id="86" creationId="{D965D798-928F-476C-A47C-0A84BF4C44FC}"/>
          </ac:spMkLst>
        </pc:spChg>
        <pc:spChg chg="mod">
          <ac:chgData name="Mick Mooney" userId="e6518e4e-af4a-4bea-b39c-20489a1e5519" providerId="ADAL" clId="{3014DE50-B07B-4776-BEAC-0F779D92A13E}" dt="2023-07-31T16:34:25.355" v="33458" actId="2711"/>
          <ac:spMkLst>
            <pc:docMk/>
            <pc:sldMk cId="3132739966" sldId="2147479658"/>
            <ac:spMk id="88" creationId="{3857E352-AB34-4911-9D69-FFC304B6BFE9}"/>
          </ac:spMkLst>
        </pc:spChg>
        <pc:spChg chg="mod">
          <ac:chgData name="Mick Mooney" userId="e6518e4e-af4a-4bea-b39c-20489a1e5519" providerId="ADAL" clId="{3014DE50-B07B-4776-BEAC-0F779D92A13E}" dt="2023-07-31T16:34:25.355" v="33458" actId="2711"/>
          <ac:spMkLst>
            <pc:docMk/>
            <pc:sldMk cId="3132739966" sldId="2147479658"/>
            <ac:spMk id="90" creationId="{F5FC7FBE-957D-4346-A0FB-8F87229435F5}"/>
          </ac:spMkLst>
        </pc:spChg>
        <pc:spChg chg="mod">
          <ac:chgData name="Mick Mooney" userId="e6518e4e-af4a-4bea-b39c-20489a1e5519" providerId="ADAL" clId="{3014DE50-B07B-4776-BEAC-0F779D92A13E}" dt="2023-07-31T16:34:25.355" v="33458" actId="2711"/>
          <ac:spMkLst>
            <pc:docMk/>
            <pc:sldMk cId="3132739966" sldId="2147479658"/>
            <ac:spMk id="91" creationId="{B6E9A45A-AFFA-4D5F-A356-8F1E9A376A91}"/>
          </ac:spMkLst>
        </pc:spChg>
        <pc:spChg chg="mod">
          <ac:chgData name="Mick Mooney" userId="e6518e4e-af4a-4bea-b39c-20489a1e5519" providerId="ADAL" clId="{3014DE50-B07B-4776-BEAC-0F779D92A13E}" dt="2023-07-31T16:34:25.355" v="33458" actId="2711"/>
          <ac:spMkLst>
            <pc:docMk/>
            <pc:sldMk cId="3132739966" sldId="2147479658"/>
            <ac:spMk id="92" creationId="{28B8F3E6-1F4F-4601-811E-A8976D0E3205}"/>
          </ac:spMkLst>
        </pc:spChg>
        <pc:spChg chg="mod">
          <ac:chgData name="Mick Mooney" userId="e6518e4e-af4a-4bea-b39c-20489a1e5519" providerId="ADAL" clId="{3014DE50-B07B-4776-BEAC-0F779D92A13E}" dt="2023-07-31T16:34:25.355" v="33458" actId="2711"/>
          <ac:spMkLst>
            <pc:docMk/>
            <pc:sldMk cId="3132739966" sldId="2147479658"/>
            <ac:spMk id="93" creationId="{6242D831-100C-4C6A-8F9F-036B76FF1D3C}"/>
          </ac:spMkLst>
        </pc:spChg>
        <pc:spChg chg="mod">
          <ac:chgData name="Mick Mooney" userId="e6518e4e-af4a-4bea-b39c-20489a1e5519" providerId="ADAL" clId="{3014DE50-B07B-4776-BEAC-0F779D92A13E}" dt="2023-07-31T16:34:25.355" v="33458" actId="2711"/>
          <ac:spMkLst>
            <pc:docMk/>
            <pc:sldMk cId="3132739966" sldId="2147479658"/>
            <ac:spMk id="94" creationId="{3358724F-B3F0-41E2-8FF6-2D5283516B42}"/>
          </ac:spMkLst>
        </pc:spChg>
        <pc:spChg chg="mod">
          <ac:chgData name="Mick Mooney" userId="e6518e4e-af4a-4bea-b39c-20489a1e5519" providerId="ADAL" clId="{3014DE50-B07B-4776-BEAC-0F779D92A13E}" dt="2023-07-31T16:34:25.355" v="33458" actId="2711"/>
          <ac:spMkLst>
            <pc:docMk/>
            <pc:sldMk cId="3132739966" sldId="2147479658"/>
            <ac:spMk id="96" creationId="{AC9CD18C-9FED-4E75-97ED-E3FA886A6051}"/>
          </ac:spMkLst>
        </pc:spChg>
        <pc:spChg chg="mod">
          <ac:chgData name="Mick Mooney" userId="e6518e4e-af4a-4bea-b39c-20489a1e5519" providerId="ADAL" clId="{3014DE50-B07B-4776-BEAC-0F779D92A13E}" dt="2023-07-31T16:34:25.355" v="33458" actId="2711"/>
          <ac:spMkLst>
            <pc:docMk/>
            <pc:sldMk cId="3132739966" sldId="2147479658"/>
            <ac:spMk id="97" creationId="{BA01E847-D613-46E2-B8A3-D411479FAAD2}"/>
          </ac:spMkLst>
        </pc:spChg>
        <pc:spChg chg="mod">
          <ac:chgData name="Mick Mooney" userId="e6518e4e-af4a-4bea-b39c-20489a1e5519" providerId="ADAL" clId="{3014DE50-B07B-4776-BEAC-0F779D92A13E}" dt="2023-07-31T16:34:25.355" v="33458" actId="2711"/>
          <ac:spMkLst>
            <pc:docMk/>
            <pc:sldMk cId="3132739966" sldId="2147479658"/>
            <ac:spMk id="98" creationId="{A095FA9D-8950-481B-A4E3-3DD237F5DAEC}"/>
          </ac:spMkLst>
        </pc:spChg>
        <pc:spChg chg="mod">
          <ac:chgData name="Mick Mooney" userId="e6518e4e-af4a-4bea-b39c-20489a1e5519" providerId="ADAL" clId="{3014DE50-B07B-4776-BEAC-0F779D92A13E}" dt="2023-07-31T16:34:25.355" v="33458" actId="2711"/>
          <ac:spMkLst>
            <pc:docMk/>
            <pc:sldMk cId="3132739966" sldId="2147479658"/>
            <ac:spMk id="105" creationId="{0CED134C-6575-4DCA-8DCE-C1561F52147F}"/>
          </ac:spMkLst>
        </pc:spChg>
        <pc:spChg chg="mod">
          <ac:chgData name="Mick Mooney" userId="e6518e4e-af4a-4bea-b39c-20489a1e5519" providerId="ADAL" clId="{3014DE50-B07B-4776-BEAC-0F779D92A13E}" dt="2023-07-31T16:34:25.355" v="33458" actId="2711"/>
          <ac:spMkLst>
            <pc:docMk/>
            <pc:sldMk cId="3132739966" sldId="2147479658"/>
            <ac:spMk id="106" creationId="{F8065D0F-A83E-4972-B609-81DA3F9F5DC2}"/>
          </ac:spMkLst>
        </pc:spChg>
        <pc:spChg chg="mod">
          <ac:chgData name="Mick Mooney" userId="e6518e4e-af4a-4bea-b39c-20489a1e5519" providerId="ADAL" clId="{3014DE50-B07B-4776-BEAC-0F779D92A13E}" dt="2023-07-31T16:34:25.355" v="33458" actId="2711"/>
          <ac:spMkLst>
            <pc:docMk/>
            <pc:sldMk cId="3132739966" sldId="2147479658"/>
            <ac:spMk id="107" creationId="{F09A7671-556C-48FB-BDD3-91F0E4A914EC}"/>
          </ac:spMkLst>
        </pc:spChg>
        <pc:spChg chg="mod">
          <ac:chgData name="Mick Mooney" userId="e6518e4e-af4a-4bea-b39c-20489a1e5519" providerId="ADAL" clId="{3014DE50-B07B-4776-BEAC-0F779D92A13E}" dt="2023-07-31T16:34:25.355" v="33458" actId="2711"/>
          <ac:spMkLst>
            <pc:docMk/>
            <pc:sldMk cId="3132739966" sldId="2147479658"/>
            <ac:spMk id="108" creationId="{13119B0A-23B2-4509-B567-CF853EE48676}"/>
          </ac:spMkLst>
        </pc:spChg>
        <pc:spChg chg="mod">
          <ac:chgData name="Mick Mooney" userId="e6518e4e-af4a-4bea-b39c-20489a1e5519" providerId="ADAL" clId="{3014DE50-B07B-4776-BEAC-0F779D92A13E}" dt="2023-07-31T16:34:25.355" v="33458" actId="2711"/>
          <ac:spMkLst>
            <pc:docMk/>
            <pc:sldMk cId="3132739966" sldId="2147479658"/>
            <ac:spMk id="110" creationId="{A7700A3E-BF72-48EF-9769-3AE84CDF1B40}"/>
          </ac:spMkLst>
        </pc:spChg>
        <pc:spChg chg="mod">
          <ac:chgData name="Mick Mooney" userId="e6518e4e-af4a-4bea-b39c-20489a1e5519" providerId="ADAL" clId="{3014DE50-B07B-4776-BEAC-0F779D92A13E}" dt="2023-07-31T16:34:25.355" v="33458" actId="2711"/>
          <ac:spMkLst>
            <pc:docMk/>
            <pc:sldMk cId="3132739966" sldId="2147479658"/>
            <ac:spMk id="112" creationId="{6B019F97-CBDD-4D7F-AC48-DF72E88D1B2A}"/>
          </ac:spMkLst>
        </pc:spChg>
        <pc:spChg chg="mod replST delST">
          <ac:chgData name="Mick Mooney" userId="e6518e4e-af4a-4bea-b39c-20489a1e5519" providerId="ADAL" clId="{3014DE50-B07B-4776-BEAC-0F779D92A13E}" dt="2023-07-31T16:34:25.355" v="33458" actId="2711"/>
          <ac:spMkLst>
            <pc:docMk/>
            <pc:sldMk cId="3132739966" sldId="2147479658"/>
            <ac:spMk id="115" creationId="{D76F56BD-F9A2-4E24-9AA5-FFE0C200B6E3}"/>
          </ac:spMkLst>
        </pc:spChg>
        <pc:spChg chg="mod">
          <ac:chgData name="Mick Mooney" userId="e6518e4e-af4a-4bea-b39c-20489a1e5519" providerId="ADAL" clId="{3014DE50-B07B-4776-BEAC-0F779D92A13E}" dt="2023-07-31T16:34:25.355" v="33458" actId="2711"/>
          <ac:spMkLst>
            <pc:docMk/>
            <pc:sldMk cId="3132739966" sldId="2147479658"/>
            <ac:spMk id="116" creationId="{F4321F32-9C7D-42D1-8F87-18195F7FA551}"/>
          </ac:spMkLst>
        </pc:spChg>
        <pc:spChg chg="mod">
          <ac:chgData name="Mick Mooney" userId="e6518e4e-af4a-4bea-b39c-20489a1e5519" providerId="ADAL" clId="{3014DE50-B07B-4776-BEAC-0F779D92A13E}" dt="2023-07-31T16:34:25.355" v="33458" actId="2711"/>
          <ac:spMkLst>
            <pc:docMk/>
            <pc:sldMk cId="3132739966" sldId="2147479658"/>
            <ac:spMk id="119" creationId="{D8AD85E2-55E3-4F56-816C-16FB42BB34C6}"/>
          </ac:spMkLst>
        </pc:spChg>
        <pc:spChg chg="mod">
          <ac:chgData name="Mick Mooney" userId="e6518e4e-af4a-4bea-b39c-20489a1e5519" providerId="ADAL" clId="{3014DE50-B07B-4776-BEAC-0F779D92A13E}" dt="2023-07-31T16:34:25.355" v="33458" actId="2711"/>
          <ac:spMkLst>
            <pc:docMk/>
            <pc:sldMk cId="3132739966" sldId="2147479658"/>
            <ac:spMk id="120" creationId="{DB6C45EC-B8F6-4A0A-B3BE-7450396303E7}"/>
          </ac:spMkLst>
        </pc:spChg>
        <pc:spChg chg="mod">
          <ac:chgData name="Mick Mooney" userId="e6518e4e-af4a-4bea-b39c-20489a1e5519" providerId="ADAL" clId="{3014DE50-B07B-4776-BEAC-0F779D92A13E}" dt="2023-07-31T16:34:25.355" v="33458" actId="2711"/>
          <ac:spMkLst>
            <pc:docMk/>
            <pc:sldMk cId="3132739966" sldId="2147479658"/>
            <ac:spMk id="121" creationId="{052E49FB-C0EB-4DBF-8E36-E2ED55BCCF23}"/>
          </ac:spMkLst>
        </pc:spChg>
        <pc:spChg chg="mod">
          <ac:chgData name="Mick Mooney" userId="e6518e4e-af4a-4bea-b39c-20489a1e5519" providerId="ADAL" clId="{3014DE50-B07B-4776-BEAC-0F779D92A13E}" dt="2023-07-31T16:34:25.355" v="33458" actId="2711"/>
          <ac:spMkLst>
            <pc:docMk/>
            <pc:sldMk cId="3132739966" sldId="2147479658"/>
            <ac:spMk id="122" creationId="{AA4EDDA0-50B4-4160-82E6-552BF2E12649}"/>
          </ac:spMkLst>
        </pc:spChg>
        <pc:spChg chg="mod">
          <ac:chgData name="Mick Mooney" userId="e6518e4e-af4a-4bea-b39c-20489a1e5519" providerId="ADAL" clId="{3014DE50-B07B-4776-BEAC-0F779D92A13E}" dt="2023-07-31T16:34:25.355" v="33458" actId="2711"/>
          <ac:spMkLst>
            <pc:docMk/>
            <pc:sldMk cId="3132739966" sldId="2147479658"/>
            <ac:spMk id="123" creationId="{0CE06CC6-8E78-4AFA-971D-550C384DE12E}"/>
          </ac:spMkLst>
        </pc:spChg>
        <pc:spChg chg="mod">
          <ac:chgData name="Mick Mooney" userId="e6518e4e-af4a-4bea-b39c-20489a1e5519" providerId="ADAL" clId="{3014DE50-B07B-4776-BEAC-0F779D92A13E}" dt="2023-07-31T16:34:25.355" v="33458" actId="2711"/>
          <ac:spMkLst>
            <pc:docMk/>
            <pc:sldMk cId="3132739966" sldId="2147479658"/>
            <ac:spMk id="125" creationId="{A7B673BE-94F1-43BF-BDE1-FFD65B92C5C5}"/>
          </ac:spMkLst>
        </pc:spChg>
        <pc:spChg chg="mod">
          <ac:chgData name="Mick Mooney" userId="e6518e4e-af4a-4bea-b39c-20489a1e5519" providerId="ADAL" clId="{3014DE50-B07B-4776-BEAC-0F779D92A13E}" dt="2023-07-31T16:34:25.355" v="33458" actId="2711"/>
          <ac:spMkLst>
            <pc:docMk/>
            <pc:sldMk cId="3132739966" sldId="2147479658"/>
            <ac:spMk id="130" creationId="{F6C5E84F-1D93-4E0A-9561-5147873FBA86}"/>
          </ac:spMkLst>
        </pc:spChg>
        <pc:spChg chg="mod">
          <ac:chgData name="Mick Mooney" userId="e6518e4e-af4a-4bea-b39c-20489a1e5519" providerId="ADAL" clId="{3014DE50-B07B-4776-BEAC-0F779D92A13E}" dt="2023-07-31T16:34:25.355" v="33458" actId="2711"/>
          <ac:spMkLst>
            <pc:docMk/>
            <pc:sldMk cId="3132739966" sldId="2147479658"/>
            <ac:spMk id="131" creationId="{123F31FC-7D6A-4BA5-BBDB-0C8D04DB3BE1}"/>
          </ac:spMkLst>
        </pc:spChg>
        <pc:spChg chg="mod">
          <ac:chgData name="Mick Mooney" userId="e6518e4e-af4a-4bea-b39c-20489a1e5519" providerId="ADAL" clId="{3014DE50-B07B-4776-BEAC-0F779D92A13E}" dt="2023-07-31T16:34:25.355" v="33458" actId="2711"/>
          <ac:spMkLst>
            <pc:docMk/>
            <pc:sldMk cId="3132739966" sldId="2147479658"/>
            <ac:spMk id="134" creationId="{AC154E72-4C7E-4C1F-8DD6-11E698C9FC3A}"/>
          </ac:spMkLst>
        </pc:spChg>
        <pc:spChg chg="mod">
          <ac:chgData name="Mick Mooney" userId="e6518e4e-af4a-4bea-b39c-20489a1e5519" providerId="ADAL" clId="{3014DE50-B07B-4776-BEAC-0F779D92A13E}" dt="2023-07-31T16:34:25.355" v="33458" actId="2711"/>
          <ac:spMkLst>
            <pc:docMk/>
            <pc:sldMk cId="3132739966" sldId="2147479658"/>
            <ac:spMk id="135" creationId="{2913E483-5549-4749-B46E-9C4F9CC03AFE}"/>
          </ac:spMkLst>
        </pc:spChg>
        <pc:spChg chg="mod">
          <ac:chgData name="Mick Mooney" userId="e6518e4e-af4a-4bea-b39c-20489a1e5519" providerId="ADAL" clId="{3014DE50-B07B-4776-BEAC-0F779D92A13E}" dt="2023-07-31T16:34:25.355" v="33458" actId="2711"/>
          <ac:spMkLst>
            <pc:docMk/>
            <pc:sldMk cId="3132739966" sldId="2147479658"/>
            <ac:spMk id="136" creationId="{C59A6CF4-A67B-4D80-B9F5-2B6703CD8EDB}"/>
          </ac:spMkLst>
        </pc:spChg>
        <pc:spChg chg="mod">
          <ac:chgData name="Mick Mooney" userId="e6518e4e-af4a-4bea-b39c-20489a1e5519" providerId="ADAL" clId="{3014DE50-B07B-4776-BEAC-0F779D92A13E}" dt="2023-07-31T16:34:25.355" v="33458" actId="2711"/>
          <ac:spMkLst>
            <pc:docMk/>
            <pc:sldMk cId="3132739966" sldId="2147479658"/>
            <ac:spMk id="137" creationId="{425CA407-33AE-4F04-A646-BB0143FE2022}"/>
          </ac:spMkLst>
        </pc:spChg>
        <pc:spChg chg="mod">
          <ac:chgData name="Mick Mooney" userId="e6518e4e-af4a-4bea-b39c-20489a1e5519" providerId="ADAL" clId="{3014DE50-B07B-4776-BEAC-0F779D92A13E}" dt="2023-07-31T16:34:25.355" v="33458" actId="2711"/>
          <ac:spMkLst>
            <pc:docMk/>
            <pc:sldMk cId="3132739966" sldId="2147479658"/>
            <ac:spMk id="142" creationId="{04F8AD1E-A019-409C-8941-6E5D79D5E58F}"/>
          </ac:spMkLst>
        </pc:spChg>
        <pc:spChg chg="mod">
          <ac:chgData name="Mick Mooney" userId="e6518e4e-af4a-4bea-b39c-20489a1e5519" providerId="ADAL" clId="{3014DE50-B07B-4776-BEAC-0F779D92A13E}" dt="2023-07-31T16:34:25.355" v="33458" actId="2711"/>
          <ac:spMkLst>
            <pc:docMk/>
            <pc:sldMk cId="3132739966" sldId="2147479658"/>
            <ac:spMk id="143" creationId="{2EF5E136-AF9C-4128-84A7-E037B511E7AA}"/>
          </ac:spMkLst>
        </pc:spChg>
        <pc:spChg chg="mod replST delST">
          <ac:chgData name="Mick Mooney" userId="e6518e4e-af4a-4bea-b39c-20489a1e5519" providerId="ADAL" clId="{3014DE50-B07B-4776-BEAC-0F779D92A13E}" dt="2023-07-31T16:34:25.355" v="33458" actId="2711"/>
          <ac:spMkLst>
            <pc:docMk/>
            <pc:sldMk cId="3132739966" sldId="2147479658"/>
            <ac:spMk id="144" creationId="{D9280D99-FEF2-4B87-AA1F-DAB483433F70}"/>
          </ac:spMkLst>
        </pc:spChg>
        <pc:spChg chg="mod replST delST">
          <ac:chgData name="Mick Mooney" userId="e6518e4e-af4a-4bea-b39c-20489a1e5519" providerId="ADAL" clId="{3014DE50-B07B-4776-BEAC-0F779D92A13E}" dt="2023-07-31T16:34:25.355" v="33458" actId="2711"/>
          <ac:spMkLst>
            <pc:docMk/>
            <pc:sldMk cId="3132739966" sldId="2147479658"/>
            <ac:spMk id="145" creationId="{A94D9D5F-9198-4F86-9F42-7A9AFABA67F2}"/>
          </ac:spMkLst>
        </pc:spChg>
        <pc:spChg chg="mod">
          <ac:chgData name="Mick Mooney" userId="e6518e4e-af4a-4bea-b39c-20489a1e5519" providerId="ADAL" clId="{3014DE50-B07B-4776-BEAC-0F779D92A13E}" dt="2023-07-31T16:34:25.355" v="33458" actId="2711"/>
          <ac:spMkLst>
            <pc:docMk/>
            <pc:sldMk cId="3132739966" sldId="2147479658"/>
            <ac:spMk id="147" creationId="{B5126396-560A-4C88-9A60-020FA8E180F6}"/>
          </ac:spMkLst>
        </pc:spChg>
        <pc:spChg chg="mod replST delST">
          <ac:chgData name="Mick Mooney" userId="e6518e4e-af4a-4bea-b39c-20489a1e5519" providerId="ADAL" clId="{3014DE50-B07B-4776-BEAC-0F779D92A13E}" dt="2023-07-31T16:34:25.355" v="33458" actId="2711"/>
          <ac:spMkLst>
            <pc:docMk/>
            <pc:sldMk cId="3132739966" sldId="2147479658"/>
            <ac:spMk id="148" creationId="{CE3F4FEE-7695-4629-ABE2-B54473C11F94}"/>
          </ac:spMkLst>
        </pc:spChg>
        <pc:spChg chg="mod replST delST">
          <ac:chgData name="Mick Mooney" userId="e6518e4e-af4a-4bea-b39c-20489a1e5519" providerId="ADAL" clId="{3014DE50-B07B-4776-BEAC-0F779D92A13E}" dt="2023-07-31T16:34:29.008" v="33460"/>
          <ac:spMkLst>
            <pc:docMk/>
            <pc:sldMk cId="3132739966" sldId="2147479658"/>
            <ac:spMk id="149" creationId="{D194A499-DFF7-4A14-ABAF-08B54C7A62B0}"/>
          </ac:spMkLst>
        </pc:spChg>
        <pc:spChg chg="mod">
          <ac:chgData name="Mick Mooney" userId="e6518e4e-af4a-4bea-b39c-20489a1e5519" providerId="ADAL" clId="{3014DE50-B07B-4776-BEAC-0F779D92A13E}" dt="2023-07-31T16:34:25.355" v="33458" actId="2711"/>
          <ac:spMkLst>
            <pc:docMk/>
            <pc:sldMk cId="3132739966" sldId="2147479658"/>
            <ac:spMk id="150" creationId="{5E28980D-37A7-4296-9364-DC0F7378910E}"/>
          </ac:spMkLst>
        </pc:spChg>
        <pc:spChg chg="mod">
          <ac:chgData name="Mick Mooney" userId="e6518e4e-af4a-4bea-b39c-20489a1e5519" providerId="ADAL" clId="{3014DE50-B07B-4776-BEAC-0F779D92A13E}" dt="2023-07-31T16:34:25.355" v="33458" actId="2711"/>
          <ac:spMkLst>
            <pc:docMk/>
            <pc:sldMk cId="3132739966" sldId="2147479658"/>
            <ac:spMk id="152" creationId="{EFBC7371-9476-4A98-AD35-DB0385D258D5}"/>
          </ac:spMkLst>
        </pc:spChg>
        <pc:spChg chg="mod">
          <ac:chgData name="Mick Mooney" userId="e6518e4e-af4a-4bea-b39c-20489a1e5519" providerId="ADAL" clId="{3014DE50-B07B-4776-BEAC-0F779D92A13E}" dt="2023-07-31T16:34:25.355" v="33458" actId="2711"/>
          <ac:spMkLst>
            <pc:docMk/>
            <pc:sldMk cId="3132739966" sldId="2147479658"/>
            <ac:spMk id="154" creationId="{7729B5F0-AB8D-4247-9733-60C39C6D9272}"/>
          </ac:spMkLst>
        </pc:spChg>
        <pc:spChg chg="mod">
          <ac:chgData name="Mick Mooney" userId="e6518e4e-af4a-4bea-b39c-20489a1e5519" providerId="ADAL" clId="{3014DE50-B07B-4776-BEAC-0F779D92A13E}" dt="2023-07-31T16:34:25.355" v="33458" actId="2711"/>
          <ac:spMkLst>
            <pc:docMk/>
            <pc:sldMk cId="3132739966" sldId="2147479658"/>
            <ac:spMk id="155" creationId="{AB97A74F-155C-48D9-98EE-C134164A7F1F}"/>
          </ac:spMkLst>
        </pc:spChg>
        <pc:spChg chg="mod replST delST">
          <ac:chgData name="Mick Mooney" userId="e6518e4e-af4a-4bea-b39c-20489a1e5519" providerId="ADAL" clId="{3014DE50-B07B-4776-BEAC-0F779D92A13E}" dt="2023-07-31T16:34:25.355" v="33458" actId="2711"/>
          <ac:spMkLst>
            <pc:docMk/>
            <pc:sldMk cId="3132739966" sldId="2147479658"/>
            <ac:spMk id="156" creationId="{49480E3F-C72F-4CF2-AE93-768826D154E2}"/>
          </ac:spMkLst>
        </pc:spChg>
        <pc:spChg chg="mod replST delST">
          <ac:chgData name="Mick Mooney" userId="e6518e4e-af4a-4bea-b39c-20489a1e5519" providerId="ADAL" clId="{3014DE50-B07B-4776-BEAC-0F779D92A13E}" dt="2023-07-31T16:34:25.355" v="33458" actId="2711"/>
          <ac:spMkLst>
            <pc:docMk/>
            <pc:sldMk cId="3132739966" sldId="2147479658"/>
            <ac:spMk id="157" creationId="{1A2FB8C4-5BEA-405B-BFFE-8B65C0BA244D}"/>
          </ac:spMkLst>
        </pc:spChg>
        <pc:spChg chg="mod replST delST">
          <ac:chgData name="Mick Mooney" userId="e6518e4e-af4a-4bea-b39c-20489a1e5519" providerId="ADAL" clId="{3014DE50-B07B-4776-BEAC-0F779D92A13E}" dt="2023-07-31T16:34:25.355" v="33458" actId="2711"/>
          <ac:spMkLst>
            <pc:docMk/>
            <pc:sldMk cId="3132739966" sldId="2147479658"/>
            <ac:spMk id="158" creationId="{3232C906-214F-4637-B5C2-4A40E4E67E99}"/>
          </ac:spMkLst>
        </pc:spChg>
        <pc:spChg chg="del replST delST">
          <ac:chgData name="Mick Mooney" userId="e6518e4e-af4a-4bea-b39c-20489a1e5519" providerId="ADAL" clId="{3014DE50-B07B-4776-BEAC-0F779D92A13E}" dt="2023-07-31T16:32:28.904" v="33452" actId="478"/>
          <ac:spMkLst>
            <pc:docMk/>
            <pc:sldMk cId="3132739966" sldId="2147479658"/>
            <ac:spMk id="166" creationId="{36AC4BAB-D2E8-4ECD-A8E7-5A2694980BD0}"/>
          </ac:spMkLst>
        </pc:spChg>
        <pc:spChg chg="mod replST delST">
          <ac:chgData name="Mick Mooney" userId="e6518e4e-af4a-4bea-b39c-20489a1e5519" providerId="ADAL" clId="{3014DE50-B07B-4776-BEAC-0F779D92A13E}" dt="2023-07-31T16:35:08.782" v="33486" actId="1076"/>
          <ac:spMkLst>
            <pc:docMk/>
            <pc:sldMk cId="3132739966" sldId="2147479658"/>
            <ac:spMk id="197" creationId="{D3CA6431-80E3-411E-A579-BDACFB448A62}"/>
          </ac:spMkLst>
        </pc:spChg>
        <pc:spChg chg="mod">
          <ac:chgData name="Mick Mooney" userId="e6518e4e-af4a-4bea-b39c-20489a1e5519" providerId="ADAL" clId="{3014DE50-B07B-4776-BEAC-0F779D92A13E}" dt="2023-07-31T16:34:25.355" v="33458" actId="2711"/>
          <ac:spMkLst>
            <pc:docMk/>
            <pc:sldMk cId="3132739966" sldId="2147479658"/>
            <ac:spMk id="223" creationId="{287652C3-6059-44C4-BE74-3C4FF31F9BA8}"/>
          </ac:spMkLst>
        </pc:spChg>
        <pc:spChg chg="mod">
          <ac:chgData name="Mick Mooney" userId="e6518e4e-af4a-4bea-b39c-20489a1e5519" providerId="ADAL" clId="{3014DE50-B07B-4776-BEAC-0F779D92A13E}" dt="2023-07-31T16:34:25.355" v="33458" actId="2711"/>
          <ac:spMkLst>
            <pc:docMk/>
            <pc:sldMk cId="3132739966" sldId="2147479658"/>
            <ac:spMk id="224" creationId="{3FAC2BDB-FA0E-4A96-B629-576F46461868}"/>
          </ac:spMkLst>
        </pc:spChg>
        <pc:spChg chg="mod">
          <ac:chgData name="Mick Mooney" userId="e6518e4e-af4a-4bea-b39c-20489a1e5519" providerId="ADAL" clId="{3014DE50-B07B-4776-BEAC-0F779D92A13E}" dt="2023-07-31T16:34:25.355" v="33458" actId="2711"/>
          <ac:spMkLst>
            <pc:docMk/>
            <pc:sldMk cId="3132739966" sldId="2147479658"/>
            <ac:spMk id="225" creationId="{03D91CB3-7E0F-4EDA-BBC9-690B3ADB29BA}"/>
          </ac:spMkLst>
        </pc:spChg>
        <pc:spChg chg="mod">
          <ac:chgData name="Mick Mooney" userId="e6518e4e-af4a-4bea-b39c-20489a1e5519" providerId="ADAL" clId="{3014DE50-B07B-4776-BEAC-0F779D92A13E}" dt="2023-07-31T16:34:25.355" v="33458" actId="2711"/>
          <ac:spMkLst>
            <pc:docMk/>
            <pc:sldMk cId="3132739966" sldId="2147479658"/>
            <ac:spMk id="226" creationId="{EA56E630-39BE-4D2B-A424-142DDA1FD13F}"/>
          </ac:spMkLst>
        </pc:spChg>
        <pc:spChg chg="mod">
          <ac:chgData name="Mick Mooney" userId="e6518e4e-af4a-4bea-b39c-20489a1e5519" providerId="ADAL" clId="{3014DE50-B07B-4776-BEAC-0F779D92A13E}" dt="2023-07-31T16:34:25.355" v="33458" actId="2711"/>
          <ac:spMkLst>
            <pc:docMk/>
            <pc:sldMk cId="3132739966" sldId="2147479658"/>
            <ac:spMk id="227" creationId="{75A59357-C9FC-4262-A199-A76F67210559}"/>
          </ac:spMkLst>
        </pc:spChg>
        <pc:spChg chg="mod">
          <ac:chgData name="Mick Mooney" userId="e6518e4e-af4a-4bea-b39c-20489a1e5519" providerId="ADAL" clId="{3014DE50-B07B-4776-BEAC-0F779D92A13E}" dt="2023-07-31T16:34:25.355" v="33458" actId="2711"/>
          <ac:spMkLst>
            <pc:docMk/>
            <pc:sldMk cId="3132739966" sldId="2147479658"/>
            <ac:spMk id="228" creationId="{D4E21489-DA04-4628-8AF4-7DE409E5BB61}"/>
          </ac:spMkLst>
        </pc:spChg>
        <pc:spChg chg="mod">
          <ac:chgData name="Mick Mooney" userId="e6518e4e-af4a-4bea-b39c-20489a1e5519" providerId="ADAL" clId="{3014DE50-B07B-4776-BEAC-0F779D92A13E}" dt="2023-07-31T16:34:25.355" v="33458" actId="2711"/>
          <ac:spMkLst>
            <pc:docMk/>
            <pc:sldMk cId="3132739966" sldId="2147479658"/>
            <ac:spMk id="229" creationId="{ABD33973-2BD4-4D88-8134-31E5BC587885}"/>
          </ac:spMkLst>
        </pc:spChg>
        <pc:spChg chg="mod">
          <ac:chgData name="Mick Mooney" userId="e6518e4e-af4a-4bea-b39c-20489a1e5519" providerId="ADAL" clId="{3014DE50-B07B-4776-BEAC-0F779D92A13E}" dt="2023-07-31T16:34:25.355" v="33458" actId="2711"/>
          <ac:spMkLst>
            <pc:docMk/>
            <pc:sldMk cId="3132739966" sldId="2147479658"/>
            <ac:spMk id="230" creationId="{7CB98892-B8ED-45A8-96F7-46FD01A11B76}"/>
          </ac:spMkLst>
        </pc:spChg>
        <pc:spChg chg="mod">
          <ac:chgData name="Mick Mooney" userId="e6518e4e-af4a-4bea-b39c-20489a1e5519" providerId="ADAL" clId="{3014DE50-B07B-4776-BEAC-0F779D92A13E}" dt="2023-07-31T16:34:25.355" v="33458" actId="2711"/>
          <ac:spMkLst>
            <pc:docMk/>
            <pc:sldMk cId="3132739966" sldId="2147479658"/>
            <ac:spMk id="231" creationId="{19580012-46A2-48F2-A530-63BF6C314EE3}"/>
          </ac:spMkLst>
        </pc:spChg>
        <pc:spChg chg="mod">
          <ac:chgData name="Mick Mooney" userId="e6518e4e-af4a-4bea-b39c-20489a1e5519" providerId="ADAL" clId="{3014DE50-B07B-4776-BEAC-0F779D92A13E}" dt="2023-07-31T16:34:25.355" v="33458" actId="2711"/>
          <ac:spMkLst>
            <pc:docMk/>
            <pc:sldMk cId="3132739966" sldId="2147479658"/>
            <ac:spMk id="232" creationId="{37B30702-606C-4020-A71E-0B7F57A7202F}"/>
          </ac:spMkLst>
        </pc:spChg>
        <pc:spChg chg="mod">
          <ac:chgData name="Mick Mooney" userId="e6518e4e-af4a-4bea-b39c-20489a1e5519" providerId="ADAL" clId="{3014DE50-B07B-4776-BEAC-0F779D92A13E}" dt="2023-07-31T16:34:25.355" v="33458" actId="2711"/>
          <ac:spMkLst>
            <pc:docMk/>
            <pc:sldMk cId="3132739966" sldId="2147479658"/>
            <ac:spMk id="233" creationId="{E31CD129-283A-453B-86E8-847A409B7725}"/>
          </ac:spMkLst>
        </pc:spChg>
        <pc:spChg chg="mod">
          <ac:chgData name="Mick Mooney" userId="e6518e4e-af4a-4bea-b39c-20489a1e5519" providerId="ADAL" clId="{3014DE50-B07B-4776-BEAC-0F779D92A13E}" dt="2023-07-31T16:34:25.355" v="33458" actId="2711"/>
          <ac:spMkLst>
            <pc:docMk/>
            <pc:sldMk cId="3132739966" sldId="2147479658"/>
            <ac:spMk id="234" creationId="{E23601C6-8873-4D1E-B057-1760F9F988F4}"/>
          </ac:spMkLst>
        </pc:spChg>
        <pc:spChg chg="mod">
          <ac:chgData name="Mick Mooney" userId="e6518e4e-af4a-4bea-b39c-20489a1e5519" providerId="ADAL" clId="{3014DE50-B07B-4776-BEAC-0F779D92A13E}" dt="2023-07-31T16:34:25.355" v="33458" actId="2711"/>
          <ac:spMkLst>
            <pc:docMk/>
            <pc:sldMk cId="3132739966" sldId="2147479658"/>
            <ac:spMk id="235" creationId="{858D0BDB-ED29-42B1-A0CB-89F691D64982}"/>
          </ac:spMkLst>
        </pc:spChg>
        <pc:spChg chg="mod">
          <ac:chgData name="Mick Mooney" userId="e6518e4e-af4a-4bea-b39c-20489a1e5519" providerId="ADAL" clId="{3014DE50-B07B-4776-BEAC-0F779D92A13E}" dt="2023-07-31T16:34:25.355" v="33458" actId="2711"/>
          <ac:spMkLst>
            <pc:docMk/>
            <pc:sldMk cId="3132739966" sldId="2147479658"/>
            <ac:spMk id="236" creationId="{D5D8CF76-E86E-4D7C-BF4D-C2ADCF117DF0}"/>
          </ac:spMkLst>
        </pc:spChg>
        <pc:picChg chg="mod">
          <ac:chgData name="Mick Mooney" userId="e6518e4e-af4a-4bea-b39c-20489a1e5519" providerId="ADAL" clId="{3014DE50-B07B-4776-BEAC-0F779D92A13E}" dt="2023-07-31T16:32:45.031" v="33457" actId="14100"/>
          <ac:picMkLst>
            <pc:docMk/>
            <pc:sldMk cId="3132739966" sldId="2147479658"/>
            <ac:picMk id="87" creationId="{F057686A-24CC-4044-BBCF-2DABC8B39781}"/>
          </ac:picMkLst>
        </pc:picChg>
        <pc:picChg chg="mod">
          <ac:chgData name="Mick Mooney" userId="e6518e4e-af4a-4bea-b39c-20489a1e5519" providerId="ADAL" clId="{3014DE50-B07B-4776-BEAC-0F779D92A13E}" dt="2023-07-31T16:32:45.031" v="33457" actId="14100"/>
          <ac:picMkLst>
            <pc:docMk/>
            <pc:sldMk cId="3132739966" sldId="2147479658"/>
            <ac:picMk id="102" creationId="{4D61CE64-4634-4FF6-97A8-01C268980DC0}"/>
          </ac:picMkLst>
        </pc:picChg>
        <pc:picChg chg="mod">
          <ac:chgData name="Mick Mooney" userId="e6518e4e-af4a-4bea-b39c-20489a1e5519" providerId="ADAL" clId="{3014DE50-B07B-4776-BEAC-0F779D92A13E}" dt="2023-07-31T16:32:45.031" v="33457" actId="14100"/>
          <ac:picMkLst>
            <pc:docMk/>
            <pc:sldMk cId="3132739966" sldId="2147479658"/>
            <ac:picMk id="103" creationId="{9CAB2CC5-E366-41A9-9DF0-95DAA577F2E0}"/>
          </ac:picMkLst>
        </pc:picChg>
        <pc:picChg chg="mod">
          <ac:chgData name="Mick Mooney" userId="e6518e4e-af4a-4bea-b39c-20489a1e5519" providerId="ADAL" clId="{3014DE50-B07B-4776-BEAC-0F779D92A13E}" dt="2023-07-31T16:32:45.031" v="33457" actId="14100"/>
          <ac:picMkLst>
            <pc:docMk/>
            <pc:sldMk cId="3132739966" sldId="2147479658"/>
            <ac:picMk id="104" creationId="{73312242-8242-4636-AA35-402D3E8CF3A9}"/>
          </ac:picMkLst>
        </pc:picChg>
        <pc:picChg chg="mod">
          <ac:chgData name="Mick Mooney" userId="e6518e4e-af4a-4bea-b39c-20489a1e5519" providerId="ADAL" clId="{3014DE50-B07B-4776-BEAC-0F779D92A13E}" dt="2023-07-31T16:32:45.031" v="33457" actId="14100"/>
          <ac:picMkLst>
            <pc:docMk/>
            <pc:sldMk cId="3132739966" sldId="2147479658"/>
            <ac:picMk id="109" creationId="{0CA1B9DF-7146-46AA-A3DA-5064EB296989}"/>
          </ac:picMkLst>
        </pc:picChg>
        <pc:picChg chg="mod">
          <ac:chgData name="Mick Mooney" userId="e6518e4e-af4a-4bea-b39c-20489a1e5519" providerId="ADAL" clId="{3014DE50-B07B-4776-BEAC-0F779D92A13E}" dt="2023-07-31T16:32:45.031" v="33457" actId="14100"/>
          <ac:picMkLst>
            <pc:docMk/>
            <pc:sldMk cId="3132739966" sldId="2147479658"/>
            <ac:picMk id="111" creationId="{3617674C-DAAF-4E30-AB15-E0CD621B0E1D}"/>
          </ac:picMkLst>
        </pc:picChg>
        <pc:picChg chg="mod">
          <ac:chgData name="Mick Mooney" userId="e6518e4e-af4a-4bea-b39c-20489a1e5519" providerId="ADAL" clId="{3014DE50-B07B-4776-BEAC-0F779D92A13E}" dt="2023-07-31T16:32:45.031" v="33457" actId="14100"/>
          <ac:picMkLst>
            <pc:docMk/>
            <pc:sldMk cId="3132739966" sldId="2147479658"/>
            <ac:picMk id="128" creationId="{D35D6FDB-E014-49C4-8BFD-B1212B40FE4C}"/>
          </ac:picMkLst>
        </pc:picChg>
        <pc:picChg chg="mod">
          <ac:chgData name="Mick Mooney" userId="e6518e4e-af4a-4bea-b39c-20489a1e5519" providerId="ADAL" clId="{3014DE50-B07B-4776-BEAC-0F779D92A13E}" dt="2023-07-31T16:32:45.031" v="33457" actId="14100"/>
          <ac:picMkLst>
            <pc:docMk/>
            <pc:sldMk cId="3132739966" sldId="2147479658"/>
            <ac:picMk id="129" creationId="{19486F5A-734A-4708-94EF-F5C70E8CAF3B}"/>
          </ac:picMkLst>
        </pc:picChg>
        <pc:picChg chg="mod">
          <ac:chgData name="Mick Mooney" userId="e6518e4e-af4a-4bea-b39c-20489a1e5519" providerId="ADAL" clId="{3014DE50-B07B-4776-BEAC-0F779D92A13E}" dt="2023-07-31T16:32:45.031" v="33457" actId="14100"/>
          <ac:picMkLst>
            <pc:docMk/>
            <pc:sldMk cId="3132739966" sldId="2147479658"/>
            <ac:picMk id="132" creationId="{FF161414-1E45-4763-927E-E707A2D02F9D}"/>
          </ac:picMkLst>
        </pc:picChg>
        <pc:picChg chg="mod">
          <ac:chgData name="Mick Mooney" userId="e6518e4e-af4a-4bea-b39c-20489a1e5519" providerId="ADAL" clId="{3014DE50-B07B-4776-BEAC-0F779D92A13E}" dt="2023-07-31T16:32:45.031" v="33457" actId="14100"/>
          <ac:picMkLst>
            <pc:docMk/>
            <pc:sldMk cId="3132739966" sldId="2147479658"/>
            <ac:picMk id="138" creationId="{DB999D5D-9CFB-43A1-94A9-BAB0E60EF7CE}"/>
          </ac:picMkLst>
        </pc:picChg>
        <pc:picChg chg="del">
          <ac:chgData name="Mick Mooney" userId="e6518e4e-af4a-4bea-b39c-20489a1e5519" providerId="ADAL" clId="{3014DE50-B07B-4776-BEAC-0F779D92A13E}" dt="2023-07-31T16:32:22.849" v="33443" actId="478"/>
          <ac:picMkLst>
            <pc:docMk/>
            <pc:sldMk cId="3132739966" sldId="2147479658"/>
            <ac:picMk id="139" creationId="{6306EE7A-3784-416A-87FF-623810D07D79}"/>
          </ac:picMkLst>
        </pc:picChg>
        <pc:picChg chg="mod">
          <ac:chgData name="Mick Mooney" userId="e6518e4e-af4a-4bea-b39c-20489a1e5519" providerId="ADAL" clId="{3014DE50-B07B-4776-BEAC-0F779D92A13E}" dt="2023-07-31T16:32:45.031" v="33457" actId="14100"/>
          <ac:picMkLst>
            <pc:docMk/>
            <pc:sldMk cId="3132739966" sldId="2147479658"/>
            <ac:picMk id="239" creationId="{B31D954F-8D93-4B4E-88B7-DDAF5E079BD7}"/>
          </ac:picMkLst>
        </pc:picChg>
        <pc:cxnChg chg="mod">
          <ac:chgData name="Mick Mooney" userId="e6518e4e-af4a-4bea-b39c-20489a1e5519" providerId="ADAL" clId="{3014DE50-B07B-4776-BEAC-0F779D92A13E}" dt="2023-07-31T16:32:45.031" v="33457" actId="14100"/>
          <ac:cxnSpMkLst>
            <pc:docMk/>
            <pc:sldMk cId="3132739966" sldId="2147479658"/>
            <ac:cxnSpMk id="20" creationId="{15BB86BA-40A2-40F4-9BC5-67D779A80232}"/>
          </ac:cxnSpMkLst>
        </pc:cxnChg>
        <pc:cxnChg chg="mod">
          <ac:chgData name="Mick Mooney" userId="e6518e4e-af4a-4bea-b39c-20489a1e5519" providerId="ADAL" clId="{3014DE50-B07B-4776-BEAC-0F779D92A13E}" dt="2023-07-31T16:32:45.031" v="33457" actId="14100"/>
          <ac:cxnSpMkLst>
            <pc:docMk/>
            <pc:sldMk cId="3132739966" sldId="2147479658"/>
            <ac:cxnSpMk id="21" creationId="{A5BF21FD-AC29-4AE0-89BA-21B30E8899CD}"/>
          </ac:cxnSpMkLst>
        </pc:cxnChg>
        <pc:cxnChg chg="mod">
          <ac:chgData name="Mick Mooney" userId="e6518e4e-af4a-4bea-b39c-20489a1e5519" providerId="ADAL" clId="{3014DE50-B07B-4776-BEAC-0F779D92A13E}" dt="2023-07-31T16:32:45.031" v="33457" actId="14100"/>
          <ac:cxnSpMkLst>
            <pc:docMk/>
            <pc:sldMk cId="3132739966" sldId="2147479658"/>
            <ac:cxnSpMk id="81" creationId="{D564B4DB-50B0-4614-8986-8E45437D8607}"/>
          </ac:cxnSpMkLst>
        </pc:cxnChg>
        <pc:cxnChg chg="mod">
          <ac:chgData name="Mick Mooney" userId="e6518e4e-af4a-4bea-b39c-20489a1e5519" providerId="ADAL" clId="{3014DE50-B07B-4776-BEAC-0F779D92A13E}" dt="2023-07-31T16:32:45.031" v="33457" actId="14100"/>
          <ac:cxnSpMkLst>
            <pc:docMk/>
            <pc:sldMk cId="3132739966" sldId="2147479658"/>
            <ac:cxnSpMk id="95" creationId="{D6F7CF6D-773A-49A5-B33F-A1D02248A6B4}"/>
          </ac:cxnSpMkLst>
        </pc:cxnChg>
        <pc:cxnChg chg="mod">
          <ac:chgData name="Mick Mooney" userId="e6518e4e-af4a-4bea-b39c-20489a1e5519" providerId="ADAL" clId="{3014DE50-B07B-4776-BEAC-0F779D92A13E}" dt="2023-07-31T16:32:45.031" v="33457" actId="14100"/>
          <ac:cxnSpMkLst>
            <pc:docMk/>
            <pc:sldMk cId="3132739966" sldId="2147479658"/>
            <ac:cxnSpMk id="113" creationId="{FCE86C2C-DD2A-46A5-BADF-343EB4045293}"/>
          </ac:cxnSpMkLst>
        </pc:cxnChg>
        <pc:cxnChg chg="mod">
          <ac:chgData name="Mick Mooney" userId="e6518e4e-af4a-4bea-b39c-20489a1e5519" providerId="ADAL" clId="{3014DE50-B07B-4776-BEAC-0F779D92A13E}" dt="2023-07-31T16:32:45.031" v="33457" actId="14100"/>
          <ac:cxnSpMkLst>
            <pc:docMk/>
            <pc:sldMk cId="3132739966" sldId="2147479658"/>
            <ac:cxnSpMk id="146" creationId="{ECF46D0F-F63F-4FBA-9D75-42D06E1D1AC0}"/>
          </ac:cxnSpMkLst>
        </pc:cxnChg>
        <pc:cxnChg chg="mod">
          <ac:chgData name="Mick Mooney" userId="e6518e4e-af4a-4bea-b39c-20489a1e5519" providerId="ADAL" clId="{3014DE50-B07B-4776-BEAC-0F779D92A13E}" dt="2023-07-31T16:32:45.031" v="33457" actId="14100"/>
          <ac:cxnSpMkLst>
            <pc:docMk/>
            <pc:sldMk cId="3132739966" sldId="2147479658"/>
            <ac:cxnSpMk id="199" creationId="{D30EB107-77E1-4F76-BBAC-ADC96D0EEB3F}"/>
          </ac:cxnSpMkLst>
        </pc:cxnChg>
        <pc:cxnChg chg="mod">
          <ac:chgData name="Mick Mooney" userId="e6518e4e-af4a-4bea-b39c-20489a1e5519" providerId="ADAL" clId="{3014DE50-B07B-4776-BEAC-0F779D92A13E}" dt="2023-07-31T16:32:45.031" v="33457" actId="14100"/>
          <ac:cxnSpMkLst>
            <pc:docMk/>
            <pc:sldMk cId="3132739966" sldId="2147479658"/>
            <ac:cxnSpMk id="200" creationId="{3447CE90-5A10-450F-A33A-BD15216472D2}"/>
          </ac:cxnSpMkLst>
        </pc:cxnChg>
        <pc:cxnChg chg="mod">
          <ac:chgData name="Mick Mooney" userId="e6518e4e-af4a-4bea-b39c-20489a1e5519" providerId="ADAL" clId="{3014DE50-B07B-4776-BEAC-0F779D92A13E}" dt="2023-07-31T16:32:45.031" v="33457" actId="14100"/>
          <ac:cxnSpMkLst>
            <pc:docMk/>
            <pc:sldMk cId="3132739966" sldId="2147479658"/>
            <ac:cxnSpMk id="205" creationId="{1D41C442-5090-4E54-864C-A68217E213FC}"/>
          </ac:cxnSpMkLst>
        </pc:cxnChg>
        <pc:cxnChg chg="mod">
          <ac:chgData name="Mick Mooney" userId="e6518e4e-af4a-4bea-b39c-20489a1e5519" providerId="ADAL" clId="{3014DE50-B07B-4776-BEAC-0F779D92A13E}" dt="2023-07-31T16:32:45.031" v="33457" actId="14100"/>
          <ac:cxnSpMkLst>
            <pc:docMk/>
            <pc:sldMk cId="3132739966" sldId="2147479658"/>
            <ac:cxnSpMk id="206" creationId="{B605AD6B-1677-49A7-8F77-FE6D0A7C6542}"/>
          </ac:cxnSpMkLst>
        </pc:cxnChg>
        <pc:cxnChg chg="mod">
          <ac:chgData name="Mick Mooney" userId="e6518e4e-af4a-4bea-b39c-20489a1e5519" providerId="ADAL" clId="{3014DE50-B07B-4776-BEAC-0F779D92A13E}" dt="2023-07-31T16:32:45.031" v="33457" actId="14100"/>
          <ac:cxnSpMkLst>
            <pc:docMk/>
            <pc:sldMk cId="3132739966" sldId="2147479658"/>
            <ac:cxnSpMk id="207" creationId="{1630885F-F664-4090-97B1-56C116B70F3E}"/>
          </ac:cxnSpMkLst>
        </pc:cxnChg>
        <pc:cxnChg chg="mod">
          <ac:chgData name="Mick Mooney" userId="e6518e4e-af4a-4bea-b39c-20489a1e5519" providerId="ADAL" clId="{3014DE50-B07B-4776-BEAC-0F779D92A13E}" dt="2023-07-31T16:32:45.031" v="33457" actId="14100"/>
          <ac:cxnSpMkLst>
            <pc:docMk/>
            <pc:sldMk cId="3132739966" sldId="2147479658"/>
            <ac:cxnSpMk id="209" creationId="{994E2C7A-CD5D-44E8-A70F-51D544CB1041}"/>
          </ac:cxnSpMkLst>
        </pc:cxnChg>
        <pc:cxnChg chg="mod">
          <ac:chgData name="Mick Mooney" userId="e6518e4e-af4a-4bea-b39c-20489a1e5519" providerId="ADAL" clId="{3014DE50-B07B-4776-BEAC-0F779D92A13E}" dt="2023-07-31T16:32:45.031" v="33457" actId="14100"/>
          <ac:cxnSpMkLst>
            <pc:docMk/>
            <pc:sldMk cId="3132739966" sldId="2147479658"/>
            <ac:cxnSpMk id="210" creationId="{263E4BF2-DC1E-4467-AEE0-3B272701DCF0}"/>
          </ac:cxnSpMkLst>
        </pc:cxnChg>
      </pc:sldChg>
      <pc:sldChg chg="add del">
        <pc:chgData name="Mick Mooney" userId="e6518e4e-af4a-4bea-b39c-20489a1e5519" providerId="ADAL" clId="{3014DE50-B07B-4776-BEAC-0F779D92A13E}" dt="2023-07-22T14:19:35.728" v="8103"/>
        <pc:sldMkLst>
          <pc:docMk/>
          <pc:sldMk cId="3494659090" sldId="2147479658"/>
        </pc:sldMkLst>
      </pc:sldChg>
      <pc:sldChg chg="addSp delSp modSp add mod ord">
        <pc:chgData name="Mick Mooney" userId="e6518e4e-af4a-4bea-b39c-20489a1e5519" providerId="ADAL" clId="{3014DE50-B07B-4776-BEAC-0F779D92A13E}" dt="2023-08-02T10:16:08.694" v="33844" actId="313"/>
        <pc:sldMkLst>
          <pc:docMk/>
          <pc:sldMk cId="1638219384" sldId="2147479668"/>
        </pc:sldMkLst>
        <pc:spChg chg="add del replST delST">
          <ac:chgData name="Mick Mooney" userId="e6518e4e-af4a-4bea-b39c-20489a1e5519" providerId="ADAL" clId="{3014DE50-B07B-4776-BEAC-0F779D92A13E}" dt="2023-08-02T08:55:41.871" v="33560" actId="22"/>
          <ac:spMkLst>
            <pc:docMk/>
            <pc:sldMk cId="1638219384" sldId="2147479668"/>
            <ac:spMk id="3" creationId="{1513D1F0-DE67-180C-B9FC-B66E4894760A}"/>
          </ac:spMkLst>
        </pc:spChg>
        <pc:spChg chg="del replST delST">
          <ac:chgData name="Mick Mooney" userId="e6518e4e-af4a-4bea-b39c-20489a1e5519" providerId="ADAL" clId="{3014DE50-B07B-4776-BEAC-0F779D92A13E}" dt="2023-08-02T08:54:31.968" v="33534" actId="478"/>
          <ac:spMkLst>
            <pc:docMk/>
            <pc:sldMk cId="1638219384" sldId="2147479668"/>
            <ac:spMk id="6" creationId="{F42081A1-9BFA-8D5E-482C-2F7D5FF737DF}"/>
          </ac:spMkLst>
        </pc:spChg>
        <pc:spChg chg="mod replST delST">
          <ac:chgData name="Mick Mooney" userId="e6518e4e-af4a-4bea-b39c-20489a1e5519" providerId="ADAL" clId="{3014DE50-B07B-4776-BEAC-0F779D92A13E}" dt="2023-08-02T08:54:48.275" v="33554"/>
          <ac:spMkLst>
            <pc:docMk/>
            <pc:sldMk cId="1638219384" sldId="2147479668"/>
            <ac:spMk id="8" creationId="{7824D54C-15D2-467C-A016-166944D0781C}"/>
          </ac:spMkLst>
        </pc:spChg>
        <pc:graphicFrameChg chg="add mod modGraphic">
          <ac:chgData name="Mick Mooney" userId="e6518e4e-af4a-4bea-b39c-20489a1e5519" providerId="ADAL" clId="{3014DE50-B07B-4776-BEAC-0F779D92A13E}" dt="2023-08-02T10:16:08.694" v="33844" actId="313"/>
          <ac:graphicFrameMkLst>
            <pc:docMk/>
            <pc:sldMk cId="1638219384" sldId="2147479668"/>
            <ac:graphicFrameMk id="5" creationId="{02889A8A-1E1A-F5FD-54FD-B57CDC51182A}"/>
          </ac:graphicFrameMkLst>
        </pc:graphicFrameChg>
        <pc:picChg chg="del">
          <ac:chgData name="Mick Mooney" userId="e6518e4e-af4a-4bea-b39c-20489a1e5519" providerId="ADAL" clId="{3014DE50-B07B-4776-BEAC-0F779D92A13E}" dt="2023-08-02T08:54:30.053" v="33531" actId="478"/>
          <ac:picMkLst>
            <pc:docMk/>
            <pc:sldMk cId="1638219384" sldId="2147479668"/>
            <ac:picMk id="4" creationId="{17A4C6F3-F8C1-5986-BAEC-4879D61B3DAD}"/>
          </ac:picMkLst>
        </pc:picChg>
      </pc:sldChg>
      <pc:sldChg chg="addSp modSp add mod">
        <pc:chgData name="Mick Mooney" userId="e6518e4e-af4a-4bea-b39c-20489a1e5519" providerId="ADAL" clId="{3014DE50-B07B-4776-BEAC-0F779D92A13E}" dt="2023-08-02T10:16:16.202" v="33846" actId="313"/>
        <pc:sldMkLst>
          <pc:docMk/>
          <pc:sldMk cId="3375914741" sldId="2147479669"/>
        </pc:sldMkLst>
        <pc:spChg chg="mod replST delST">
          <ac:chgData name="Mick Mooney" userId="e6518e4e-af4a-4bea-b39c-20489a1e5519" providerId="ADAL" clId="{3014DE50-B07B-4776-BEAC-0F779D92A13E}" dt="2023-08-02T08:59:46.699" v="33598"/>
          <ac:spMkLst>
            <pc:docMk/>
            <pc:sldMk cId="3375914741" sldId="2147479669"/>
            <ac:spMk id="8" creationId="{7824D54C-15D2-467C-A016-166944D0781C}"/>
          </ac:spMkLst>
        </pc:spChg>
        <pc:graphicFrameChg chg="add mod modGraphic">
          <ac:chgData name="Mick Mooney" userId="e6518e4e-af4a-4bea-b39c-20489a1e5519" providerId="ADAL" clId="{3014DE50-B07B-4776-BEAC-0F779D92A13E}" dt="2023-08-02T10:16:16.202" v="33846" actId="313"/>
          <ac:graphicFrameMkLst>
            <pc:docMk/>
            <pc:sldMk cId="3375914741" sldId="2147479669"/>
            <ac:graphicFrameMk id="2" creationId="{A112291B-4107-6CEF-2E07-563D83BF59D7}"/>
          </ac:graphicFrameMkLst>
        </pc:graphicFrameChg>
        <pc:graphicFrameChg chg="mod modGraphic">
          <ac:chgData name="Mick Mooney" userId="e6518e4e-af4a-4bea-b39c-20489a1e5519" providerId="ADAL" clId="{3014DE50-B07B-4776-BEAC-0F779D92A13E}" dt="2023-08-02T09:18:43.641" v="33804" actId="122"/>
          <ac:graphicFrameMkLst>
            <pc:docMk/>
            <pc:sldMk cId="3375914741" sldId="2147479669"/>
            <ac:graphicFrameMk id="5" creationId="{02889A8A-1E1A-F5FD-54FD-B57CDC51182A}"/>
          </ac:graphicFrameMkLst>
        </pc:graphicFrameChg>
      </pc:sldChg>
      <pc:sldChg chg="addSp delSp modSp add mod">
        <pc:chgData name="Mick Mooney" userId="e6518e4e-af4a-4bea-b39c-20489a1e5519" providerId="ADAL" clId="{3014DE50-B07B-4776-BEAC-0F779D92A13E}" dt="2023-08-03T08:42:39.764" v="33880"/>
        <pc:sldMkLst>
          <pc:docMk/>
          <pc:sldMk cId="622934420" sldId="2147479670"/>
        </pc:sldMkLst>
        <pc:spChg chg="mod replST delST">
          <ac:chgData name="Mick Mooney" userId="e6518e4e-af4a-4bea-b39c-20489a1e5519" providerId="ADAL" clId="{3014DE50-B07B-4776-BEAC-0F779D92A13E}" dt="2023-08-02T09:05:33.509" v="33668"/>
          <ac:spMkLst>
            <pc:docMk/>
            <pc:sldMk cId="622934420" sldId="2147479670"/>
            <ac:spMk id="8" creationId="{7824D54C-15D2-467C-A016-166944D0781C}"/>
          </ac:spMkLst>
        </pc:spChg>
        <pc:graphicFrameChg chg="del modGraphic">
          <ac:chgData name="Mick Mooney" userId="e6518e4e-af4a-4bea-b39c-20489a1e5519" providerId="ADAL" clId="{3014DE50-B07B-4776-BEAC-0F779D92A13E}" dt="2023-08-02T09:05:44.174" v="33670" actId="478"/>
          <ac:graphicFrameMkLst>
            <pc:docMk/>
            <pc:sldMk cId="622934420" sldId="2147479670"/>
            <ac:graphicFrameMk id="2" creationId="{A112291B-4107-6CEF-2E07-563D83BF59D7}"/>
          </ac:graphicFrameMkLst>
        </pc:graphicFrameChg>
        <pc:graphicFrameChg chg="add mod modGraphic">
          <ac:chgData name="Mick Mooney" userId="e6518e4e-af4a-4bea-b39c-20489a1e5519" providerId="ADAL" clId="{3014DE50-B07B-4776-BEAC-0F779D92A13E}" dt="2023-08-03T08:42:36.359" v="33879"/>
          <ac:graphicFrameMkLst>
            <pc:docMk/>
            <pc:sldMk cId="622934420" sldId="2147479670"/>
            <ac:graphicFrameMk id="3" creationId="{69DE2E3B-C787-2D9F-DF69-CD0D44EB856A}"/>
          </ac:graphicFrameMkLst>
        </pc:graphicFrameChg>
        <pc:graphicFrameChg chg="mod modGraphic">
          <ac:chgData name="Mick Mooney" userId="e6518e4e-af4a-4bea-b39c-20489a1e5519" providerId="ADAL" clId="{3014DE50-B07B-4776-BEAC-0F779D92A13E}" dt="2023-08-03T08:42:39.764" v="33880"/>
          <ac:graphicFrameMkLst>
            <pc:docMk/>
            <pc:sldMk cId="622934420" sldId="2147479670"/>
            <ac:graphicFrameMk id="5" creationId="{02889A8A-1E1A-F5FD-54FD-B57CDC51182A}"/>
          </ac:graphicFrameMkLst>
        </pc:graphicFrameChg>
      </pc:sldChg>
      <pc:sldChg chg="addSp delSp modSp add mod">
        <pc:chgData name="Mick Mooney" userId="e6518e4e-af4a-4bea-b39c-20489a1e5519" providerId="ADAL" clId="{3014DE50-B07B-4776-BEAC-0F779D92A13E}" dt="2023-08-03T08:42:25.987" v="33877"/>
        <pc:sldMkLst>
          <pc:docMk/>
          <pc:sldMk cId="59976583" sldId="2147479671"/>
        </pc:sldMkLst>
        <pc:spChg chg="add del replST delST">
          <ac:chgData name="Mick Mooney" userId="e6518e4e-af4a-4bea-b39c-20489a1e5519" providerId="ADAL" clId="{3014DE50-B07B-4776-BEAC-0F779D92A13E}" dt="2023-08-02T09:08:20.536" v="33708" actId="22"/>
          <ac:spMkLst>
            <pc:docMk/>
            <pc:sldMk cId="59976583" sldId="2147479671"/>
            <ac:spMk id="4" creationId="{EDEF1E9E-D767-9ECA-8208-DE3DA39CBC75}"/>
          </ac:spMkLst>
        </pc:spChg>
        <pc:spChg chg="add del replST delST">
          <ac:chgData name="Mick Mooney" userId="e6518e4e-af4a-4bea-b39c-20489a1e5519" providerId="ADAL" clId="{3014DE50-B07B-4776-BEAC-0F779D92A13E}" dt="2023-08-02T09:08:36.813" v="33714" actId="22"/>
          <ac:spMkLst>
            <pc:docMk/>
            <pc:sldMk cId="59976583" sldId="2147479671"/>
            <ac:spMk id="7" creationId="{E6761A29-7841-F141-DF3C-9160F0EC1746}"/>
          </ac:spMkLst>
        </pc:spChg>
        <pc:spChg chg="mod replST delST">
          <ac:chgData name="Mick Mooney" userId="e6518e4e-af4a-4bea-b39c-20489a1e5519" providerId="ADAL" clId="{3014DE50-B07B-4776-BEAC-0F779D92A13E}" dt="2023-08-02T09:09:50.253" v="33738"/>
          <ac:spMkLst>
            <pc:docMk/>
            <pc:sldMk cId="59976583" sldId="2147479671"/>
            <ac:spMk id="8" creationId="{7824D54C-15D2-467C-A016-166944D0781C}"/>
          </ac:spMkLst>
        </pc:spChg>
        <pc:graphicFrameChg chg="del">
          <ac:chgData name="Mick Mooney" userId="e6518e4e-af4a-4bea-b39c-20489a1e5519" providerId="ADAL" clId="{3014DE50-B07B-4776-BEAC-0F779D92A13E}" dt="2023-08-02T09:07:47.549" v="33702" actId="478"/>
          <ac:graphicFrameMkLst>
            <pc:docMk/>
            <pc:sldMk cId="59976583" sldId="2147479671"/>
            <ac:graphicFrameMk id="3" creationId="{69DE2E3B-C787-2D9F-DF69-CD0D44EB856A}"/>
          </ac:graphicFrameMkLst>
        </pc:graphicFrameChg>
        <pc:graphicFrameChg chg="mod modGraphic">
          <ac:chgData name="Mick Mooney" userId="e6518e4e-af4a-4bea-b39c-20489a1e5519" providerId="ADAL" clId="{3014DE50-B07B-4776-BEAC-0F779D92A13E}" dt="2023-08-03T08:42:25.987" v="33877"/>
          <ac:graphicFrameMkLst>
            <pc:docMk/>
            <pc:sldMk cId="59976583" sldId="2147479671"/>
            <ac:graphicFrameMk id="5" creationId="{02889A8A-1E1A-F5FD-54FD-B57CDC51182A}"/>
          </ac:graphicFrameMkLst>
        </pc:graphicFrameChg>
        <pc:graphicFrameChg chg="add mod modGraphic">
          <ac:chgData name="Mick Mooney" userId="e6518e4e-af4a-4bea-b39c-20489a1e5519" providerId="ADAL" clId="{3014DE50-B07B-4776-BEAC-0F779D92A13E}" dt="2023-08-03T08:42:21.276" v="33876"/>
          <ac:graphicFrameMkLst>
            <pc:docMk/>
            <pc:sldMk cId="59976583" sldId="2147479671"/>
            <ac:graphicFrameMk id="9" creationId="{85DE3640-0AF2-A854-FD97-8A3F7970C876}"/>
          </ac:graphicFrameMkLst>
        </pc:graphicFrameChg>
      </pc:sldChg>
      <pc:sldChg chg="addSp delSp modSp add mod">
        <pc:chgData name="Mick Mooney" userId="e6518e4e-af4a-4bea-b39c-20489a1e5519" providerId="ADAL" clId="{3014DE50-B07B-4776-BEAC-0F779D92A13E}" dt="2023-08-03T08:42:10.988" v="33874"/>
        <pc:sldMkLst>
          <pc:docMk/>
          <pc:sldMk cId="3234471790" sldId="2147479672"/>
        </pc:sldMkLst>
        <pc:spChg chg="mod replST delST">
          <ac:chgData name="Mick Mooney" userId="e6518e4e-af4a-4bea-b39c-20489a1e5519" providerId="ADAL" clId="{3014DE50-B07B-4776-BEAC-0F779D92A13E}" dt="2023-08-02T09:10:37.526" v="33750"/>
          <ac:spMkLst>
            <pc:docMk/>
            <pc:sldMk cId="3234471790" sldId="2147479672"/>
            <ac:spMk id="8" creationId="{7824D54C-15D2-467C-A016-166944D0781C}"/>
          </ac:spMkLst>
        </pc:spChg>
        <pc:graphicFrameChg chg="add mod modGraphic">
          <ac:chgData name="Mick Mooney" userId="e6518e4e-af4a-4bea-b39c-20489a1e5519" providerId="ADAL" clId="{3014DE50-B07B-4776-BEAC-0F779D92A13E}" dt="2023-08-03T08:42:10.988" v="33874"/>
          <ac:graphicFrameMkLst>
            <pc:docMk/>
            <pc:sldMk cId="3234471790" sldId="2147479672"/>
            <ac:graphicFrameMk id="2" creationId="{BCB9DABE-3FFC-537E-54F0-A4BB875559DA}"/>
          </ac:graphicFrameMkLst>
        </pc:graphicFrameChg>
        <pc:graphicFrameChg chg="mod modGraphic">
          <ac:chgData name="Mick Mooney" userId="e6518e4e-af4a-4bea-b39c-20489a1e5519" providerId="ADAL" clId="{3014DE50-B07B-4776-BEAC-0F779D92A13E}" dt="2023-08-03T08:42:06.879" v="33873"/>
          <ac:graphicFrameMkLst>
            <pc:docMk/>
            <pc:sldMk cId="3234471790" sldId="2147479672"/>
            <ac:graphicFrameMk id="5" creationId="{02889A8A-1E1A-F5FD-54FD-B57CDC51182A}"/>
          </ac:graphicFrameMkLst>
        </pc:graphicFrameChg>
        <pc:graphicFrameChg chg="del modGraphic">
          <ac:chgData name="Mick Mooney" userId="e6518e4e-af4a-4bea-b39c-20489a1e5519" providerId="ADAL" clId="{3014DE50-B07B-4776-BEAC-0F779D92A13E}" dt="2023-08-02T09:10:44.337" v="33752" actId="478"/>
          <ac:graphicFrameMkLst>
            <pc:docMk/>
            <pc:sldMk cId="3234471790" sldId="2147479672"/>
            <ac:graphicFrameMk id="9" creationId="{85DE3640-0AF2-A854-FD97-8A3F7970C876}"/>
          </ac:graphicFrameMkLst>
        </pc:graphicFrameChg>
      </pc:sldChg>
      <pc:sldChg chg="modSp">
        <pc:chgData name="Mick Mooney" userId="e6518e4e-af4a-4bea-b39c-20489a1e5519" providerId="ADAL" clId="{3014DE50-B07B-4776-BEAC-0F779D92A13E}" dt="2023-08-03T08:41:38.671" v="33872"/>
        <pc:sldMkLst>
          <pc:docMk/>
          <pc:sldMk cId="2550533011" sldId="2147479673"/>
        </pc:sldMkLst>
        <pc:graphicFrameChg chg="mod">
          <ac:chgData name="Mick Mooney" userId="e6518e4e-af4a-4bea-b39c-20489a1e5519" providerId="ADAL" clId="{3014DE50-B07B-4776-BEAC-0F779D92A13E}" dt="2023-08-03T08:41:38.671" v="33872"/>
          <ac:graphicFrameMkLst>
            <pc:docMk/>
            <pc:sldMk cId="2550533011" sldId="2147479673"/>
            <ac:graphicFrameMk id="7" creationId="{5DCABCDC-296C-4F88-B983-ADE23267D9A0}"/>
          </ac:graphicFrameMkLst>
        </pc:graphicFrameChg>
      </pc:sldChg>
      <pc:sldChg chg="modSp">
        <pc:chgData name="Mick Mooney" userId="e6518e4e-af4a-4bea-b39c-20489a1e5519" providerId="ADAL" clId="{3014DE50-B07B-4776-BEAC-0F779D92A13E}" dt="2023-08-03T08:42:47.623" v="33881"/>
        <pc:sldMkLst>
          <pc:docMk/>
          <pc:sldMk cId="1379980121" sldId="2147479674"/>
        </pc:sldMkLst>
        <pc:graphicFrameChg chg="mod">
          <ac:chgData name="Mick Mooney" userId="e6518e4e-af4a-4bea-b39c-20489a1e5519" providerId="ADAL" clId="{3014DE50-B07B-4776-BEAC-0F779D92A13E}" dt="2023-08-03T08:42:47.623" v="33881"/>
          <ac:graphicFrameMkLst>
            <pc:docMk/>
            <pc:sldMk cId="1379980121" sldId="2147479674"/>
            <ac:graphicFrameMk id="3" creationId="{3451C71F-C329-CFAC-20D5-D224F1EA9CA9}"/>
          </ac:graphicFrameMkLst>
        </pc:graphicFrameChg>
      </pc:sldChg>
      <pc:sldChg chg="modSp">
        <pc:chgData name="Mick Mooney" userId="e6518e4e-af4a-4bea-b39c-20489a1e5519" providerId="ADAL" clId="{3014DE50-B07B-4776-BEAC-0F779D92A13E}" dt="2023-08-03T08:42:52.164" v="33882"/>
        <pc:sldMkLst>
          <pc:docMk/>
          <pc:sldMk cId="1504332585" sldId="2147479675"/>
        </pc:sldMkLst>
        <pc:graphicFrameChg chg="mod">
          <ac:chgData name="Mick Mooney" userId="e6518e4e-af4a-4bea-b39c-20489a1e5519" providerId="ADAL" clId="{3014DE50-B07B-4776-BEAC-0F779D92A13E}" dt="2023-08-03T08:42:52.164" v="33882"/>
          <ac:graphicFrameMkLst>
            <pc:docMk/>
            <pc:sldMk cId="1504332585" sldId="2147479675"/>
            <ac:graphicFrameMk id="9" creationId="{5CA10BEF-2C7E-0F11-441B-CEE30A282CE0}"/>
          </ac:graphicFrameMkLst>
        </pc:graphicFrameChg>
      </pc:sldChg>
      <pc:sldChg chg="modSp">
        <pc:chgData name="Mick Mooney" userId="e6518e4e-af4a-4bea-b39c-20489a1e5519" providerId="ADAL" clId="{3014DE50-B07B-4776-BEAC-0F779D92A13E}" dt="2023-08-03T08:43:06.107" v="33884"/>
        <pc:sldMkLst>
          <pc:docMk/>
          <pc:sldMk cId="2224978157" sldId="2147479679"/>
        </pc:sldMkLst>
        <pc:graphicFrameChg chg="mod">
          <ac:chgData name="Mick Mooney" userId="e6518e4e-af4a-4bea-b39c-20489a1e5519" providerId="ADAL" clId="{3014DE50-B07B-4776-BEAC-0F779D92A13E}" dt="2023-08-03T08:43:06.107" v="33884"/>
          <ac:graphicFrameMkLst>
            <pc:docMk/>
            <pc:sldMk cId="2224978157" sldId="2147479679"/>
            <ac:graphicFrameMk id="3" creationId="{3863B000-22E3-E2ED-9EDB-E203774CC104}"/>
          </ac:graphicFrameMkLst>
        </pc:graphicFrameChg>
      </pc:sldChg>
      <pc:sldChg chg="modSp">
        <pc:chgData name="Mick Mooney" userId="e6518e4e-af4a-4bea-b39c-20489a1e5519" providerId="ADAL" clId="{3014DE50-B07B-4776-BEAC-0F779D92A13E}" dt="2023-08-03T08:42:59.558" v="33883"/>
        <pc:sldMkLst>
          <pc:docMk/>
          <pc:sldMk cId="3711356101" sldId="2147479680"/>
        </pc:sldMkLst>
        <pc:graphicFrameChg chg="mod">
          <ac:chgData name="Mick Mooney" userId="e6518e4e-af4a-4bea-b39c-20489a1e5519" providerId="ADAL" clId="{3014DE50-B07B-4776-BEAC-0F779D92A13E}" dt="2023-08-03T08:42:59.558" v="33883"/>
          <ac:graphicFrameMkLst>
            <pc:docMk/>
            <pc:sldMk cId="3711356101" sldId="2147479680"/>
            <ac:graphicFrameMk id="3" creationId="{20E610EF-F192-B8D0-31AC-99AD5AF5A907}"/>
          </ac:graphicFrameMkLst>
        </pc:graphicFrameChg>
      </pc:sldChg>
      <pc:sldChg chg="add del">
        <pc:chgData name="Mick Mooney" userId="e6518e4e-af4a-4bea-b39c-20489a1e5519" providerId="ADAL" clId="{3014DE50-B07B-4776-BEAC-0F779D92A13E}" dt="2023-08-03T08:38:52.887" v="33866" actId="2890"/>
        <pc:sldMkLst>
          <pc:docMk/>
          <pc:sldMk cId="848292112" sldId="2147479684"/>
        </pc:sldMkLst>
      </pc:sldChg>
      <pc:sldChg chg="add ord">
        <pc:chgData name="Mick Mooney" userId="e6518e4e-af4a-4bea-b39c-20489a1e5519" providerId="ADAL" clId="{3014DE50-B07B-4776-BEAC-0F779D92A13E}" dt="2023-08-03T08:39:03.856" v="33869"/>
        <pc:sldMkLst>
          <pc:docMk/>
          <pc:sldMk cId="3034964083" sldId="2147479684"/>
        </pc:sldMkLst>
      </pc:sldChg>
      <pc:sldChg chg="add del">
        <pc:chgData name="Mick Mooney" userId="e6518e4e-af4a-4bea-b39c-20489a1e5519" providerId="ADAL" clId="{3014DE50-B07B-4776-BEAC-0F779D92A13E}" dt="2023-08-15T08:44:19.418" v="35667" actId="2696"/>
        <pc:sldMkLst>
          <pc:docMk/>
          <pc:sldMk cId="2887622416" sldId="2147479685"/>
        </pc:sldMkLst>
      </pc:sldChg>
      <pc:sldMasterChg chg="modSldLayout">
        <pc:chgData name="Mick Mooney" userId="e6518e4e-af4a-4bea-b39c-20489a1e5519" providerId="ADAL" clId="{3014DE50-B07B-4776-BEAC-0F779D92A13E}" dt="2023-07-31T15:49:51.152" v="33390" actId="14100"/>
        <pc:sldMasterMkLst>
          <pc:docMk/>
          <pc:sldMasterMk cId="3845511995" sldId="2147484242"/>
        </pc:sldMasterMkLst>
        <pc:sldLayoutChg chg="addSp delSp modSp mod">
          <pc:chgData name="Mick Mooney" userId="e6518e4e-af4a-4bea-b39c-20489a1e5519" providerId="ADAL" clId="{3014DE50-B07B-4776-BEAC-0F779D92A13E}" dt="2023-07-31T15:41:55.393" v="33385" actId="14100"/>
          <pc:sldLayoutMkLst>
            <pc:docMk/>
            <pc:sldMasterMk cId="3845511995" sldId="2147483660"/>
            <pc:sldLayoutMk cId="568204052" sldId="2147483854"/>
          </pc:sldLayoutMkLst>
          <pc:spChg chg="add del mod ord">
            <ac:chgData name="Mick Mooney" userId="e6518e4e-af4a-4bea-b39c-20489a1e5519" providerId="ADAL" clId="{3014DE50-B07B-4776-BEAC-0F779D92A13E}" dt="2023-07-31T15:41:55.393" v="33385" actId="14100"/>
            <ac:spMkLst>
              <pc:docMk/>
              <pc:sldMasterMk cId="3845511995" sldId="2147483660"/>
              <pc:sldLayoutMk cId="568204052" sldId="2147483854"/>
              <ac:spMk id="8" creationId="{333229D2-E8A2-AE97-DBD0-D8900EE85B6A}"/>
            </ac:spMkLst>
          </pc:spChg>
          <pc:picChg chg="add del">
            <ac:chgData name="Mick Mooney" userId="e6518e4e-af4a-4bea-b39c-20489a1e5519" providerId="ADAL" clId="{3014DE50-B07B-4776-BEAC-0F779D92A13E}" dt="2023-07-31T15:29:57.695" v="33095" actId="478"/>
            <ac:picMkLst>
              <pc:docMk/>
              <pc:sldMasterMk cId="3845511995" sldId="2147483660"/>
              <pc:sldLayoutMk cId="568204052" sldId="2147483854"/>
              <ac:picMk id="2" creationId="{3CF6946E-BC1F-909D-4466-E5764F1578B8}"/>
            </ac:picMkLst>
          </pc:picChg>
          <pc:picChg chg="add mod ord">
            <ac:chgData name="Mick Mooney" userId="e6518e4e-af4a-4bea-b39c-20489a1e5519" providerId="ADAL" clId="{3014DE50-B07B-4776-BEAC-0F779D92A13E}" dt="2023-07-31T15:41:52.425" v="33384" actId="14100"/>
            <ac:picMkLst>
              <pc:docMk/>
              <pc:sldMasterMk cId="3845511995" sldId="2147483660"/>
              <pc:sldLayoutMk cId="568204052" sldId="2147483854"/>
              <ac:picMk id="11" creationId="{B6764769-7EE9-0B2B-8B80-16DC34C8FEF4}"/>
            </ac:picMkLst>
          </pc:picChg>
        </pc:sldLayoutChg>
        <pc:sldLayoutChg chg="addSp delSp modSp mod">
          <pc:chgData name="Mick Mooney" userId="e6518e4e-af4a-4bea-b39c-20489a1e5519" providerId="ADAL" clId="{3014DE50-B07B-4776-BEAC-0F779D92A13E}" dt="2023-07-31T15:42:16.280" v="33388" actId="14100"/>
          <pc:sldLayoutMkLst>
            <pc:docMk/>
            <pc:sldMasterMk cId="3845511995" sldId="2147483660"/>
            <pc:sldLayoutMk cId="153961162" sldId="2147483857"/>
          </pc:sldLayoutMkLst>
          <pc:spChg chg="mod">
            <ac:chgData name="Mick Mooney" userId="e6518e4e-af4a-4bea-b39c-20489a1e5519" providerId="ADAL" clId="{3014DE50-B07B-4776-BEAC-0F779D92A13E}" dt="2023-07-31T15:42:16.280" v="33388" actId="14100"/>
            <ac:spMkLst>
              <pc:docMk/>
              <pc:sldMasterMk cId="3845511995" sldId="2147483660"/>
              <pc:sldLayoutMk cId="153961162" sldId="2147483857"/>
              <ac:spMk id="27" creationId="{66F2E7BD-E26C-4C11-9061-EDDEF250F475}"/>
            </ac:spMkLst>
          </pc:spChg>
          <pc:picChg chg="del">
            <ac:chgData name="Mick Mooney" userId="e6518e4e-af4a-4bea-b39c-20489a1e5519" providerId="ADAL" clId="{3014DE50-B07B-4776-BEAC-0F779D92A13E}" dt="2023-07-31T15:30:38.237" v="33101" actId="478"/>
            <ac:picMkLst>
              <pc:docMk/>
              <pc:sldMasterMk cId="3845511995" sldId="2147483660"/>
              <pc:sldLayoutMk cId="153961162" sldId="2147483857"/>
              <ac:picMk id="2" creationId="{A0567DB5-A177-45A2-5642-4786BB878348}"/>
            </ac:picMkLst>
          </pc:picChg>
          <pc:picChg chg="add mod ord">
            <ac:chgData name="Mick Mooney" userId="e6518e4e-af4a-4bea-b39c-20489a1e5519" providerId="ADAL" clId="{3014DE50-B07B-4776-BEAC-0F779D92A13E}" dt="2023-07-31T15:42:13.989" v="33387" actId="14100"/>
            <ac:picMkLst>
              <pc:docMk/>
              <pc:sldMasterMk cId="3845511995" sldId="2147483660"/>
              <pc:sldLayoutMk cId="153961162" sldId="2147483857"/>
              <ac:picMk id="3" creationId="{8F5C68FF-DC4D-14CF-C74B-B3A1DDC7ED81}"/>
            </ac:picMkLst>
          </pc:picChg>
        </pc:sldLayoutChg>
        <pc:sldLayoutChg chg="addSp delSp modSp mod">
          <pc:chgData name="Mick Mooney" userId="e6518e4e-af4a-4bea-b39c-20489a1e5519" providerId="ADAL" clId="{3014DE50-B07B-4776-BEAC-0F779D92A13E}" dt="2023-07-22T12:04:10.724" v="3318" actId="14100"/>
          <pc:sldLayoutMkLst>
            <pc:docMk/>
            <pc:sldMasterMk cId="3845511995" sldId="2147483660"/>
            <pc:sldLayoutMk cId="4267380075" sldId="2147483858"/>
          </pc:sldLayoutMkLst>
          <pc:spChg chg="del">
            <ac:chgData name="Mick Mooney" userId="e6518e4e-af4a-4bea-b39c-20489a1e5519" providerId="ADAL" clId="{3014DE50-B07B-4776-BEAC-0F779D92A13E}" dt="2023-07-22T11:50:38.726" v="3300" actId="478"/>
            <ac:spMkLst>
              <pc:docMk/>
              <pc:sldMasterMk cId="3845511995" sldId="2147483660"/>
              <pc:sldLayoutMk cId="4267380075" sldId="2147483858"/>
              <ac:spMk id="2" creationId="{651D3810-9D1F-4C24-8D6F-C80E3C796C55}"/>
            </ac:spMkLst>
          </pc:spChg>
          <pc:picChg chg="add mod">
            <ac:chgData name="Mick Mooney" userId="e6518e4e-af4a-4bea-b39c-20489a1e5519" providerId="ADAL" clId="{3014DE50-B07B-4776-BEAC-0F779D92A13E}" dt="2023-07-22T12:04:10.724" v="3318" actId="14100"/>
            <ac:picMkLst>
              <pc:docMk/>
              <pc:sldMasterMk cId="3845511995" sldId="2147483660"/>
              <pc:sldLayoutMk cId="4267380075" sldId="2147483858"/>
              <ac:picMk id="11" creationId="{8E314834-94BC-B559-2B36-C3A70F9405F6}"/>
            </ac:picMkLst>
          </pc:picChg>
        </pc:sldLayoutChg>
        <pc:sldLayoutChg chg="addSp modSp">
          <pc:chgData name="Mick Mooney" userId="e6518e4e-af4a-4bea-b39c-20489a1e5519" providerId="ADAL" clId="{3014DE50-B07B-4776-BEAC-0F779D92A13E}" dt="2023-07-25T17:28:45.983" v="15369"/>
          <pc:sldLayoutMkLst>
            <pc:docMk/>
            <pc:sldMasterMk cId="3845511995" sldId="2147483660"/>
            <pc:sldLayoutMk cId="2421517860" sldId="2147483859"/>
          </pc:sldLayoutMkLst>
          <pc:picChg chg="add mod">
            <ac:chgData name="Mick Mooney" userId="e6518e4e-af4a-4bea-b39c-20489a1e5519" providerId="ADAL" clId="{3014DE50-B07B-4776-BEAC-0F779D92A13E}" dt="2023-07-25T17:28:45.983" v="15369"/>
            <ac:picMkLst>
              <pc:docMk/>
              <pc:sldMasterMk cId="3845511995" sldId="2147483660"/>
              <pc:sldLayoutMk cId="2421517860" sldId="2147483859"/>
              <ac:picMk id="2" creationId="{A108C3BF-57EC-114F-7A17-D8E24E0D9DEA}"/>
            </ac:picMkLst>
          </pc:picChg>
        </pc:sldLayoutChg>
        <pc:sldLayoutChg chg="addSp delSp modSp mod">
          <pc:chgData name="Mick Mooney" userId="e6518e4e-af4a-4bea-b39c-20489a1e5519" providerId="ADAL" clId="{3014DE50-B07B-4776-BEAC-0F779D92A13E}" dt="2023-07-31T15:31:50.446" v="33118" actId="14100"/>
          <pc:sldLayoutMkLst>
            <pc:docMk/>
            <pc:sldMasterMk cId="3845511995" sldId="2147483660"/>
            <pc:sldLayoutMk cId="43161935" sldId="2147483861"/>
          </pc:sldLayoutMkLst>
          <pc:spChg chg="mod">
            <ac:chgData name="Mick Mooney" userId="e6518e4e-af4a-4bea-b39c-20489a1e5519" providerId="ADAL" clId="{3014DE50-B07B-4776-BEAC-0F779D92A13E}" dt="2023-07-31T15:31:50.446" v="33118" actId="14100"/>
            <ac:spMkLst>
              <pc:docMk/>
              <pc:sldMasterMk cId="3845511995" sldId="2147483660"/>
              <pc:sldLayoutMk cId="43161935" sldId="2147483861"/>
              <ac:spMk id="27" creationId="{66F2E7BD-E26C-4C11-9061-EDDEF250F475}"/>
            </ac:spMkLst>
          </pc:spChg>
          <pc:picChg chg="add mod ord">
            <ac:chgData name="Mick Mooney" userId="e6518e4e-af4a-4bea-b39c-20489a1e5519" providerId="ADAL" clId="{3014DE50-B07B-4776-BEAC-0F779D92A13E}" dt="2023-07-31T15:31:47.502" v="33117" actId="14100"/>
            <ac:picMkLst>
              <pc:docMk/>
              <pc:sldMasterMk cId="3845511995" sldId="2147483660"/>
              <pc:sldLayoutMk cId="43161935" sldId="2147483861"/>
              <ac:picMk id="2" creationId="{EE3B5EB8-0271-A0A0-C92C-F8F1F77D1B48}"/>
            </ac:picMkLst>
          </pc:picChg>
          <pc:picChg chg="del">
            <ac:chgData name="Mick Mooney" userId="e6518e4e-af4a-4bea-b39c-20489a1e5519" providerId="ADAL" clId="{3014DE50-B07B-4776-BEAC-0F779D92A13E}" dt="2023-07-31T15:31:41.514" v="33114" actId="478"/>
            <ac:picMkLst>
              <pc:docMk/>
              <pc:sldMasterMk cId="3845511995" sldId="2147483660"/>
              <pc:sldLayoutMk cId="43161935" sldId="2147483861"/>
              <ac:picMk id="26" creationId="{57BA450A-9C0E-495D-A770-5A35C23CDF32}"/>
            </ac:picMkLst>
          </pc:picChg>
        </pc:sldLayoutChg>
        <pc:sldLayoutChg chg="addSp modSp mod">
          <pc:chgData name="Mick Mooney" userId="e6518e4e-af4a-4bea-b39c-20489a1e5519" providerId="ADAL" clId="{3014DE50-B07B-4776-BEAC-0F779D92A13E}" dt="2023-07-31T15:49:51.152" v="33390" actId="14100"/>
          <pc:sldLayoutMkLst>
            <pc:docMk/>
            <pc:sldMasterMk cId="3845511995" sldId="2147483660"/>
            <pc:sldLayoutMk cId="1451516886" sldId="2147484242"/>
          </pc:sldLayoutMkLst>
          <pc:picChg chg="add mod ord">
            <ac:chgData name="Mick Mooney" userId="e6518e4e-af4a-4bea-b39c-20489a1e5519" providerId="ADAL" clId="{3014DE50-B07B-4776-BEAC-0F779D92A13E}" dt="2023-07-31T15:49:51.152" v="33390" actId="14100"/>
            <ac:picMkLst>
              <pc:docMk/>
              <pc:sldMasterMk cId="3845511995" sldId="2147483660"/>
              <pc:sldLayoutMk cId="1451516886" sldId="2147484242"/>
              <ac:picMk id="5" creationId="{86D655CE-5A70-BE0E-8D65-F54BF1667110}"/>
            </ac:picMkLst>
          </pc:picChg>
        </pc:sldLayoutChg>
        <pc:sldLayoutChg chg="addSp delSp modSp mod">
          <pc:chgData name="Mick Mooney" userId="e6518e4e-af4a-4bea-b39c-20489a1e5519" providerId="ADAL" clId="{3014DE50-B07B-4776-BEAC-0F779D92A13E}" dt="2023-07-25T17:28:38.189" v="15368"/>
          <pc:sldLayoutMkLst>
            <pc:docMk/>
            <pc:sldMasterMk cId="3845511995" sldId="2147483660"/>
            <pc:sldLayoutMk cId="4267380075" sldId="2147484244"/>
          </pc:sldLayoutMkLst>
          <pc:spChg chg="del">
            <ac:chgData name="Mick Mooney" userId="e6518e4e-af4a-4bea-b39c-20489a1e5519" providerId="ADAL" clId="{3014DE50-B07B-4776-BEAC-0F779D92A13E}" dt="2023-07-25T17:28:35.520" v="15367" actId="478"/>
            <ac:spMkLst>
              <pc:docMk/>
              <pc:sldMasterMk cId="3845511995" sldId="2147483660"/>
              <pc:sldLayoutMk cId="4267380075" sldId="2147484244"/>
              <ac:spMk id="2" creationId="{651D3810-9D1F-4C24-8D6F-C80E3C796C55}"/>
            </ac:spMkLst>
          </pc:spChg>
          <pc:picChg chg="add mod">
            <ac:chgData name="Mick Mooney" userId="e6518e4e-af4a-4bea-b39c-20489a1e5519" providerId="ADAL" clId="{3014DE50-B07B-4776-BEAC-0F779D92A13E}" dt="2023-07-25T17:28:38.189" v="15368"/>
            <ac:picMkLst>
              <pc:docMk/>
              <pc:sldMasterMk cId="3845511995" sldId="2147483660"/>
              <pc:sldLayoutMk cId="4267380075" sldId="2147484244"/>
              <ac:picMk id="10" creationId="{8D23BE18-054F-079C-DFFB-78098F4262F3}"/>
            </ac:picMkLst>
          </pc:picChg>
        </pc:sldLayoutChg>
        <pc:sldLayoutChg chg="addSp delSp modSp mod">
          <pc:chgData name="Mick Mooney" userId="e6518e4e-af4a-4bea-b39c-20489a1e5519" providerId="ADAL" clId="{3014DE50-B07B-4776-BEAC-0F779D92A13E}" dt="2023-07-31T15:31:36.045" v="33112" actId="14100"/>
          <pc:sldLayoutMkLst>
            <pc:docMk/>
            <pc:sldMasterMk cId="3845511995" sldId="2147483660"/>
            <pc:sldLayoutMk cId="43161935" sldId="2147484249"/>
          </pc:sldLayoutMkLst>
          <pc:spChg chg="mod">
            <ac:chgData name="Mick Mooney" userId="e6518e4e-af4a-4bea-b39c-20489a1e5519" providerId="ADAL" clId="{3014DE50-B07B-4776-BEAC-0F779D92A13E}" dt="2023-07-31T15:31:36.045" v="33112" actId="14100"/>
            <ac:spMkLst>
              <pc:docMk/>
              <pc:sldMasterMk cId="3845511995" sldId="2147483660"/>
              <pc:sldLayoutMk cId="43161935" sldId="2147484249"/>
              <ac:spMk id="27" creationId="{66F2E7BD-E26C-4C11-9061-EDDEF250F475}"/>
            </ac:spMkLst>
          </pc:spChg>
          <pc:picChg chg="add mod ord">
            <ac:chgData name="Mick Mooney" userId="e6518e4e-af4a-4bea-b39c-20489a1e5519" providerId="ADAL" clId="{3014DE50-B07B-4776-BEAC-0F779D92A13E}" dt="2023-07-31T15:31:32.838" v="33111" actId="14100"/>
            <ac:picMkLst>
              <pc:docMk/>
              <pc:sldMasterMk cId="3845511995" sldId="2147483660"/>
              <pc:sldLayoutMk cId="43161935" sldId="2147484249"/>
              <ac:picMk id="2" creationId="{32BA9F16-6B4D-D4B5-C025-14193EC1957D}"/>
            </ac:picMkLst>
          </pc:picChg>
          <pc:picChg chg="del">
            <ac:chgData name="Mick Mooney" userId="e6518e4e-af4a-4bea-b39c-20489a1e5519" providerId="ADAL" clId="{3014DE50-B07B-4776-BEAC-0F779D92A13E}" dt="2023-07-31T15:31:24.950" v="33108" actId="478"/>
            <ac:picMkLst>
              <pc:docMk/>
              <pc:sldMasterMk cId="3845511995" sldId="2147483660"/>
              <pc:sldLayoutMk cId="43161935" sldId="2147484249"/>
              <ac:picMk id="26" creationId="{57BA450A-9C0E-495D-A770-5A35C23CDF32}"/>
            </ac:picMkLst>
          </pc:picChg>
        </pc:sldLayoutChg>
      </pc:sldMasterChg>
    </pc:docChg>
  </pc:docChgLst>
  <pc:docChgLst>
    <pc:chgData name="Immanuel J Daniel" userId="S::immanuel.johnston.daniel@ie.ey.com::b9141605-49ff-443e-8af4-0c21e2766a66" providerId="AD" clId="Web-{9FDD1B4B-08E7-9B14-044D-BA94EB95032A}"/>
    <pc:docChg chg="modSld">
      <pc:chgData name="Immanuel J Daniel" userId="S::immanuel.johnston.daniel@ie.ey.com::b9141605-49ff-443e-8af4-0c21e2766a66" providerId="AD" clId="Web-{9FDD1B4B-08E7-9B14-044D-BA94EB95032A}" dt="2023-08-14T21:32:03.353" v="206" actId="20577"/>
      <pc:docMkLst>
        <pc:docMk/>
      </pc:docMkLst>
      <pc:sldChg chg="modSp">
        <pc:chgData name="Immanuel J Daniel" userId="S::immanuel.johnston.daniel@ie.ey.com::b9141605-49ff-443e-8af4-0c21e2766a66" providerId="AD" clId="Web-{9FDD1B4B-08E7-9B14-044D-BA94EB95032A}" dt="2023-08-14T21:30:14.752" v="203" actId="20577"/>
        <pc:sldMkLst>
          <pc:docMk/>
          <pc:sldMk cId="1389044736" sldId="2147472974"/>
        </pc:sldMkLst>
        <pc:spChg chg="mod">
          <ac:chgData name="Immanuel J Daniel" userId="S::immanuel.johnston.daniel@ie.ey.com::b9141605-49ff-443e-8af4-0c21e2766a66" providerId="AD" clId="Web-{9FDD1B4B-08E7-9B14-044D-BA94EB95032A}" dt="2023-08-14T21:30:14.752" v="203" actId="20577"/>
          <ac:spMkLst>
            <pc:docMk/>
            <pc:sldMk cId="1389044736" sldId="2147472974"/>
            <ac:spMk id="35" creationId="{1D844D77-8344-4662-A545-0479C696B9B1}"/>
          </ac:spMkLst>
        </pc:spChg>
      </pc:sldChg>
      <pc:sldChg chg="modSp">
        <pc:chgData name="Immanuel J Daniel" userId="S::immanuel.johnston.daniel@ie.ey.com::b9141605-49ff-443e-8af4-0c21e2766a66" providerId="AD" clId="Web-{9FDD1B4B-08E7-9B14-044D-BA94EB95032A}" dt="2023-08-14T21:32:03.353" v="206" actId="20577"/>
        <pc:sldMkLst>
          <pc:docMk/>
          <pc:sldMk cId="3034964083" sldId="2147479684"/>
        </pc:sldMkLst>
        <pc:spChg chg="mod">
          <ac:chgData name="Immanuel J Daniel" userId="S::immanuel.johnston.daniel@ie.ey.com::b9141605-49ff-443e-8af4-0c21e2766a66" providerId="AD" clId="Web-{9FDD1B4B-08E7-9B14-044D-BA94EB95032A}" dt="2023-08-14T21:32:03.353" v="206" actId="20577"/>
          <ac:spMkLst>
            <pc:docMk/>
            <pc:sldMk cId="3034964083" sldId="2147479684"/>
            <ac:spMk id="137" creationId="{B51CC133-C72C-40AC-8D37-B7AA95129E52}"/>
          </ac:spMkLst>
        </pc:spChg>
      </pc:sldChg>
    </pc:docChg>
  </pc:docChgLst>
  <pc:docChgLst>
    <pc:chgData name="Harry Corbally" userId="7bf95c23-a0bd-431a-959d-3e4cf5bc55cb" providerId="ADAL" clId="{DBDE009D-9F4F-492C-ACB9-8A3302037A62}"/>
    <pc:docChg chg="undo custSel modSld">
      <pc:chgData name="Harry Corbally" userId="7bf95c23-a0bd-431a-959d-3e4cf5bc55cb" providerId="ADAL" clId="{DBDE009D-9F4F-492C-ACB9-8A3302037A62}" dt="2023-05-18T11:05:40.910" v="190"/>
      <pc:docMkLst>
        <pc:docMk/>
      </pc:docMkLst>
      <pc:sldChg chg="addSp delSp modSp mod">
        <pc:chgData name="Harry Corbally" userId="7bf95c23-a0bd-431a-959d-3e4cf5bc55cb" providerId="ADAL" clId="{DBDE009D-9F4F-492C-ACB9-8A3302037A62}" dt="2023-04-25T10:29:50.782" v="166" actId="1076"/>
        <pc:sldMkLst>
          <pc:docMk/>
          <pc:sldMk cId="2692628411" sldId="728"/>
        </pc:sldMkLst>
        <pc:spChg chg="mod replST delST">
          <ac:chgData name="Harry Corbally" userId="7bf95c23-a0bd-431a-959d-3e4cf5bc55cb" providerId="ADAL" clId="{DBDE009D-9F4F-492C-ACB9-8A3302037A62}" dt="2023-04-25T10:29:31.816" v="160"/>
          <ac:spMkLst>
            <pc:docMk/>
            <pc:sldMk cId="2692628411" sldId="728"/>
            <ac:spMk id="9" creationId="{00000000-0000-0000-0000-000000000000}"/>
          </ac:spMkLst>
        </pc:spChg>
        <pc:spChg chg="mod replST delST">
          <ac:chgData name="Harry Corbally" userId="7bf95c23-a0bd-431a-959d-3e4cf5bc55cb" providerId="ADAL" clId="{DBDE009D-9F4F-492C-ACB9-8A3302037A62}" dt="2023-04-25T10:19:31.357" v="10"/>
          <ac:spMkLst>
            <pc:docMk/>
            <pc:sldMk cId="2692628411" sldId="728"/>
            <ac:spMk id="12" creationId="{75AB7774-F316-44FD-BA2B-5CD004DB40F0}"/>
          </ac:spMkLst>
        </pc:spChg>
        <pc:spChg chg="mod">
          <ac:chgData name="Harry Corbally" userId="7bf95c23-a0bd-431a-959d-3e4cf5bc55cb" providerId="ADAL" clId="{DBDE009D-9F4F-492C-ACB9-8A3302037A62}" dt="2023-04-25T10:19:39.414" v="11" actId="1076"/>
          <ac:spMkLst>
            <pc:docMk/>
            <pc:sldMk cId="2692628411" sldId="728"/>
            <ac:spMk id="17" creationId="{D0E9ED39-559F-4069-AF9D-6D42599F6622}"/>
          </ac:spMkLst>
        </pc:spChg>
        <pc:spChg chg="add mod">
          <ac:chgData name="Harry Corbally" userId="7bf95c23-a0bd-431a-959d-3e4cf5bc55cb" providerId="ADAL" clId="{DBDE009D-9F4F-492C-ACB9-8A3302037A62}" dt="2023-04-25T10:20:18.749" v="24" actId="1076"/>
          <ac:spMkLst>
            <pc:docMk/>
            <pc:sldMk cId="2692628411" sldId="728"/>
            <ac:spMk id="18" creationId="{45825331-530C-461D-8A14-E6577811EA19}"/>
          </ac:spMkLst>
        </pc:spChg>
        <pc:spChg chg="add del mod replST delST">
          <ac:chgData name="Harry Corbally" userId="7bf95c23-a0bd-431a-959d-3e4cf5bc55cb" providerId="ADAL" clId="{DBDE009D-9F4F-492C-ACB9-8A3302037A62}" dt="2023-04-25T10:20:02.552" v="21" actId="478"/>
          <ac:spMkLst>
            <pc:docMk/>
            <pc:sldMk cId="2692628411" sldId="728"/>
            <ac:spMk id="23" creationId="{1490668F-0C7A-4976-91A8-93DFE7208BEC}"/>
          </ac:spMkLst>
        </pc:spChg>
        <pc:spChg chg="add del replST delST">
          <ac:chgData name="Harry Corbally" userId="7bf95c23-a0bd-431a-959d-3e4cf5bc55cb" providerId="ADAL" clId="{DBDE009D-9F4F-492C-ACB9-8A3302037A62}" dt="2023-04-25T10:21:59.465" v="50" actId="22"/>
          <ac:spMkLst>
            <pc:docMk/>
            <pc:sldMk cId="2692628411" sldId="728"/>
            <ac:spMk id="25" creationId="{0938E35C-E7BF-42D7-B9E3-DB84015F7EA6}"/>
          </ac:spMkLst>
        </pc:spChg>
        <pc:spChg chg="mod">
          <ac:chgData name="Harry Corbally" userId="7bf95c23-a0bd-431a-959d-3e4cf5bc55cb" providerId="ADAL" clId="{DBDE009D-9F4F-492C-ACB9-8A3302037A62}" dt="2023-04-25T10:19:55.024" v="13" actId="1076"/>
          <ac:spMkLst>
            <pc:docMk/>
            <pc:sldMk cId="2692628411" sldId="728"/>
            <ac:spMk id="26" creationId="{CFC42381-D141-437E-82F7-79A767A41D2C}"/>
          </ac:spMkLst>
        </pc:spChg>
        <pc:spChg chg="mod">
          <ac:chgData name="Harry Corbally" userId="7bf95c23-a0bd-431a-959d-3e4cf5bc55cb" providerId="ADAL" clId="{DBDE009D-9F4F-492C-ACB9-8A3302037A62}" dt="2023-04-25T10:19:48.992" v="12" actId="1076"/>
          <ac:spMkLst>
            <pc:docMk/>
            <pc:sldMk cId="2692628411" sldId="728"/>
            <ac:spMk id="28" creationId="{F69B2A42-3FA7-4C57-A267-11A088975BF4}"/>
          </ac:spMkLst>
        </pc:spChg>
        <pc:spChg chg="mod">
          <ac:chgData name="Harry Corbally" userId="7bf95c23-a0bd-431a-959d-3e4cf5bc55cb" providerId="ADAL" clId="{DBDE009D-9F4F-492C-ACB9-8A3302037A62}" dt="2023-04-25T10:20:09.003" v="23" actId="1076"/>
          <ac:spMkLst>
            <pc:docMk/>
            <pc:sldMk cId="2692628411" sldId="728"/>
            <ac:spMk id="29" creationId="{B9353878-77D1-4614-8907-E055428D4526}"/>
          </ac:spMkLst>
        </pc:spChg>
        <pc:picChg chg="add mod">
          <ac:chgData name="Harry Corbally" userId="7bf95c23-a0bd-431a-959d-3e4cf5bc55cb" providerId="ADAL" clId="{DBDE009D-9F4F-492C-ACB9-8A3302037A62}" dt="2023-04-25T10:29:50.782" v="166" actId="1076"/>
          <ac:picMkLst>
            <pc:docMk/>
            <pc:sldMk cId="2692628411" sldId="728"/>
            <ac:picMk id="2" creationId="{EA6B08A3-E6EC-45A6-97EB-93B59FB3CD57}"/>
          </ac:picMkLst>
        </pc:picChg>
        <pc:picChg chg="mod">
          <ac:chgData name="Harry Corbally" userId="7bf95c23-a0bd-431a-959d-3e4cf5bc55cb" providerId="ADAL" clId="{DBDE009D-9F4F-492C-ACB9-8A3302037A62}" dt="2023-04-25T10:29:38.911" v="162" actId="1076"/>
          <ac:picMkLst>
            <pc:docMk/>
            <pc:sldMk cId="2692628411" sldId="728"/>
            <ac:picMk id="3" creationId="{F556333C-0E35-4A92-A854-8B93FA45FF31}"/>
          </ac:picMkLst>
        </pc:picChg>
        <pc:picChg chg="mod">
          <ac:chgData name="Harry Corbally" userId="7bf95c23-a0bd-431a-959d-3e4cf5bc55cb" providerId="ADAL" clId="{DBDE009D-9F4F-492C-ACB9-8A3302037A62}" dt="2023-04-25T10:19:55.024" v="13" actId="1076"/>
          <ac:picMkLst>
            <pc:docMk/>
            <pc:sldMk cId="2692628411" sldId="728"/>
            <ac:picMk id="4" creationId="{A8F6EEE1-DF4A-D03B-C595-7E04C93AEC67}"/>
          </ac:picMkLst>
        </pc:picChg>
        <pc:picChg chg="mod">
          <ac:chgData name="Harry Corbally" userId="7bf95c23-a0bd-431a-959d-3e4cf5bc55cb" providerId="ADAL" clId="{DBDE009D-9F4F-492C-ACB9-8A3302037A62}" dt="2023-04-25T10:29:42.070" v="163" actId="1076"/>
          <ac:picMkLst>
            <pc:docMk/>
            <pc:sldMk cId="2692628411" sldId="728"/>
            <ac:picMk id="7" creationId="{56332148-F504-469E-A7BE-E9E3E9FDC19E}"/>
          </ac:picMkLst>
        </pc:picChg>
        <pc:picChg chg="mod">
          <ac:chgData name="Harry Corbally" userId="7bf95c23-a0bd-431a-959d-3e4cf5bc55cb" providerId="ADAL" clId="{DBDE009D-9F4F-492C-ACB9-8A3302037A62}" dt="2023-04-25T10:20:09.003" v="23" actId="1076"/>
          <ac:picMkLst>
            <pc:docMk/>
            <pc:sldMk cId="2692628411" sldId="728"/>
            <ac:picMk id="10" creationId="{3D8CDDD7-9123-BE69-33C6-57DEC3B62D69}"/>
          </ac:picMkLst>
        </pc:picChg>
        <pc:picChg chg="mod">
          <ac:chgData name="Harry Corbally" userId="7bf95c23-a0bd-431a-959d-3e4cf5bc55cb" providerId="ADAL" clId="{DBDE009D-9F4F-492C-ACB9-8A3302037A62}" dt="2023-04-25T10:29:36.175" v="161" actId="1076"/>
          <ac:picMkLst>
            <pc:docMk/>
            <pc:sldMk cId="2692628411" sldId="728"/>
            <ac:picMk id="11" creationId="{BE9FB165-A0C4-4BC6-818B-C10661B95CC6}"/>
          </ac:picMkLst>
        </pc:picChg>
        <pc:picChg chg="mod">
          <ac:chgData name="Harry Corbally" userId="7bf95c23-a0bd-431a-959d-3e4cf5bc55cb" providerId="ADAL" clId="{DBDE009D-9F4F-492C-ACB9-8A3302037A62}" dt="2023-04-25T10:19:39.414" v="11" actId="1076"/>
          <ac:picMkLst>
            <pc:docMk/>
            <pc:sldMk cId="2692628411" sldId="728"/>
            <ac:picMk id="15" creationId="{9F6E0542-7430-41C8-9979-20E2C5598AB7}"/>
          </ac:picMkLst>
        </pc:picChg>
        <pc:picChg chg="add mod">
          <ac:chgData name="Harry Corbally" userId="7bf95c23-a0bd-431a-959d-3e4cf5bc55cb" providerId="ADAL" clId="{DBDE009D-9F4F-492C-ACB9-8A3302037A62}" dt="2023-04-25T10:20:18.749" v="24" actId="1076"/>
          <ac:picMkLst>
            <pc:docMk/>
            <pc:sldMk cId="2692628411" sldId="728"/>
            <ac:picMk id="19" creationId="{1C522279-CFB9-4CED-9971-215D55C70DF6}"/>
          </ac:picMkLst>
        </pc:picChg>
        <pc:picChg chg="mod">
          <ac:chgData name="Harry Corbally" userId="7bf95c23-a0bd-431a-959d-3e4cf5bc55cb" providerId="ADAL" clId="{DBDE009D-9F4F-492C-ACB9-8A3302037A62}" dt="2023-04-25T10:29:47.942" v="165" actId="1076"/>
          <ac:picMkLst>
            <pc:docMk/>
            <pc:sldMk cId="2692628411" sldId="728"/>
            <ac:picMk id="20" creationId="{1BC32020-A786-4F29-AC56-D7B34044189B}"/>
          </ac:picMkLst>
        </pc:picChg>
        <pc:picChg chg="mod">
          <ac:chgData name="Harry Corbally" userId="7bf95c23-a0bd-431a-959d-3e4cf5bc55cb" providerId="ADAL" clId="{DBDE009D-9F4F-492C-ACB9-8A3302037A62}" dt="2023-04-25T10:19:48.992" v="12" actId="1076"/>
          <ac:picMkLst>
            <pc:docMk/>
            <pc:sldMk cId="2692628411" sldId="728"/>
            <ac:picMk id="21" creationId="{3F631ACE-01A8-4AFD-BBAF-4412E86BCE38}"/>
          </ac:picMkLst>
        </pc:picChg>
        <pc:picChg chg="add del mod">
          <ac:chgData name="Harry Corbally" userId="7bf95c23-a0bd-431a-959d-3e4cf5bc55cb" providerId="ADAL" clId="{DBDE009D-9F4F-492C-ACB9-8A3302037A62}" dt="2023-04-25T10:20:04.555" v="22" actId="478"/>
          <ac:picMkLst>
            <pc:docMk/>
            <pc:sldMk cId="2692628411" sldId="728"/>
            <ac:picMk id="24" creationId="{5FE87795-7ADD-4BF2-8A39-FB415C12457F}"/>
          </ac:picMkLst>
        </pc:picChg>
      </pc:sldChg>
      <pc:sldChg chg="modSp mod">
        <pc:chgData name="Harry Corbally" userId="7bf95c23-a0bd-431a-959d-3e4cf5bc55cb" providerId="ADAL" clId="{DBDE009D-9F4F-492C-ACB9-8A3302037A62}" dt="2023-04-25T10:12:21.414" v="3"/>
        <pc:sldMkLst>
          <pc:docMk/>
          <pc:sldMk cId="1500833212" sldId="2142535223"/>
        </pc:sldMkLst>
        <pc:spChg chg="replST delST">
          <ac:chgData name="Harry Corbally" userId="7bf95c23-a0bd-431a-959d-3e4cf5bc55cb" providerId="ADAL" clId="{DBDE009D-9F4F-492C-ACB9-8A3302037A62}" dt="2023-04-25T10:12:21.414" v="3"/>
          <ac:spMkLst>
            <pc:docMk/>
            <pc:sldMk cId="1500833212" sldId="2142535223"/>
            <ac:spMk id="14" creationId="{7483C35A-FFCD-4BDC-86DA-68091FD80D19}"/>
          </ac:spMkLst>
        </pc:spChg>
      </pc:sldChg>
      <pc:sldChg chg="modSp mod">
        <pc:chgData name="Harry Corbally" userId="7bf95c23-a0bd-431a-959d-3e4cf5bc55cb" providerId="ADAL" clId="{DBDE009D-9F4F-492C-ACB9-8A3302037A62}" dt="2023-05-11T10:43:38.121" v="184"/>
        <pc:sldMkLst>
          <pc:docMk/>
          <pc:sldMk cId="1508220717" sldId="2147473085"/>
        </pc:sldMkLst>
        <pc:spChg chg="replST delST">
          <ac:chgData name="Harry Corbally" userId="7bf95c23-a0bd-431a-959d-3e4cf5bc55cb" providerId="ADAL" clId="{DBDE009D-9F4F-492C-ACB9-8A3302037A62}" dt="2023-05-11T10:11:00.486" v="178"/>
          <ac:spMkLst>
            <pc:docMk/>
            <pc:sldMk cId="1508220717" sldId="2147473085"/>
            <ac:spMk id="26" creationId="{1CE9B9E0-DF1C-33CE-C9A4-68074848AAB2}"/>
          </ac:spMkLst>
        </pc:spChg>
        <pc:spChg chg="replST delST">
          <ac:chgData name="Harry Corbally" userId="7bf95c23-a0bd-431a-959d-3e4cf5bc55cb" providerId="ADAL" clId="{DBDE009D-9F4F-492C-ACB9-8A3302037A62}" dt="2023-05-11T10:43:38.121" v="184"/>
          <ac:spMkLst>
            <pc:docMk/>
            <pc:sldMk cId="1508220717" sldId="2147473085"/>
            <ac:spMk id="27" creationId="{319E35AD-29C6-153A-B59E-AE16FE64AE3C}"/>
          </ac:spMkLst>
        </pc:spChg>
      </pc:sldChg>
      <pc:sldChg chg="modSp mod">
        <pc:chgData name="Harry Corbally" userId="7bf95c23-a0bd-431a-959d-3e4cf5bc55cb" providerId="ADAL" clId="{DBDE009D-9F4F-492C-ACB9-8A3302037A62}" dt="2023-05-18T11:05:40.910" v="190"/>
        <pc:sldMkLst>
          <pc:docMk/>
          <pc:sldMk cId="2662812352" sldId="2147473096"/>
        </pc:sldMkLst>
        <pc:spChg chg="replST delST">
          <ac:chgData name="Harry Corbally" userId="7bf95c23-a0bd-431a-959d-3e4cf5bc55cb" providerId="ADAL" clId="{DBDE009D-9F4F-492C-ACB9-8A3302037A62}" dt="2023-05-18T11:05:40.910" v="190"/>
          <ac:spMkLst>
            <pc:docMk/>
            <pc:sldMk cId="2662812352" sldId="2147473096"/>
            <ac:spMk id="8" creationId="{7824D54C-15D2-467C-A016-166944D0781C}"/>
          </ac:spMkLst>
        </pc:spChg>
        <pc:spChg chg="replST delST">
          <ac:chgData name="Harry Corbally" userId="7bf95c23-a0bd-431a-959d-3e4cf5bc55cb" providerId="ADAL" clId="{DBDE009D-9F4F-492C-ACB9-8A3302037A62}" dt="2023-05-18T11:05:40.163" v="189"/>
          <ac:spMkLst>
            <pc:docMk/>
            <pc:sldMk cId="2662812352" sldId="2147473096"/>
            <ac:spMk id="12" creationId="{1401C0CD-C055-70D5-9A4A-EF9AB12D4D92}"/>
          </ac:spMkLst>
        </pc:spChg>
        <pc:spChg chg="replST delST">
          <ac:chgData name="Harry Corbally" userId="7bf95c23-a0bd-431a-959d-3e4cf5bc55cb" providerId="ADAL" clId="{DBDE009D-9F4F-492C-ACB9-8A3302037A62}" dt="2023-05-18T11:05:35.747" v="187"/>
          <ac:spMkLst>
            <pc:docMk/>
            <pc:sldMk cId="2662812352" sldId="2147473096"/>
            <ac:spMk id="52" creationId="{44AD4AEB-557C-404A-A2A8-976A126571D3}"/>
          </ac:spMkLst>
        </pc:spChg>
      </pc:sldChg>
      <pc:sldChg chg="modSp mod">
        <pc:chgData name="Harry Corbally" userId="7bf95c23-a0bd-431a-959d-3e4cf5bc55cb" providerId="ADAL" clId="{DBDE009D-9F4F-492C-ACB9-8A3302037A62}" dt="2023-04-25T13:15:19.234" v="170"/>
        <pc:sldMkLst>
          <pc:docMk/>
          <pc:sldMk cId="2364299347" sldId="2147473116"/>
        </pc:sldMkLst>
        <pc:spChg chg="replST delST">
          <ac:chgData name="Harry Corbally" userId="7bf95c23-a0bd-431a-959d-3e4cf5bc55cb" providerId="ADAL" clId="{DBDE009D-9F4F-492C-ACB9-8A3302037A62}" dt="2023-04-25T13:15:19.234" v="170"/>
          <ac:spMkLst>
            <pc:docMk/>
            <pc:sldMk cId="2364299347" sldId="2147473116"/>
            <ac:spMk id="3" creationId="{054356EA-79F4-3612-54CC-809CBFF37041}"/>
          </ac:spMkLst>
        </pc:spChg>
        <pc:spChg chg="replST delST">
          <ac:chgData name="Harry Corbally" userId="7bf95c23-a0bd-431a-959d-3e4cf5bc55cb" providerId="ADAL" clId="{DBDE009D-9F4F-492C-ACB9-8A3302037A62}" dt="2023-04-25T13:15:14.893" v="168"/>
          <ac:spMkLst>
            <pc:docMk/>
            <pc:sldMk cId="2364299347" sldId="2147473116"/>
            <ac:spMk id="8" creationId="{7824D54C-15D2-467C-A016-166944D0781C}"/>
          </ac:spMkLst>
        </pc:spChg>
      </pc:sldChg>
      <pc:sldChg chg="modSp mod">
        <pc:chgData name="Harry Corbally" userId="7bf95c23-a0bd-431a-959d-3e4cf5bc55cb" providerId="ADAL" clId="{DBDE009D-9F4F-492C-ACB9-8A3302037A62}" dt="2023-05-10T08:41:21.934" v="176"/>
        <pc:sldMkLst>
          <pc:docMk/>
          <pc:sldMk cId="776080740" sldId="2147479558"/>
        </pc:sldMkLst>
        <pc:spChg chg="replST delST">
          <ac:chgData name="Harry Corbally" userId="7bf95c23-a0bd-431a-959d-3e4cf5bc55cb" providerId="ADAL" clId="{DBDE009D-9F4F-492C-ACB9-8A3302037A62}" dt="2023-05-10T08:41:06.261" v="173"/>
          <ac:spMkLst>
            <pc:docMk/>
            <pc:sldMk cId="776080740" sldId="2147479558"/>
            <ac:spMk id="5" creationId="{C4C24851-0BFB-4EAC-9EFA-216B7E0A7C41}"/>
          </ac:spMkLst>
        </pc:spChg>
        <pc:spChg chg="replST delST">
          <ac:chgData name="Harry Corbally" userId="7bf95c23-a0bd-431a-959d-3e4cf5bc55cb" providerId="ADAL" clId="{DBDE009D-9F4F-492C-ACB9-8A3302037A62}" dt="2023-05-10T08:41:21.934" v="176"/>
          <ac:spMkLst>
            <pc:docMk/>
            <pc:sldMk cId="776080740" sldId="2147479558"/>
            <ac:spMk id="7" creationId="{75AE26E8-D7A0-4F25-953F-76C58086051B}"/>
          </ac:spMkLst>
        </pc:spChg>
      </pc:sldChg>
    </pc:docChg>
  </pc:docChgLst>
  <pc:docChgLst>
    <pc:chgData name="Jeffrey Obi" userId="S::jeffrey.obi@ie.ey.com::488f269d-1fa2-455e-bf95-7695136a100d" providerId="AD" clId="Web-{DFAE3890-31B3-932C-3263-46ACA7ED4B22}"/>
    <pc:docChg chg="modSld">
      <pc:chgData name="Jeffrey Obi" userId="S::jeffrey.obi@ie.ey.com::488f269d-1fa2-455e-bf95-7695136a100d" providerId="AD" clId="Web-{DFAE3890-31B3-932C-3263-46ACA7ED4B22}" dt="2023-08-02T09:18:22.554" v="104" actId="20577"/>
      <pc:docMkLst>
        <pc:docMk/>
      </pc:docMkLst>
      <pc:sldChg chg="modSp">
        <pc:chgData name="Jeffrey Obi" userId="S::jeffrey.obi@ie.ey.com::488f269d-1fa2-455e-bf95-7695136a100d" providerId="AD" clId="Web-{DFAE3890-31B3-932C-3263-46ACA7ED4B22}" dt="2023-08-02T09:18:22.554" v="104" actId="20577"/>
        <pc:sldMkLst>
          <pc:docMk/>
          <pc:sldMk cId="1066138" sldId="2147479646"/>
        </pc:sldMkLst>
        <pc:spChg chg="mod">
          <ac:chgData name="Jeffrey Obi" userId="S::jeffrey.obi@ie.ey.com::488f269d-1fa2-455e-bf95-7695136a100d" providerId="AD" clId="Web-{DFAE3890-31B3-932C-3263-46ACA7ED4B22}" dt="2023-08-02T06:27:32.650" v="52" actId="20577"/>
          <ac:spMkLst>
            <pc:docMk/>
            <pc:sldMk cId="1066138" sldId="2147479646"/>
            <ac:spMk id="14" creationId="{E8A55644-11AD-FD70-1A30-6A95013BD141}"/>
          </ac:spMkLst>
        </pc:spChg>
        <pc:spChg chg="mod">
          <ac:chgData name="Jeffrey Obi" userId="S::jeffrey.obi@ie.ey.com::488f269d-1fa2-455e-bf95-7695136a100d" providerId="AD" clId="Web-{DFAE3890-31B3-932C-3263-46ACA7ED4B22}" dt="2023-08-02T09:18:22.554" v="104" actId="20577"/>
          <ac:spMkLst>
            <pc:docMk/>
            <pc:sldMk cId="1066138" sldId="2147479646"/>
            <ac:spMk id="16" creationId="{E1F487BF-2DB8-5EDD-C394-30A9E2FAAF66}"/>
          </ac:spMkLst>
        </pc:spChg>
      </pc:sldChg>
    </pc:docChg>
  </pc:docChgLst>
  <pc:docChgLst>
    <pc:chgData name="Saransh Sharma" userId="S::saransh.sharma2@ie.ey.com::794448f8-8690-4bb3-88df-a986ba4dae3a" providerId="AD" clId="Web-{143A7C23-CA66-F684-3FEE-4002DE41DAB8}"/>
    <pc:docChg chg="sldOrd">
      <pc:chgData name="Saransh Sharma" userId="S::saransh.sharma2@ie.ey.com::794448f8-8690-4bb3-88df-a986ba4dae3a" providerId="AD" clId="Web-{143A7C23-CA66-F684-3FEE-4002DE41DAB8}" dt="2023-07-24T09:52:49.190" v="0"/>
      <pc:docMkLst>
        <pc:docMk/>
      </pc:docMkLst>
      <pc:sldChg chg="ord">
        <pc:chgData name="Saransh Sharma" userId="S::saransh.sharma2@ie.ey.com::794448f8-8690-4bb3-88df-a986ba4dae3a" providerId="AD" clId="Web-{143A7C23-CA66-F684-3FEE-4002DE41DAB8}" dt="2023-07-24T09:52:49.190" v="0"/>
        <pc:sldMkLst>
          <pc:docMk/>
          <pc:sldMk cId="2364299347" sldId="2147473116"/>
        </pc:sldMkLst>
      </pc:sldChg>
    </pc:docChg>
  </pc:docChgLst>
  <pc:docChgLst>
    <pc:chgData name="Immanuel J Daniel" userId="S::immanuel.johnston.daniel@ie.ey.com::b9141605-49ff-443e-8af4-0c21e2766a66" providerId="AD" clId="Web-{7E1AD189-A8EC-3834-67ED-AECA7F82F027}"/>
    <pc:docChg chg="modSld">
      <pc:chgData name="Immanuel J Daniel" userId="S::immanuel.johnston.daniel@ie.ey.com::b9141605-49ff-443e-8af4-0c21e2766a66" providerId="AD" clId="Web-{7E1AD189-A8EC-3834-67ED-AECA7F82F027}" dt="2023-08-15T13:57:24.368" v="1"/>
      <pc:docMkLst>
        <pc:docMk/>
      </pc:docMkLst>
      <pc:sldChg chg="addSp delSp modSp mod modClrScheme chgLayout">
        <pc:chgData name="Immanuel J Daniel" userId="S::immanuel.johnston.daniel@ie.ey.com::b9141605-49ff-443e-8af4-0c21e2766a66" providerId="AD" clId="Web-{7E1AD189-A8EC-3834-67ED-AECA7F82F027}" dt="2023-08-15T13:57:24.368" v="1"/>
        <pc:sldMkLst>
          <pc:docMk/>
          <pc:sldMk cId="1569982749" sldId="2142535160"/>
        </pc:sldMkLst>
        <pc:spChg chg="mod ord">
          <ac:chgData name="Immanuel J Daniel" userId="S::immanuel.johnston.daniel@ie.ey.com::b9141605-49ff-443e-8af4-0c21e2766a66" providerId="AD" clId="Web-{7E1AD189-A8EC-3834-67ED-AECA7F82F027}" dt="2023-08-15T13:57:24.368" v="1"/>
          <ac:spMkLst>
            <pc:docMk/>
            <pc:sldMk cId="1569982749" sldId="2142535160"/>
            <ac:spMk id="3" creationId="{A8980307-3BD1-45D9-93CC-5318A49838A0}"/>
          </ac:spMkLst>
        </pc:spChg>
        <pc:spChg chg="add del mod ord">
          <ac:chgData name="Immanuel J Daniel" userId="S::immanuel.johnston.daniel@ie.ey.com::b9141605-49ff-443e-8af4-0c21e2766a66" providerId="AD" clId="Web-{7E1AD189-A8EC-3834-67ED-AECA7F82F027}" dt="2023-08-15T13:57:24.368" v="1"/>
          <ac:spMkLst>
            <pc:docMk/>
            <pc:sldMk cId="1569982749" sldId="2142535160"/>
            <ac:spMk id="11" creationId="{FF19B270-1462-4A5B-B6DA-779E3546F9BC}"/>
          </ac:spMkLst>
        </pc:spChg>
      </pc:sldChg>
    </pc:docChg>
  </pc:docChgLst>
  <pc:docChgLst>
    <pc:chgData name="Mick Mooney" userId="S::mick.mooney@ie.ey.com::e6518e4e-af4a-4bea-b39c-20489a1e5519" providerId="AD" clId="Web-{3B00D771-1F14-4F84-B21A-0BBC24B9D747}"/>
    <pc:docChg chg="modSld">
      <pc:chgData name="Mick Mooney" userId="S::mick.mooney@ie.ey.com::e6518e4e-af4a-4bea-b39c-20489a1e5519" providerId="AD" clId="Web-{3B00D771-1F14-4F84-B21A-0BBC24B9D747}" dt="2023-07-22T15:08:13.834" v="0" actId="20577"/>
      <pc:docMkLst>
        <pc:docMk/>
      </pc:docMkLst>
      <pc:sldChg chg="modSp">
        <pc:chgData name="Mick Mooney" userId="S::mick.mooney@ie.ey.com::e6518e4e-af4a-4bea-b39c-20489a1e5519" providerId="AD" clId="Web-{3B00D771-1F14-4F84-B21A-0BBC24B9D747}" dt="2023-07-22T15:08:13.834" v="0" actId="20577"/>
        <pc:sldMkLst>
          <pc:docMk/>
          <pc:sldMk cId="1584002695" sldId="2147479590"/>
        </pc:sldMkLst>
        <pc:spChg chg="mod">
          <ac:chgData name="Mick Mooney" userId="S::mick.mooney@ie.ey.com::e6518e4e-af4a-4bea-b39c-20489a1e5519" providerId="AD" clId="Web-{3B00D771-1F14-4F84-B21A-0BBC24B9D747}" dt="2023-07-22T15:08:13.834" v="0" actId="20577"/>
          <ac:spMkLst>
            <pc:docMk/>
            <pc:sldMk cId="1584002695" sldId="2147479590"/>
            <ac:spMk id="3" creationId="{054356EA-79F4-3612-54CC-809CBFF37041}"/>
          </ac:spMkLst>
        </pc:spChg>
      </pc:sldChg>
    </pc:docChg>
  </pc:docChgLst>
  <pc:docChgLst>
    <pc:chgData name="Anand Shinde" userId="b5f5c962-20ac-4f5c-b0d1-680fdc9a4d77" providerId="ADAL" clId="{04B65C52-5C2D-4880-BA40-FA6154FF280B}"/>
    <pc:docChg chg="undo redo custSel addSld modSld modSection">
      <pc:chgData name="Anand Shinde" userId="b5f5c962-20ac-4f5c-b0d1-680fdc9a4d77" providerId="ADAL" clId="{04B65C52-5C2D-4880-BA40-FA6154FF280B}" dt="2023-05-25T15:36:28.448" v="640" actId="20577"/>
      <pc:docMkLst>
        <pc:docMk/>
      </pc:docMkLst>
      <pc:sldChg chg="addSp delSp modSp add mod">
        <pc:chgData name="Anand Shinde" userId="b5f5c962-20ac-4f5c-b0d1-680fdc9a4d77" providerId="ADAL" clId="{04B65C52-5C2D-4880-BA40-FA6154FF280B}" dt="2023-05-25T15:36:28.448" v="640" actId="20577"/>
        <pc:sldMkLst>
          <pc:docMk/>
          <pc:sldMk cId="1094778673" sldId="2147479585"/>
        </pc:sldMkLst>
        <pc:spChg chg="mod">
          <ac:chgData name="Anand Shinde" userId="b5f5c962-20ac-4f5c-b0d1-680fdc9a4d77" providerId="ADAL" clId="{04B65C52-5C2D-4880-BA40-FA6154FF280B}" dt="2023-05-25T12:53:07.385" v="13" actId="20577"/>
          <ac:spMkLst>
            <pc:docMk/>
            <pc:sldMk cId="1094778673" sldId="2147479585"/>
            <ac:spMk id="2" creationId="{4C0D5EA6-C599-F45A-0097-6FEC2DF12ED1}"/>
          </ac:spMkLst>
        </pc:spChg>
        <pc:spChg chg="mod">
          <ac:chgData name="Anand Shinde" userId="b5f5c962-20ac-4f5c-b0d1-680fdc9a4d77" providerId="ADAL" clId="{04B65C52-5C2D-4880-BA40-FA6154FF280B}" dt="2023-05-25T15:30:04.922" v="613" actId="20577"/>
          <ac:spMkLst>
            <pc:docMk/>
            <pc:sldMk cId="1094778673" sldId="2147479585"/>
            <ac:spMk id="5" creationId="{BAADF5AA-4C61-3635-363D-9509EF2FAE53}"/>
          </ac:spMkLst>
        </pc:spChg>
        <pc:spChg chg="mod">
          <ac:chgData name="Anand Shinde" userId="b5f5c962-20ac-4f5c-b0d1-680fdc9a4d77" providerId="ADAL" clId="{04B65C52-5C2D-4880-BA40-FA6154FF280B}" dt="2023-05-25T15:35:31.694" v="633" actId="6549"/>
          <ac:spMkLst>
            <pc:docMk/>
            <pc:sldMk cId="1094778673" sldId="2147479585"/>
            <ac:spMk id="25" creationId="{4A4B2E5C-FC9B-4FB8-AA63-8409EA58DDCA}"/>
          </ac:spMkLst>
        </pc:spChg>
        <pc:spChg chg="mod">
          <ac:chgData name="Anand Shinde" userId="b5f5c962-20ac-4f5c-b0d1-680fdc9a4d77" providerId="ADAL" clId="{04B65C52-5C2D-4880-BA40-FA6154FF280B}" dt="2023-05-25T15:28:05.629" v="497" actId="6549"/>
          <ac:spMkLst>
            <pc:docMk/>
            <pc:sldMk cId="1094778673" sldId="2147479585"/>
            <ac:spMk id="31" creationId="{49B05FDE-10A0-4673-AF8E-BD272C2B834A}"/>
          </ac:spMkLst>
        </pc:spChg>
        <pc:spChg chg="mod">
          <ac:chgData name="Anand Shinde" userId="b5f5c962-20ac-4f5c-b0d1-680fdc9a4d77" providerId="ADAL" clId="{04B65C52-5C2D-4880-BA40-FA6154FF280B}" dt="2023-05-25T15:30:27.583" v="620" actId="20577"/>
          <ac:spMkLst>
            <pc:docMk/>
            <pc:sldMk cId="1094778673" sldId="2147479585"/>
            <ac:spMk id="40" creationId="{FDB73202-AAFA-4398-A29A-83DEEB9F67A5}"/>
          </ac:spMkLst>
        </pc:spChg>
        <pc:spChg chg="mod">
          <ac:chgData name="Anand Shinde" userId="b5f5c962-20ac-4f5c-b0d1-680fdc9a4d77" providerId="ADAL" clId="{04B65C52-5C2D-4880-BA40-FA6154FF280B}" dt="2023-05-25T15:36:28.448" v="640" actId="20577"/>
          <ac:spMkLst>
            <pc:docMk/>
            <pc:sldMk cId="1094778673" sldId="2147479585"/>
            <ac:spMk id="56" creationId="{27AEBF83-7F7A-4DFF-84A0-9767167FE88C}"/>
          </ac:spMkLst>
        </pc:spChg>
        <pc:picChg chg="add del mod">
          <ac:chgData name="Anand Shinde" userId="b5f5c962-20ac-4f5c-b0d1-680fdc9a4d77" providerId="ADAL" clId="{04B65C52-5C2D-4880-BA40-FA6154FF280B}" dt="2023-05-25T15:30:11.820" v="615" actId="478"/>
          <ac:picMkLst>
            <pc:docMk/>
            <pc:sldMk cId="1094778673" sldId="2147479585"/>
            <ac:picMk id="6" creationId="{9360AA81-D6DD-4247-BFEF-7607C909D058}"/>
          </ac:picMkLst>
        </pc:picChg>
        <pc:picChg chg="mod">
          <ac:chgData name="Anand Shinde" userId="b5f5c962-20ac-4f5c-b0d1-680fdc9a4d77" providerId="ADAL" clId="{04B65C52-5C2D-4880-BA40-FA6154FF280B}" dt="2023-05-25T12:52:58.669" v="1" actId="14826"/>
          <ac:picMkLst>
            <pc:docMk/>
            <pc:sldMk cId="1094778673" sldId="2147479585"/>
            <ac:picMk id="17" creationId="{C92C9151-3F63-4224-BBEB-1D8C310BBE68}"/>
          </ac:picMkLst>
        </pc:picChg>
      </pc:sldChg>
    </pc:docChg>
  </pc:docChgLst>
  <pc:docChgLst>
    <pc:chgData name="Ahmed Helmy" userId="S::ahmed.helmy@ie.ey.com::00ab2dc9-190a-451b-8f35-a658adf790b2" providerId="AD" clId="Web-{2DB0B318-EAF4-084F-26E5-3C144AC2427B}"/>
    <pc:docChg chg="mod addSld delSld modSld sldOrd modSection">
      <pc:chgData name="Ahmed Helmy" userId="S::ahmed.helmy@ie.ey.com::00ab2dc9-190a-451b-8f35-a658adf790b2" providerId="AD" clId="Web-{2DB0B318-EAF4-084F-26E5-3C144AC2427B}" dt="2023-07-26T17:40:02.634" v="1179" actId="20577"/>
      <pc:docMkLst>
        <pc:docMk/>
      </pc:docMkLst>
      <pc:sldChg chg="modSp">
        <pc:chgData name="Ahmed Helmy" userId="S::ahmed.helmy@ie.ey.com::00ab2dc9-190a-451b-8f35-a658adf790b2" providerId="AD" clId="Web-{2DB0B318-EAF4-084F-26E5-3C144AC2427B}" dt="2023-07-26T14:14:51.518" v="822" actId="14100"/>
        <pc:sldMkLst>
          <pc:docMk/>
          <pc:sldMk cId="2395506064" sldId="2147479599"/>
        </pc:sldMkLst>
        <pc:spChg chg="mod">
          <ac:chgData name="Ahmed Helmy" userId="S::ahmed.helmy@ie.ey.com::00ab2dc9-190a-451b-8f35-a658adf790b2" providerId="AD" clId="Web-{2DB0B318-EAF4-084F-26E5-3C144AC2427B}" dt="2023-07-26T14:14:51.518" v="822" actId="14100"/>
          <ac:spMkLst>
            <pc:docMk/>
            <pc:sldMk cId="2395506064" sldId="2147479599"/>
            <ac:spMk id="6" creationId="{DB57BDEC-391C-BDCB-C111-D57C96DB51A4}"/>
          </ac:spMkLst>
        </pc:spChg>
        <pc:spChg chg="mod">
          <ac:chgData name="Ahmed Helmy" userId="S::ahmed.helmy@ie.ey.com::00ab2dc9-190a-451b-8f35-a658adf790b2" providerId="AD" clId="Web-{2DB0B318-EAF4-084F-26E5-3C144AC2427B}" dt="2023-07-26T14:14:32.064" v="821" actId="14100"/>
          <ac:spMkLst>
            <pc:docMk/>
            <pc:sldMk cId="2395506064" sldId="2147479599"/>
            <ac:spMk id="12" creationId="{80889B00-4FD8-8059-E493-7D07B88CEFD2}"/>
          </ac:spMkLst>
        </pc:spChg>
      </pc:sldChg>
      <pc:sldChg chg="addSp delSp modSp del">
        <pc:chgData name="Ahmed Helmy" userId="S::ahmed.helmy@ie.ey.com::00ab2dc9-190a-451b-8f35-a658adf790b2" providerId="AD" clId="Web-{2DB0B318-EAF4-084F-26E5-3C144AC2427B}" dt="2023-07-26T13:48:30.292" v="635"/>
        <pc:sldMkLst>
          <pc:docMk/>
          <pc:sldMk cId="708211554" sldId="2147479620"/>
        </pc:sldMkLst>
        <pc:spChg chg="mod">
          <ac:chgData name="Ahmed Helmy" userId="S::ahmed.helmy@ie.ey.com::00ab2dc9-190a-451b-8f35-a658adf790b2" providerId="AD" clId="Web-{2DB0B318-EAF4-084F-26E5-3C144AC2427B}" dt="2023-07-26T09:25:14.881" v="19" actId="20577"/>
          <ac:spMkLst>
            <pc:docMk/>
            <pc:sldMk cId="708211554" sldId="2147479620"/>
            <ac:spMk id="3" creationId="{CFB267DA-7178-6B10-B032-0214E0933B7B}"/>
          </ac:spMkLst>
        </pc:spChg>
        <pc:spChg chg="del mod">
          <ac:chgData name="Ahmed Helmy" userId="S::ahmed.helmy@ie.ey.com::00ab2dc9-190a-451b-8f35-a658adf790b2" providerId="AD" clId="Web-{2DB0B318-EAF4-084F-26E5-3C144AC2427B}" dt="2023-07-26T09:25:31.116" v="22"/>
          <ac:spMkLst>
            <pc:docMk/>
            <pc:sldMk cId="708211554" sldId="2147479620"/>
            <ac:spMk id="6" creationId="{E2571F8B-AD2A-D600-602E-DB30E505AC01}"/>
          </ac:spMkLst>
        </pc:spChg>
        <pc:spChg chg="add">
          <ac:chgData name="Ahmed Helmy" userId="S::ahmed.helmy@ie.ey.com::00ab2dc9-190a-451b-8f35-a658adf790b2" providerId="AD" clId="Web-{2DB0B318-EAF4-084F-26E5-3C144AC2427B}" dt="2023-07-26T09:25:28.272" v="21"/>
          <ac:spMkLst>
            <pc:docMk/>
            <pc:sldMk cId="708211554" sldId="2147479620"/>
            <ac:spMk id="7" creationId="{A363E02E-F8EA-D923-9477-A1BB92AE3601}"/>
          </ac:spMkLst>
        </pc:spChg>
      </pc:sldChg>
      <pc:sldChg chg="addSp modSp ord">
        <pc:chgData name="Ahmed Helmy" userId="S::ahmed.helmy@ie.ey.com::00ab2dc9-190a-451b-8f35-a658adf790b2" providerId="AD" clId="Web-{2DB0B318-EAF4-084F-26E5-3C144AC2427B}" dt="2023-07-26T09:51:44.615" v="118" actId="20577"/>
        <pc:sldMkLst>
          <pc:docMk/>
          <pc:sldMk cId="946023888" sldId="2147479621"/>
        </pc:sldMkLst>
        <pc:spChg chg="mod">
          <ac:chgData name="Ahmed Helmy" userId="S::ahmed.helmy@ie.ey.com::00ab2dc9-190a-451b-8f35-a658adf790b2" providerId="AD" clId="Web-{2DB0B318-EAF4-084F-26E5-3C144AC2427B}" dt="2023-07-26T09:49:42.440" v="106" actId="14100"/>
          <ac:spMkLst>
            <pc:docMk/>
            <pc:sldMk cId="946023888" sldId="2147479621"/>
            <ac:spMk id="3" creationId="{CFB267DA-7178-6B10-B032-0214E0933B7B}"/>
          </ac:spMkLst>
        </pc:spChg>
        <pc:spChg chg="mod">
          <ac:chgData name="Ahmed Helmy" userId="S::ahmed.helmy@ie.ey.com::00ab2dc9-190a-451b-8f35-a658adf790b2" providerId="AD" clId="Web-{2DB0B318-EAF4-084F-26E5-3C144AC2427B}" dt="2023-07-26T09:51:44.615" v="118" actId="20577"/>
          <ac:spMkLst>
            <pc:docMk/>
            <pc:sldMk cId="946023888" sldId="2147479621"/>
            <ac:spMk id="6" creationId="{E2571F8B-AD2A-D600-602E-DB30E505AC01}"/>
          </ac:spMkLst>
        </pc:spChg>
        <pc:spChg chg="add mod">
          <ac:chgData name="Ahmed Helmy" userId="S::ahmed.helmy@ie.ey.com::00ab2dc9-190a-451b-8f35-a658adf790b2" providerId="AD" clId="Web-{2DB0B318-EAF4-084F-26E5-3C144AC2427B}" dt="2023-07-26T09:28:48.498" v="70" actId="20577"/>
          <ac:spMkLst>
            <pc:docMk/>
            <pc:sldMk cId="946023888" sldId="2147479621"/>
            <ac:spMk id="7" creationId="{CD2E0F66-01F1-3033-20B7-73AC22B694F9}"/>
          </ac:spMkLst>
        </pc:spChg>
        <pc:spChg chg="mod">
          <ac:chgData name="Ahmed Helmy" userId="S::ahmed.helmy@ie.ey.com::00ab2dc9-190a-451b-8f35-a658adf790b2" providerId="AD" clId="Web-{2DB0B318-EAF4-084F-26E5-3C144AC2427B}" dt="2023-07-26T09:50:48.504" v="114" actId="14100"/>
          <ac:spMkLst>
            <pc:docMk/>
            <pc:sldMk cId="946023888" sldId="2147479621"/>
            <ac:spMk id="13" creationId="{E748F713-E74C-59FC-9CFF-3BCC4E83C7CF}"/>
          </ac:spMkLst>
        </pc:spChg>
        <pc:picChg chg="mod">
          <ac:chgData name="Ahmed Helmy" userId="S::ahmed.helmy@ie.ey.com::00ab2dc9-190a-451b-8f35-a658adf790b2" providerId="AD" clId="Web-{2DB0B318-EAF4-084F-26E5-3C144AC2427B}" dt="2023-07-26T09:26:34.243" v="24" actId="1076"/>
          <ac:picMkLst>
            <pc:docMk/>
            <pc:sldMk cId="946023888" sldId="2147479621"/>
            <ac:picMk id="11" creationId="{C4D40C43-4B75-6C94-52AB-F6770A07F9D5}"/>
          </ac:picMkLst>
        </pc:picChg>
      </pc:sldChg>
      <pc:sldChg chg="addSp delSp modSp add replId addCm">
        <pc:chgData name="Ahmed Helmy" userId="S::ahmed.helmy@ie.ey.com::00ab2dc9-190a-451b-8f35-a658adf790b2" providerId="AD" clId="Web-{2DB0B318-EAF4-084F-26E5-3C144AC2427B}" dt="2023-07-26T17:40:02.634" v="1179" actId="20577"/>
        <pc:sldMkLst>
          <pc:docMk/>
          <pc:sldMk cId="523484127" sldId="2147479637"/>
        </pc:sldMkLst>
        <pc:spChg chg="mod">
          <ac:chgData name="Ahmed Helmy" userId="S::ahmed.helmy@ie.ey.com::00ab2dc9-190a-451b-8f35-a658adf790b2" providerId="AD" clId="Web-{2DB0B318-EAF4-084F-26E5-3C144AC2427B}" dt="2023-07-26T17:36:53.534" v="1089" actId="20577"/>
          <ac:spMkLst>
            <pc:docMk/>
            <pc:sldMk cId="523484127" sldId="2147479637"/>
            <ac:spMk id="7" creationId="{A363E02E-F8EA-D923-9477-A1BB92AE3601}"/>
          </ac:spMkLst>
        </pc:spChg>
        <pc:spChg chg="mod">
          <ac:chgData name="Ahmed Helmy" userId="S::ahmed.helmy@ie.ey.com::00ab2dc9-190a-451b-8f35-a658adf790b2" providerId="AD" clId="Web-{2DB0B318-EAF4-084F-26E5-3C144AC2427B}" dt="2023-07-26T13:53:36.925" v="716" actId="20577"/>
          <ac:spMkLst>
            <pc:docMk/>
            <pc:sldMk cId="523484127" sldId="2147479637"/>
            <ac:spMk id="8" creationId="{7824D54C-15D2-467C-A016-166944D0781C}"/>
          </ac:spMkLst>
        </pc:spChg>
        <pc:spChg chg="add mod">
          <ac:chgData name="Ahmed Helmy" userId="S::ahmed.helmy@ie.ey.com::00ab2dc9-190a-451b-8f35-a658adf790b2" providerId="AD" clId="Web-{2DB0B318-EAF4-084F-26E5-3C144AC2427B}" dt="2023-07-26T17:40:02.634" v="1179" actId="20577"/>
          <ac:spMkLst>
            <pc:docMk/>
            <pc:sldMk cId="523484127" sldId="2147479637"/>
            <ac:spMk id="10" creationId="{FBFA8DAE-1093-AD7D-A547-843DB0D98E19}"/>
          </ac:spMkLst>
        </pc:spChg>
        <pc:picChg chg="add del mod">
          <ac:chgData name="Ahmed Helmy" userId="S::ahmed.helmy@ie.ey.com::00ab2dc9-190a-451b-8f35-a658adf790b2" providerId="AD" clId="Web-{2DB0B318-EAF4-084F-26E5-3C144AC2427B}" dt="2023-07-26T15:51:32.334" v="1067"/>
          <ac:picMkLst>
            <pc:docMk/>
            <pc:sldMk cId="523484127" sldId="2147479637"/>
            <ac:picMk id="5" creationId="{0D3F7628-0C5D-2F5F-F593-1F31593EF0EF}"/>
          </ac:picMkLst>
        </pc:picChg>
        <pc:picChg chg="add del mod">
          <ac:chgData name="Ahmed Helmy" userId="S::ahmed.helmy@ie.ey.com::00ab2dc9-190a-451b-8f35-a658adf790b2" providerId="AD" clId="Web-{2DB0B318-EAF4-084F-26E5-3C144AC2427B}" dt="2023-07-26T17:35:48.063" v="1074"/>
          <ac:picMkLst>
            <pc:docMk/>
            <pc:sldMk cId="523484127" sldId="2147479637"/>
            <ac:picMk id="5" creationId="{6C11A266-1EA2-EE9C-F6FC-78617CE223A3}"/>
          </ac:picMkLst>
        </pc:picChg>
        <pc:picChg chg="add del mod">
          <ac:chgData name="Ahmed Helmy" userId="S::ahmed.helmy@ie.ey.com::00ab2dc9-190a-451b-8f35-a658adf790b2" providerId="AD" clId="Web-{2DB0B318-EAF4-084F-26E5-3C144AC2427B}" dt="2023-07-26T15:09:38.391" v="1051"/>
          <ac:picMkLst>
            <pc:docMk/>
            <pc:sldMk cId="523484127" sldId="2147479637"/>
            <ac:picMk id="5" creationId="{8A4D7554-A4D8-B595-F43F-D006B5465B68}"/>
          </ac:picMkLst>
        </pc:picChg>
        <pc:picChg chg="add del mod">
          <ac:chgData name="Ahmed Helmy" userId="S::ahmed.helmy@ie.ey.com::00ab2dc9-190a-451b-8f35-a658adf790b2" providerId="AD" clId="Web-{2DB0B318-EAF4-084F-26E5-3C144AC2427B}" dt="2023-07-26T15:18:58.659" v="1056"/>
          <ac:picMkLst>
            <pc:docMk/>
            <pc:sldMk cId="523484127" sldId="2147479637"/>
            <ac:picMk id="6" creationId="{26A0AB7E-1960-D3CB-8925-BF8E8B69F6A6}"/>
          </ac:picMkLst>
        </pc:picChg>
        <pc:picChg chg="add mod">
          <ac:chgData name="Ahmed Helmy" userId="S::ahmed.helmy@ie.ey.com::00ab2dc9-190a-451b-8f35-a658adf790b2" providerId="AD" clId="Web-{2DB0B318-EAF4-084F-26E5-3C144AC2427B}" dt="2023-07-26T17:38:36.710" v="1116" actId="14100"/>
          <ac:picMkLst>
            <pc:docMk/>
            <pc:sldMk cId="523484127" sldId="2147479637"/>
            <ac:picMk id="6" creationId="{58D3B64C-AC1E-0937-0195-DF123D4DB712}"/>
          </ac:picMkLst>
        </pc:picChg>
      </pc:sldChg>
      <pc:sldChg chg="addSp delSp modSp add del replId">
        <pc:chgData name="Ahmed Helmy" userId="S::ahmed.helmy@ie.ey.com::00ab2dc9-190a-451b-8f35-a658adf790b2" providerId="AD" clId="Web-{2DB0B318-EAF4-084F-26E5-3C144AC2427B}" dt="2023-07-26T15:47:44.483" v="1062"/>
        <pc:sldMkLst>
          <pc:docMk/>
          <pc:sldMk cId="1904629008" sldId="2147479641"/>
        </pc:sldMkLst>
        <pc:spChg chg="del">
          <ac:chgData name="Ahmed Helmy" userId="S::ahmed.helmy@ie.ey.com::00ab2dc9-190a-451b-8f35-a658adf790b2" providerId="AD" clId="Web-{2DB0B318-EAF4-084F-26E5-3C144AC2427B}" dt="2023-07-26T15:47:13.013" v="1058"/>
          <ac:spMkLst>
            <pc:docMk/>
            <pc:sldMk cId="1904629008" sldId="2147479641"/>
            <ac:spMk id="7" creationId="{A363E02E-F8EA-D923-9477-A1BB92AE3601}"/>
          </ac:spMkLst>
        </pc:spChg>
        <pc:picChg chg="add mod">
          <ac:chgData name="Ahmed Helmy" userId="S::ahmed.helmy@ie.ey.com::00ab2dc9-190a-451b-8f35-a658adf790b2" providerId="AD" clId="Web-{2DB0B318-EAF4-084F-26E5-3C144AC2427B}" dt="2023-07-26T15:47:22.763" v="1061" actId="1076"/>
          <ac:picMkLst>
            <pc:docMk/>
            <pc:sldMk cId="1904629008" sldId="2147479641"/>
            <ac:picMk id="5" creationId="{6681555D-FBF9-49D5-B869-37C7FD93993B}"/>
          </ac:picMkLst>
        </pc:picChg>
      </pc:sldChg>
    </pc:docChg>
  </pc:docChgLst>
  <pc:docChgLst>
    <pc:chgData name="Immanuel J Daniel" userId="S::immanuel.johnston.daniel@ie.ey.com::b9141605-49ff-443e-8af4-0c21e2766a66" providerId="AD" clId="Web-{C8066F86-99F4-48C3-1694-8751BEA612B5}"/>
    <pc:docChg chg="addSld modSld modSection">
      <pc:chgData name="Immanuel J Daniel" userId="S::immanuel.johnston.daniel@ie.ey.com::b9141605-49ff-443e-8af4-0c21e2766a66" providerId="AD" clId="Web-{C8066F86-99F4-48C3-1694-8751BEA612B5}" dt="2023-07-24T15:06:45.377" v="59" actId="20577"/>
      <pc:docMkLst>
        <pc:docMk/>
      </pc:docMkLst>
      <pc:sldChg chg="modSp new">
        <pc:chgData name="Immanuel J Daniel" userId="S::immanuel.johnston.daniel@ie.ey.com::b9141605-49ff-443e-8af4-0c21e2766a66" providerId="AD" clId="Web-{C8066F86-99F4-48C3-1694-8751BEA612B5}" dt="2023-07-24T15:06:45.377" v="59" actId="20577"/>
        <pc:sldMkLst>
          <pc:docMk/>
          <pc:sldMk cId="1981180335" sldId="2147479604"/>
        </pc:sldMkLst>
        <pc:spChg chg="mod">
          <ac:chgData name="Immanuel J Daniel" userId="S::immanuel.johnston.daniel@ie.ey.com::b9141605-49ff-443e-8af4-0c21e2766a66" providerId="AD" clId="Web-{C8066F86-99F4-48C3-1694-8751BEA612B5}" dt="2023-07-24T15:06:38.361" v="53" actId="20577"/>
          <ac:spMkLst>
            <pc:docMk/>
            <pc:sldMk cId="1981180335" sldId="2147479604"/>
            <ac:spMk id="2" creationId="{871C9022-CAD4-0F4A-058D-60DAB13CD738}"/>
          </ac:spMkLst>
        </pc:spChg>
        <pc:spChg chg="mod">
          <ac:chgData name="Immanuel J Daniel" userId="S::immanuel.johnston.daniel@ie.ey.com::b9141605-49ff-443e-8af4-0c21e2766a66" providerId="AD" clId="Web-{C8066F86-99F4-48C3-1694-8751BEA612B5}" dt="2023-07-24T15:06:45.377" v="59" actId="20577"/>
          <ac:spMkLst>
            <pc:docMk/>
            <pc:sldMk cId="1981180335" sldId="2147479604"/>
            <ac:spMk id="3" creationId="{D06167CC-523B-53EC-0222-01CE5C1661D4}"/>
          </ac:spMkLst>
        </pc:spChg>
      </pc:sldChg>
    </pc:docChg>
  </pc:docChgLst>
  <pc:docChgLst>
    <pc:chgData name="Matthew Macfarlane" userId="52a8a487-b9c7-41a3-9714-e63e5480b1c7" providerId="ADAL" clId="{CDCE9ED0-6BD1-4E78-B508-B2D5036CDAFD}"/>
    <pc:docChg chg="custSel modSld sldOrd modSection">
      <pc:chgData name="Matthew Macfarlane" userId="52a8a487-b9c7-41a3-9714-e63e5480b1c7" providerId="ADAL" clId="{CDCE9ED0-6BD1-4E78-B508-B2D5036CDAFD}" dt="2023-08-11T16:25:09.391" v="160"/>
      <pc:docMkLst>
        <pc:docMk/>
      </pc:docMkLst>
      <pc:sldChg chg="modSp mod addCm">
        <pc:chgData name="Matthew Macfarlane" userId="52a8a487-b9c7-41a3-9714-e63e5480b1c7" providerId="ADAL" clId="{CDCE9ED0-6BD1-4E78-B508-B2D5036CDAFD}" dt="2023-08-11T12:14:46.367" v="19"/>
        <pc:sldMkLst>
          <pc:docMk/>
          <pc:sldMk cId="2692628411" sldId="728"/>
        </pc:sldMkLst>
        <pc:spChg chg="mod">
          <ac:chgData name="Matthew Macfarlane" userId="52a8a487-b9c7-41a3-9714-e63e5480b1c7" providerId="ADAL" clId="{CDCE9ED0-6BD1-4E78-B508-B2D5036CDAFD}" dt="2023-08-11T12:14:35.001" v="18" actId="33524"/>
          <ac:spMkLst>
            <pc:docMk/>
            <pc:sldMk cId="2692628411" sldId="728"/>
            <ac:spMk id="9" creationId="{00000000-0000-0000-0000-000000000000}"/>
          </ac:spMkLst>
        </pc:spChg>
      </pc:sldChg>
      <pc:sldChg chg="modSp mod">
        <pc:chgData name="Matthew Macfarlane" userId="52a8a487-b9c7-41a3-9714-e63e5480b1c7" providerId="ADAL" clId="{CDCE9ED0-6BD1-4E78-B508-B2D5036CDAFD}" dt="2023-08-11T12:14:58.245" v="28" actId="20577"/>
        <pc:sldMkLst>
          <pc:docMk/>
          <pc:sldMk cId="1569982749" sldId="2142535160"/>
        </pc:sldMkLst>
        <pc:spChg chg="mod">
          <ac:chgData name="Matthew Macfarlane" userId="52a8a487-b9c7-41a3-9714-e63e5480b1c7" providerId="ADAL" clId="{CDCE9ED0-6BD1-4E78-B508-B2D5036CDAFD}" dt="2023-08-11T12:14:58.245" v="28" actId="20577"/>
          <ac:spMkLst>
            <pc:docMk/>
            <pc:sldMk cId="1569982749" sldId="2142535160"/>
            <ac:spMk id="42" creationId="{6FB47840-2903-46BB-8088-444E1E89EB9B}"/>
          </ac:spMkLst>
        </pc:spChg>
      </pc:sldChg>
      <pc:sldChg chg="modSp mod">
        <pc:chgData name="Matthew Macfarlane" userId="52a8a487-b9c7-41a3-9714-e63e5480b1c7" providerId="ADAL" clId="{CDCE9ED0-6BD1-4E78-B508-B2D5036CDAFD}" dt="2023-07-25T15:24:29.480" v="16" actId="20577"/>
        <pc:sldMkLst>
          <pc:docMk/>
          <pc:sldMk cId="2154391368" sldId="2142535213"/>
        </pc:sldMkLst>
        <pc:spChg chg="mod">
          <ac:chgData name="Matthew Macfarlane" userId="52a8a487-b9c7-41a3-9714-e63e5480b1c7" providerId="ADAL" clId="{CDCE9ED0-6BD1-4E78-B508-B2D5036CDAFD}" dt="2023-07-25T15:24:29.480" v="16" actId="20577"/>
          <ac:spMkLst>
            <pc:docMk/>
            <pc:sldMk cId="2154391368" sldId="2142535213"/>
            <ac:spMk id="137" creationId="{B51CC133-C72C-40AC-8D37-B7AA95129E52}"/>
          </ac:spMkLst>
        </pc:spChg>
      </pc:sldChg>
      <pc:sldChg chg="ord">
        <pc:chgData name="Matthew Macfarlane" userId="52a8a487-b9c7-41a3-9714-e63e5480b1c7" providerId="ADAL" clId="{CDCE9ED0-6BD1-4E78-B508-B2D5036CDAFD}" dt="2023-08-11T16:25:09.391" v="160"/>
        <pc:sldMkLst>
          <pc:docMk/>
          <pc:sldMk cId="3348310596" sldId="2147473016"/>
        </pc:sldMkLst>
      </pc:sldChg>
      <pc:sldChg chg="modSp mod">
        <pc:chgData name="Matthew Macfarlane" userId="52a8a487-b9c7-41a3-9714-e63e5480b1c7" providerId="ADAL" clId="{CDCE9ED0-6BD1-4E78-B508-B2D5036CDAFD}" dt="2023-08-11T16:13:31.998" v="114" actId="20577"/>
        <pc:sldMkLst>
          <pc:docMk/>
          <pc:sldMk cId="3270732291" sldId="2147473086"/>
        </pc:sldMkLst>
        <pc:spChg chg="mod">
          <ac:chgData name="Matthew Macfarlane" userId="52a8a487-b9c7-41a3-9714-e63e5480b1c7" providerId="ADAL" clId="{CDCE9ED0-6BD1-4E78-B508-B2D5036CDAFD}" dt="2023-08-11T16:13:31.998" v="114" actId="20577"/>
          <ac:spMkLst>
            <pc:docMk/>
            <pc:sldMk cId="3270732291" sldId="2147473086"/>
            <ac:spMk id="6" creationId="{D6B3904C-298A-03C4-17A9-9F7CC2E8F5BA}"/>
          </ac:spMkLst>
        </pc:spChg>
      </pc:sldChg>
      <pc:sldChg chg="modSp mod ord">
        <pc:chgData name="Matthew Macfarlane" userId="52a8a487-b9c7-41a3-9714-e63e5480b1c7" providerId="ADAL" clId="{CDCE9ED0-6BD1-4E78-B508-B2D5036CDAFD}" dt="2023-08-11T16:14:18.591" v="148" actId="403"/>
        <pc:sldMkLst>
          <pc:docMk/>
          <pc:sldMk cId="1356336447" sldId="2147473087"/>
        </pc:sldMkLst>
        <pc:spChg chg="mod">
          <ac:chgData name="Matthew Macfarlane" userId="52a8a487-b9c7-41a3-9714-e63e5480b1c7" providerId="ADAL" clId="{CDCE9ED0-6BD1-4E78-B508-B2D5036CDAFD}" dt="2023-08-11T16:14:18.591" v="148" actId="403"/>
          <ac:spMkLst>
            <pc:docMk/>
            <pc:sldMk cId="1356336447" sldId="2147473087"/>
            <ac:spMk id="33" creationId="{FF85DABA-DF66-BA5B-4EFD-0BB565FA7AAD}"/>
          </ac:spMkLst>
        </pc:spChg>
        <pc:cxnChg chg="mod">
          <ac:chgData name="Matthew Macfarlane" userId="52a8a487-b9c7-41a3-9714-e63e5480b1c7" providerId="ADAL" clId="{CDCE9ED0-6BD1-4E78-B508-B2D5036CDAFD}" dt="2023-07-25T14:52:24.916" v="8" actId="14100"/>
          <ac:cxnSpMkLst>
            <pc:docMk/>
            <pc:sldMk cId="1356336447" sldId="2147473087"/>
            <ac:cxnSpMk id="36" creationId="{8ED034B7-9918-E8AA-B828-A0469AB9C2B1}"/>
          </ac:cxnSpMkLst>
        </pc:cxnChg>
      </pc:sldChg>
      <pc:sldChg chg="modSp mod ord">
        <pc:chgData name="Matthew Macfarlane" userId="52a8a487-b9c7-41a3-9714-e63e5480b1c7" providerId="ADAL" clId="{CDCE9ED0-6BD1-4E78-B508-B2D5036CDAFD}" dt="2023-08-11T16:13:23.217" v="112"/>
        <pc:sldMkLst>
          <pc:docMk/>
          <pc:sldMk cId="2991878390" sldId="2147473088"/>
        </pc:sldMkLst>
        <pc:spChg chg="mod">
          <ac:chgData name="Matthew Macfarlane" userId="52a8a487-b9c7-41a3-9714-e63e5480b1c7" providerId="ADAL" clId="{CDCE9ED0-6BD1-4E78-B508-B2D5036CDAFD}" dt="2023-07-25T14:52:10.590" v="6" actId="1076"/>
          <ac:spMkLst>
            <pc:docMk/>
            <pc:sldMk cId="2991878390" sldId="2147473088"/>
            <ac:spMk id="50" creationId="{2F4A5B71-3AE4-E4B2-49BD-38FA0839EC8D}"/>
          </ac:spMkLst>
        </pc:spChg>
        <pc:spChg chg="mod">
          <ac:chgData name="Matthew Macfarlane" userId="52a8a487-b9c7-41a3-9714-e63e5480b1c7" providerId="ADAL" clId="{CDCE9ED0-6BD1-4E78-B508-B2D5036CDAFD}" dt="2023-07-25T14:52:10.590" v="6" actId="1076"/>
          <ac:spMkLst>
            <pc:docMk/>
            <pc:sldMk cId="2991878390" sldId="2147473088"/>
            <ac:spMk id="51" creationId="{75FE1764-4640-7435-92BA-6C9A1652FFB7}"/>
          </ac:spMkLst>
        </pc:spChg>
        <pc:spChg chg="mod">
          <ac:chgData name="Matthew Macfarlane" userId="52a8a487-b9c7-41a3-9714-e63e5480b1c7" providerId="ADAL" clId="{CDCE9ED0-6BD1-4E78-B508-B2D5036CDAFD}" dt="2023-07-25T14:52:10.590" v="6" actId="1076"/>
          <ac:spMkLst>
            <pc:docMk/>
            <pc:sldMk cId="2991878390" sldId="2147473088"/>
            <ac:spMk id="52" creationId="{ECEFC93B-F66A-DA60-8FD4-B7E3FC4BCCD5}"/>
          </ac:spMkLst>
        </pc:spChg>
        <pc:grpChg chg="mod">
          <ac:chgData name="Matthew Macfarlane" userId="52a8a487-b9c7-41a3-9714-e63e5480b1c7" providerId="ADAL" clId="{CDCE9ED0-6BD1-4E78-B508-B2D5036CDAFD}" dt="2023-07-25T14:51:54.495" v="0" actId="1076"/>
          <ac:grpSpMkLst>
            <pc:docMk/>
            <pc:sldMk cId="2991878390" sldId="2147473088"/>
            <ac:grpSpMk id="27" creationId="{F64E630A-D529-43AF-26BC-C06366820867}"/>
          </ac:grpSpMkLst>
        </pc:grpChg>
        <pc:grpChg chg="mod">
          <ac:chgData name="Matthew Macfarlane" userId="52a8a487-b9c7-41a3-9714-e63e5480b1c7" providerId="ADAL" clId="{CDCE9ED0-6BD1-4E78-B508-B2D5036CDAFD}" dt="2023-07-25T14:52:10.590" v="6" actId="1076"/>
          <ac:grpSpMkLst>
            <pc:docMk/>
            <pc:sldMk cId="2991878390" sldId="2147473088"/>
            <ac:grpSpMk id="49" creationId="{7728AC70-0B33-3EDE-9525-8A7B57FE554B}"/>
          </ac:grpSpMkLst>
        </pc:grpChg>
        <pc:picChg chg="mod">
          <ac:chgData name="Matthew Macfarlane" userId="52a8a487-b9c7-41a3-9714-e63e5480b1c7" providerId="ADAL" clId="{CDCE9ED0-6BD1-4E78-B508-B2D5036CDAFD}" dt="2023-07-25T14:52:12.727" v="7" actId="1076"/>
          <ac:picMkLst>
            <pc:docMk/>
            <pc:sldMk cId="2991878390" sldId="2147473088"/>
            <ac:picMk id="48" creationId="{F423DD7F-1A5A-129C-1939-A2C301E6E742}"/>
          </ac:picMkLst>
        </pc:picChg>
      </pc:sldChg>
      <pc:sldChg chg="modSp mod">
        <pc:chgData name="Matthew Macfarlane" userId="52a8a487-b9c7-41a3-9714-e63e5480b1c7" providerId="ADAL" clId="{CDCE9ED0-6BD1-4E78-B508-B2D5036CDAFD}" dt="2023-07-25T14:52:46.933" v="10"/>
        <pc:sldMkLst>
          <pc:docMk/>
          <pc:sldMk cId="2943416714" sldId="2147473090"/>
        </pc:sldMkLst>
        <pc:spChg chg="mod">
          <ac:chgData name="Matthew Macfarlane" userId="52a8a487-b9c7-41a3-9714-e63e5480b1c7" providerId="ADAL" clId="{CDCE9ED0-6BD1-4E78-B508-B2D5036CDAFD}" dt="2023-07-25T14:52:46.933" v="10"/>
          <ac:spMkLst>
            <pc:docMk/>
            <pc:sldMk cId="2943416714" sldId="2147473090"/>
            <ac:spMk id="6" creationId="{DF5F0DCD-0A2F-AF21-8964-03873B1C2E9B}"/>
          </ac:spMkLst>
        </pc:spChg>
      </pc:sldChg>
      <pc:sldChg chg="modSp mod">
        <pc:chgData name="Matthew Macfarlane" userId="52a8a487-b9c7-41a3-9714-e63e5480b1c7" providerId="ADAL" clId="{CDCE9ED0-6BD1-4E78-B508-B2D5036CDAFD}" dt="2023-08-11T12:18:10.928" v="102" actId="108"/>
        <pc:sldMkLst>
          <pc:docMk/>
          <pc:sldMk cId="3987827024" sldId="2147473095"/>
        </pc:sldMkLst>
        <pc:spChg chg="mod">
          <ac:chgData name="Matthew Macfarlane" userId="52a8a487-b9c7-41a3-9714-e63e5480b1c7" providerId="ADAL" clId="{CDCE9ED0-6BD1-4E78-B508-B2D5036CDAFD}" dt="2023-08-11T12:15:40.706" v="41" actId="20577"/>
          <ac:spMkLst>
            <pc:docMk/>
            <pc:sldMk cId="3987827024" sldId="2147473095"/>
            <ac:spMk id="2" creationId="{90A2479D-7BB0-416C-B8C6-6F8A651B4A6C}"/>
          </ac:spMkLst>
        </pc:spChg>
        <pc:spChg chg="mod">
          <ac:chgData name="Matthew Macfarlane" userId="52a8a487-b9c7-41a3-9714-e63e5480b1c7" providerId="ADAL" clId="{CDCE9ED0-6BD1-4E78-B508-B2D5036CDAFD}" dt="2023-08-11T12:16:18.303" v="52" actId="20577"/>
          <ac:spMkLst>
            <pc:docMk/>
            <pc:sldMk cId="3987827024" sldId="2147473095"/>
            <ac:spMk id="13" creationId="{636F3126-F165-FDC1-45E5-02BE7CF277D9}"/>
          </ac:spMkLst>
        </pc:spChg>
        <pc:spChg chg="mod">
          <ac:chgData name="Matthew Macfarlane" userId="52a8a487-b9c7-41a3-9714-e63e5480b1c7" providerId="ADAL" clId="{CDCE9ED0-6BD1-4E78-B508-B2D5036CDAFD}" dt="2023-08-11T12:17:39.238" v="91" actId="108"/>
          <ac:spMkLst>
            <pc:docMk/>
            <pc:sldMk cId="3987827024" sldId="2147473095"/>
            <ac:spMk id="14" creationId="{7483C35A-FFCD-4BDC-86DA-68091FD80D19}"/>
          </ac:spMkLst>
        </pc:spChg>
        <pc:spChg chg="mod">
          <ac:chgData name="Matthew Macfarlane" userId="52a8a487-b9c7-41a3-9714-e63e5480b1c7" providerId="ADAL" clId="{CDCE9ED0-6BD1-4E78-B508-B2D5036CDAFD}" dt="2023-08-11T12:15:55.399" v="43" actId="20577"/>
          <ac:spMkLst>
            <pc:docMk/>
            <pc:sldMk cId="3987827024" sldId="2147473095"/>
            <ac:spMk id="15" creationId="{34790857-0E6B-498B-A0A0-0E26D92FB17A}"/>
          </ac:spMkLst>
        </pc:spChg>
        <pc:spChg chg="mod">
          <ac:chgData name="Matthew Macfarlane" userId="52a8a487-b9c7-41a3-9714-e63e5480b1c7" providerId="ADAL" clId="{CDCE9ED0-6BD1-4E78-B508-B2D5036CDAFD}" dt="2023-08-11T12:17:34.641" v="90" actId="20577"/>
          <ac:spMkLst>
            <pc:docMk/>
            <pc:sldMk cId="3987827024" sldId="2147473095"/>
            <ac:spMk id="17" creationId="{ADD56C1B-C979-4732-A114-6F2187BB5E15}"/>
          </ac:spMkLst>
        </pc:spChg>
        <pc:spChg chg="mod">
          <ac:chgData name="Matthew Macfarlane" userId="52a8a487-b9c7-41a3-9714-e63e5480b1c7" providerId="ADAL" clId="{CDCE9ED0-6BD1-4E78-B508-B2D5036CDAFD}" dt="2023-08-11T12:17:01.449" v="54" actId="20577"/>
          <ac:spMkLst>
            <pc:docMk/>
            <pc:sldMk cId="3987827024" sldId="2147473095"/>
            <ac:spMk id="20" creationId="{EEA738DE-84E8-8598-E4FC-B5BA45A78882}"/>
          </ac:spMkLst>
        </pc:spChg>
        <pc:spChg chg="mod">
          <ac:chgData name="Matthew Macfarlane" userId="52a8a487-b9c7-41a3-9714-e63e5480b1c7" providerId="ADAL" clId="{CDCE9ED0-6BD1-4E78-B508-B2D5036CDAFD}" dt="2023-08-11T12:17:49.050" v="100" actId="20577"/>
          <ac:spMkLst>
            <pc:docMk/>
            <pc:sldMk cId="3987827024" sldId="2147473095"/>
            <ac:spMk id="21" creationId="{E7D4AE69-A60A-47B4-AE01-3E3509FC1AD1}"/>
          </ac:spMkLst>
        </pc:spChg>
        <pc:spChg chg="mod">
          <ac:chgData name="Matthew Macfarlane" userId="52a8a487-b9c7-41a3-9714-e63e5480b1c7" providerId="ADAL" clId="{CDCE9ED0-6BD1-4E78-B508-B2D5036CDAFD}" dt="2023-08-11T12:18:10.928" v="102" actId="108"/>
          <ac:spMkLst>
            <pc:docMk/>
            <pc:sldMk cId="3987827024" sldId="2147473095"/>
            <ac:spMk id="22" creationId="{4C29D2F3-C1AE-4B9D-A419-A8C571F10F3B}"/>
          </ac:spMkLst>
        </pc:spChg>
      </pc:sldChg>
      <pc:sldChg chg="ord">
        <pc:chgData name="Matthew Macfarlane" userId="52a8a487-b9c7-41a3-9714-e63e5480b1c7" providerId="ADAL" clId="{CDCE9ED0-6BD1-4E78-B508-B2D5036CDAFD}" dt="2023-08-11T16:24:34.466" v="158"/>
        <pc:sldMkLst>
          <pc:docMk/>
          <pc:sldMk cId="3207142972" sldId="2147473102"/>
        </pc:sldMkLst>
      </pc:sldChg>
      <pc:sldChg chg="ord">
        <pc:chgData name="Matthew Macfarlane" userId="52a8a487-b9c7-41a3-9714-e63e5480b1c7" providerId="ADAL" clId="{CDCE9ED0-6BD1-4E78-B508-B2D5036CDAFD}" dt="2023-08-11T16:15:42.135" v="152"/>
        <pc:sldMkLst>
          <pc:docMk/>
          <pc:sldMk cId="555873494" sldId="2147473103"/>
        </pc:sldMkLst>
      </pc:sldChg>
      <pc:sldChg chg="ord">
        <pc:chgData name="Matthew Macfarlane" userId="52a8a487-b9c7-41a3-9714-e63e5480b1c7" providerId="ADAL" clId="{CDCE9ED0-6BD1-4E78-B508-B2D5036CDAFD}" dt="2023-08-11T16:24:34.466" v="158"/>
        <pc:sldMkLst>
          <pc:docMk/>
          <pc:sldMk cId="3107324555" sldId="2147473173"/>
        </pc:sldMkLst>
      </pc:sldChg>
      <pc:sldChg chg="modSp mod">
        <pc:chgData name="Matthew Macfarlane" userId="52a8a487-b9c7-41a3-9714-e63e5480b1c7" providerId="ADAL" clId="{CDCE9ED0-6BD1-4E78-B508-B2D5036CDAFD}" dt="2023-08-01T14:56:14.208" v="17" actId="20577"/>
        <pc:sldMkLst>
          <pc:docMk/>
          <pc:sldMk cId="3168648727" sldId="2147479555"/>
        </pc:sldMkLst>
        <pc:spChg chg="mod">
          <ac:chgData name="Matthew Macfarlane" userId="52a8a487-b9c7-41a3-9714-e63e5480b1c7" providerId="ADAL" clId="{CDCE9ED0-6BD1-4E78-B508-B2D5036CDAFD}" dt="2023-08-01T14:56:14.208" v="17" actId="20577"/>
          <ac:spMkLst>
            <pc:docMk/>
            <pc:sldMk cId="3168648727" sldId="2147479555"/>
            <ac:spMk id="5" creationId="{3E272F8B-A589-4B44-A9E9-C55D342D51D5}"/>
          </ac:spMkLst>
        </pc:spChg>
      </pc:sldChg>
      <pc:sldChg chg="addCm modCm">
        <pc:chgData name="Matthew Macfarlane" userId="52a8a487-b9c7-41a3-9714-e63e5480b1c7" providerId="ADAL" clId="{CDCE9ED0-6BD1-4E78-B508-B2D5036CDAFD}" dt="2023-07-25T15:21:27.326" v="12"/>
        <pc:sldMkLst>
          <pc:docMk/>
          <pc:sldMk cId="2959984300" sldId="2147479565"/>
        </pc:sldMkLst>
      </pc:sldChg>
      <pc:sldChg chg="ord">
        <pc:chgData name="Matthew Macfarlane" userId="52a8a487-b9c7-41a3-9714-e63e5480b1c7" providerId="ADAL" clId="{CDCE9ED0-6BD1-4E78-B508-B2D5036CDAFD}" dt="2023-08-11T16:25:09.391" v="160"/>
        <pc:sldMkLst>
          <pc:docMk/>
          <pc:sldMk cId="2488466455" sldId="2147479585"/>
        </pc:sldMkLst>
      </pc:sldChg>
      <pc:sldChg chg="ord">
        <pc:chgData name="Matthew Macfarlane" userId="52a8a487-b9c7-41a3-9714-e63e5480b1c7" providerId="ADAL" clId="{CDCE9ED0-6BD1-4E78-B508-B2D5036CDAFD}" dt="2023-08-11T16:24:34.466" v="158"/>
        <pc:sldMkLst>
          <pc:docMk/>
          <pc:sldMk cId="4281992946" sldId="2147479607"/>
        </pc:sldMkLst>
      </pc:sldChg>
      <pc:sldChg chg="ord">
        <pc:chgData name="Matthew Macfarlane" userId="52a8a487-b9c7-41a3-9714-e63e5480b1c7" providerId="ADAL" clId="{CDCE9ED0-6BD1-4E78-B508-B2D5036CDAFD}" dt="2023-08-11T16:25:09.391" v="160"/>
        <pc:sldMkLst>
          <pc:docMk/>
          <pc:sldMk cId="2175479650" sldId="2147479633"/>
        </pc:sldMkLst>
      </pc:sldChg>
      <pc:sldChg chg="ord">
        <pc:chgData name="Matthew Macfarlane" userId="52a8a487-b9c7-41a3-9714-e63e5480b1c7" providerId="ADAL" clId="{CDCE9ED0-6BD1-4E78-B508-B2D5036CDAFD}" dt="2023-08-11T16:15:42.135" v="152"/>
        <pc:sldMkLst>
          <pc:docMk/>
          <pc:sldMk cId="3831876268" sldId="2147479642"/>
        </pc:sldMkLst>
      </pc:sldChg>
      <pc:sldChg chg="ord">
        <pc:chgData name="Matthew Macfarlane" userId="52a8a487-b9c7-41a3-9714-e63e5480b1c7" providerId="ADAL" clId="{CDCE9ED0-6BD1-4E78-B508-B2D5036CDAFD}" dt="2023-08-11T16:15:42.135" v="152"/>
        <pc:sldMkLst>
          <pc:docMk/>
          <pc:sldMk cId="2915504962" sldId="2147479644"/>
        </pc:sldMkLst>
      </pc:sldChg>
      <pc:sldChg chg="ord">
        <pc:chgData name="Matthew Macfarlane" userId="52a8a487-b9c7-41a3-9714-e63e5480b1c7" providerId="ADAL" clId="{CDCE9ED0-6BD1-4E78-B508-B2D5036CDAFD}" dt="2023-08-11T16:24:34.466" v="158"/>
        <pc:sldMkLst>
          <pc:docMk/>
          <pc:sldMk cId="1066138" sldId="2147479646"/>
        </pc:sldMkLst>
      </pc:sldChg>
      <pc:sldChg chg="modSp mod">
        <pc:chgData name="Matthew Macfarlane" userId="52a8a487-b9c7-41a3-9714-e63e5480b1c7" providerId="ADAL" clId="{CDCE9ED0-6BD1-4E78-B508-B2D5036CDAFD}" dt="2023-08-11T16:12:57.873" v="110" actId="6549"/>
        <pc:sldMkLst>
          <pc:docMk/>
          <pc:sldMk cId="3541093670" sldId="2147479686"/>
        </pc:sldMkLst>
        <pc:spChg chg="mod">
          <ac:chgData name="Matthew Macfarlane" userId="52a8a487-b9c7-41a3-9714-e63e5480b1c7" providerId="ADAL" clId="{CDCE9ED0-6BD1-4E78-B508-B2D5036CDAFD}" dt="2023-08-11T16:12:57.873" v="110" actId="6549"/>
          <ac:spMkLst>
            <pc:docMk/>
            <pc:sldMk cId="3541093670" sldId="2147479686"/>
            <ac:spMk id="123" creationId="{B18721CB-771E-F56D-03AD-2C8005BA3E97}"/>
          </ac:spMkLst>
        </pc:spChg>
      </pc:sldChg>
      <pc:sldChg chg="ord">
        <pc:chgData name="Matthew Macfarlane" userId="52a8a487-b9c7-41a3-9714-e63e5480b1c7" providerId="ADAL" clId="{CDCE9ED0-6BD1-4E78-B508-B2D5036CDAFD}" dt="2023-08-11T16:24:34.466" v="158"/>
        <pc:sldMkLst>
          <pc:docMk/>
          <pc:sldMk cId="4040668140" sldId="2147479694"/>
        </pc:sldMkLst>
      </pc:sldChg>
    </pc:docChg>
  </pc:docChgLst>
  <pc:docChgLst>
    <pc:chgData name="Anand Shinde" userId="S::anand.shinde1@ie.ey.com::b5f5c962-20ac-4f5c-b0d1-680fdc9a4d77" providerId="AD" clId="Web-{705D60D6-52BE-C802-E7F5-D0E8948E2222}"/>
    <pc:docChg chg="modSld">
      <pc:chgData name="Anand Shinde" userId="S::anand.shinde1@ie.ey.com::b5f5c962-20ac-4f5c-b0d1-680fdc9a4d77" providerId="AD" clId="Web-{705D60D6-52BE-C802-E7F5-D0E8948E2222}" dt="2023-05-25T15:39:14.680" v="19" actId="20577"/>
      <pc:docMkLst>
        <pc:docMk/>
      </pc:docMkLst>
      <pc:sldChg chg="modSp">
        <pc:chgData name="Anand Shinde" userId="S::anand.shinde1@ie.ey.com::b5f5c962-20ac-4f5c-b0d1-680fdc9a4d77" providerId="AD" clId="Web-{705D60D6-52BE-C802-E7F5-D0E8948E2222}" dt="2023-05-25T15:39:14.680" v="19" actId="20577"/>
        <pc:sldMkLst>
          <pc:docMk/>
          <pc:sldMk cId="1094778673" sldId="2147479585"/>
        </pc:sldMkLst>
        <pc:spChg chg="mod">
          <ac:chgData name="Anand Shinde" userId="S::anand.shinde1@ie.ey.com::b5f5c962-20ac-4f5c-b0d1-680fdc9a4d77" providerId="AD" clId="Web-{705D60D6-52BE-C802-E7F5-D0E8948E2222}" dt="2023-05-25T15:39:14.680" v="19" actId="20577"/>
          <ac:spMkLst>
            <pc:docMk/>
            <pc:sldMk cId="1094778673" sldId="2147479585"/>
            <ac:spMk id="5" creationId="{BAADF5AA-4C61-3635-363D-9509EF2FAE53}"/>
          </ac:spMkLst>
        </pc:spChg>
      </pc:sldChg>
    </pc:docChg>
  </pc:docChgLst>
  <pc:docChgLst>
    <pc:chgData name="Immanuel J Daniel" userId="S::immanuel.johnston.daniel@ie.ey.com::b9141605-49ff-443e-8af4-0c21e2766a66" providerId="AD" clId="Web-{D919AE57-AB5C-0208-6A99-CDDE5A1BE01E}"/>
    <pc:docChg chg="addSld delSld modSld addMainMaster modMainMaster modSection">
      <pc:chgData name="Immanuel J Daniel" userId="S::immanuel.johnston.daniel@ie.ey.com::b9141605-49ff-443e-8af4-0c21e2766a66" providerId="AD" clId="Web-{D919AE57-AB5C-0208-6A99-CDDE5A1BE01E}" dt="2023-08-15T13:36:59.113" v="29" actId="20577"/>
      <pc:docMkLst>
        <pc:docMk/>
      </pc:docMkLst>
      <pc:sldChg chg="modSp">
        <pc:chgData name="Immanuel J Daniel" userId="S::immanuel.johnston.daniel@ie.ey.com::b9141605-49ff-443e-8af4-0c21e2766a66" providerId="AD" clId="Web-{D919AE57-AB5C-0208-6A99-CDDE5A1BE01E}" dt="2023-08-15T13:36:59.113" v="29" actId="20577"/>
        <pc:sldMkLst>
          <pc:docMk/>
          <pc:sldMk cId="2809512320" sldId="2147479715"/>
        </pc:sldMkLst>
        <pc:spChg chg="mod">
          <ac:chgData name="Immanuel J Daniel" userId="S::immanuel.johnston.daniel@ie.ey.com::b9141605-49ff-443e-8af4-0c21e2766a66" providerId="AD" clId="Web-{D919AE57-AB5C-0208-6A99-CDDE5A1BE01E}" dt="2023-08-15T13:36:59.113" v="29" actId="20577"/>
          <ac:spMkLst>
            <pc:docMk/>
            <pc:sldMk cId="2809512320" sldId="2147479715"/>
            <ac:spMk id="9" creationId="{1FC709B3-38DF-1A84-C161-86A28D557B38}"/>
          </ac:spMkLst>
        </pc:spChg>
      </pc:sldChg>
      <pc:sldChg chg="del">
        <pc:chgData name="Immanuel J Daniel" userId="S::immanuel.johnston.daniel@ie.ey.com::b9141605-49ff-443e-8af4-0c21e2766a66" providerId="AD" clId="Web-{D919AE57-AB5C-0208-6A99-CDDE5A1BE01E}" dt="2023-08-15T13:31:15.581" v="2"/>
        <pc:sldMkLst>
          <pc:docMk/>
          <pc:sldMk cId="3504249565" sldId="2147479718"/>
        </pc:sldMkLst>
      </pc:sldChg>
      <pc:sldChg chg="modSp add mod modClrScheme chgLayout">
        <pc:chgData name="Immanuel J Daniel" userId="S::immanuel.johnston.daniel@ie.ey.com::b9141605-49ff-443e-8af4-0c21e2766a66" providerId="AD" clId="Web-{D919AE57-AB5C-0208-6A99-CDDE5A1BE01E}" dt="2023-08-15T13:35:22.483" v="27" actId="20577"/>
        <pc:sldMkLst>
          <pc:docMk/>
          <pc:sldMk cId="236310704" sldId="2147479719"/>
        </pc:sldMkLst>
        <pc:spChg chg="mod ord">
          <ac:chgData name="Immanuel J Daniel" userId="S::immanuel.johnston.daniel@ie.ey.com::b9141605-49ff-443e-8af4-0c21e2766a66" providerId="AD" clId="Web-{D919AE57-AB5C-0208-6A99-CDDE5A1BE01E}" dt="2023-08-15T13:34:17.730" v="22" actId="20577"/>
          <ac:spMkLst>
            <pc:docMk/>
            <pc:sldMk cId="236310704" sldId="2147479719"/>
            <ac:spMk id="2" creationId="{1782F83F-5237-4981-8270-3E8F19986FC6}"/>
          </ac:spMkLst>
        </pc:spChg>
        <pc:spChg chg="mod ord">
          <ac:chgData name="Immanuel J Daniel" userId="S::immanuel.johnston.daniel@ie.ey.com::b9141605-49ff-443e-8af4-0c21e2766a66" providerId="AD" clId="Web-{D919AE57-AB5C-0208-6A99-CDDE5A1BE01E}" dt="2023-08-15T13:35:22.483" v="27" actId="20577"/>
          <ac:spMkLst>
            <pc:docMk/>
            <pc:sldMk cId="236310704" sldId="2147479719"/>
            <ac:spMk id="8" creationId="{7824D54C-15D2-467C-A016-166944D0781C}"/>
          </ac:spMkLst>
        </pc:spChg>
        <pc:graphicFrameChg chg="mod modGraphic">
          <ac:chgData name="Immanuel J Daniel" userId="S::immanuel.johnston.daniel@ie.ey.com::b9141605-49ff-443e-8af4-0c21e2766a66" providerId="AD" clId="Web-{D919AE57-AB5C-0208-6A99-CDDE5A1BE01E}" dt="2023-08-15T13:34:40.715" v="25" actId="1076"/>
          <ac:graphicFrameMkLst>
            <pc:docMk/>
            <pc:sldMk cId="236310704" sldId="2147479719"/>
            <ac:graphicFrameMk id="7" creationId="{26804FF2-D42E-4EB9-A798-9FD034B5B5BA}"/>
          </ac:graphicFrameMkLst>
        </pc:graphicFrameChg>
      </pc:sldChg>
      <pc:sldChg chg="addSp delSp modSp new del mod modClrScheme chgLayout">
        <pc:chgData name="Immanuel J Daniel" userId="S::immanuel.johnston.daniel@ie.ey.com::b9141605-49ff-443e-8af4-0c21e2766a66" providerId="AD" clId="Web-{D919AE57-AB5C-0208-6A99-CDDE5A1BE01E}" dt="2023-08-15T13:32:07.333" v="6"/>
        <pc:sldMkLst>
          <pc:docMk/>
          <pc:sldMk cId="1375849310" sldId="2147479720"/>
        </pc:sldMkLst>
        <pc:spChg chg="del mod ord">
          <ac:chgData name="Immanuel J Daniel" userId="S::immanuel.johnston.daniel@ie.ey.com::b9141605-49ff-443e-8af4-0c21e2766a66" providerId="AD" clId="Web-{D919AE57-AB5C-0208-6A99-CDDE5A1BE01E}" dt="2023-08-15T13:32:03.598" v="5"/>
          <ac:spMkLst>
            <pc:docMk/>
            <pc:sldMk cId="1375849310" sldId="2147479720"/>
            <ac:spMk id="2" creationId="{0A0A5DE3-831B-BE2E-243B-F1B8965C509E}"/>
          </ac:spMkLst>
        </pc:spChg>
        <pc:spChg chg="del mod ord">
          <ac:chgData name="Immanuel J Daniel" userId="S::immanuel.johnston.daniel@ie.ey.com::b9141605-49ff-443e-8af4-0c21e2766a66" providerId="AD" clId="Web-{D919AE57-AB5C-0208-6A99-CDDE5A1BE01E}" dt="2023-08-15T13:32:03.598" v="5"/>
          <ac:spMkLst>
            <pc:docMk/>
            <pc:sldMk cId="1375849310" sldId="2147479720"/>
            <ac:spMk id="3" creationId="{515BB3F9-3CAE-71BC-961E-502516920F37}"/>
          </ac:spMkLst>
        </pc:spChg>
        <pc:spChg chg="add mod">
          <ac:chgData name="Immanuel J Daniel" userId="S::immanuel.johnston.daniel@ie.ey.com::b9141605-49ff-443e-8af4-0c21e2766a66" providerId="AD" clId="Web-{D919AE57-AB5C-0208-6A99-CDDE5A1BE01E}" dt="2023-08-15T13:32:03.598" v="5"/>
          <ac:spMkLst>
            <pc:docMk/>
            <pc:sldMk cId="1375849310" sldId="2147479720"/>
            <ac:spMk id="8" creationId="{609ABB89-8E94-96B1-38EA-BE0F47E88A9A}"/>
          </ac:spMkLst>
        </pc:spChg>
        <pc:spChg chg="add mod">
          <ac:chgData name="Immanuel J Daniel" userId="S::immanuel.johnston.daniel@ie.ey.com::b9141605-49ff-443e-8af4-0c21e2766a66" providerId="AD" clId="Web-{D919AE57-AB5C-0208-6A99-CDDE5A1BE01E}" dt="2023-08-15T13:32:03.598" v="5"/>
          <ac:spMkLst>
            <pc:docMk/>
            <pc:sldMk cId="1375849310" sldId="2147479720"/>
            <ac:spMk id="10" creationId="{39A42728-3DE5-89B0-8EDE-93AA16A318BD}"/>
          </ac:spMkLst>
        </pc:spChg>
      </pc:sldChg>
      <pc:sldChg chg="modSp add replId">
        <pc:chgData name="Immanuel J Daniel" userId="S::immanuel.johnston.daniel@ie.ey.com::b9141605-49ff-443e-8af4-0c21e2766a66" providerId="AD" clId="Web-{D919AE57-AB5C-0208-6A99-CDDE5A1BE01E}" dt="2023-08-15T13:33:03.508" v="21" actId="20577"/>
        <pc:sldMkLst>
          <pc:docMk/>
          <pc:sldMk cId="3174889940" sldId="2147479720"/>
        </pc:sldMkLst>
        <pc:spChg chg="mod">
          <ac:chgData name="Immanuel J Daniel" userId="S::immanuel.johnston.daniel@ie.ey.com::b9141605-49ff-443e-8af4-0c21e2766a66" providerId="AD" clId="Web-{D919AE57-AB5C-0208-6A99-CDDE5A1BE01E}" dt="2023-08-15T13:33:03.508" v="21" actId="20577"/>
          <ac:spMkLst>
            <pc:docMk/>
            <pc:sldMk cId="3174889940" sldId="2147479720"/>
            <ac:spMk id="2" creationId="{35CD8BED-68CF-D983-C8AF-A9AD64B592B0}"/>
          </ac:spMkLst>
        </pc:spChg>
        <pc:spChg chg="mod">
          <ac:chgData name="Immanuel J Daniel" userId="S::immanuel.johnston.daniel@ie.ey.com::b9141605-49ff-443e-8af4-0c21e2766a66" providerId="AD" clId="Web-{D919AE57-AB5C-0208-6A99-CDDE5A1BE01E}" dt="2023-08-15T13:32:26.396" v="13" actId="20577"/>
          <ac:spMkLst>
            <pc:docMk/>
            <pc:sldMk cId="3174889940" sldId="2147479720"/>
            <ac:spMk id="4" creationId="{E432C490-8501-4DEB-9800-36DD8F00D9DA}"/>
          </ac:spMkLst>
        </pc:spChg>
      </pc:sldChg>
      <pc:sldMasterChg chg="modSldLayout">
        <pc:chgData name="Immanuel J Daniel" userId="S::immanuel.johnston.daniel@ie.ey.com::b9141605-49ff-443e-8af4-0c21e2766a66" providerId="AD" clId="Web-{D919AE57-AB5C-0208-6A99-CDDE5A1BE01E}" dt="2023-08-15T13:30:36.860" v="0"/>
        <pc:sldMasterMkLst>
          <pc:docMk/>
          <pc:sldMasterMk cId="3845511995" sldId="2147483660"/>
        </pc:sldMasterMkLst>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1451516886" sldId="2147484242"/>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3444051892" sldId="2147484243"/>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4267380075" sldId="2147484244"/>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568204052" sldId="2147484245"/>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153961162" sldId="2147484246"/>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43161935" sldId="2147484247"/>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138680982" sldId="2147484248"/>
          </pc:sldLayoutMkLst>
        </pc:sldLayoutChg>
        <pc:sldLayoutChg chg="replId">
          <pc:chgData name="Immanuel J Daniel" userId="S::immanuel.johnston.daniel@ie.ey.com::b9141605-49ff-443e-8af4-0c21e2766a66" providerId="AD" clId="Web-{D919AE57-AB5C-0208-6A99-CDDE5A1BE01E}" dt="2023-08-15T13:30:36.860" v="0"/>
          <pc:sldLayoutMkLst>
            <pc:docMk/>
            <pc:sldMasterMk cId="3845511995" sldId="2147483660"/>
            <pc:sldLayoutMk cId="43161935" sldId="2147484249"/>
          </pc:sldLayoutMkLst>
        </pc:sldLayoutChg>
      </pc:sldMasterChg>
      <pc:sldMasterChg chg="modSldLayout">
        <pc:chgData name="Immanuel J Daniel" userId="S::immanuel.johnston.daniel@ie.ey.com::b9141605-49ff-443e-8af4-0c21e2766a66" providerId="AD" clId="Web-{D919AE57-AB5C-0208-6A99-CDDE5A1BE01E}" dt="2023-08-15T13:30:36.860" v="0"/>
        <pc:sldMasterMkLst>
          <pc:docMk/>
          <pc:sldMasterMk cId="1586323379" sldId="2147483862"/>
        </pc:sldMasterMkLst>
        <pc:sldLayoutChg chg="replId">
          <pc:chgData name="Immanuel J Daniel" userId="S::immanuel.johnston.daniel@ie.ey.com::b9141605-49ff-443e-8af4-0c21e2766a66" providerId="AD" clId="Web-{D919AE57-AB5C-0208-6A99-CDDE5A1BE01E}" dt="2023-08-15T13:30:36.860" v="0"/>
          <pc:sldLayoutMkLst>
            <pc:docMk/>
            <pc:sldMasterMk cId="1586323379" sldId="2147483862"/>
            <pc:sldLayoutMk cId="1892373190" sldId="2147484250"/>
          </pc:sldLayoutMkLst>
        </pc:sldLayoutChg>
      </pc:sldMasterChg>
      <pc:sldMasterChg chg="add addSldLayout">
        <pc:chgData name="Immanuel J Daniel" userId="S::immanuel.johnston.daniel@ie.ey.com::b9141605-49ff-443e-8af4-0c21e2766a66" providerId="AD" clId="Web-{D919AE57-AB5C-0208-6A99-CDDE5A1BE01E}" dt="2023-08-15T13:30:36.860" v="0"/>
        <pc:sldMasterMkLst>
          <pc:docMk/>
          <pc:sldMasterMk cId="2266761026" sldId="2147483936"/>
        </pc:sldMasterMkLst>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3377222127" sldId="2147483937"/>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2565918030" sldId="2147483938"/>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2282217114" sldId="2147483939"/>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645858744" sldId="2147483940"/>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208792295" sldId="2147483941"/>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539555668" sldId="2147483942"/>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819728845" sldId="2147483943"/>
          </pc:sldLayoutMkLst>
        </pc:sldLayoutChg>
        <pc:sldLayoutChg chg="add">
          <pc:chgData name="Immanuel J Daniel" userId="S::immanuel.johnston.daniel@ie.ey.com::b9141605-49ff-443e-8af4-0c21e2766a66" providerId="AD" clId="Web-{D919AE57-AB5C-0208-6A99-CDDE5A1BE01E}" dt="2023-08-15T13:30:36.860" v="0"/>
          <pc:sldLayoutMkLst>
            <pc:docMk/>
            <pc:sldMasterMk cId="2266761026" sldId="2147483936"/>
            <pc:sldLayoutMk cId="3597067132" sldId="2147483944"/>
          </pc:sldLayoutMkLst>
        </pc:sldLayoutChg>
      </pc:sldMasterChg>
    </pc:docChg>
  </pc:docChgLst>
  <pc:docChgLst>
    <pc:chgData name="Brian Bambrick" userId="4a0d11bd-e942-4df0-b3ad-ad9bac78bbb3" providerId="ADAL" clId="{7363213F-9415-4958-96A8-5A82917D5894}"/>
    <pc:docChg chg="custSel replTag">
      <pc:chgData name="Brian Bambrick" userId="4a0d11bd-e942-4df0-b3ad-ad9bac78bbb3" providerId="ADAL" clId="{7363213F-9415-4958-96A8-5A82917D5894}" dt="2023-05-22T10:47:59.578" v="1"/>
      <pc:docMkLst>
        <pc:docMk/>
      </pc:docMkLst>
    </pc:docChg>
  </pc:docChgLst>
  <pc:docChgLst>
    <pc:chgData name="Immanuel J Daniel" userId="S::immanuel.johnston.daniel@ie.ey.com::b9141605-49ff-443e-8af4-0c21e2766a66" providerId="AD" clId="Web-{BCE063E0-7813-A8E1-DF7B-C95AB43DBC49}"/>
    <pc:docChg chg="modSld">
      <pc:chgData name="Immanuel J Daniel" userId="S::immanuel.johnston.daniel@ie.ey.com::b9141605-49ff-443e-8af4-0c21e2766a66" providerId="AD" clId="Web-{BCE063E0-7813-A8E1-DF7B-C95AB43DBC49}" dt="2023-08-11T13:09:03.694" v="10" actId="20577"/>
      <pc:docMkLst>
        <pc:docMk/>
      </pc:docMkLst>
      <pc:sldChg chg="modSp modCm">
        <pc:chgData name="Immanuel J Daniel" userId="S::immanuel.johnston.daniel@ie.ey.com::b9141605-49ff-443e-8af4-0c21e2766a66" providerId="AD" clId="Web-{BCE063E0-7813-A8E1-DF7B-C95AB43DBC49}" dt="2023-08-11T13:09:03.694" v="10" actId="20577"/>
        <pc:sldMkLst>
          <pc:docMk/>
          <pc:sldMk cId="2692628411" sldId="728"/>
        </pc:sldMkLst>
        <pc:spChg chg="mod">
          <ac:chgData name="Immanuel J Daniel" userId="S::immanuel.johnston.daniel@ie.ey.com::b9141605-49ff-443e-8af4-0c21e2766a66" providerId="AD" clId="Web-{BCE063E0-7813-A8E1-DF7B-C95AB43DBC49}" dt="2023-08-11T13:09:03.694" v="10" actId="20577"/>
          <ac:spMkLst>
            <pc:docMk/>
            <pc:sldMk cId="2692628411" sldId="728"/>
            <ac:spMk id="6" creationId="{6E140539-078F-F10D-F5E5-DDDB9F7D7F51}"/>
          </ac:spMkLst>
        </pc:spChg>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BCE063E0-7813-A8E1-DF7B-C95AB43DBC49}" dt="2023-08-11T13:08:25.208" v="0"/>
              <pc2:cmMkLst xmlns:pc2="http://schemas.microsoft.com/office/powerpoint/2019/9/main/command">
                <pc:docMk/>
                <pc:sldMk cId="2692628411" sldId="728"/>
                <pc2:cmMk id="{C94CA023-73A2-4362-B7C8-FB6BD71D9088}"/>
              </pc2:cmMkLst>
              <pc226:cmRplyChg chg="add">
                <pc226:chgData name="Immanuel J Daniel" userId="S::immanuel.johnston.daniel@ie.ey.com::b9141605-49ff-443e-8af4-0c21e2766a66" providerId="AD" clId="Web-{BCE063E0-7813-A8E1-DF7B-C95AB43DBC49}" dt="2023-08-11T13:08:25.208" v="0"/>
                <pc2:cmRplyMkLst xmlns:pc2="http://schemas.microsoft.com/office/powerpoint/2019/9/main/command">
                  <pc:docMk/>
                  <pc:sldMk cId="2692628411" sldId="728"/>
                  <pc2:cmMk id="{C94CA023-73A2-4362-B7C8-FB6BD71D9088}"/>
                  <pc2:cmRplyMk id="{3CD2CAE3-70D0-4BF1-A571-E35E60126E2E}"/>
                </pc2:cmRplyMkLst>
              </pc226:cmRplyChg>
            </pc226:cmChg>
          </p:ext>
        </pc:extLst>
      </pc:sldChg>
    </pc:docChg>
  </pc:docChgLst>
  <pc:docChgLst>
    <pc:chgData name="Matthew Macfarlane" userId="52a8a487-b9c7-41a3-9714-e63e5480b1c7" providerId="ADAL" clId="{94F12DD7-A754-4C7D-82EB-58CEC3362987}"/>
    <pc:docChg chg="delSld modSection">
      <pc:chgData name="Matthew Macfarlane" userId="52a8a487-b9c7-41a3-9714-e63e5480b1c7" providerId="ADAL" clId="{94F12DD7-A754-4C7D-82EB-58CEC3362987}" dt="2023-05-25T09:02:42.383" v="2" actId="47"/>
      <pc:docMkLst>
        <pc:docMk/>
      </pc:docMkLst>
      <pc:sldChg chg="del">
        <pc:chgData name="Matthew Macfarlane" userId="52a8a487-b9c7-41a3-9714-e63e5480b1c7" providerId="ADAL" clId="{94F12DD7-A754-4C7D-82EB-58CEC3362987}" dt="2023-05-25T09:02:34.935" v="0" actId="47"/>
        <pc:sldMkLst>
          <pc:docMk/>
          <pc:sldMk cId="2522428686" sldId="2147473084"/>
        </pc:sldMkLst>
      </pc:sldChg>
      <pc:sldChg chg="del">
        <pc:chgData name="Matthew Macfarlane" userId="52a8a487-b9c7-41a3-9714-e63e5480b1c7" providerId="ADAL" clId="{94F12DD7-A754-4C7D-82EB-58CEC3362987}" dt="2023-05-25T09:02:36.091" v="1" actId="47"/>
        <pc:sldMkLst>
          <pc:docMk/>
          <pc:sldMk cId="2509730765" sldId="2147473159"/>
        </pc:sldMkLst>
      </pc:sldChg>
      <pc:sldChg chg="del">
        <pc:chgData name="Matthew Macfarlane" userId="52a8a487-b9c7-41a3-9714-e63e5480b1c7" providerId="ADAL" clId="{94F12DD7-A754-4C7D-82EB-58CEC3362987}" dt="2023-05-25T09:02:42.383" v="2" actId="47"/>
        <pc:sldMkLst>
          <pc:docMk/>
          <pc:sldMk cId="260131920" sldId="2147473167"/>
        </pc:sldMkLst>
      </pc:sldChg>
    </pc:docChg>
  </pc:docChgLst>
  <pc:docChgLst>
    <pc:chgData name="Jeffrey Obi" userId="S::jeffrey.obi@ie.ey.com::488f269d-1fa2-455e-bf95-7695136a100d" providerId="AD" clId="Web-{24A5B15B-58AF-F9FF-79E8-590BB7C81056}"/>
    <pc:docChg chg="modSld">
      <pc:chgData name="Jeffrey Obi" userId="S::jeffrey.obi@ie.ey.com::488f269d-1fa2-455e-bf95-7695136a100d" providerId="AD" clId="Web-{24A5B15B-58AF-F9FF-79E8-590BB7C81056}" dt="2023-08-03T10:29:01.733" v="131"/>
      <pc:docMkLst>
        <pc:docMk/>
      </pc:docMkLst>
      <pc:sldChg chg="modSp">
        <pc:chgData name="Jeffrey Obi" userId="S::jeffrey.obi@ie.ey.com::488f269d-1fa2-455e-bf95-7695136a100d" providerId="AD" clId="Web-{24A5B15B-58AF-F9FF-79E8-590BB7C81056}" dt="2023-08-03T09:03:10.240" v="87" actId="20577"/>
        <pc:sldMkLst>
          <pc:docMk/>
          <pc:sldMk cId="3046752737" sldId="2147479614"/>
        </pc:sldMkLst>
        <pc:spChg chg="mod">
          <ac:chgData name="Jeffrey Obi" userId="S::jeffrey.obi@ie.ey.com::488f269d-1fa2-455e-bf95-7695136a100d" providerId="AD" clId="Web-{24A5B15B-58AF-F9FF-79E8-590BB7C81056}" dt="2023-08-03T08:59:52.922" v="75" actId="20577"/>
          <ac:spMkLst>
            <pc:docMk/>
            <pc:sldMk cId="3046752737" sldId="2147479614"/>
            <ac:spMk id="10" creationId="{A9930A43-D411-994C-F0E8-7D9582857EF9}"/>
          </ac:spMkLst>
        </pc:spChg>
        <pc:spChg chg="mod">
          <ac:chgData name="Jeffrey Obi" userId="S::jeffrey.obi@ie.ey.com::488f269d-1fa2-455e-bf95-7695136a100d" providerId="AD" clId="Web-{24A5B15B-58AF-F9FF-79E8-590BB7C81056}" dt="2023-08-03T09:03:10.240" v="87" actId="20577"/>
          <ac:spMkLst>
            <pc:docMk/>
            <pc:sldMk cId="3046752737" sldId="2147479614"/>
            <ac:spMk id="12" creationId="{213C6BCD-69D2-90ED-2BC4-196EF5E3F298}"/>
          </ac:spMkLst>
        </pc:spChg>
        <pc:spChg chg="mod">
          <ac:chgData name="Jeffrey Obi" userId="S::jeffrey.obi@ie.ey.com::488f269d-1fa2-455e-bf95-7695136a100d" providerId="AD" clId="Web-{24A5B15B-58AF-F9FF-79E8-590BB7C81056}" dt="2023-08-03T09:00:09.439" v="79" actId="20577"/>
          <ac:spMkLst>
            <pc:docMk/>
            <pc:sldMk cId="3046752737" sldId="2147479614"/>
            <ac:spMk id="16" creationId="{1EE50A2F-BB66-4023-A19E-4AC1F49CB477}"/>
          </ac:spMkLst>
        </pc:spChg>
        <pc:spChg chg="mod">
          <ac:chgData name="Jeffrey Obi" userId="S::jeffrey.obi@ie.ey.com::488f269d-1fa2-455e-bf95-7695136a100d" providerId="AD" clId="Web-{24A5B15B-58AF-F9FF-79E8-590BB7C81056}" dt="2023-08-03T08:59:26.922" v="69" actId="20577"/>
          <ac:spMkLst>
            <pc:docMk/>
            <pc:sldMk cId="3046752737" sldId="2147479614"/>
            <ac:spMk id="20" creationId="{71597D73-FC0D-0F7C-BC32-B2FA32899DF9}"/>
          </ac:spMkLst>
        </pc:spChg>
        <pc:spChg chg="mod">
          <ac:chgData name="Jeffrey Obi" userId="S::jeffrey.obi@ie.ey.com::488f269d-1fa2-455e-bf95-7695136a100d" providerId="AD" clId="Web-{24A5B15B-58AF-F9FF-79E8-590BB7C81056}" dt="2023-08-03T08:59:20.218" v="68" actId="20577"/>
          <ac:spMkLst>
            <pc:docMk/>
            <pc:sldMk cId="3046752737" sldId="2147479614"/>
            <ac:spMk id="22" creationId="{9A4AB788-397F-A777-536A-71E510E11985}"/>
          </ac:spMkLst>
        </pc:spChg>
        <pc:spChg chg="mod">
          <ac:chgData name="Jeffrey Obi" userId="S::jeffrey.obi@ie.ey.com::488f269d-1fa2-455e-bf95-7695136a100d" providerId="AD" clId="Web-{24A5B15B-58AF-F9FF-79E8-590BB7C81056}" dt="2023-08-03T09:00:36.721" v="83" actId="20577"/>
          <ac:spMkLst>
            <pc:docMk/>
            <pc:sldMk cId="3046752737" sldId="2147479614"/>
            <ac:spMk id="24" creationId="{F157CDD7-E4B0-DBE6-3BF9-A80704C2E8E2}"/>
          </ac:spMkLst>
        </pc:spChg>
        <pc:spChg chg="mod">
          <ac:chgData name="Jeffrey Obi" userId="S::jeffrey.obi@ie.ey.com::488f269d-1fa2-455e-bf95-7695136a100d" providerId="AD" clId="Web-{24A5B15B-58AF-F9FF-79E8-590BB7C81056}" dt="2023-08-03T09:00:21.720" v="81" actId="20577"/>
          <ac:spMkLst>
            <pc:docMk/>
            <pc:sldMk cId="3046752737" sldId="2147479614"/>
            <ac:spMk id="26" creationId="{CE8179ED-1E75-8A00-A70C-EF944AB7261F}"/>
          </ac:spMkLst>
        </pc:spChg>
        <pc:spChg chg="mod">
          <ac:chgData name="Jeffrey Obi" userId="S::jeffrey.obi@ie.ey.com::488f269d-1fa2-455e-bf95-7695136a100d" providerId="AD" clId="Web-{24A5B15B-58AF-F9FF-79E8-590BB7C81056}" dt="2023-08-03T08:59:39.391" v="70" actId="20577"/>
          <ac:spMkLst>
            <pc:docMk/>
            <pc:sldMk cId="3046752737" sldId="2147479614"/>
            <ac:spMk id="28" creationId="{3C2A5434-720E-4AA9-21BF-0B0E8A76CA06}"/>
          </ac:spMkLst>
        </pc:spChg>
        <pc:spChg chg="mod">
          <ac:chgData name="Jeffrey Obi" userId="S::jeffrey.obi@ie.ey.com::488f269d-1fa2-455e-bf95-7695136a100d" providerId="AD" clId="Web-{24A5B15B-58AF-F9FF-79E8-590BB7C81056}" dt="2023-08-03T08:59:12.187" v="67" actId="20577"/>
          <ac:spMkLst>
            <pc:docMk/>
            <pc:sldMk cId="3046752737" sldId="2147479614"/>
            <ac:spMk id="30" creationId="{D93FAA2B-249B-226A-0A9D-DF62EFC7C39A}"/>
          </ac:spMkLst>
        </pc:spChg>
      </pc:sldChg>
      <pc:sldChg chg="modSp">
        <pc:chgData name="Jeffrey Obi" userId="S::jeffrey.obi@ie.ey.com::488f269d-1fa2-455e-bf95-7695136a100d" providerId="AD" clId="Web-{24A5B15B-58AF-F9FF-79E8-590BB7C81056}" dt="2023-08-03T08:55:08.568" v="45" actId="20577"/>
        <pc:sldMkLst>
          <pc:docMk/>
          <pc:sldMk cId="3673377692" sldId="2147479616"/>
        </pc:sldMkLst>
        <pc:spChg chg="mod">
          <ac:chgData name="Jeffrey Obi" userId="S::jeffrey.obi@ie.ey.com::488f269d-1fa2-455e-bf95-7695136a100d" providerId="AD" clId="Web-{24A5B15B-58AF-F9FF-79E8-590BB7C81056}" dt="2023-08-03T08:49:21.993" v="22" actId="20577"/>
          <ac:spMkLst>
            <pc:docMk/>
            <pc:sldMk cId="3673377692" sldId="2147479616"/>
            <ac:spMk id="5" creationId="{BDE47C88-9E3C-4980-C403-263854BB37E2}"/>
          </ac:spMkLst>
        </pc:spChg>
        <pc:spChg chg="mod">
          <ac:chgData name="Jeffrey Obi" userId="S::jeffrey.obi@ie.ey.com::488f269d-1fa2-455e-bf95-7695136a100d" providerId="AD" clId="Web-{24A5B15B-58AF-F9FF-79E8-590BB7C81056}" dt="2023-08-03T08:48:40.086" v="21" actId="20577"/>
          <ac:spMkLst>
            <pc:docMk/>
            <pc:sldMk cId="3673377692" sldId="2147479616"/>
            <ac:spMk id="9" creationId="{DAF26290-6595-85BF-EBDA-ECDB1152DE27}"/>
          </ac:spMkLst>
        </pc:spChg>
        <pc:spChg chg="mod">
          <ac:chgData name="Jeffrey Obi" userId="S::jeffrey.obi@ie.ey.com::488f269d-1fa2-455e-bf95-7695136a100d" providerId="AD" clId="Web-{24A5B15B-58AF-F9FF-79E8-590BB7C81056}" dt="2023-08-03T08:48:08.913" v="19" actId="20577"/>
          <ac:spMkLst>
            <pc:docMk/>
            <pc:sldMk cId="3673377692" sldId="2147479616"/>
            <ac:spMk id="10" creationId="{A9930A43-D411-994C-F0E8-7D9582857EF9}"/>
          </ac:spMkLst>
        </pc:spChg>
        <pc:spChg chg="mod">
          <ac:chgData name="Jeffrey Obi" userId="S::jeffrey.obi@ie.ey.com::488f269d-1fa2-455e-bf95-7695136a100d" providerId="AD" clId="Web-{24A5B15B-58AF-F9FF-79E8-590BB7C81056}" dt="2023-08-03T08:51:03.544" v="27" actId="20577"/>
          <ac:spMkLst>
            <pc:docMk/>
            <pc:sldMk cId="3673377692" sldId="2147479616"/>
            <ac:spMk id="12" creationId="{213C6BCD-69D2-90ED-2BC4-196EF5E3F298}"/>
          </ac:spMkLst>
        </pc:spChg>
        <pc:spChg chg="mod">
          <ac:chgData name="Jeffrey Obi" userId="S::jeffrey.obi@ie.ey.com::488f269d-1fa2-455e-bf95-7695136a100d" providerId="AD" clId="Web-{24A5B15B-58AF-F9FF-79E8-590BB7C81056}" dt="2023-08-03T08:44:53.187" v="5" actId="20577"/>
          <ac:spMkLst>
            <pc:docMk/>
            <pc:sldMk cId="3673377692" sldId="2147479616"/>
            <ac:spMk id="20" creationId="{71597D73-FC0D-0F7C-BC32-B2FA32899DF9}"/>
          </ac:spMkLst>
        </pc:spChg>
        <pc:spChg chg="mod">
          <ac:chgData name="Jeffrey Obi" userId="S::jeffrey.obi@ie.ey.com::488f269d-1fa2-455e-bf95-7695136a100d" providerId="AD" clId="Web-{24A5B15B-58AF-F9FF-79E8-590BB7C81056}" dt="2023-08-03T08:44:44.030" v="4" actId="20577"/>
          <ac:spMkLst>
            <pc:docMk/>
            <pc:sldMk cId="3673377692" sldId="2147479616"/>
            <ac:spMk id="22" creationId="{9A4AB788-397F-A777-536A-71E510E11985}"/>
          </ac:spMkLst>
        </pc:spChg>
        <pc:spChg chg="mod">
          <ac:chgData name="Jeffrey Obi" userId="S::jeffrey.obi@ie.ey.com::488f269d-1fa2-455e-bf95-7695136a100d" providerId="AD" clId="Web-{24A5B15B-58AF-F9FF-79E8-590BB7C81056}" dt="2023-08-03T08:47:28.364" v="14" actId="20577"/>
          <ac:spMkLst>
            <pc:docMk/>
            <pc:sldMk cId="3673377692" sldId="2147479616"/>
            <ac:spMk id="24" creationId="{F157CDD7-E4B0-DBE6-3BF9-A80704C2E8E2}"/>
          </ac:spMkLst>
        </pc:spChg>
        <pc:spChg chg="mod">
          <ac:chgData name="Jeffrey Obi" userId="S::jeffrey.obi@ie.ey.com::488f269d-1fa2-455e-bf95-7695136a100d" providerId="AD" clId="Web-{24A5B15B-58AF-F9FF-79E8-590BB7C81056}" dt="2023-08-03T08:47:37.865" v="15" actId="20577"/>
          <ac:spMkLst>
            <pc:docMk/>
            <pc:sldMk cId="3673377692" sldId="2147479616"/>
            <ac:spMk id="26" creationId="{CE8179ED-1E75-8A00-A70C-EF944AB7261F}"/>
          </ac:spMkLst>
        </pc:spChg>
        <pc:spChg chg="mod">
          <ac:chgData name="Jeffrey Obi" userId="S::jeffrey.obi@ie.ey.com::488f269d-1fa2-455e-bf95-7695136a100d" providerId="AD" clId="Web-{24A5B15B-58AF-F9FF-79E8-590BB7C81056}" dt="2023-08-03T08:46:47.003" v="6" actId="20577"/>
          <ac:spMkLst>
            <pc:docMk/>
            <pc:sldMk cId="3673377692" sldId="2147479616"/>
            <ac:spMk id="28" creationId="{3C2A5434-720E-4AA9-21BF-0B0E8A76CA06}"/>
          </ac:spMkLst>
        </pc:spChg>
        <pc:spChg chg="mod">
          <ac:chgData name="Jeffrey Obi" userId="S::jeffrey.obi@ie.ey.com::488f269d-1fa2-455e-bf95-7695136a100d" providerId="AD" clId="Web-{24A5B15B-58AF-F9FF-79E8-590BB7C81056}" dt="2023-08-03T08:55:08.568" v="45" actId="20577"/>
          <ac:spMkLst>
            <pc:docMk/>
            <pc:sldMk cId="3673377692" sldId="2147479616"/>
            <ac:spMk id="30" creationId="{D93FAA2B-249B-226A-0A9D-DF62EFC7C39A}"/>
          </ac:spMkLst>
        </pc:spChg>
      </pc:sldChg>
      <pc:sldChg chg="modSp">
        <pc:chgData name="Jeffrey Obi" userId="S::jeffrey.obi@ie.ey.com::488f269d-1fa2-455e-bf95-7695136a100d" providerId="AD" clId="Web-{24A5B15B-58AF-F9FF-79E8-590BB7C81056}" dt="2023-08-03T09:46:52.525" v="112" actId="20577"/>
        <pc:sldMkLst>
          <pc:docMk/>
          <pc:sldMk cId="1127760975" sldId="2147479618"/>
        </pc:sldMkLst>
        <pc:spChg chg="mod">
          <ac:chgData name="Jeffrey Obi" userId="S::jeffrey.obi@ie.ey.com::488f269d-1fa2-455e-bf95-7695136a100d" providerId="AD" clId="Web-{24A5B15B-58AF-F9FF-79E8-590BB7C81056}" dt="2023-08-03T09:46:02.537" v="106" actId="20577"/>
          <ac:spMkLst>
            <pc:docMk/>
            <pc:sldMk cId="1127760975" sldId="2147479618"/>
            <ac:spMk id="10" creationId="{A9930A43-D411-994C-F0E8-7D9582857EF9}"/>
          </ac:spMkLst>
        </pc:spChg>
        <pc:spChg chg="mod">
          <ac:chgData name="Jeffrey Obi" userId="S::jeffrey.obi@ie.ey.com::488f269d-1fa2-455e-bf95-7695136a100d" providerId="AD" clId="Web-{24A5B15B-58AF-F9FF-79E8-590BB7C81056}" dt="2023-08-03T09:46:52.525" v="112" actId="20577"/>
          <ac:spMkLst>
            <pc:docMk/>
            <pc:sldMk cId="1127760975" sldId="2147479618"/>
            <ac:spMk id="12" creationId="{213C6BCD-69D2-90ED-2BC4-196EF5E3F298}"/>
          </ac:spMkLst>
        </pc:spChg>
        <pc:spChg chg="mod">
          <ac:chgData name="Jeffrey Obi" userId="S::jeffrey.obi@ie.ey.com::488f269d-1fa2-455e-bf95-7695136a100d" providerId="AD" clId="Web-{24A5B15B-58AF-F9FF-79E8-590BB7C81056}" dt="2023-08-03T09:44:51.344" v="99" actId="20577"/>
          <ac:spMkLst>
            <pc:docMk/>
            <pc:sldMk cId="1127760975" sldId="2147479618"/>
            <ac:spMk id="16" creationId="{1EE50A2F-BB66-4023-A19E-4AC1F49CB477}"/>
          </ac:spMkLst>
        </pc:spChg>
        <pc:spChg chg="mod">
          <ac:chgData name="Jeffrey Obi" userId="S::jeffrey.obi@ie.ey.com::488f269d-1fa2-455e-bf95-7695136a100d" providerId="AD" clId="Web-{24A5B15B-58AF-F9FF-79E8-590BB7C81056}" dt="2023-08-03T09:43:51.293" v="94" actId="20577"/>
          <ac:spMkLst>
            <pc:docMk/>
            <pc:sldMk cId="1127760975" sldId="2147479618"/>
            <ac:spMk id="20" creationId="{71597D73-FC0D-0F7C-BC32-B2FA32899DF9}"/>
          </ac:spMkLst>
        </pc:spChg>
        <pc:spChg chg="mod">
          <ac:chgData name="Jeffrey Obi" userId="S::jeffrey.obi@ie.ey.com::488f269d-1fa2-455e-bf95-7695136a100d" providerId="AD" clId="Web-{24A5B15B-58AF-F9FF-79E8-590BB7C81056}" dt="2023-08-03T09:03:12.131" v="90" actId="20577"/>
          <ac:spMkLst>
            <pc:docMk/>
            <pc:sldMk cId="1127760975" sldId="2147479618"/>
            <ac:spMk id="22" creationId="{9A4AB788-397F-A777-536A-71E510E11985}"/>
          </ac:spMkLst>
        </pc:spChg>
        <pc:spChg chg="mod">
          <ac:chgData name="Jeffrey Obi" userId="S::jeffrey.obi@ie.ey.com::488f269d-1fa2-455e-bf95-7695136a100d" providerId="AD" clId="Web-{24A5B15B-58AF-F9FF-79E8-590BB7C81056}" dt="2023-08-03T09:45:17.580" v="103" actId="20577"/>
          <ac:spMkLst>
            <pc:docMk/>
            <pc:sldMk cId="1127760975" sldId="2147479618"/>
            <ac:spMk id="24" creationId="{F157CDD7-E4B0-DBE6-3BF9-A80704C2E8E2}"/>
          </ac:spMkLst>
        </pc:spChg>
        <pc:spChg chg="mod">
          <ac:chgData name="Jeffrey Obi" userId="S::jeffrey.obi@ie.ey.com::488f269d-1fa2-455e-bf95-7695136a100d" providerId="AD" clId="Web-{24A5B15B-58AF-F9FF-79E8-590BB7C81056}" dt="2023-08-03T09:44:38.609" v="96" actId="20577"/>
          <ac:spMkLst>
            <pc:docMk/>
            <pc:sldMk cId="1127760975" sldId="2147479618"/>
            <ac:spMk id="26" creationId="{CE8179ED-1E75-8A00-A70C-EF944AB7261F}"/>
          </ac:spMkLst>
        </pc:spChg>
        <pc:spChg chg="mod">
          <ac:chgData name="Jeffrey Obi" userId="S::jeffrey.obi@ie.ey.com::488f269d-1fa2-455e-bf95-7695136a100d" providerId="AD" clId="Web-{24A5B15B-58AF-F9FF-79E8-590BB7C81056}" dt="2023-08-03T09:44:18.185" v="95" actId="20577"/>
          <ac:spMkLst>
            <pc:docMk/>
            <pc:sldMk cId="1127760975" sldId="2147479618"/>
            <ac:spMk id="28" creationId="{3C2A5434-720E-4AA9-21BF-0B0E8A76CA06}"/>
          </ac:spMkLst>
        </pc:spChg>
        <pc:spChg chg="mod">
          <ac:chgData name="Jeffrey Obi" userId="S::jeffrey.obi@ie.ey.com::488f269d-1fa2-455e-bf95-7695136a100d" providerId="AD" clId="Web-{24A5B15B-58AF-F9FF-79E8-590BB7C81056}" dt="2023-08-03T09:03:11.084" v="89" actId="20577"/>
          <ac:spMkLst>
            <pc:docMk/>
            <pc:sldMk cId="1127760975" sldId="2147479618"/>
            <ac:spMk id="30" creationId="{D93FAA2B-249B-226A-0A9D-DF62EFC7C39A}"/>
          </ac:spMkLst>
        </pc:spChg>
      </pc:sldChg>
      <pc:sldChg chg="modSp">
        <pc:chgData name="Jeffrey Obi" userId="S::jeffrey.obi@ie.ey.com::488f269d-1fa2-455e-bf95-7695136a100d" providerId="AD" clId="Web-{24A5B15B-58AF-F9FF-79E8-590BB7C81056}" dt="2023-08-03T08:55:16.397" v="46" actId="20577"/>
        <pc:sldMkLst>
          <pc:docMk/>
          <pc:sldMk cId="2127201987" sldId="2147479638"/>
        </pc:sldMkLst>
        <pc:spChg chg="mod">
          <ac:chgData name="Jeffrey Obi" userId="S::jeffrey.obi@ie.ey.com::488f269d-1fa2-455e-bf95-7695136a100d" providerId="AD" clId="Web-{24A5B15B-58AF-F9FF-79E8-590BB7C81056}" dt="2023-08-03T08:53:20.189" v="41" actId="20577"/>
          <ac:spMkLst>
            <pc:docMk/>
            <pc:sldMk cId="2127201987" sldId="2147479638"/>
            <ac:spMk id="3" creationId="{87B00A01-31F9-F4D4-DCFE-CF999A9E2975}"/>
          </ac:spMkLst>
        </pc:spChg>
        <pc:spChg chg="mod">
          <ac:chgData name="Jeffrey Obi" userId="S::jeffrey.obi@ie.ey.com::488f269d-1fa2-455e-bf95-7695136a100d" providerId="AD" clId="Web-{24A5B15B-58AF-F9FF-79E8-590BB7C81056}" dt="2023-08-03T08:52:45.563" v="37" actId="20577"/>
          <ac:spMkLst>
            <pc:docMk/>
            <pc:sldMk cId="2127201987" sldId="2147479638"/>
            <ac:spMk id="10" creationId="{A9930A43-D411-994C-F0E8-7D9582857EF9}"/>
          </ac:spMkLst>
        </pc:spChg>
        <pc:spChg chg="mod">
          <ac:chgData name="Jeffrey Obi" userId="S::jeffrey.obi@ie.ey.com::488f269d-1fa2-455e-bf95-7695136a100d" providerId="AD" clId="Web-{24A5B15B-58AF-F9FF-79E8-590BB7C81056}" dt="2023-08-03T08:54:08.269" v="44" actId="20577"/>
          <ac:spMkLst>
            <pc:docMk/>
            <pc:sldMk cId="2127201987" sldId="2147479638"/>
            <ac:spMk id="12" creationId="{213C6BCD-69D2-90ED-2BC4-196EF5E3F298}"/>
          </ac:spMkLst>
        </pc:spChg>
        <pc:spChg chg="mod">
          <ac:chgData name="Jeffrey Obi" userId="S::jeffrey.obi@ie.ey.com::488f269d-1fa2-455e-bf95-7695136a100d" providerId="AD" clId="Web-{24A5B15B-58AF-F9FF-79E8-590BB7C81056}" dt="2023-08-03T08:53:11.220" v="40" actId="20577"/>
          <ac:spMkLst>
            <pc:docMk/>
            <pc:sldMk cId="2127201987" sldId="2147479638"/>
            <ac:spMk id="16" creationId="{1EE50A2F-BB66-4023-A19E-4AC1F49CB477}"/>
          </ac:spMkLst>
        </pc:spChg>
        <pc:spChg chg="mod">
          <ac:chgData name="Jeffrey Obi" userId="S::jeffrey.obi@ie.ey.com::488f269d-1fa2-455e-bf95-7695136a100d" providerId="AD" clId="Web-{24A5B15B-58AF-F9FF-79E8-590BB7C81056}" dt="2023-08-03T08:51:48.936" v="30" actId="20577"/>
          <ac:spMkLst>
            <pc:docMk/>
            <pc:sldMk cId="2127201987" sldId="2147479638"/>
            <ac:spMk id="20" creationId="{71597D73-FC0D-0F7C-BC32-B2FA32899DF9}"/>
          </ac:spMkLst>
        </pc:spChg>
        <pc:spChg chg="mod">
          <ac:chgData name="Jeffrey Obi" userId="S::jeffrey.obi@ie.ey.com::488f269d-1fa2-455e-bf95-7695136a100d" providerId="AD" clId="Web-{24A5B15B-58AF-F9FF-79E8-590BB7C81056}" dt="2023-08-03T08:51:41.998" v="29" actId="20577"/>
          <ac:spMkLst>
            <pc:docMk/>
            <pc:sldMk cId="2127201987" sldId="2147479638"/>
            <ac:spMk id="22" creationId="{9A4AB788-397F-A777-536A-71E510E11985}"/>
          </ac:spMkLst>
        </pc:spChg>
        <pc:spChg chg="mod">
          <ac:chgData name="Jeffrey Obi" userId="S::jeffrey.obi@ie.ey.com::488f269d-1fa2-455e-bf95-7695136a100d" providerId="AD" clId="Web-{24A5B15B-58AF-F9FF-79E8-590BB7C81056}" dt="2023-08-03T08:52:21.265" v="33" actId="20577"/>
          <ac:spMkLst>
            <pc:docMk/>
            <pc:sldMk cId="2127201987" sldId="2147479638"/>
            <ac:spMk id="24" creationId="{F157CDD7-E4B0-DBE6-3BF9-A80704C2E8E2}"/>
          </ac:spMkLst>
        </pc:spChg>
        <pc:spChg chg="mod">
          <ac:chgData name="Jeffrey Obi" userId="S::jeffrey.obi@ie.ey.com::488f269d-1fa2-455e-bf95-7695136a100d" providerId="AD" clId="Web-{24A5B15B-58AF-F9FF-79E8-590BB7C81056}" dt="2023-08-03T08:52:33.235" v="34" actId="20577"/>
          <ac:spMkLst>
            <pc:docMk/>
            <pc:sldMk cId="2127201987" sldId="2147479638"/>
            <ac:spMk id="26" creationId="{CE8179ED-1E75-8A00-A70C-EF944AB7261F}"/>
          </ac:spMkLst>
        </pc:spChg>
        <pc:spChg chg="mod">
          <ac:chgData name="Jeffrey Obi" userId="S::jeffrey.obi@ie.ey.com::488f269d-1fa2-455e-bf95-7695136a100d" providerId="AD" clId="Web-{24A5B15B-58AF-F9FF-79E8-590BB7C81056}" dt="2023-08-03T08:52:07.171" v="31" actId="20577"/>
          <ac:spMkLst>
            <pc:docMk/>
            <pc:sldMk cId="2127201987" sldId="2147479638"/>
            <ac:spMk id="28" creationId="{3C2A5434-720E-4AA9-21BF-0B0E8A76CA06}"/>
          </ac:spMkLst>
        </pc:spChg>
        <pc:spChg chg="mod">
          <ac:chgData name="Jeffrey Obi" userId="S::jeffrey.obi@ie.ey.com::488f269d-1fa2-455e-bf95-7695136a100d" providerId="AD" clId="Web-{24A5B15B-58AF-F9FF-79E8-590BB7C81056}" dt="2023-08-03T08:55:16.397" v="46" actId="20577"/>
          <ac:spMkLst>
            <pc:docMk/>
            <pc:sldMk cId="2127201987" sldId="2147479638"/>
            <ac:spMk id="30" creationId="{D93FAA2B-249B-226A-0A9D-DF62EFC7C39A}"/>
          </ac:spMkLst>
        </pc:spChg>
      </pc:sldChg>
      <pc:sldChg chg="modSp">
        <pc:chgData name="Jeffrey Obi" userId="S::jeffrey.obi@ie.ey.com::488f269d-1fa2-455e-bf95-7695136a100d" providerId="AD" clId="Web-{24A5B15B-58AF-F9FF-79E8-590BB7C81056}" dt="2023-08-03T08:59:03.233" v="66" actId="20577"/>
        <pc:sldMkLst>
          <pc:docMk/>
          <pc:sldMk cId="209286626" sldId="2147479641"/>
        </pc:sldMkLst>
        <pc:spChg chg="mod">
          <ac:chgData name="Jeffrey Obi" userId="S::jeffrey.obi@ie.ey.com::488f269d-1fa2-455e-bf95-7695136a100d" providerId="AD" clId="Web-{24A5B15B-58AF-F9FF-79E8-590BB7C81056}" dt="2023-08-03T08:57:31.167" v="54" actId="20577"/>
          <ac:spMkLst>
            <pc:docMk/>
            <pc:sldMk cId="209286626" sldId="2147479641"/>
            <ac:spMk id="5" creationId="{1AA4F3D1-45B7-A72E-14AB-197DB6665F5F}"/>
          </ac:spMkLst>
        </pc:spChg>
        <pc:spChg chg="mod">
          <ac:chgData name="Jeffrey Obi" userId="S::jeffrey.obi@ie.ey.com::488f269d-1fa2-455e-bf95-7695136a100d" providerId="AD" clId="Web-{24A5B15B-58AF-F9FF-79E8-590BB7C81056}" dt="2023-08-03T08:57:50.074" v="57" actId="20577"/>
          <ac:spMkLst>
            <pc:docMk/>
            <pc:sldMk cId="209286626" sldId="2147479641"/>
            <ac:spMk id="9" creationId="{54149453-3DEF-2E15-6311-535F75F8CCA1}"/>
          </ac:spMkLst>
        </pc:spChg>
        <pc:spChg chg="mod">
          <ac:chgData name="Jeffrey Obi" userId="S::jeffrey.obi@ie.ey.com::488f269d-1fa2-455e-bf95-7695136a100d" providerId="AD" clId="Web-{24A5B15B-58AF-F9FF-79E8-590BB7C81056}" dt="2023-08-03T08:58:04.715" v="60" actId="20577"/>
          <ac:spMkLst>
            <pc:docMk/>
            <pc:sldMk cId="209286626" sldId="2147479641"/>
            <ac:spMk id="10" creationId="{A9930A43-D411-994C-F0E8-7D9582857EF9}"/>
          </ac:spMkLst>
        </pc:spChg>
        <pc:spChg chg="mod">
          <ac:chgData name="Jeffrey Obi" userId="S::jeffrey.obi@ie.ey.com::488f269d-1fa2-455e-bf95-7695136a100d" providerId="AD" clId="Web-{24A5B15B-58AF-F9FF-79E8-590BB7C81056}" dt="2023-08-03T08:56:59.869" v="49" actId="20577"/>
          <ac:spMkLst>
            <pc:docMk/>
            <pc:sldMk cId="209286626" sldId="2147479641"/>
            <ac:spMk id="12" creationId="{213C6BCD-69D2-90ED-2BC4-196EF5E3F298}"/>
          </ac:spMkLst>
        </pc:spChg>
        <pc:spChg chg="mod">
          <ac:chgData name="Jeffrey Obi" userId="S::jeffrey.obi@ie.ey.com::488f269d-1fa2-455e-bf95-7695136a100d" providerId="AD" clId="Web-{24A5B15B-58AF-F9FF-79E8-590BB7C81056}" dt="2023-08-03T08:58:46.139" v="65" actId="20577"/>
          <ac:spMkLst>
            <pc:docMk/>
            <pc:sldMk cId="209286626" sldId="2147479641"/>
            <ac:spMk id="20" creationId="{71597D73-FC0D-0F7C-BC32-B2FA32899DF9}"/>
          </ac:spMkLst>
        </pc:spChg>
        <pc:spChg chg="mod">
          <ac:chgData name="Jeffrey Obi" userId="S::jeffrey.obi@ie.ey.com::488f269d-1fa2-455e-bf95-7695136a100d" providerId="AD" clId="Web-{24A5B15B-58AF-F9FF-79E8-590BB7C81056}" dt="2023-08-03T08:58:40.560" v="64" actId="20577"/>
          <ac:spMkLst>
            <pc:docMk/>
            <pc:sldMk cId="209286626" sldId="2147479641"/>
            <ac:spMk id="22" creationId="{9A4AB788-397F-A777-536A-71E510E11985}"/>
          </ac:spMkLst>
        </pc:spChg>
        <pc:spChg chg="mod">
          <ac:chgData name="Jeffrey Obi" userId="S::jeffrey.obi@ie.ey.com::488f269d-1fa2-455e-bf95-7695136a100d" providerId="AD" clId="Web-{24A5B15B-58AF-F9FF-79E8-590BB7C81056}" dt="2023-08-03T08:57:08.338" v="50" actId="20577"/>
          <ac:spMkLst>
            <pc:docMk/>
            <pc:sldMk cId="209286626" sldId="2147479641"/>
            <ac:spMk id="24" creationId="{F157CDD7-E4B0-DBE6-3BF9-A80704C2E8E2}"/>
          </ac:spMkLst>
        </pc:spChg>
        <pc:spChg chg="mod">
          <ac:chgData name="Jeffrey Obi" userId="S::jeffrey.obi@ie.ey.com::488f269d-1fa2-455e-bf95-7695136a100d" providerId="AD" clId="Web-{24A5B15B-58AF-F9FF-79E8-590BB7C81056}" dt="2023-08-03T08:57:17.011" v="51" actId="20577"/>
          <ac:spMkLst>
            <pc:docMk/>
            <pc:sldMk cId="209286626" sldId="2147479641"/>
            <ac:spMk id="26" creationId="{CE8179ED-1E75-8A00-A70C-EF944AB7261F}"/>
          </ac:spMkLst>
        </pc:spChg>
        <pc:spChg chg="mod">
          <ac:chgData name="Jeffrey Obi" userId="S::jeffrey.obi@ie.ey.com::488f269d-1fa2-455e-bf95-7695136a100d" providerId="AD" clId="Web-{24A5B15B-58AF-F9FF-79E8-590BB7C81056}" dt="2023-08-03T08:58:20.247" v="62" actId="20577"/>
          <ac:spMkLst>
            <pc:docMk/>
            <pc:sldMk cId="209286626" sldId="2147479641"/>
            <ac:spMk id="28" creationId="{3C2A5434-720E-4AA9-21BF-0B0E8A76CA06}"/>
          </ac:spMkLst>
        </pc:spChg>
        <pc:spChg chg="mod">
          <ac:chgData name="Jeffrey Obi" userId="S::jeffrey.obi@ie.ey.com::488f269d-1fa2-455e-bf95-7695136a100d" providerId="AD" clId="Web-{24A5B15B-58AF-F9FF-79E8-590BB7C81056}" dt="2023-08-03T08:59:03.233" v="66" actId="20577"/>
          <ac:spMkLst>
            <pc:docMk/>
            <pc:sldMk cId="209286626" sldId="2147479641"/>
            <ac:spMk id="30" creationId="{D93FAA2B-249B-226A-0A9D-DF62EFC7C39A}"/>
          </ac:spMkLst>
        </pc:spChg>
      </pc:sldChg>
      <pc:sldChg chg="addSp delSp modSp">
        <pc:chgData name="Jeffrey Obi" userId="S::jeffrey.obi@ie.ey.com::488f269d-1fa2-455e-bf95-7695136a100d" providerId="AD" clId="Web-{24A5B15B-58AF-F9FF-79E8-590BB7C81056}" dt="2023-08-03T10:29:01.733" v="131"/>
        <pc:sldMkLst>
          <pc:docMk/>
          <pc:sldMk cId="954940349" sldId="2147479682"/>
        </pc:sldMkLst>
        <pc:spChg chg="mod">
          <ac:chgData name="Jeffrey Obi" userId="S::jeffrey.obi@ie.ey.com::488f269d-1fa2-455e-bf95-7695136a100d" providerId="AD" clId="Web-{24A5B15B-58AF-F9FF-79E8-590BB7C81056}" dt="2023-08-03T09:53:08.286" v="127" actId="20577"/>
          <ac:spMkLst>
            <pc:docMk/>
            <pc:sldMk cId="954940349" sldId="2147479682"/>
            <ac:spMk id="9" creationId="{55A7352A-AFB9-9175-7E34-489B2230EB82}"/>
          </ac:spMkLst>
        </pc:spChg>
        <pc:picChg chg="add del">
          <ac:chgData name="Jeffrey Obi" userId="S::jeffrey.obi@ie.ey.com::488f269d-1fa2-455e-bf95-7695136a100d" providerId="AD" clId="Web-{24A5B15B-58AF-F9FF-79E8-590BB7C81056}" dt="2023-08-03T10:29:01.733" v="131"/>
          <ac:picMkLst>
            <pc:docMk/>
            <pc:sldMk cId="954940349" sldId="2147479682"/>
            <ac:picMk id="4" creationId="{934BA16F-0296-28C6-5465-A77AE7848328}"/>
          </ac:picMkLst>
        </pc:picChg>
        <pc:picChg chg="mod">
          <ac:chgData name="Jeffrey Obi" userId="S::jeffrey.obi@ie.ey.com::488f269d-1fa2-455e-bf95-7695136a100d" providerId="AD" clId="Web-{24A5B15B-58AF-F9FF-79E8-590BB7C81056}" dt="2023-08-03T10:28:03.044" v="129" actId="1076"/>
          <ac:picMkLst>
            <pc:docMk/>
            <pc:sldMk cId="954940349" sldId="2147479682"/>
            <ac:picMk id="11" creationId="{EC3AE51E-5A02-6F4A-EEB1-39D2CBF51249}"/>
          </ac:picMkLst>
        </pc:picChg>
      </pc:sldChg>
    </pc:docChg>
  </pc:docChgLst>
  <pc:docChgLst>
    <pc:chgData name="Immanuel J Daniel" userId="S::immanuel.johnston.daniel@ie.ey.com::b9141605-49ff-443e-8af4-0c21e2766a66" providerId="AD" clId="Web-{0DBB9BBE-7E8E-BF5C-BF79-7365F8C4E9EE}"/>
    <pc:docChg chg="modSld">
      <pc:chgData name="Immanuel J Daniel" userId="S::immanuel.johnston.daniel@ie.ey.com::b9141605-49ff-443e-8af4-0c21e2766a66" providerId="AD" clId="Web-{0DBB9BBE-7E8E-BF5C-BF79-7365F8C4E9EE}" dt="2023-08-01T08:15:59.321" v="8" actId="20577"/>
      <pc:docMkLst>
        <pc:docMk/>
      </pc:docMkLst>
      <pc:sldChg chg="addCm">
        <pc:chgData name="Immanuel J Daniel" userId="S::immanuel.johnston.daniel@ie.ey.com::b9141605-49ff-443e-8af4-0c21e2766a66" providerId="AD" clId="Web-{0DBB9BBE-7E8E-BF5C-BF79-7365F8C4E9EE}" dt="2023-08-01T08:13:40.879" v="0"/>
        <pc:sldMkLst>
          <pc:docMk/>
          <pc:sldMk cId="2943416714" sldId="2147473090"/>
        </pc:sldMkLst>
      </pc:sldChg>
      <pc:sldChg chg="modSp">
        <pc:chgData name="Immanuel J Daniel" userId="S::immanuel.johnston.daniel@ie.ey.com::b9141605-49ff-443e-8af4-0c21e2766a66" providerId="AD" clId="Web-{0DBB9BBE-7E8E-BF5C-BF79-7365F8C4E9EE}" dt="2023-08-01T08:15:59.321" v="8" actId="20577"/>
        <pc:sldMkLst>
          <pc:docMk/>
          <pc:sldMk cId="2192119907" sldId="2147479608"/>
        </pc:sldMkLst>
        <pc:spChg chg="mod">
          <ac:chgData name="Immanuel J Daniel" userId="S::immanuel.johnston.daniel@ie.ey.com::b9141605-49ff-443e-8af4-0c21e2766a66" providerId="AD" clId="Web-{0DBB9BBE-7E8E-BF5C-BF79-7365F8C4E9EE}" dt="2023-08-01T08:15:59.321" v="8" actId="20577"/>
          <ac:spMkLst>
            <pc:docMk/>
            <pc:sldMk cId="2192119907" sldId="2147479608"/>
            <ac:spMk id="11" creationId="{9EE04F04-F794-4453-963E-5CFBB6620A43}"/>
          </ac:spMkLst>
        </pc:spChg>
      </pc:sldChg>
    </pc:docChg>
  </pc:docChgLst>
  <pc:docChgLst>
    <pc:chgData name="Jeffrey Obi" userId="S::jeffrey.obi@ie.ey.com::488f269d-1fa2-455e-bf95-7695136a100d" providerId="AD" clId="Web-{14F04221-16BC-3884-0BF5-0524C4844144}"/>
    <pc:docChg chg="addSld delSld modSld modSection">
      <pc:chgData name="Jeffrey Obi" userId="S::jeffrey.obi@ie.ey.com::488f269d-1fa2-455e-bf95-7695136a100d" providerId="AD" clId="Web-{14F04221-16BC-3884-0BF5-0524C4844144}" dt="2023-08-03T14:52:14.082" v="149"/>
      <pc:docMkLst>
        <pc:docMk/>
      </pc:docMkLst>
      <pc:sldChg chg="modSp">
        <pc:chgData name="Jeffrey Obi" userId="S::jeffrey.obi@ie.ey.com::488f269d-1fa2-455e-bf95-7695136a100d" providerId="AD" clId="Web-{14F04221-16BC-3884-0BF5-0524C4844144}" dt="2023-08-03T13:16:57.350" v="57" actId="20577"/>
        <pc:sldMkLst>
          <pc:docMk/>
          <pc:sldMk cId="3046752737" sldId="2147479614"/>
        </pc:sldMkLst>
        <pc:spChg chg="mod">
          <ac:chgData name="Jeffrey Obi" userId="S::jeffrey.obi@ie.ey.com::488f269d-1fa2-455e-bf95-7695136a100d" providerId="AD" clId="Web-{14F04221-16BC-3884-0BF5-0524C4844144}" dt="2023-08-03T13:16:56.272" v="45" actId="20577"/>
          <ac:spMkLst>
            <pc:docMk/>
            <pc:sldMk cId="3046752737" sldId="2147479614"/>
            <ac:spMk id="6" creationId="{489D7E36-E5EC-111E-AE3B-B05ADA2650CA}"/>
          </ac:spMkLst>
        </pc:spChg>
        <pc:spChg chg="mod">
          <ac:chgData name="Jeffrey Obi" userId="S::jeffrey.obi@ie.ey.com::488f269d-1fa2-455e-bf95-7695136a100d" providerId="AD" clId="Web-{14F04221-16BC-3884-0BF5-0524C4844144}" dt="2023-08-03T13:16:56.350" v="46" actId="20577"/>
          <ac:spMkLst>
            <pc:docMk/>
            <pc:sldMk cId="3046752737" sldId="2147479614"/>
            <ac:spMk id="8" creationId="{CF4624E7-2012-177F-42FD-075B529C96E2}"/>
          </ac:spMkLst>
        </pc:spChg>
        <pc:spChg chg="mod">
          <ac:chgData name="Jeffrey Obi" userId="S::jeffrey.obi@ie.ey.com::488f269d-1fa2-455e-bf95-7695136a100d" providerId="AD" clId="Web-{14F04221-16BC-3884-0BF5-0524C4844144}" dt="2023-08-03T13:16:56.429" v="47" actId="20577"/>
          <ac:spMkLst>
            <pc:docMk/>
            <pc:sldMk cId="3046752737" sldId="2147479614"/>
            <ac:spMk id="10" creationId="{A9930A43-D411-994C-F0E8-7D9582857EF9}"/>
          </ac:spMkLst>
        </pc:spChg>
        <pc:spChg chg="mod">
          <ac:chgData name="Jeffrey Obi" userId="S::jeffrey.obi@ie.ey.com::488f269d-1fa2-455e-bf95-7695136a100d" providerId="AD" clId="Web-{14F04221-16BC-3884-0BF5-0524C4844144}" dt="2023-08-03T13:16:56.538" v="48" actId="20577"/>
          <ac:spMkLst>
            <pc:docMk/>
            <pc:sldMk cId="3046752737" sldId="2147479614"/>
            <ac:spMk id="12" creationId="{213C6BCD-69D2-90ED-2BC4-196EF5E3F298}"/>
          </ac:spMkLst>
        </pc:spChg>
        <pc:spChg chg="mod">
          <ac:chgData name="Jeffrey Obi" userId="S::jeffrey.obi@ie.ey.com::488f269d-1fa2-455e-bf95-7695136a100d" providerId="AD" clId="Web-{14F04221-16BC-3884-0BF5-0524C4844144}" dt="2023-08-03T13:16:56.663" v="49" actId="20577"/>
          <ac:spMkLst>
            <pc:docMk/>
            <pc:sldMk cId="3046752737" sldId="2147479614"/>
            <ac:spMk id="14" creationId="{1B4891F9-FC37-F82A-520C-548C6F536DE2}"/>
          </ac:spMkLst>
        </pc:spChg>
        <pc:spChg chg="mod">
          <ac:chgData name="Jeffrey Obi" userId="S::jeffrey.obi@ie.ey.com::488f269d-1fa2-455e-bf95-7695136a100d" providerId="AD" clId="Web-{14F04221-16BC-3884-0BF5-0524C4844144}" dt="2023-08-03T13:16:56.757" v="50" actId="20577"/>
          <ac:spMkLst>
            <pc:docMk/>
            <pc:sldMk cId="3046752737" sldId="2147479614"/>
            <ac:spMk id="16" creationId="{1EE50A2F-BB66-4023-A19E-4AC1F49CB477}"/>
          </ac:spMkLst>
        </pc:spChg>
        <pc:spChg chg="mod">
          <ac:chgData name="Jeffrey Obi" userId="S::jeffrey.obi@ie.ey.com::488f269d-1fa2-455e-bf95-7695136a100d" providerId="AD" clId="Web-{14F04221-16BC-3884-0BF5-0524C4844144}" dt="2023-08-03T13:16:56.835" v="51" actId="20577"/>
          <ac:spMkLst>
            <pc:docMk/>
            <pc:sldMk cId="3046752737" sldId="2147479614"/>
            <ac:spMk id="18" creationId="{26DBC6F2-B27C-8EA3-B4A4-A720416361DC}"/>
          </ac:spMkLst>
        </pc:spChg>
        <pc:spChg chg="mod">
          <ac:chgData name="Jeffrey Obi" userId="S::jeffrey.obi@ie.ey.com::488f269d-1fa2-455e-bf95-7695136a100d" providerId="AD" clId="Web-{14F04221-16BC-3884-0BF5-0524C4844144}" dt="2023-08-03T13:16:56.929" v="52" actId="20577"/>
          <ac:spMkLst>
            <pc:docMk/>
            <pc:sldMk cId="3046752737" sldId="2147479614"/>
            <ac:spMk id="20" creationId="{71597D73-FC0D-0F7C-BC32-B2FA32899DF9}"/>
          </ac:spMkLst>
        </pc:spChg>
        <pc:spChg chg="mod">
          <ac:chgData name="Jeffrey Obi" userId="S::jeffrey.obi@ie.ey.com::488f269d-1fa2-455e-bf95-7695136a100d" providerId="AD" clId="Web-{14F04221-16BC-3884-0BF5-0524C4844144}" dt="2023-08-03T13:16:57.007" v="53" actId="20577"/>
          <ac:spMkLst>
            <pc:docMk/>
            <pc:sldMk cId="3046752737" sldId="2147479614"/>
            <ac:spMk id="22" creationId="{9A4AB788-397F-A777-536A-71E510E11985}"/>
          </ac:spMkLst>
        </pc:spChg>
        <pc:spChg chg="mod">
          <ac:chgData name="Jeffrey Obi" userId="S::jeffrey.obi@ie.ey.com::488f269d-1fa2-455e-bf95-7695136a100d" providerId="AD" clId="Web-{14F04221-16BC-3884-0BF5-0524C4844144}" dt="2023-08-03T13:16:57.085" v="54" actId="20577"/>
          <ac:spMkLst>
            <pc:docMk/>
            <pc:sldMk cId="3046752737" sldId="2147479614"/>
            <ac:spMk id="24" creationId="{F157CDD7-E4B0-DBE6-3BF9-A80704C2E8E2}"/>
          </ac:spMkLst>
        </pc:spChg>
        <pc:spChg chg="mod">
          <ac:chgData name="Jeffrey Obi" userId="S::jeffrey.obi@ie.ey.com::488f269d-1fa2-455e-bf95-7695136a100d" providerId="AD" clId="Web-{14F04221-16BC-3884-0BF5-0524C4844144}" dt="2023-08-03T13:16:57.179" v="55" actId="20577"/>
          <ac:spMkLst>
            <pc:docMk/>
            <pc:sldMk cId="3046752737" sldId="2147479614"/>
            <ac:spMk id="26" creationId="{CE8179ED-1E75-8A00-A70C-EF944AB7261F}"/>
          </ac:spMkLst>
        </pc:spChg>
        <pc:spChg chg="mod">
          <ac:chgData name="Jeffrey Obi" userId="S::jeffrey.obi@ie.ey.com::488f269d-1fa2-455e-bf95-7695136a100d" providerId="AD" clId="Web-{14F04221-16BC-3884-0BF5-0524C4844144}" dt="2023-08-03T13:16:57.257" v="56" actId="20577"/>
          <ac:spMkLst>
            <pc:docMk/>
            <pc:sldMk cId="3046752737" sldId="2147479614"/>
            <ac:spMk id="28" creationId="{3C2A5434-720E-4AA9-21BF-0B0E8A76CA06}"/>
          </ac:spMkLst>
        </pc:spChg>
        <pc:spChg chg="mod">
          <ac:chgData name="Jeffrey Obi" userId="S::jeffrey.obi@ie.ey.com::488f269d-1fa2-455e-bf95-7695136a100d" providerId="AD" clId="Web-{14F04221-16BC-3884-0BF5-0524C4844144}" dt="2023-08-03T13:16:57.350" v="57" actId="20577"/>
          <ac:spMkLst>
            <pc:docMk/>
            <pc:sldMk cId="3046752737" sldId="2147479614"/>
            <ac:spMk id="30" creationId="{D93FAA2B-249B-226A-0A9D-DF62EFC7C39A}"/>
          </ac:spMkLst>
        </pc:spChg>
      </pc:sldChg>
      <pc:sldChg chg="modSp">
        <pc:chgData name="Jeffrey Obi" userId="S::jeffrey.obi@ie.ey.com::488f269d-1fa2-455e-bf95-7695136a100d" providerId="AD" clId="Web-{14F04221-16BC-3884-0BF5-0524C4844144}" dt="2023-08-03T13:16:21.427" v="44" actId="20577"/>
        <pc:sldMkLst>
          <pc:docMk/>
          <pc:sldMk cId="1127760975" sldId="2147479618"/>
        </pc:sldMkLst>
        <pc:spChg chg="mod">
          <ac:chgData name="Jeffrey Obi" userId="S::jeffrey.obi@ie.ey.com::488f269d-1fa2-455e-bf95-7695136a100d" providerId="AD" clId="Web-{14F04221-16BC-3884-0BF5-0524C4844144}" dt="2023-08-03T13:16:20.083" v="32" actId="20577"/>
          <ac:spMkLst>
            <pc:docMk/>
            <pc:sldMk cId="1127760975" sldId="2147479618"/>
            <ac:spMk id="6" creationId="{489D7E36-E5EC-111E-AE3B-B05ADA2650CA}"/>
          </ac:spMkLst>
        </pc:spChg>
        <pc:spChg chg="mod">
          <ac:chgData name="Jeffrey Obi" userId="S::jeffrey.obi@ie.ey.com::488f269d-1fa2-455e-bf95-7695136a100d" providerId="AD" clId="Web-{14F04221-16BC-3884-0BF5-0524C4844144}" dt="2023-08-03T13:16:20.177" v="33" actId="20577"/>
          <ac:spMkLst>
            <pc:docMk/>
            <pc:sldMk cId="1127760975" sldId="2147479618"/>
            <ac:spMk id="8" creationId="{CF4624E7-2012-177F-42FD-075B529C96E2}"/>
          </ac:spMkLst>
        </pc:spChg>
        <pc:spChg chg="mod">
          <ac:chgData name="Jeffrey Obi" userId="S::jeffrey.obi@ie.ey.com::488f269d-1fa2-455e-bf95-7695136a100d" providerId="AD" clId="Web-{14F04221-16BC-3884-0BF5-0524C4844144}" dt="2023-08-03T13:16:20.287" v="34" actId="20577"/>
          <ac:spMkLst>
            <pc:docMk/>
            <pc:sldMk cId="1127760975" sldId="2147479618"/>
            <ac:spMk id="10" creationId="{A9930A43-D411-994C-F0E8-7D9582857EF9}"/>
          </ac:spMkLst>
        </pc:spChg>
        <pc:spChg chg="mod">
          <ac:chgData name="Jeffrey Obi" userId="S::jeffrey.obi@ie.ey.com::488f269d-1fa2-455e-bf95-7695136a100d" providerId="AD" clId="Web-{14F04221-16BC-3884-0BF5-0524C4844144}" dt="2023-08-03T13:16:20.412" v="35" actId="20577"/>
          <ac:spMkLst>
            <pc:docMk/>
            <pc:sldMk cId="1127760975" sldId="2147479618"/>
            <ac:spMk id="12" creationId="{213C6BCD-69D2-90ED-2BC4-196EF5E3F298}"/>
          </ac:spMkLst>
        </pc:spChg>
        <pc:spChg chg="mod">
          <ac:chgData name="Jeffrey Obi" userId="S::jeffrey.obi@ie.ey.com::488f269d-1fa2-455e-bf95-7695136a100d" providerId="AD" clId="Web-{14F04221-16BC-3884-0BF5-0524C4844144}" dt="2023-08-03T13:16:20.583" v="36" actId="20577"/>
          <ac:spMkLst>
            <pc:docMk/>
            <pc:sldMk cId="1127760975" sldId="2147479618"/>
            <ac:spMk id="14" creationId="{1B4891F9-FC37-F82A-520C-548C6F536DE2}"/>
          </ac:spMkLst>
        </pc:spChg>
        <pc:spChg chg="mod">
          <ac:chgData name="Jeffrey Obi" userId="S::jeffrey.obi@ie.ey.com::488f269d-1fa2-455e-bf95-7695136a100d" providerId="AD" clId="Web-{14F04221-16BC-3884-0BF5-0524C4844144}" dt="2023-08-03T13:16:20.677" v="37" actId="20577"/>
          <ac:spMkLst>
            <pc:docMk/>
            <pc:sldMk cId="1127760975" sldId="2147479618"/>
            <ac:spMk id="16" creationId="{1EE50A2F-BB66-4023-A19E-4AC1F49CB477}"/>
          </ac:spMkLst>
        </pc:spChg>
        <pc:spChg chg="mod">
          <ac:chgData name="Jeffrey Obi" userId="S::jeffrey.obi@ie.ey.com::488f269d-1fa2-455e-bf95-7695136a100d" providerId="AD" clId="Web-{14F04221-16BC-3884-0BF5-0524C4844144}" dt="2023-08-03T13:16:20.787" v="38" actId="20577"/>
          <ac:spMkLst>
            <pc:docMk/>
            <pc:sldMk cId="1127760975" sldId="2147479618"/>
            <ac:spMk id="18" creationId="{26DBC6F2-B27C-8EA3-B4A4-A720416361DC}"/>
          </ac:spMkLst>
        </pc:spChg>
        <pc:spChg chg="mod">
          <ac:chgData name="Jeffrey Obi" userId="S::jeffrey.obi@ie.ey.com::488f269d-1fa2-455e-bf95-7695136a100d" providerId="AD" clId="Web-{14F04221-16BC-3884-0BF5-0524C4844144}" dt="2023-08-03T13:16:20.912" v="39" actId="20577"/>
          <ac:spMkLst>
            <pc:docMk/>
            <pc:sldMk cId="1127760975" sldId="2147479618"/>
            <ac:spMk id="20" creationId="{71597D73-FC0D-0F7C-BC32-B2FA32899DF9}"/>
          </ac:spMkLst>
        </pc:spChg>
        <pc:spChg chg="mod">
          <ac:chgData name="Jeffrey Obi" userId="S::jeffrey.obi@ie.ey.com::488f269d-1fa2-455e-bf95-7695136a100d" providerId="AD" clId="Web-{14F04221-16BC-3884-0BF5-0524C4844144}" dt="2023-08-03T13:16:21.005" v="40" actId="20577"/>
          <ac:spMkLst>
            <pc:docMk/>
            <pc:sldMk cId="1127760975" sldId="2147479618"/>
            <ac:spMk id="22" creationId="{9A4AB788-397F-A777-536A-71E510E11985}"/>
          </ac:spMkLst>
        </pc:spChg>
        <pc:spChg chg="mod">
          <ac:chgData name="Jeffrey Obi" userId="S::jeffrey.obi@ie.ey.com::488f269d-1fa2-455e-bf95-7695136a100d" providerId="AD" clId="Web-{14F04221-16BC-3884-0BF5-0524C4844144}" dt="2023-08-03T13:16:21.099" v="41" actId="20577"/>
          <ac:spMkLst>
            <pc:docMk/>
            <pc:sldMk cId="1127760975" sldId="2147479618"/>
            <ac:spMk id="24" creationId="{F157CDD7-E4B0-DBE6-3BF9-A80704C2E8E2}"/>
          </ac:spMkLst>
        </pc:spChg>
        <pc:spChg chg="mod">
          <ac:chgData name="Jeffrey Obi" userId="S::jeffrey.obi@ie.ey.com::488f269d-1fa2-455e-bf95-7695136a100d" providerId="AD" clId="Web-{14F04221-16BC-3884-0BF5-0524C4844144}" dt="2023-08-03T13:16:21.193" v="42" actId="20577"/>
          <ac:spMkLst>
            <pc:docMk/>
            <pc:sldMk cId="1127760975" sldId="2147479618"/>
            <ac:spMk id="26" creationId="{CE8179ED-1E75-8A00-A70C-EF944AB7261F}"/>
          </ac:spMkLst>
        </pc:spChg>
        <pc:spChg chg="mod">
          <ac:chgData name="Jeffrey Obi" userId="S::jeffrey.obi@ie.ey.com::488f269d-1fa2-455e-bf95-7695136a100d" providerId="AD" clId="Web-{14F04221-16BC-3884-0BF5-0524C4844144}" dt="2023-08-03T13:16:21.318" v="43" actId="20577"/>
          <ac:spMkLst>
            <pc:docMk/>
            <pc:sldMk cId="1127760975" sldId="2147479618"/>
            <ac:spMk id="28" creationId="{3C2A5434-720E-4AA9-21BF-0B0E8A76CA06}"/>
          </ac:spMkLst>
        </pc:spChg>
        <pc:spChg chg="mod">
          <ac:chgData name="Jeffrey Obi" userId="S::jeffrey.obi@ie.ey.com::488f269d-1fa2-455e-bf95-7695136a100d" providerId="AD" clId="Web-{14F04221-16BC-3884-0BF5-0524C4844144}" dt="2023-08-03T13:16:21.427" v="44" actId="20577"/>
          <ac:spMkLst>
            <pc:docMk/>
            <pc:sldMk cId="1127760975" sldId="2147479618"/>
            <ac:spMk id="30" creationId="{D93FAA2B-249B-226A-0A9D-DF62EFC7C39A}"/>
          </ac:spMkLst>
        </pc:spChg>
      </pc:sldChg>
      <pc:sldChg chg="modSp">
        <pc:chgData name="Jeffrey Obi" userId="S::jeffrey.obi@ie.ey.com::488f269d-1fa2-455e-bf95-7695136a100d" providerId="AD" clId="Web-{14F04221-16BC-3884-0BF5-0524C4844144}" dt="2023-08-03T13:17:28.367" v="85" actId="20577"/>
        <pc:sldMkLst>
          <pc:docMk/>
          <pc:sldMk cId="2127201987" sldId="2147479638"/>
        </pc:sldMkLst>
        <pc:spChg chg="mod">
          <ac:chgData name="Jeffrey Obi" userId="S::jeffrey.obi@ie.ey.com::488f269d-1fa2-455e-bf95-7695136a100d" providerId="AD" clId="Web-{14F04221-16BC-3884-0BF5-0524C4844144}" dt="2023-08-03T13:17:28.367" v="85" actId="20577"/>
          <ac:spMkLst>
            <pc:docMk/>
            <pc:sldMk cId="2127201987" sldId="2147479638"/>
            <ac:spMk id="3" creationId="{87B00A01-31F9-F4D4-DCFE-CF999A9E2975}"/>
          </ac:spMkLst>
        </pc:spChg>
        <pc:spChg chg="mod">
          <ac:chgData name="Jeffrey Obi" userId="S::jeffrey.obi@ie.ey.com::488f269d-1fa2-455e-bf95-7695136a100d" providerId="AD" clId="Web-{14F04221-16BC-3884-0BF5-0524C4844144}" dt="2023-08-03T13:17:27.164" v="72" actId="20577"/>
          <ac:spMkLst>
            <pc:docMk/>
            <pc:sldMk cId="2127201987" sldId="2147479638"/>
            <ac:spMk id="6" creationId="{489D7E36-E5EC-111E-AE3B-B05ADA2650CA}"/>
          </ac:spMkLst>
        </pc:spChg>
        <pc:spChg chg="mod">
          <ac:chgData name="Jeffrey Obi" userId="S::jeffrey.obi@ie.ey.com::488f269d-1fa2-455e-bf95-7695136a100d" providerId="AD" clId="Web-{14F04221-16BC-3884-0BF5-0524C4844144}" dt="2023-08-03T13:17:27.242" v="73" actId="20577"/>
          <ac:spMkLst>
            <pc:docMk/>
            <pc:sldMk cId="2127201987" sldId="2147479638"/>
            <ac:spMk id="8" creationId="{CF4624E7-2012-177F-42FD-075B529C96E2}"/>
          </ac:spMkLst>
        </pc:spChg>
        <pc:spChg chg="mod">
          <ac:chgData name="Jeffrey Obi" userId="S::jeffrey.obi@ie.ey.com::488f269d-1fa2-455e-bf95-7695136a100d" providerId="AD" clId="Web-{14F04221-16BC-3884-0BF5-0524C4844144}" dt="2023-08-03T13:17:27.336" v="74" actId="20577"/>
          <ac:spMkLst>
            <pc:docMk/>
            <pc:sldMk cId="2127201987" sldId="2147479638"/>
            <ac:spMk id="10" creationId="{A9930A43-D411-994C-F0E8-7D9582857EF9}"/>
          </ac:spMkLst>
        </pc:spChg>
        <pc:spChg chg="mod">
          <ac:chgData name="Jeffrey Obi" userId="S::jeffrey.obi@ie.ey.com::488f269d-1fa2-455e-bf95-7695136a100d" providerId="AD" clId="Web-{14F04221-16BC-3884-0BF5-0524C4844144}" dt="2023-08-03T13:17:27.445" v="75" actId="20577"/>
          <ac:spMkLst>
            <pc:docMk/>
            <pc:sldMk cId="2127201987" sldId="2147479638"/>
            <ac:spMk id="12" creationId="{213C6BCD-69D2-90ED-2BC4-196EF5E3F298}"/>
          </ac:spMkLst>
        </pc:spChg>
        <pc:spChg chg="mod">
          <ac:chgData name="Jeffrey Obi" userId="S::jeffrey.obi@ie.ey.com::488f269d-1fa2-455e-bf95-7695136a100d" providerId="AD" clId="Web-{14F04221-16BC-3884-0BF5-0524C4844144}" dt="2023-08-03T13:17:27.586" v="76" actId="20577"/>
          <ac:spMkLst>
            <pc:docMk/>
            <pc:sldMk cId="2127201987" sldId="2147479638"/>
            <ac:spMk id="14" creationId="{1B4891F9-FC37-F82A-520C-548C6F536DE2}"/>
          </ac:spMkLst>
        </pc:spChg>
        <pc:spChg chg="mod">
          <ac:chgData name="Jeffrey Obi" userId="S::jeffrey.obi@ie.ey.com::488f269d-1fa2-455e-bf95-7695136a100d" providerId="AD" clId="Web-{14F04221-16BC-3884-0BF5-0524C4844144}" dt="2023-08-03T13:17:27.648" v="77" actId="20577"/>
          <ac:spMkLst>
            <pc:docMk/>
            <pc:sldMk cId="2127201987" sldId="2147479638"/>
            <ac:spMk id="16" creationId="{1EE50A2F-BB66-4023-A19E-4AC1F49CB477}"/>
          </ac:spMkLst>
        </pc:spChg>
        <pc:spChg chg="mod">
          <ac:chgData name="Jeffrey Obi" userId="S::jeffrey.obi@ie.ey.com::488f269d-1fa2-455e-bf95-7695136a100d" providerId="AD" clId="Web-{14F04221-16BC-3884-0BF5-0524C4844144}" dt="2023-08-03T13:17:27.727" v="78" actId="20577"/>
          <ac:spMkLst>
            <pc:docMk/>
            <pc:sldMk cId="2127201987" sldId="2147479638"/>
            <ac:spMk id="18" creationId="{26DBC6F2-B27C-8EA3-B4A4-A720416361DC}"/>
          </ac:spMkLst>
        </pc:spChg>
        <pc:spChg chg="mod">
          <ac:chgData name="Jeffrey Obi" userId="S::jeffrey.obi@ie.ey.com::488f269d-1fa2-455e-bf95-7695136a100d" providerId="AD" clId="Web-{14F04221-16BC-3884-0BF5-0524C4844144}" dt="2023-08-03T13:17:27.820" v="79" actId="20577"/>
          <ac:spMkLst>
            <pc:docMk/>
            <pc:sldMk cId="2127201987" sldId="2147479638"/>
            <ac:spMk id="20" creationId="{71597D73-FC0D-0F7C-BC32-B2FA32899DF9}"/>
          </ac:spMkLst>
        </pc:spChg>
        <pc:spChg chg="mod">
          <ac:chgData name="Jeffrey Obi" userId="S::jeffrey.obi@ie.ey.com::488f269d-1fa2-455e-bf95-7695136a100d" providerId="AD" clId="Web-{14F04221-16BC-3884-0BF5-0524C4844144}" dt="2023-08-03T13:17:27.898" v="80" actId="20577"/>
          <ac:spMkLst>
            <pc:docMk/>
            <pc:sldMk cId="2127201987" sldId="2147479638"/>
            <ac:spMk id="22" creationId="{9A4AB788-397F-A777-536A-71E510E11985}"/>
          </ac:spMkLst>
        </pc:spChg>
        <pc:spChg chg="mod">
          <ac:chgData name="Jeffrey Obi" userId="S::jeffrey.obi@ie.ey.com::488f269d-1fa2-455e-bf95-7695136a100d" providerId="AD" clId="Web-{14F04221-16BC-3884-0BF5-0524C4844144}" dt="2023-08-03T13:17:27.992" v="81" actId="20577"/>
          <ac:spMkLst>
            <pc:docMk/>
            <pc:sldMk cId="2127201987" sldId="2147479638"/>
            <ac:spMk id="24" creationId="{F157CDD7-E4B0-DBE6-3BF9-A80704C2E8E2}"/>
          </ac:spMkLst>
        </pc:spChg>
        <pc:spChg chg="mod">
          <ac:chgData name="Jeffrey Obi" userId="S::jeffrey.obi@ie.ey.com::488f269d-1fa2-455e-bf95-7695136a100d" providerId="AD" clId="Web-{14F04221-16BC-3884-0BF5-0524C4844144}" dt="2023-08-03T13:17:28.102" v="82" actId="20577"/>
          <ac:spMkLst>
            <pc:docMk/>
            <pc:sldMk cId="2127201987" sldId="2147479638"/>
            <ac:spMk id="26" creationId="{CE8179ED-1E75-8A00-A70C-EF944AB7261F}"/>
          </ac:spMkLst>
        </pc:spChg>
        <pc:spChg chg="mod">
          <ac:chgData name="Jeffrey Obi" userId="S::jeffrey.obi@ie.ey.com::488f269d-1fa2-455e-bf95-7695136a100d" providerId="AD" clId="Web-{14F04221-16BC-3884-0BF5-0524C4844144}" dt="2023-08-03T13:17:28.195" v="83" actId="20577"/>
          <ac:spMkLst>
            <pc:docMk/>
            <pc:sldMk cId="2127201987" sldId="2147479638"/>
            <ac:spMk id="28" creationId="{3C2A5434-720E-4AA9-21BF-0B0E8A76CA06}"/>
          </ac:spMkLst>
        </pc:spChg>
        <pc:spChg chg="mod">
          <ac:chgData name="Jeffrey Obi" userId="S::jeffrey.obi@ie.ey.com::488f269d-1fa2-455e-bf95-7695136a100d" providerId="AD" clId="Web-{14F04221-16BC-3884-0BF5-0524C4844144}" dt="2023-08-03T13:17:28.289" v="84" actId="20577"/>
          <ac:spMkLst>
            <pc:docMk/>
            <pc:sldMk cId="2127201987" sldId="2147479638"/>
            <ac:spMk id="30" creationId="{D93FAA2B-249B-226A-0A9D-DF62EFC7C39A}"/>
          </ac:spMkLst>
        </pc:spChg>
      </pc:sldChg>
      <pc:sldChg chg="modSp">
        <pc:chgData name="Jeffrey Obi" userId="S::jeffrey.obi@ie.ey.com::488f269d-1fa2-455e-bf95-7695136a100d" providerId="AD" clId="Web-{14F04221-16BC-3884-0BF5-0524C4844144}" dt="2023-08-03T13:17:14.539" v="71" actId="20577"/>
        <pc:sldMkLst>
          <pc:docMk/>
          <pc:sldMk cId="209286626" sldId="2147479641"/>
        </pc:sldMkLst>
        <pc:spChg chg="mod">
          <ac:chgData name="Jeffrey Obi" userId="S::jeffrey.obi@ie.ey.com::488f269d-1fa2-455e-bf95-7695136a100d" providerId="AD" clId="Web-{14F04221-16BC-3884-0BF5-0524C4844144}" dt="2023-08-03T13:17:14.414" v="70" actId="20577"/>
          <ac:spMkLst>
            <pc:docMk/>
            <pc:sldMk cId="209286626" sldId="2147479641"/>
            <ac:spMk id="5" creationId="{1AA4F3D1-45B7-A72E-14AB-197DB6665F5F}"/>
          </ac:spMkLst>
        </pc:spChg>
        <pc:spChg chg="mod">
          <ac:chgData name="Jeffrey Obi" userId="S::jeffrey.obi@ie.ey.com::488f269d-1fa2-455e-bf95-7695136a100d" providerId="AD" clId="Web-{14F04221-16BC-3884-0BF5-0524C4844144}" dt="2023-08-03T13:17:12.992" v="58" actId="20577"/>
          <ac:spMkLst>
            <pc:docMk/>
            <pc:sldMk cId="209286626" sldId="2147479641"/>
            <ac:spMk id="6" creationId="{489D7E36-E5EC-111E-AE3B-B05ADA2650CA}"/>
          </ac:spMkLst>
        </pc:spChg>
        <pc:spChg chg="mod">
          <ac:chgData name="Jeffrey Obi" userId="S::jeffrey.obi@ie.ey.com::488f269d-1fa2-455e-bf95-7695136a100d" providerId="AD" clId="Web-{14F04221-16BC-3884-0BF5-0524C4844144}" dt="2023-08-03T13:17:13.085" v="59" actId="20577"/>
          <ac:spMkLst>
            <pc:docMk/>
            <pc:sldMk cId="209286626" sldId="2147479641"/>
            <ac:spMk id="8" creationId="{CF4624E7-2012-177F-42FD-075B529C96E2}"/>
          </ac:spMkLst>
        </pc:spChg>
        <pc:spChg chg="mod">
          <ac:chgData name="Jeffrey Obi" userId="S::jeffrey.obi@ie.ey.com::488f269d-1fa2-455e-bf95-7695136a100d" providerId="AD" clId="Web-{14F04221-16BC-3884-0BF5-0524C4844144}" dt="2023-08-03T13:17:14.539" v="71" actId="20577"/>
          <ac:spMkLst>
            <pc:docMk/>
            <pc:sldMk cId="209286626" sldId="2147479641"/>
            <ac:spMk id="9" creationId="{54149453-3DEF-2E15-6311-535F75F8CCA1}"/>
          </ac:spMkLst>
        </pc:spChg>
        <pc:spChg chg="mod">
          <ac:chgData name="Jeffrey Obi" userId="S::jeffrey.obi@ie.ey.com::488f269d-1fa2-455e-bf95-7695136a100d" providerId="AD" clId="Web-{14F04221-16BC-3884-0BF5-0524C4844144}" dt="2023-08-03T13:17:13.195" v="60" actId="20577"/>
          <ac:spMkLst>
            <pc:docMk/>
            <pc:sldMk cId="209286626" sldId="2147479641"/>
            <ac:spMk id="10" creationId="{A9930A43-D411-994C-F0E8-7D9582857EF9}"/>
          </ac:spMkLst>
        </pc:spChg>
        <pc:spChg chg="mod">
          <ac:chgData name="Jeffrey Obi" userId="S::jeffrey.obi@ie.ey.com::488f269d-1fa2-455e-bf95-7695136a100d" providerId="AD" clId="Web-{14F04221-16BC-3884-0BF5-0524C4844144}" dt="2023-08-03T13:17:13.335" v="61" actId="20577"/>
          <ac:spMkLst>
            <pc:docMk/>
            <pc:sldMk cId="209286626" sldId="2147479641"/>
            <ac:spMk id="12" creationId="{213C6BCD-69D2-90ED-2BC4-196EF5E3F298}"/>
          </ac:spMkLst>
        </pc:spChg>
        <pc:spChg chg="mod">
          <ac:chgData name="Jeffrey Obi" userId="S::jeffrey.obi@ie.ey.com::488f269d-1fa2-455e-bf95-7695136a100d" providerId="AD" clId="Web-{14F04221-16BC-3884-0BF5-0524C4844144}" dt="2023-08-03T13:17:13.554" v="62" actId="20577"/>
          <ac:spMkLst>
            <pc:docMk/>
            <pc:sldMk cId="209286626" sldId="2147479641"/>
            <ac:spMk id="14" creationId="{1B4891F9-FC37-F82A-520C-548C6F536DE2}"/>
          </ac:spMkLst>
        </pc:spChg>
        <pc:spChg chg="mod">
          <ac:chgData name="Jeffrey Obi" userId="S::jeffrey.obi@ie.ey.com::488f269d-1fa2-455e-bf95-7695136a100d" providerId="AD" clId="Web-{14F04221-16BC-3884-0BF5-0524C4844144}" dt="2023-08-03T13:17:13.648" v="63" actId="20577"/>
          <ac:spMkLst>
            <pc:docMk/>
            <pc:sldMk cId="209286626" sldId="2147479641"/>
            <ac:spMk id="18" creationId="{26DBC6F2-B27C-8EA3-B4A4-A720416361DC}"/>
          </ac:spMkLst>
        </pc:spChg>
        <pc:spChg chg="mod">
          <ac:chgData name="Jeffrey Obi" userId="S::jeffrey.obi@ie.ey.com::488f269d-1fa2-455e-bf95-7695136a100d" providerId="AD" clId="Web-{14F04221-16BC-3884-0BF5-0524C4844144}" dt="2023-08-03T13:17:13.757" v="64" actId="20577"/>
          <ac:spMkLst>
            <pc:docMk/>
            <pc:sldMk cId="209286626" sldId="2147479641"/>
            <ac:spMk id="20" creationId="{71597D73-FC0D-0F7C-BC32-B2FA32899DF9}"/>
          </ac:spMkLst>
        </pc:spChg>
        <pc:spChg chg="mod">
          <ac:chgData name="Jeffrey Obi" userId="S::jeffrey.obi@ie.ey.com::488f269d-1fa2-455e-bf95-7695136a100d" providerId="AD" clId="Web-{14F04221-16BC-3884-0BF5-0524C4844144}" dt="2023-08-03T13:17:13.867" v="65" actId="20577"/>
          <ac:spMkLst>
            <pc:docMk/>
            <pc:sldMk cId="209286626" sldId="2147479641"/>
            <ac:spMk id="22" creationId="{9A4AB788-397F-A777-536A-71E510E11985}"/>
          </ac:spMkLst>
        </pc:spChg>
        <pc:spChg chg="mod">
          <ac:chgData name="Jeffrey Obi" userId="S::jeffrey.obi@ie.ey.com::488f269d-1fa2-455e-bf95-7695136a100d" providerId="AD" clId="Web-{14F04221-16BC-3884-0BF5-0524C4844144}" dt="2023-08-03T13:17:13.945" v="66" actId="20577"/>
          <ac:spMkLst>
            <pc:docMk/>
            <pc:sldMk cId="209286626" sldId="2147479641"/>
            <ac:spMk id="24" creationId="{F157CDD7-E4B0-DBE6-3BF9-A80704C2E8E2}"/>
          </ac:spMkLst>
        </pc:spChg>
        <pc:spChg chg="mod">
          <ac:chgData name="Jeffrey Obi" userId="S::jeffrey.obi@ie.ey.com::488f269d-1fa2-455e-bf95-7695136a100d" providerId="AD" clId="Web-{14F04221-16BC-3884-0BF5-0524C4844144}" dt="2023-08-03T13:17:14.039" v="67" actId="20577"/>
          <ac:spMkLst>
            <pc:docMk/>
            <pc:sldMk cId="209286626" sldId="2147479641"/>
            <ac:spMk id="26" creationId="{CE8179ED-1E75-8A00-A70C-EF944AB7261F}"/>
          </ac:spMkLst>
        </pc:spChg>
        <pc:spChg chg="mod">
          <ac:chgData name="Jeffrey Obi" userId="S::jeffrey.obi@ie.ey.com::488f269d-1fa2-455e-bf95-7695136a100d" providerId="AD" clId="Web-{14F04221-16BC-3884-0BF5-0524C4844144}" dt="2023-08-03T13:17:14.179" v="68" actId="20577"/>
          <ac:spMkLst>
            <pc:docMk/>
            <pc:sldMk cId="209286626" sldId="2147479641"/>
            <ac:spMk id="28" creationId="{3C2A5434-720E-4AA9-21BF-0B0E8A76CA06}"/>
          </ac:spMkLst>
        </pc:spChg>
        <pc:spChg chg="mod">
          <ac:chgData name="Jeffrey Obi" userId="S::jeffrey.obi@ie.ey.com::488f269d-1fa2-455e-bf95-7695136a100d" providerId="AD" clId="Web-{14F04221-16BC-3884-0BF5-0524C4844144}" dt="2023-08-03T13:17:14.304" v="69" actId="20577"/>
          <ac:spMkLst>
            <pc:docMk/>
            <pc:sldMk cId="209286626" sldId="2147479641"/>
            <ac:spMk id="30" creationId="{D93FAA2B-249B-226A-0A9D-DF62EFC7C39A}"/>
          </ac:spMkLst>
        </pc:spChg>
      </pc:sldChg>
      <pc:sldChg chg="modSp">
        <pc:chgData name="Jeffrey Obi" userId="S::jeffrey.obi@ie.ey.com::488f269d-1fa2-455e-bf95-7695136a100d" providerId="AD" clId="Web-{14F04221-16BC-3884-0BF5-0524C4844144}" dt="2023-08-03T12:48:23.741" v="31"/>
        <pc:sldMkLst>
          <pc:docMk/>
          <pc:sldMk cId="2915504962" sldId="2147479644"/>
        </pc:sldMkLst>
        <pc:spChg chg="mod">
          <ac:chgData name="Jeffrey Obi" userId="S::jeffrey.obi@ie.ey.com::488f269d-1fa2-455e-bf95-7695136a100d" providerId="AD" clId="Web-{14F04221-16BC-3884-0BF5-0524C4844144}" dt="2023-08-03T12:46:45.144" v="21"/>
          <ac:spMkLst>
            <pc:docMk/>
            <pc:sldMk cId="2915504962" sldId="2147479644"/>
            <ac:spMk id="40" creationId="{CBE1FF7C-DD0E-69A7-8FE3-B26832BB52E9}"/>
          </ac:spMkLst>
        </pc:spChg>
        <pc:graphicFrameChg chg="mod modGraphic">
          <ac:chgData name="Jeffrey Obi" userId="S::jeffrey.obi@ie.ey.com::488f269d-1fa2-455e-bf95-7695136a100d" providerId="AD" clId="Web-{14F04221-16BC-3884-0BF5-0524C4844144}" dt="2023-08-03T12:48:23.741" v="31"/>
          <ac:graphicFrameMkLst>
            <pc:docMk/>
            <pc:sldMk cId="2915504962" sldId="2147479644"/>
            <ac:graphicFrameMk id="10" creationId="{C373DE96-CF83-C1C7-EAE3-76F41D608563}"/>
          </ac:graphicFrameMkLst>
        </pc:graphicFrameChg>
      </pc:sldChg>
      <pc:sldChg chg="modSp del">
        <pc:chgData name="Jeffrey Obi" userId="S::jeffrey.obi@ie.ey.com::488f269d-1fa2-455e-bf95-7695136a100d" providerId="AD" clId="Web-{14F04221-16BC-3884-0BF5-0524C4844144}" dt="2023-08-03T14:49:30.451" v="88"/>
        <pc:sldMkLst>
          <pc:docMk/>
          <pc:sldMk cId="3380302115" sldId="2147479687"/>
        </pc:sldMkLst>
        <pc:spChg chg="mod">
          <ac:chgData name="Jeffrey Obi" userId="S::jeffrey.obi@ie.ey.com::488f269d-1fa2-455e-bf95-7695136a100d" providerId="AD" clId="Web-{14F04221-16BC-3884-0BF5-0524C4844144}" dt="2023-08-03T13:18:35.667" v="86" actId="20577"/>
          <ac:spMkLst>
            <pc:docMk/>
            <pc:sldMk cId="3380302115" sldId="2147479687"/>
            <ac:spMk id="3" creationId="{D2FF72AF-9783-DFFC-9A7A-6D57999F6F0C}"/>
          </ac:spMkLst>
        </pc:spChg>
        <pc:spChg chg="mod">
          <ac:chgData name="Jeffrey Obi" userId="S::jeffrey.obi@ie.ey.com::488f269d-1fa2-455e-bf95-7695136a100d" providerId="AD" clId="Web-{14F04221-16BC-3884-0BF5-0524C4844144}" dt="2023-08-03T13:18:35.682" v="87" actId="20577"/>
          <ac:spMkLst>
            <pc:docMk/>
            <pc:sldMk cId="3380302115" sldId="2147479687"/>
            <ac:spMk id="19" creationId="{4EE3859D-708D-00B9-5D94-9DCD66DCC21A}"/>
          </ac:spMkLst>
        </pc:spChg>
      </pc:sldChg>
      <pc:sldChg chg="addSp delSp modSp add mod replId modShow">
        <pc:chgData name="Jeffrey Obi" userId="S::jeffrey.obi@ie.ey.com::488f269d-1fa2-455e-bf95-7695136a100d" providerId="AD" clId="Web-{14F04221-16BC-3884-0BF5-0524C4844144}" dt="2023-08-03T14:52:14.082" v="149"/>
        <pc:sldMkLst>
          <pc:docMk/>
          <pc:sldMk cId="3988806097" sldId="2147479687"/>
        </pc:sldMkLst>
        <pc:spChg chg="del">
          <ac:chgData name="Jeffrey Obi" userId="S::jeffrey.obi@ie.ey.com::488f269d-1fa2-455e-bf95-7695136a100d" providerId="AD" clId="Web-{14F04221-16BC-3884-0BF5-0524C4844144}" dt="2023-08-03T14:50:33.891" v="146"/>
          <ac:spMkLst>
            <pc:docMk/>
            <pc:sldMk cId="3988806097" sldId="2147479687"/>
            <ac:spMk id="5" creationId="{9984D8A5-636C-881D-9820-71C03BAA623C}"/>
          </ac:spMkLst>
        </pc:spChg>
        <pc:spChg chg="del">
          <ac:chgData name="Jeffrey Obi" userId="S::jeffrey.obi@ie.ey.com::488f269d-1fa2-455e-bf95-7695136a100d" providerId="AD" clId="Web-{14F04221-16BC-3884-0BF5-0524C4844144}" dt="2023-08-03T14:50:33.875" v="145"/>
          <ac:spMkLst>
            <pc:docMk/>
            <pc:sldMk cId="3988806097" sldId="2147479687"/>
            <ac:spMk id="6" creationId="{B78D0F4E-34E3-BCFD-F109-7E2A68C41474}"/>
          </ac:spMkLst>
        </pc:spChg>
        <pc:spChg chg="del">
          <ac:chgData name="Jeffrey Obi" userId="S::jeffrey.obi@ie.ey.com::488f269d-1fa2-455e-bf95-7695136a100d" providerId="AD" clId="Web-{14F04221-16BC-3884-0BF5-0524C4844144}" dt="2023-08-03T14:50:33.875" v="143"/>
          <ac:spMkLst>
            <pc:docMk/>
            <pc:sldMk cId="3988806097" sldId="2147479687"/>
            <ac:spMk id="9" creationId="{55A7352A-AFB9-9175-7E34-489B2230EB82}"/>
          </ac:spMkLst>
        </pc:spChg>
        <pc:spChg chg="del">
          <ac:chgData name="Jeffrey Obi" userId="S::jeffrey.obi@ie.ey.com::488f269d-1fa2-455e-bf95-7695136a100d" providerId="AD" clId="Web-{14F04221-16BC-3884-0BF5-0524C4844144}" dt="2023-08-03T14:50:33.875" v="142"/>
          <ac:spMkLst>
            <pc:docMk/>
            <pc:sldMk cId="3988806097" sldId="2147479687"/>
            <ac:spMk id="10" creationId="{A2319A91-2417-FAA1-C38C-3AA9702D1DAE}"/>
          </ac:spMkLst>
        </pc:spChg>
        <pc:spChg chg="del">
          <ac:chgData name="Jeffrey Obi" userId="S::jeffrey.obi@ie.ey.com::488f269d-1fa2-455e-bf95-7695136a100d" providerId="AD" clId="Web-{14F04221-16BC-3884-0BF5-0524C4844144}" dt="2023-08-03T14:50:33.875" v="141"/>
          <ac:spMkLst>
            <pc:docMk/>
            <pc:sldMk cId="3988806097" sldId="2147479687"/>
            <ac:spMk id="12" creationId="{F5135AC3-0A33-3661-E019-525018A94710}"/>
          </ac:spMkLst>
        </pc:spChg>
        <pc:spChg chg="del">
          <ac:chgData name="Jeffrey Obi" userId="S::jeffrey.obi@ie.ey.com::488f269d-1fa2-455e-bf95-7695136a100d" providerId="AD" clId="Web-{14F04221-16BC-3884-0BF5-0524C4844144}" dt="2023-08-03T14:50:33.875" v="140"/>
          <ac:spMkLst>
            <pc:docMk/>
            <pc:sldMk cId="3988806097" sldId="2147479687"/>
            <ac:spMk id="13" creationId="{8DBDC67C-629C-23E8-F066-65B8BEFF9B16}"/>
          </ac:spMkLst>
        </pc:spChg>
        <pc:spChg chg="del">
          <ac:chgData name="Jeffrey Obi" userId="S::jeffrey.obi@ie.ey.com::488f269d-1fa2-455e-bf95-7695136a100d" providerId="AD" clId="Web-{14F04221-16BC-3884-0BF5-0524C4844144}" dt="2023-08-03T14:50:44.188" v="147"/>
          <ac:spMkLst>
            <pc:docMk/>
            <pc:sldMk cId="3988806097" sldId="2147479687"/>
            <ac:spMk id="17" creationId="{12EC5FBB-092F-C9E8-C17C-6A46600F0275}"/>
          </ac:spMkLst>
        </pc:spChg>
        <pc:spChg chg="del">
          <ac:chgData name="Jeffrey Obi" userId="S::jeffrey.obi@ie.ey.com::488f269d-1fa2-455e-bf95-7695136a100d" providerId="AD" clId="Web-{14F04221-16BC-3884-0BF5-0524C4844144}" dt="2023-08-03T14:50:33.875" v="138"/>
          <ac:spMkLst>
            <pc:docMk/>
            <pc:sldMk cId="3988806097" sldId="2147479687"/>
            <ac:spMk id="18" creationId="{DC0C62D4-515A-A36E-E2E6-B760F9D6F16F}"/>
          </ac:spMkLst>
        </pc:spChg>
        <pc:spChg chg="del">
          <ac:chgData name="Jeffrey Obi" userId="S::jeffrey.obi@ie.ey.com::488f269d-1fa2-455e-bf95-7695136a100d" providerId="AD" clId="Web-{14F04221-16BC-3884-0BF5-0524C4844144}" dt="2023-08-03T14:50:33.875" v="137"/>
          <ac:spMkLst>
            <pc:docMk/>
            <pc:sldMk cId="3988806097" sldId="2147479687"/>
            <ac:spMk id="24" creationId="{9D15BA5A-6437-0CB3-334B-FFFFAE7108D3}"/>
          </ac:spMkLst>
        </pc:spChg>
        <pc:spChg chg="del">
          <ac:chgData name="Jeffrey Obi" userId="S::jeffrey.obi@ie.ey.com::488f269d-1fa2-455e-bf95-7695136a100d" providerId="AD" clId="Web-{14F04221-16BC-3884-0BF5-0524C4844144}" dt="2023-08-03T14:50:33.875" v="136"/>
          <ac:spMkLst>
            <pc:docMk/>
            <pc:sldMk cId="3988806097" sldId="2147479687"/>
            <ac:spMk id="25" creationId="{20FF0EBA-9FB1-61E1-30E3-1DD0319DAA5F}"/>
          </ac:spMkLst>
        </pc:spChg>
        <pc:spChg chg="del">
          <ac:chgData name="Jeffrey Obi" userId="S::jeffrey.obi@ie.ey.com::488f269d-1fa2-455e-bf95-7695136a100d" providerId="AD" clId="Web-{14F04221-16BC-3884-0BF5-0524C4844144}" dt="2023-08-03T14:50:33.875" v="134"/>
          <ac:spMkLst>
            <pc:docMk/>
            <pc:sldMk cId="3988806097" sldId="2147479687"/>
            <ac:spMk id="30" creationId="{FFCCCB1C-5E9A-C94A-1550-AD1B44920A2B}"/>
          </ac:spMkLst>
        </pc:spChg>
        <pc:spChg chg="del">
          <ac:chgData name="Jeffrey Obi" userId="S::jeffrey.obi@ie.ey.com::488f269d-1fa2-455e-bf95-7695136a100d" providerId="AD" clId="Web-{14F04221-16BC-3884-0BF5-0524C4844144}" dt="2023-08-03T14:50:33.875" v="133"/>
          <ac:spMkLst>
            <pc:docMk/>
            <pc:sldMk cId="3988806097" sldId="2147479687"/>
            <ac:spMk id="31" creationId="{0236D5AD-985B-5A67-DE6B-BE81EE675A6E}"/>
          </ac:spMkLst>
        </pc:spChg>
        <pc:spChg chg="del">
          <ac:chgData name="Jeffrey Obi" userId="S::jeffrey.obi@ie.ey.com::488f269d-1fa2-455e-bf95-7695136a100d" providerId="AD" clId="Web-{14F04221-16BC-3884-0BF5-0524C4844144}" dt="2023-08-03T14:50:33.875" v="128"/>
          <ac:spMkLst>
            <pc:docMk/>
            <pc:sldMk cId="3988806097" sldId="2147479687"/>
            <ac:spMk id="49" creationId="{33B2D960-1F40-BF75-5913-8850D4986A54}"/>
          </ac:spMkLst>
        </pc:spChg>
        <pc:spChg chg="del">
          <ac:chgData name="Jeffrey Obi" userId="S::jeffrey.obi@ie.ey.com::488f269d-1fa2-455e-bf95-7695136a100d" providerId="AD" clId="Web-{14F04221-16BC-3884-0BF5-0524C4844144}" dt="2023-08-03T14:50:33.875" v="127"/>
          <ac:spMkLst>
            <pc:docMk/>
            <pc:sldMk cId="3988806097" sldId="2147479687"/>
            <ac:spMk id="50" creationId="{22949D0F-AAB2-B659-103A-CA1B509C14EF}"/>
          </ac:spMkLst>
        </pc:spChg>
        <pc:spChg chg="del">
          <ac:chgData name="Jeffrey Obi" userId="S::jeffrey.obi@ie.ey.com::488f269d-1fa2-455e-bf95-7695136a100d" providerId="AD" clId="Web-{14F04221-16BC-3884-0BF5-0524C4844144}" dt="2023-08-03T14:50:33.875" v="123"/>
          <ac:spMkLst>
            <pc:docMk/>
            <pc:sldMk cId="3988806097" sldId="2147479687"/>
            <ac:spMk id="60" creationId="{5E43228B-D513-50ED-9406-EEF3C49196E4}"/>
          </ac:spMkLst>
        </pc:spChg>
        <pc:spChg chg="del">
          <ac:chgData name="Jeffrey Obi" userId="S::jeffrey.obi@ie.ey.com::488f269d-1fa2-455e-bf95-7695136a100d" providerId="AD" clId="Web-{14F04221-16BC-3884-0BF5-0524C4844144}" dt="2023-08-03T14:50:33.875" v="122"/>
          <ac:spMkLst>
            <pc:docMk/>
            <pc:sldMk cId="3988806097" sldId="2147479687"/>
            <ac:spMk id="61" creationId="{721AF924-E162-AC97-4716-8003E9BD9BD3}"/>
          </ac:spMkLst>
        </pc:spChg>
        <pc:spChg chg="del">
          <ac:chgData name="Jeffrey Obi" userId="S::jeffrey.obi@ie.ey.com::488f269d-1fa2-455e-bf95-7695136a100d" providerId="AD" clId="Web-{14F04221-16BC-3884-0BF5-0524C4844144}" dt="2023-08-03T14:50:33.875" v="121"/>
          <ac:spMkLst>
            <pc:docMk/>
            <pc:sldMk cId="3988806097" sldId="2147479687"/>
            <ac:spMk id="62" creationId="{1347974E-5655-0B03-431C-CE2C5B2DA14C}"/>
          </ac:spMkLst>
        </pc:spChg>
        <pc:spChg chg="del">
          <ac:chgData name="Jeffrey Obi" userId="S::jeffrey.obi@ie.ey.com::488f269d-1fa2-455e-bf95-7695136a100d" providerId="AD" clId="Web-{14F04221-16BC-3884-0BF5-0524C4844144}" dt="2023-08-03T14:50:33.875" v="119"/>
          <ac:spMkLst>
            <pc:docMk/>
            <pc:sldMk cId="3988806097" sldId="2147479687"/>
            <ac:spMk id="68" creationId="{0802C5AB-F44A-5417-CA71-E7CA7DF12F83}"/>
          </ac:spMkLst>
        </pc:spChg>
        <pc:spChg chg="del">
          <ac:chgData name="Jeffrey Obi" userId="S::jeffrey.obi@ie.ey.com::488f269d-1fa2-455e-bf95-7695136a100d" providerId="AD" clId="Web-{14F04221-16BC-3884-0BF5-0524C4844144}" dt="2023-08-03T14:50:33.875" v="118"/>
          <ac:spMkLst>
            <pc:docMk/>
            <pc:sldMk cId="3988806097" sldId="2147479687"/>
            <ac:spMk id="69" creationId="{E38A4052-0CCB-0787-848A-662B39D1E89D}"/>
          </ac:spMkLst>
        </pc:spChg>
        <pc:spChg chg="del">
          <ac:chgData name="Jeffrey Obi" userId="S::jeffrey.obi@ie.ey.com::488f269d-1fa2-455e-bf95-7695136a100d" providerId="AD" clId="Web-{14F04221-16BC-3884-0BF5-0524C4844144}" dt="2023-08-03T14:50:33.875" v="116"/>
          <ac:spMkLst>
            <pc:docMk/>
            <pc:sldMk cId="3988806097" sldId="2147479687"/>
            <ac:spMk id="71" creationId="{01FE1892-4A20-F8B6-3F75-37433117BDF3}"/>
          </ac:spMkLst>
        </pc:spChg>
        <pc:spChg chg="del">
          <ac:chgData name="Jeffrey Obi" userId="S::jeffrey.obi@ie.ey.com::488f269d-1fa2-455e-bf95-7695136a100d" providerId="AD" clId="Web-{14F04221-16BC-3884-0BF5-0524C4844144}" dt="2023-08-03T14:50:33.875" v="115"/>
          <ac:spMkLst>
            <pc:docMk/>
            <pc:sldMk cId="3988806097" sldId="2147479687"/>
            <ac:spMk id="72" creationId="{7F475AB1-09E7-10F0-F083-B7CB8D628A58}"/>
          </ac:spMkLst>
        </pc:spChg>
        <pc:spChg chg="del">
          <ac:chgData name="Jeffrey Obi" userId="S::jeffrey.obi@ie.ey.com::488f269d-1fa2-455e-bf95-7695136a100d" providerId="AD" clId="Web-{14F04221-16BC-3884-0BF5-0524C4844144}" dt="2023-08-03T14:50:33.875" v="114"/>
          <ac:spMkLst>
            <pc:docMk/>
            <pc:sldMk cId="3988806097" sldId="2147479687"/>
            <ac:spMk id="73" creationId="{1523D974-4F35-7655-E0B4-2DF9CB3F4D74}"/>
          </ac:spMkLst>
        </pc:spChg>
        <pc:spChg chg="del">
          <ac:chgData name="Jeffrey Obi" userId="S::jeffrey.obi@ie.ey.com::488f269d-1fa2-455e-bf95-7695136a100d" providerId="AD" clId="Web-{14F04221-16BC-3884-0BF5-0524C4844144}" dt="2023-08-03T14:50:33.875" v="113"/>
          <ac:spMkLst>
            <pc:docMk/>
            <pc:sldMk cId="3988806097" sldId="2147479687"/>
            <ac:spMk id="74" creationId="{A798CABD-46B4-8CA1-AA45-0525F1AA8ECA}"/>
          </ac:spMkLst>
        </pc:spChg>
        <pc:spChg chg="del">
          <ac:chgData name="Jeffrey Obi" userId="S::jeffrey.obi@ie.ey.com::488f269d-1fa2-455e-bf95-7695136a100d" providerId="AD" clId="Web-{14F04221-16BC-3884-0BF5-0524C4844144}" dt="2023-08-03T14:50:33.875" v="112"/>
          <ac:spMkLst>
            <pc:docMk/>
            <pc:sldMk cId="3988806097" sldId="2147479687"/>
            <ac:spMk id="75" creationId="{6C791505-B4BF-D747-216E-083492D33672}"/>
          </ac:spMkLst>
        </pc:spChg>
        <pc:spChg chg="del">
          <ac:chgData name="Jeffrey Obi" userId="S::jeffrey.obi@ie.ey.com::488f269d-1fa2-455e-bf95-7695136a100d" providerId="AD" clId="Web-{14F04221-16BC-3884-0BF5-0524C4844144}" dt="2023-08-03T14:50:33.875" v="110"/>
          <ac:spMkLst>
            <pc:docMk/>
            <pc:sldMk cId="3988806097" sldId="2147479687"/>
            <ac:spMk id="82" creationId="{E5D1FF68-AD82-19D9-CBDD-4AC2AFE7EC01}"/>
          </ac:spMkLst>
        </pc:spChg>
        <pc:spChg chg="del">
          <ac:chgData name="Jeffrey Obi" userId="S::jeffrey.obi@ie.ey.com::488f269d-1fa2-455e-bf95-7695136a100d" providerId="AD" clId="Web-{14F04221-16BC-3884-0BF5-0524C4844144}" dt="2023-08-03T14:50:33.859" v="109"/>
          <ac:spMkLst>
            <pc:docMk/>
            <pc:sldMk cId="3988806097" sldId="2147479687"/>
            <ac:spMk id="83" creationId="{F0392758-BEE4-8D19-FADB-63C58396A227}"/>
          </ac:spMkLst>
        </pc:spChg>
        <pc:spChg chg="del">
          <ac:chgData name="Jeffrey Obi" userId="S::jeffrey.obi@ie.ey.com::488f269d-1fa2-455e-bf95-7695136a100d" providerId="AD" clId="Web-{14F04221-16BC-3884-0BF5-0524C4844144}" dt="2023-08-03T14:50:33.859" v="108"/>
          <ac:spMkLst>
            <pc:docMk/>
            <pc:sldMk cId="3988806097" sldId="2147479687"/>
            <ac:spMk id="84" creationId="{5CC937B5-E7F4-F291-90CB-38CFBD6B0B37}"/>
          </ac:spMkLst>
        </pc:spChg>
        <pc:spChg chg="del">
          <ac:chgData name="Jeffrey Obi" userId="S::jeffrey.obi@ie.ey.com::488f269d-1fa2-455e-bf95-7695136a100d" providerId="AD" clId="Web-{14F04221-16BC-3884-0BF5-0524C4844144}" dt="2023-08-03T14:50:33.859" v="107"/>
          <ac:spMkLst>
            <pc:docMk/>
            <pc:sldMk cId="3988806097" sldId="2147479687"/>
            <ac:spMk id="85" creationId="{0E2162CC-E0C1-2D84-EAE8-D3882CCDBEE9}"/>
          </ac:spMkLst>
        </pc:spChg>
        <pc:spChg chg="del">
          <ac:chgData name="Jeffrey Obi" userId="S::jeffrey.obi@ie.ey.com::488f269d-1fa2-455e-bf95-7695136a100d" providerId="AD" clId="Web-{14F04221-16BC-3884-0BF5-0524C4844144}" dt="2023-08-03T14:50:33.859" v="106"/>
          <ac:spMkLst>
            <pc:docMk/>
            <pc:sldMk cId="3988806097" sldId="2147479687"/>
            <ac:spMk id="86" creationId="{8370F938-DB18-B083-AD0C-D33B7295C9D5}"/>
          </ac:spMkLst>
        </pc:spChg>
        <pc:spChg chg="del">
          <ac:chgData name="Jeffrey Obi" userId="S::jeffrey.obi@ie.ey.com::488f269d-1fa2-455e-bf95-7695136a100d" providerId="AD" clId="Web-{14F04221-16BC-3884-0BF5-0524C4844144}" dt="2023-08-03T14:50:33.859" v="105"/>
          <ac:spMkLst>
            <pc:docMk/>
            <pc:sldMk cId="3988806097" sldId="2147479687"/>
            <ac:spMk id="87" creationId="{BD348819-F721-77A7-D50E-42785185C127}"/>
          </ac:spMkLst>
        </pc:spChg>
        <pc:spChg chg="del">
          <ac:chgData name="Jeffrey Obi" userId="S::jeffrey.obi@ie.ey.com::488f269d-1fa2-455e-bf95-7695136a100d" providerId="AD" clId="Web-{14F04221-16BC-3884-0BF5-0524C4844144}" dt="2023-08-03T14:50:33.859" v="104"/>
          <ac:spMkLst>
            <pc:docMk/>
            <pc:sldMk cId="3988806097" sldId="2147479687"/>
            <ac:spMk id="88" creationId="{5E4E2FBC-F696-A1BA-9355-54E09666394F}"/>
          </ac:spMkLst>
        </pc:spChg>
        <pc:spChg chg="del">
          <ac:chgData name="Jeffrey Obi" userId="S::jeffrey.obi@ie.ey.com::488f269d-1fa2-455e-bf95-7695136a100d" providerId="AD" clId="Web-{14F04221-16BC-3884-0BF5-0524C4844144}" dt="2023-08-03T14:50:33.859" v="101"/>
          <ac:spMkLst>
            <pc:docMk/>
            <pc:sldMk cId="3988806097" sldId="2147479687"/>
            <ac:spMk id="103" creationId="{D739ADE7-E800-8EB0-F4FA-35C8190192F5}"/>
          </ac:spMkLst>
        </pc:spChg>
        <pc:grpChg chg="del">
          <ac:chgData name="Jeffrey Obi" userId="S::jeffrey.obi@ie.ey.com::488f269d-1fa2-455e-bf95-7695136a100d" providerId="AD" clId="Web-{14F04221-16BC-3884-0BF5-0524C4844144}" dt="2023-08-03T14:50:33.875" v="139"/>
          <ac:grpSpMkLst>
            <pc:docMk/>
            <pc:sldMk cId="3988806097" sldId="2147479687"/>
            <ac:grpSpMk id="14" creationId="{81FBAE6D-AB79-91F8-5AF4-8C7C615C08DC}"/>
          </ac:grpSpMkLst>
        </pc:grpChg>
        <pc:grpChg chg="del">
          <ac:chgData name="Jeffrey Obi" userId="S::jeffrey.obi@ie.ey.com::488f269d-1fa2-455e-bf95-7695136a100d" providerId="AD" clId="Web-{14F04221-16BC-3884-0BF5-0524C4844144}" dt="2023-08-03T14:50:33.875" v="135"/>
          <ac:grpSpMkLst>
            <pc:docMk/>
            <pc:sldMk cId="3988806097" sldId="2147479687"/>
            <ac:grpSpMk id="26" creationId="{C3656772-68D6-BC18-AE29-F2868EFAC3D5}"/>
          </ac:grpSpMkLst>
        </pc:grpChg>
        <pc:grpChg chg="del">
          <ac:chgData name="Jeffrey Obi" userId="S::jeffrey.obi@ie.ey.com::488f269d-1fa2-455e-bf95-7695136a100d" providerId="AD" clId="Web-{14F04221-16BC-3884-0BF5-0524C4844144}" dt="2023-08-03T14:50:33.875" v="130"/>
          <ac:grpSpMkLst>
            <pc:docMk/>
            <pc:sldMk cId="3988806097" sldId="2147479687"/>
            <ac:grpSpMk id="40" creationId="{98A10B21-4292-24F1-6DF8-91300474FBA0}"/>
          </ac:grpSpMkLst>
        </pc:grpChg>
        <pc:grpChg chg="del">
          <ac:chgData name="Jeffrey Obi" userId="S::jeffrey.obi@ie.ey.com::488f269d-1fa2-455e-bf95-7695136a100d" providerId="AD" clId="Web-{14F04221-16BC-3884-0BF5-0524C4844144}" dt="2023-08-03T14:50:33.875" v="129"/>
          <ac:grpSpMkLst>
            <pc:docMk/>
            <pc:sldMk cId="3988806097" sldId="2147479687"/>
            <ac:grpSpMk id="44" creationId="{E2E2F59F-ADF6-C59E-D3E8-A317F7262776}"/>
          </ac:grpSpMkLst>
        </pc:grpChg>
        <pc:grpChg chg="del">
          <ac:chgData name="Jeffrey Obi" userId="S::jeffrey.obi@ie.ey.com::488f269d-1fa2-455e-bf95-7695136a100d" providerId="AD" clId="Web-{14F04221-16BC-3884-0BF5-0524C4844144}" dt="2023-08-03T14:50:33.875" v="125"/>
          <ac:grpSpMkLst>
            <pc:docMk/>
            <pc:sldMk cId="3988806097" sldId="2147479687"/>
            <ac:grpSpMk id="52" creationId="{F58CA350-41DD-1B60-4E0E-86A791763BE2}"/>
          </ac:grpSpMkLst>
        </pc:grpChg>
        <pc:grpChg chg="del">
          <ac:chgData name="Jeffrey Obi" userId="S::jeffrey.obi@ie.ey.com::488f269d-1fa2-455e-bf95-7695136a100d" providerId="AD" clId="Web-{14F04221-16BC-3884-0BF5-0524C4844144}" dt="2023-08-03T14:50:33.875" v="111"/>
          <ac:grpSpMkLst>
            <pc:docMk/>
            <pc:sldMk cId="3988806097" sldId="2147479687"/>
            <ac:grpSpMk id="76" creationId="{A67994D0-B9D1-8C97-1908-731C44B4E74E}"/>
          </ac:grpSpMkLst>
        </pc:grpChg>
        <pc:grpChg chg="del">
          <ac:chgData name="Jeffrey Obi" userId="S::jeffrey.obi@ie.ey.com::488f269d-1fa2-455e-bf95-7695136a100d" providerId="AD" clId="Web-{14F04221-16BC-3884-0BF5-0524C4844144}" dt="2023-08-03T14:50:33.859" v="103"/>
          <ac:grpSpMkLst>
            <pc:docMk/>
            <pc:sldMk cId="3988806097" sldId="2147479687"/>
            <ac:grpSpMk id="97" creationId="{A4AD4569-5406-37B4-E14E-6F4394A1182C}"/>
          </ac:grpSpMkLst>
        </pc:grpChg>
        <pc:grpChg chg="del">
          <ac:chgData name="Jeffrey Obi" userId="S::jeffrey.obi@ie.ey.com::488f269d-1fa2-455e-bf95-7695136a100d" providerId="AD" clId="Web-{14F04221-16BC-3884-0BF5-0524C4844144}" dt="2023-08-03T14:50:33.859" v="102"/>
          <ac:grpSpMkLst>
            <pc:docMk/>
            <pc:sldMk cId="3988806097" sldId="2147479687"/>
            <ac:grpSpMk id="100" creationId="{67D59DD4-7A2E-2DCE-F7EF-66CDE373EEAD}"/>
          </ac:grpSpMkLst>
        </pc:grpChg>
        <pc:grpChg chg="del">
          <ac:chgData name="Jeffrey Obi" userId="S::jeffrey.obi@ie.ey.com::488f269d-1fa2-455e-bf95-7695136a100d" providerId="AD" clId="Web-{14F04221-16BC-3884-0BF5-0524C4844144}" dt="2023-08-03T14:50:33.859" v="100"/>
          <ac:grpSpMkLst>
            <pc:docMk/>
            <pc:sldMk cId="3988806097" sldId="2147479687"/>
            <ac:grpSpMk id="104" creationId="{B4010633-A724-20AF-A8AA-9E034CACDBF2}"/>
          </ac:grpSpMkLst>
        </pc:grpChg>
        <pc:picChg chg="del">
          <ac:chgData name="Jeffrey Obi" userId="S::jeffrey.obi@ie.ey.com::488f269d-1fa2-455e-bf95-7695136a100d" providerId="AD" clId="Web-{14F04221-16BC-3884-0BF5-0524C4844144}" dt="2023-08-03T14:50:33.859" v="95"/>
          <ac:picMkLst>
            <pc:docMk/>
            <pc:sldMk cId="3988806097" sldId="2147479687"/>
            <ac:picMk id="2" creationId="{12681521-D8DA-4530-BE84-7A7E88E3BA77}"/>
          </ac:picMkLst>
        </pc:picChg>
        <pc:picChg chg="del">
          <ac:chgData name="Jeffrey Obi" userId="S::jeffrey.obi@ie.ey.com::488f269d-1fa2-455e-bf95-7695136a100d" providerId="AD" clId="Web-{14F04221-16BC-3884-0BF5-0524C4844144}" dt="2023-08-03T14:50:33.859" v="94"/>
          <ac:picMkLst>
            <pc:docMk/>
            <pc:sldMk cId="3988806097" sldId="2147479687"/>
            <ac:picMk id="4" creationId="{789FD3F6-2EFC-4751-8F25-099B3EA3DAF6}"/>
          </ac:picMkLst>
        </pc:picChg>
        <pc:picChg chg="add del mod">
          <ac:chgData name="Jeffrey Obi" userId="S::jeffrey.obi@ie.ey.com::488f269d-1fa2-455e-bf95-7695136a100d" providerId="AD" clId="Web-{14F04221-16BC-3884-0BF5-0524C4844144}" dt="2023-08-03T14:52:14.082" v="149"/>
          <ac:picMkLst>
            <pc:docMk/>
            <pc:sldMk cId="3988806097" sldId="2147479687"/>
            <ac:picMk id="8" creationId="{4D767085-832C-7055-5515-C9ECDEF9353F}"/>
          </ac:picMkLst>
        </pc:picChg>
        <pc:picChg chg="del">
          <ac:chgData name="Jeffrey Obi" userId="S::jeffrey.obi@ie.ey.com::488f269d-1fa2-455e-bf95-7695136a100d" providerId="AD" clId="Web-{14F04221-16BC-3884-0BF5-0524C4844144}" dt="2023-08-03T14:50:33.859" v="97"/>
          <ac:picMkLst>
            <pc:docMk/>
            <pc:sldMk cId="3988806097" sldId="2147479687"/>
            <ac:picMk id="11" creationId="{EC3AE51E-5A02-6F4A-EEB1-39D2CBF51249}"/>
          </ac:picMkLst>
        </pc:picChg>
        <pc:picChg chg="del">
          <ac:chgData name="Jeffrey Obi" userId="S::jeffrey.obi@ie.ey.com::488f269d-1fa2-455e-bf95-7695136a100d" providerId="AD" clId="Web-{14F04221-16BC-3884-0BF5-0524C4844144}" dt="2023-08-03T14:50:33.875" v="132"/>
          <ac:picMkLst>
            <pc:docMk/>
            <pc:sldMk cId="3988806097" sldId="2147479687"/>
            <ac:picMk id="32" creationId="{7CA3334A-18A9-094E-4425-B3C6BCCE6502}"/>
          </ac:picMkLst>
        </pc:picChg>
        <pc:picChg chg="del">
          <ac:chgData name="Jeffrey Obi" userId="S::jeffrey.obi@ie.ey.com::488f269d-1fa2-455e-bf95-7695136a100d" providerId="AD" clId="Web-{14F04221-16BC-3884-0BF5-0524C4844144}" dt="2023-08-03T14:50:33.875" v="131"/>
          <ac:picMkLst>
            <pc:docMk/>
            <pc:sldMk cId="3988806097" sldId="2147479687"/>
            <ac:picMk id="36" creationId="{643BED2A-71FB-5500-FF3F-489899AF8E9E}"/>
          </ac:picMkLst>
        </pc:picChg>
        <pc:picChg chg="del">
          <ac:chgData name="Jeffrey Obi" userId="S::jeffrey.obi@ie.ey.com::488f269d-1fa2-455e-bf95-7695136a100d" providerId="AD" clId="Web-{14F04221-16BC-3884-0BF5-0524C4844144}" dt="2023-08-03T14:50:33.875" v="126"/>
          <ac:picMkLst>
            <pc:docMk/>
            <pc:sldMk cId="3988806097" sldId="2147479687"/>
            <ac:picMk id="51" creationId="{1281F069-D6CE-D379-9CF8-07087C683DC2}"/>
          </ac:picMkLst>
        </pc:picChg>
        <pc:picChg chg="del">
          <ac:chgData name="Jeffrey Obi" userId="S::jeffrey.obi@ie.ey.com::488f269d-1fa2-455e-bf95-7695136a100d" providerId="AD" clId="Web-{14F04221-16BC-3884-0BF5-0524C4844144}" dt="2023-08-03T14:50:33.875" v="124"/>
          <ac:picMkLst>
            <pc:docMk/>
            <pc:sldMk cId="3988806097" sldId="2147479687"/>
            <ac:picMk id="56" creationId="{5F271462-6325-0E56-C47B-BEE4B4B0DD6B}"/>
          </ac:picMkLst>
        </pc:picChg>
        <pc:picChg chg="del">
          <ac:chgData name="Jeffrey Obi" userId="S::jeffrey.obi@ie.ey.com::488f269d-1fa2-455e-bf95-7695136a100d" providerId="AD" clId="Web-{14F04221-16BC-3884-0BF5-0524C4844144}" dt="2023-08-03T14:50:33.875" v="117"/>
          <ac:picMkLst>
            <pc:docMk/>
            <pc:sldMk cId="3988806097" sldId="2147479687"/>
            <ac:picMk id="70" creationId="{0E423793-9482-D8CA-8BB9-43A651062178}"/>
          </ac:picMkLst>
        </pc:picChg>
        <pc:picChg chg="del">
          <ac:chgData name="Jeffrey Obi" userId="S::jeffrey.obi@ie.ey.com::488f269d-1fa2-455e-bf95-7695136a100d" providerId="AD" clId="Web-{14F04221-16BC-3884-0BF5-0524C4844144}" dt="2023-08-03T14:50:33.859" v="99"/>
          <ac:picMkLst>
            <pc:docMk/>
            <pc:sldMk cId="3988806097" sldId="2147479687"/>
            <ac:picMk id="107" creationId="{279C1773-01FC-D62D-FBFD-54A60BBAD7BA}"/>
          </ac:picMkLst>
        </pc:picChg>
        <pc:picChg chg="del">
          <ac:chgData name="Jeffrey Obi" userId="S::jeffrey.obi@ie.ey.com::488f269d-1fa2-455e-bf95-7695136a100d" providerId="AD" clId="Web-{14F04221-16BC-3884-0BF5-0524C4844144}" dt="2023-08-03T14:50:33.859" v="98"/>
          <ac:picMkLst>
            <pc:docMk/>
            <pc:sldMk cId="3988806097" sldId="2147479687"/>
            <ac:picMk id="110" creationId="{A4F8056F-F636-369A-EECE-D48DFB298690}"/>
          </ac:picMkLst>
        </pc:picChg>
        <pc:picChg chg="del">
          <ac:chgData name="Jeffrey Obi" userId="S::jeffrey.obi@ie.ey.com::488f269d-1fa2-455e-bf95-7695136a100d" providerId="AD" clId="Web-{14F04221-16BC-3884-0BF5-0524C4844144}" dt="2023-08-03T14:50:33.859" v="96"/>
          <ac:picMkLst>
            <pc:docMk/>
            <pc:sldMk cId="3988806097" sldId="2147479687"/>
            <ac:picMk id="114" creationId="{7CB705C2-662D-45A8-96E8-6DA60584843A}"/>
          </ac:picMkLst>
        </pc:picChg>
        <pc:picChg chg="del">
          <ac:chgData name="Jeffrey Obi" userId="S::jeffrey.obi@ie.ey.com::488f269d-1fa2-455e-bf95-7695136a100d" providerId="AD" clId="Web-{14F04221-16BC-3884-0BF5-0524C4844144}" dt="2023-08-03T14:50:33.859" v="93"/>
          <ac:picMkLst>
            <pc:docMk/>
            <pc:sldMk cId="3988806097" sldId="2147479687"/>
            <ac:picMk id="20482" creationId="{F6A5B93E-DDAC-4336-B1A3-1F3F8D2D5CF6}"/>
          </ac:picMkLst>
        </pc:picChg>
        <pc:picChg chg="del">
          <ac:chgData name="Jeffrey Obi" userId="S::jeffrey.obi@ie.ey.com::488f269d-1fa2-455e-bf95-7695136a100d" providerId="AD" clId="Web-{14F04221-16BC-3884-0BF5-0524C4844144}" dt="2023-08-03T14:50:33.859" v="92"/>
          <ac:picMkLst>
            <pc:docMk/>
            <pc:sldMk cId="3988806097" sldId="2147479687"/>
            <ac:picMk id="20486" creationId="{0E372CEC-41F2-43A4-9D28-7492B183D87B}"/>
          </ac:picMkLst>
        </pc:picChg>
        <pc:picChg chg="del">
          <ac:chgData name="Jeffrey Obi" userId="S::jeffrey.obi@ie.ey.com::488f269d-1fa2-455e-bf95-7695136a100d" providerId="AD" clId="Web-{14F04221-16BC-3884-0BF5-0524C4844144}" dt="2023-08-03T14:50:33.859" v="91"/>
          <ac:picMkLst>
            <pc:docMk/>
            <pc:sldMk cId="3988806097" sldId="2147479687"/>
            <ac:picMk id="20488" creationId="{42729DA6-B72D-4427-AD8B-328EAD889A0D}"/>
          </ac:picMkLst>
        </pc:picChg>
        <pc:cxnChg chg="del">
          <ac:chgData name="Jeffrey Obi" userId="S::jeffrey.obi@ie.ey.com::488f269d-1fa2-455e-bf95-7695136a100d" providerId="AD" clId="Web-{14F04221-16BC-3884-0BF5-0524C4844144}" dt="2023-08-03T14:50:33.875" v="144"/>
          <ac:cxnSpMkLst>
            <pc:docMk/>
            <pc:sldMk cId="3988806097" sldId="2147479687"/>
            <ac:cxnSpMk id="7" creationId="{011E4A00-BAA7-ACBB-4A3B-EC9133CEFCBA}"/>
          </ac:cxnSpMkLst>
        </pc:cxnChg>
        <pc:cxnChg chg="del mod">
          <ac:chgData name="Jeffrey Obi" userId="S::jeffrey.obi@ie.ey.com::488f269d-1fa2-455e-bf95-7695136a100d" providerId="AD" clId="Web-{14F04221-16BC-3884-0BF5-0524C4844144}" dt="2023-08-03T14:50:33.875" v="120"/>
          <ac:cxnSpMkLst>
            <pc:docMk/>
            <pc:sldMk cId="3988806097" sldId="2147479687"/>
            <ac:cxnSpMk id="63" creationId="{103E5FC9-BB35-537E-7FC1-24D4E7F48083}"/>
          </ac:cxnSpMkLst>
        </pc:cxnChg>
      </pc:sldChg>
    </pc:docChg>
  </pc:docChgLst>
  <pc:docChgLst>
    <pc:chgData name="Immanuel J Daniel" userId="S::immanuel.johnston.daniel@ie.ey.com::b9141605-49ff-443e-8af4-0c21e2766a66" providerId="AD" clId="Web-{5FEA6299-B1B4-FC78-E7AB-070CFDEB84C0}"/>
    <pc:docChg chg="modSld">
      <pc:chgData name="Immanuel J Daniel" userId="S::immanuel.johnston.daniel@ie.ey.com::b9141605-49ff-443e-8af4-0c21e2766a66" providerId="AD" clId="Web-{5FEA6299-B1B4-FC78-E7AB-070CFDEB84C0}" dt="2023-07-21T11:20:21.033" v="3" actId="20577"/>
      <pc:docMkLst>
        <pc:docMk/>
      </pc:docMkLst>
      <pc:sldChg chg="modSp">
        <pc:chgData name="Immanuel J Daniel" userId="S::immanuel.johnston.daniel@ie.ey.com::b9141605-49ff-443e-8af4-0c21e2766a66" providerId="AD" clId="Web-{5FEA6299-B1B4-FC78-E7AB-070CFDEB84C0}" dt="2023-07-21T11:20:21.033" v="3" actId="20577"/>
        <pc:sldMkLst>
          <pc:docMk/>
          <pc:sldMk cId="633734048" sldId="2142535106"/>
        </pc:sldMkLst>
        <pc:spChg chg="mod">
          <ac:chgData name="Immanuel J Daniel" userId="S::immanuel.johnston.daniel@ie.ey.com::b9141605-49ff-443e-8af4-0c21e2766a66" providerId="AD" clId="Web-{5FEA6299-B1B4-FC78-E7AB-070CFDEB84C0}" dt="2023-07-21T11:20:21.033" v="3" actId="20577"/>
          <ac:spMkLst>
            <pc:docMk/>
            <pc:sldMk cId="633734048" sldId="2142535106"/>
            <ac:spMk id="7" creationId="{805AB38D-5178-4216-A505-415C258E4962}"/>
          </ac:spMkLst>
        </pc:spChg>
      </pc:sldChg>
    </pc:docChg>
  </pc:docChgLst>
  <pc:docChgLst>
    <pc:chgData name="Ahmed Helmy" userId="S::ahmed.helmy@ie.ey.com::00ab2dc9-190a-451b-8f35-a658adf790b2" providerId="AD" clId="Web-{643C90D9-2A96-D7CB-4456-84580A1BA189}"/>
    <pc:docChg chg="modSld">
      <pc:chgData name="Ahmed Helmy" userId="S::ahmed.helmy@ie.ey.com::00ab2dc9-190a-451b-8f35-a658adf790b2" providerId="AD" clId="Web-{643C90D9-2A96-D7CB-4456-84580A1BA189}" dt="2023-08-11T14:02:23.774" v="1633"/>
      <pc:docMkLst>
        <pc:docMk/>
      </pc:docMkLst>
      <pc:sldChg chg="modSp">
        <pc:chgData name="Ahmed Helmy" userId="S::ahmed.helmy@ie.ey.com::00ab2dc9-190a-451b-8f35-a658adf790b2" providerId="AD" clId="Web-{643C90D9-2A96-D7CB-4456-84580A1BA189}" dt="2023-08-11T13:47:40.404" v="1134"/>
        <pc:sldMkLst>
          <pc:docMk/>
          <pc:sldMk cId="3375914741" sldId="2147479669"/>
        </pc:sldMkLst>
        <pc:graphicFrameChg chg="mod modGraphic">
          <ac:chgData name="Ahmed Helmy" userId="S::ahmed.helmy@ie.ey.com::00ab2dc9-190a-451b-8f35-a658adf790b2" providerId="AD" clId="Web-{643C90D9-2A96-D7CB-4456-84580A1BA189}" dt="2023-08-11T13:47:40.404" v="1134"/>
          <ac:graphicFrameMkLst>
            <pc:docMk/>
            <pc:sldMk cId="3375914741" sldId="2147479669"/>
            <ac:graphicFrameMk id="2" creationId="{A112291B-4107-6CEF-2E07-563D83BF59D7}"/>
          </ac:graphicFrameMkLst>
        </pc:graphicFrameChg>
      </pc:sldChg>
      <pc:sldChg chg="modSp">
        <pc:chgData name="Ahmed Helmy" userId="S::ahmed.helmy@ie.ey.com::00ab2dc9-190a-451b-8f35-a658adf790b2" providerId="AD" clId="Web-{643C90D9-2A96-D7CB-4456-84580A1BA189}" dt="2023-08-11T14:02:04.977" v="1631"/>
        <pc:sldMkLst>
          <pc:docMk/>
          <pc:sldMk cId="1379980121" sldId="2147479674"/>
        </pc:sldMkLst>
        <pc:graphicFrameChg chg="mod modGraphic">
          <ac:chgData name="Ahmed Helmy" userId="S::ahmed.helmy@ie.ey.com::00ab2dc9-190a-451b-8f35-a658adf790b2" providerId="AD" clId="Web-{643C90D9-2A96-D7CB-4456-84580A1BA189}" dt="2023-08-11T14:02:04.977" v="1631"/>
          <ac:graphicFrameMkLst>
            <pc:docMk/>
            <pc:sldMk cId="1379980121" sldId="2147479674"/>
            <ac:graphicFrameMk id="3" creationId="{3451C71F-C329-CFAC-20D5-D224F1EA9CA9}"/>
          </ac:graphicFrameMkLst>
        </pc:graphicFrameChg>
      </pc:sldChg>
      <pc:sldChg chg="modSp">
        <pc:chgData name="Ahmed Helmy" userId="S::ahmed.helmy@ie.ey.com::00ab2dc9-190a-451b-8f35-a658adf790b2" providerId="AD" clId="Web-{643C90D9-2A96-D7CB-4456-84580A1BA189}" dt="2023-08-11T13:41:13.189" v="785"/>
        <pc:sldMkLst>
          <pc:docMk/>
          <pc:sldMk cId="1504332585" sldId="2147479675"/>
        </pc:sldMkLst>
        <pc:graphicFrameChg chg="mod modGraphic">
          <ac:chgData name="Ahmed Helmy" userId="S::ahmed.helmy@ie.ey.com::00ab2dc9-190a-451b-8f35-a658adf790b2" providerId="AD" clId="Web-{643C90D9-2A96-D7CB-4456-84580A1BA189}" dt="2023-08-11T13:41:13.189" v="785"/>
          <ac:graphicFrameMkLst>
            <pc:docMk/>
            <pc:sldMk cId="1504332585" sldId="2147479675"/>
            <ac:graphicFrameMk id="9" creationId="{5CA10BEF-2C7E-0F11-441B-CEE30A282CE0}"/>
          </ac:graphicFrameMkLst>
        </pc:graphicFrameChg>
      </pc:sldChg>
      <pc:sldChg chg="modSp">
        <pc:chgData name="Ahmed Helmy" userId="S::ahmed.helmy@ie.ey.com::00ab2dc9-190a-451b-8f35-a658adf790b2" providerId="AD" clId="Web-{643C90D9-2A96-D7CB-4456-84580A1BA189}" dt="2023-08-11T14:02:23.774" v="1633"/>
        <pc:sldMkLst>
          <pc:docMk/>
          <pc:sldMk cId="3711356101" sldId="2147479680"/>
        </pc:sldMkLst>
        <pc:graphicFrameChg chg="mod modGraphic">
          <ac:chgData name="Ahmed Helmy" userId="S::ahmed.helmy@ie.ey.com::00ab2dc9-190a-451b-8f35-a658adf790b2" providerId="AD" clId="Web-{643C90D9-2A96-D7CB-4456-84580A1BA189}" dt="2023-08-11T14:02:23.774" v="1633"/>
          <ac:graphicFrameMkLst>
            <pc:docMk/>
            <pc:sldMk cId="3711356101" sldId="2147479680"/>
            <ac:graphicFrameMk id="3" creationId="{20E610EF-F192-B8D0-31AC-99AD5AF5A907}"/>
          </ac:graphicFrameMkLst>
        </pc:graphicFrameChg>
      </pc:sldChg>
    </pc:docChg>
  </pc:docChgLst>
  <pc:docChgLst>
    <pc:chgData name="Paul Browne" userId="454025d3-a6e9-4992-968a-01d28be10bb4" providerId="ADAL" clId="{5273E508-3799-45D4-BACC-D003C74AF6E9}"/>
    <pc:docChg chg="custSel modSld">
      <pc:chgData name="Paul Browne" userId="454025d3-a6e9-4992-968a-01d28be10bb4" providerId="ADAL" clId="{5273E508-3799-45D4-BACC-D003C74AF6E9}" dt="2023-05-22T14:30:33.295" v="15" actId="700"/>
      <pc:docMkLst>
        <pc:docMk/>
      </pc:docMkLst>
      <pc:sldChg chg="addSp delSp modSp mod modClrScheme chgLayout">
        <pc:chgData name="Paul Browne" userId="454025d3-a6e9-4992-968a-01d28be10bb4" providerId="ADAL" clId="{5273E508-3799-45D4-BACC-D003C74AF6E9}" dt="2023-05-22T14:30:33.295" v="15" actId="700"/>
        <pc:sldMkLst>
          <pc:docMk/>
          <pc:sldMk cId="633734048" sldId="2142535106"/>
        </pc:sldMkLst>
        <pc:spChg chg="add del mod ord">
          <ac:chgData name="Paul Browne" userId="454025d3-a6e9-4992-968a-01d28be10bb4" providerId="ADAL" clId="{5273E508-3799-45D4-BACC-D003C74AF6E9}" dt="2023-05-22T14:30:33.295" v="15" actId="700"/>
          <ac:spMkLst>
            <pc:docMk/>
            <pc:sldMk cId="633734048" sldId="2142535106"/>
            <ac:spMk id="2" creationId="{E11D5942-4FBF-45BA-82D5-7CF9EE798612}"/>
          </ac:spMkLst>
        </pc:spChg>
        <pc:spChg chg="add mod ord">
          <ac:chgData name="Paul Browne" userId="454025d3-a6e9-4992-968a-01d28be10bb4" providerId="ADAL" clId="{5273E508-3799-45D4-BACC-D003C74AF6E9}" dt="2023-05-22T14:30:33.295" v="15" actId="700"/>
          <ac:spMkLst>
            <pc:docMk/>
            <pc:sldMk cId="633734048" sldId="2142535106"/>
            <ac:spMk id="3" creationId="{EF4D8109-4B7D-4999-99C3-FBA4E9FE341B}"/>
          </ac:spMkLst>
        </pc:spChg>
        <pc:spChg chg="del mod">
          <ac:chgData name="Paul Browne" userId="454025d3-a6e9-4992-968a-01d28be10bb4" providerId="ADAL" clId="{5273E508-3799-45D4-BACC-D003C74AF6E9}" dt="2023-05-22T14:30:02.789" v="14" actId="700"/>
          <ac:spMkLst>
            <pc:docMk/>
            <pc:sldMk cId="633734048" sldId="2142535106"/>
            <ac:spMk id="6" creationId="{2B8F61B3-A3AF-4DA6-B25A-C9BA1D8DFDA1}"/>
          </ac:spMkLst>
        </pc:spChg>
        <pc:spChg chg="mod ord">
          <ac:chgData name="Paul Browne" userId="454025d3-a6e9-4992-968a-01d28be10bb4" providerId="ADAL" clId="{5273E508-3799-45D4-BACC-D003C74AF6E9}" dt="2023-05-22T14:30:33.295" v="15" actId="700"/>
          <ac:spMkLst>
            <pc:docMk/>
            <pc:sldMk cId="633734048" sldId="2142535106"/>
            <ac:spMk id="7" creationId="{805AB38D-5178-4216-A505-415C258E4962}"/>
          </ac:spMkLst>
        </pc:spChg>
        <pc:picChg chg="del">
          <ac:chgData name="Paul Browne" userId="454025d3-a6e9-4992-968a-01d28be10bb4" providerId="ADAL" clId="{5273E508-3799-45D4-BACC-D003C74AF6E9}" dt="2023-05-22T14:29:53.019" v="13" actId="478"/>
          <ac:picMkLst>
            <pc:docMk/>
            <pc:sldMk cId="633734048" sldId="2142535106"/>
            <ac:picMk id="8196" creationId="{2B535D17-5DC9-82F6-0157-EBBCC54B330B}"/>
          </ac:picMkLst>
        </pc:picChg>
      </pc:sldChg>
    </pc:docChg>
  </pc:docChgLst>
  <pc:docChgLst>
    <pc:chgData name="Plunkett Kelly" userId="S::plunkett.kelly@uk.ey.com::cdb012e4-69ac-4954-928c-e33ec36f5eba" providerId="AD" clId="Web-{7065590D-8299-C07B-7902-A60B42DBE559}"/>
    <pc:docChg chg="mod delSld modSection">
      <pc:chgData name="Plunkett Kelly" userId="S::plunkett.kelly@uk.ey.com::cdb012e4-69ac-4954-928c-e33ec36f5eba" providerId="AD" clId="Web-{7065590D-8299-C07B-7902-A60B42DBE559}" dt="2023-08-11T14:09:12.188" v="2"/>
      <pc:docMkLst>
        <pc:docMk/>
      </pc:docMkLst>
      <pc:sldChg chg="modCm">
        <pc:chgData name="Plunkett Kelly" userId="S::plunkett.kelly@uk.ey.com::cdb012e4-69ac-4954-928c-e33ec36f5eba" providerId="AD" clId="Web-{7065590D-8299-C07B-7902-A60B42DBE559}" dt="2023-08-11T14:08:38.562" v="1"/>
        <pc:sldMkLst>
          <pc:docMk/>
          <pc:sldMk cId="1412110567" sldId="2147479649"/>
        </pc:sldMkLst>
        <pc:extLst>
          <p:ext xmlns:p="http://schemas.openxmlformats.org/presentationml/2006/main" uri="{D6D511B9-2390-475A-947B-AFAB55BFBCF1}">
            <pc226:cmChg xmlns="" xmlns:pc226="http://schemas.microsoft.com/office/powerpoint/2022/06/main/command" chg="">
              <pc226:chgData name="Plunkett Kelly" userId="S::plunkett.kelly@uk.ey.com::cdb012e4-69ac-4954-928c-e33ec36f5eba" providerId="AD" clId="Web-{7065590D-8299-C07B-7902-A60B42DBE559}" dt="2023-08-11T14:08:38.562" v="1"/>
              <pc2:cmMkLst xmlns:pc2="http://schemas.microsoft.com/office/powerpoint/2019/9/main/command">
                <pc:docMk/>
                <pc:sldMk cId="1412110567" sldId="2147479649"/>
                <pc2:cmMk id="{A0A3A738-9BD2-49CA-94C5-7B6C0F35C7F2}"/>
              </pc2:cmMkLst>
              <pc226:cmRplyChg chg="add">
                <pc226:chgData name="Plunkett Kelly" userId="S::plunkett.kelly@uk.ey.com::cdb012e4-69ac-4954-928c-e33ec36f5eba" providerId="AD" clId="Web-{7065590D-8299-C07B-7902-A60B42DBE559}" dt="2023-08-11T14:08:38.562" v="1"/>
                <pc2:cmRplyMkLst xmlns:pc2="http://schemas.microsoft.com/office/powerpoint/2019/9/main/command">
                  <pc:docMk/>
                  <pc:sldMk cId="1412110567" sldId="2147479649"/>
                  <pc2:cmMk id="{A0A3A738-9BD2-49CA-94C5-7B6C0F35C7F2}"/>
                  <pc2:cmRplyMk id="{489EB93B-A7FA-4834-9315-69D8324A4466}"/>
                </pc2:cmRplyMkLst>
              </pc226:cmRplyChg>
            </pc226:cmChg>
          </p:ext>
        </pc:extLst>
      </pc:sldChg>
      <pc:sldChg chg="del">
        <pc:chgData name="Plunkett Kelly" userId="S::plunkett.kelly@uk.ey.com::cdb012e4-69ac-4954-928c-e33ec36f5eba" providerId="AD" clId="Web-{7065590D-8299-C07B-7902-A60B42DBE559}" dt="2023-08-11T14:09:12.188" v="2"/>
        <pc:sldMkLst>
          <pc:docMk/>
          <pc:sldMk cId="898990910" sldId="2147479652"/>
        </pc:sldMkLst>
      </pc:sldChg>
    </pc:docChg>
  </pc:docChgLst>
  <pc:docChgLst>
    <pc:chgData name="Immanuel J Daniel" userId="S::immanuel.johnston.daniel@ie.ey.com::b9141605-49ff-443e-8af4-0c21e2766a66" providerId="AD" clId="Web-{ACF1C459-D5F8-918E-F783-C83C29E35662}"/>
    <pc:docChg chg="delSld modSld sldOrd modSection">
      <pc:chgData name="Immanuel J Daniel" userId="S::immanuel.johnston.daniel@ie.ey.com::b9141605-49ff-443e-8af4-0c21e2766a66" providerId="AD" clId="Web-{ACF1C459-D5F8-918E-F783-C83C29E35662}" dt="2023-08-03T14:43:12.839" v="12"/>
      <pc:docMkLst>
        <pc:docMk/>
      </pc:docMkLst>
      <pc:sldChg chg="delSp ord">
        <pc:chgData name="Immanuel J Daniel" userId="S::immanuel.johnston.daniel@ie.ey.com::b9141605-49ff-443e-8af4-0c21e2766a66" providerId="AD" clId="Web-{ACF1C459-D5F8-918E-F783-C83C29E35662}" dt="2023-08-03T14:42:11.587" v="11"/>
        <pc:sldMkLst>
          <pc:docMk/>
          <pc:sldMk cId="1508220717" sldId="2147473085"/>
        </pc:sldMkLst>
        <pc:spChg chg="del">
          <ac:chgData name="Immanuel J Daniel" userId="S::immanuel.johnston.daniel@ie.ey.com::b9141605-49ff-443e-8af4-0c21e2766a66" providerId="AD" clId="Web-{ACF1C459-D5F8-918E-F783-C83C29E35662}" dt="2023-08-03T14:42:11.587" v="11"/>
          <ac:spMkLst>
            <pc:docMk/>
            <pc:sldMk cId="1508220717" sldId="2147473085"/>
            <ac:spMk id="83" creationId="{ECD65351-FA00-7CDE-7E92-BDFA62A984E3}"/>
          </ac:spMkLst>
        </pc:spChg>
      </pc:sldChg>
      <pc:sldChg chg="ord modCm">
        <pc:chgData name="Immanuel J Daniel" userId="S::immanuel.johnston.daniel@ie.ey.com::b9141605-49ff-443e-8af4-0c21e2766a66" providerId="AD" clId="Web-{ACF1C459-D5F8-918E-F783-C83C29E35662}" dt="2023-08-03T14:43:12.839" v="12"/>
        <pc:sldMkLst>
          <pc:docMk/>
          <pc:sldMk cId="3270732291" sldId="2147473086"/>
        </pc:sldMkLst>
      </pc:sldChg>
      <pc:sldChg chg="addCm">
        <pc:chgData name="Immanuel J Daniel" userId="S::immanuel.johnston.daniel@ie.ey.com::b9141605-49ff-443e-8af4-0c21e2766a66" providerId="AD" clId="Web-{ACF1C459-D5F8-918E-F783-C83C29E35662}" dt="2023-08-03T13:51:45.459" v="5"/>
        <pc:sldMkLst>
          <pc:docMk/>
          <pc:sldMk cId="1370127621" sldId="2147479552"/>
        </pc:sldMkLst>
      </pc:sldChg>
      <pc:sldChg chg="modSp">
        <pc:chgData name="Immanuel J Daniel" userId="S::immanuel.johnston.daniel@ie.ey.com::b9141605-49ff-443e-8af4-0c21e2766a66" providerId="AD" clId="Web-{ACF1C459-D5F8-918E-F783-C83C29E35662}" dt="2023-08-03T14:11:34.487" v="7" actId="20577"/>
        <pc:sldMkLst>
          <pc:docMk/>
          <pc:sldMk cId="3733227749" sldId="2147479650"/>
        </pc:sldMkLst>
        <pc:spChg chg="mod">
          <ac:chgData name="Immanuel J Daniel" userId="S::immanuel.johnston.daniel@ie.ey.com::b9141605-49ff-443e-8af4-0c21e2766a66" providerId="AD" clId="Web-{ACF1C459-D5F8-918E-F783-C83C29E35662}" dt="2023-08-03T14:11:34.487" v="7" actId="20577"/>
          <ac:spMkLst>
            <pc:docMk/>
            <pc:sldMk cId="3733227749" sldId="2147479650"/>
            <ac:spMk id="187" creationId="{5BA3EDD6-D559-C3EE-BE00-7D8F7F3222C3}"/>
          </ac:spMkLst>
        </pc:spChg>
      </pc:sldChg>
      <pc:sldChg chg="modCm">
        <pc:chgData name="Immanuel J Daniel" userId="S::immanuel.johnston.daniel@ie.ey.com::b9141605-49ff-443e-8af4-0c21e2766a66" providerId="AD" clId="Web-{ACF1C459-D5F8-918E-F783-C83C29E35662}" dt="2023-08-03T14:16:47.921" v="8"/>
        <pc:sldMkLst>
          <pc:docMk/>
          <pc:sldMk cId="1118370846" sldId="2147479653"/>
        </pc:sldMkLst>
      </pc:sldChg>
      <pc:sldChg chg="mod modShow">
        <pc:chgData name="Immanuel J Daniel" userId="S::immanuel.johnston.daniel@ie.ey.com::b9141605-49ff-443e-8af4-0c21e2766a66" providerId="AD" clId="Web-{ACF1C459-D5F8-918E-F783-C83C29E35662}" dt="2023-08-03T13:46:11.822" v="4"/>
        <pc:sldMkLst>
          <pc:docMk/>
          <pc:sldMk cId="3132739966" sldId="2147479658"/>
        </pc:sldMkLst>
      </pc:sldChg>
      <pc:sldChg chg="modSp">
        <pc:chgData name="Immanuel J Daniel" userId="S::immanuel.johnston.daniel@ie.ey.com::b9141605-49ff-443e-8af4-0c21e2766a66" providerId="AD" clId="Web-{ACF1C459-D5F8-918E-F783-C83C29E35662}" dt="2023-08-03T13:42:30.579" v="0" actId="20577"/>
        <pc:sldMkLst>
          <pc:docMk/>
          <pc:sldMk cId="532855713" sldId="2147479665"/>
        </pc:sldMkLst>
        <pc:spChg chg="mod">
          <ac:chgData name="Immanuel J Daniel" userId="S::immanuel.johnston.daniel@ie.ey.com::b9141605-49ff-443e-8af4-0c21e2766a66" providerId="AD" clId="Web-{ACF1C459-D5F8-918E-F783-C83C29E35662}" dt="2023-08-03T13:42:30.579" v="0" actId="20577"/>
          <ac:spMkLst>
            <pc:docMk/>
            <pc:sldMk cId="532855713" sldId="2147479665"/>
            <ac:spMk id="158" creationId="{3232C906-214F-4637-B5C2-4A40E4E67E99}"/>
          </ac:spMkLst>
        </pc:spChg>
      </pc:sldChg>
      <pc:sldChg chg="del">
        <pc:chgData name="Immanuel J Daniel" userId="S::immanuel.johnston.daniel@ie.ey.com::b9141605-49ff-443e-8af4-0c21e2766a66" providerId="AD" clId="Web-{ACF1C459-D5F8-918E-F783-C83C29E35662}" dt="2023-08-03T13:42:59.081" v="1"/>
        <pc:sldMkLst>
          <pc:docMk/>
          <pc:sldMk cId="2422494689" sldId="2147479667"/>
        </pc:sldMkLst>
      </pc:sldChg>
    </pc:docChg>
  </pc:docChgLst>
  <pc:docChgLst>
    <pc:chgData name="Jeffrey Obi" userId="S::jeffrey.obi@ie.ey.com::488f269d-1fa2-455e-bf95-7695136a100d" providerId="AD" clId="Web-{1FB9FC79-54A4-1E0C-5231-8864253FD4C6}"/>
    <pc:docChg chg="addSld delSld modSld addSection delSection modSection">
      <pc:chgData name="Jeffrey Obi" userId="S::jeffrey.obi@ie.ey.com::488f269d-1fa2-455e-bf95-7695136a100d" providerId="AD" clId="Web-{1FB9FC79-54A4-1E0C-5231-8864253FD4C6}" dt="2023-08-03T16:27:45.856" v="142"/>
      <pc:docMkLst>
        <pc:docMk/>
      </pc:docMkLst>
      <pc:sldChg chg="add del">
        <pc:chgData name="Jeffrey Obi" userId="S::jeffrey.obi@ie.ey.com::488f269d-1fa2-455e-bf95-7695136a100d" providerId="AD" clId="Web-{1FB9FC79-54A4-1E0C-5231-8864253FD4C6}" dt="2023-08-03T16:27:24.903" v="141"/>
        <pc:sldMkLst>
          <pc:docMk/>
          <pc:sldMk cId="954940349" sldId="2147479682"/>
        </pc:sldMkLst>
      </pc:sldChg>
      <pc:sldChg chg="addSp delSp modSp del">
        <pc:chgData name="Jeffrey Obi" userId="S::jeffrey.obi@ie.ey.com::488f269d-1fa2-455e-bf95-7695136a100d" providerId="AD" clId="Web-{1FB9FC79-54A4-1E0C-5231-8864253FD4C6}" dt="2023-08-03T16:27:45.856" v="142"/>
        <pc:sldMkLst>
          <pc:docMk/>
          <pc:sldMk cId="3988806097" sldId="2147479687"/>
        </pc:sldMkLst>
        <pc:spChg chg="mod">
          <ac:chgData name="Jeffrey Obi" userId="S::jeffrey.obi@ie.ey.com::488f269d-1fa2-455e-bf95-7695136a100d" providerId="AD" clId="Web-{1FB9FC79-54A4-1E0C-5231-8864253FD4C6}" dt="2023-08-03T16:20:34.842" v="110" actId="20577"/>
          <ac:spMkLst>
            <pc:docMk/>
            <pc:sldMk cId="3988806097" sldId="2147479687"/>
            <ac:spMk id="3" creationId="{D2FF72AF-9783-DFFC-9A7A-6D57999F6F0C}"/>
          </ac:spMkLst>
        </pc:spChg>
        <pc:spChg chg="mod">
          <ac:chgData name="Jeffrey Obi" userId="S::jeffrey.obi@ie.ey.com::488f269d-1fa2-455e-bf95-7695136a100d" providerId="AD" clId="Web-{1FB9FC79-54A4-1E0C-5231-8864253FD4C6}" dt="2023-08-03T16:20:34.858" v="111" actId="20577"/>
          <ac:spMkLst>
            <pc:docMk/>
            <pc:sldMk cId="3988806097" sldId="2147479687"/>
            <ac:spMk id="4" creationId="{4435D697-E63C-08C0-1CF2-D8D8315A44FC}"/>
          </ac:spMkLst>
        </pc:spChg>
        <pc:spChg chg="mod">
          <ac:chgData name="Jeffrey Obi" userId="S::jeffrey.obi@ie.ey.com::488f269d-1fa2-455e-bf95-7695136a100d" providerId="AD" clId="Web-{1FB9FC79-54A4-1E0C-5231-8864253FD4C6}" dt="2023-08-03T16:20:34.889" v="112" actId="20577"/>
          <ac:spMkLst>
            <pc:docMk/>
            <pc:sldMk cId="3988806097" sldId="2147479687"/>
            <ac:spMk id="5" creationId="{A87A36FE-07DE-B5E5-6FC6-D9D53DA13237}"/>
          </ac:spMkLst>
        </pc:spChg>
        <pc:spChg chg="mod">
          <ac:chgData name="Jeffrey Obi" userId="S::jeffrey.obi@ie.ey.com::488f269d-1fa2-455e-bf95-7695136a100d" providerId="AD" clId="Web-{1FB9FC79-54A4-1E0C-5231-8864253FD4C6}" dt="2023-08-03T16:20:34.921" v="113" actId="20577"/>
          <ac:spMkLst>
            <pc:docMk/>
            <pc:sldMk cId="3988806097" sldId="2147479687"/>
            <ac:spMk id="7" creationId="{61470C4C-350B-06C6-ED17-E7590629A30E}"/>
          </ac:spMkLst>
        </pc:spChg>
        <pc:spChg chg="mod">
          <ac:chgData name="Jeffrey Obi" userId="S::jeffrey.obi@ie.ey.com::488f269d-1fa2-455e-bf95-7695136a100d" providerId="AD" clId="Web-{1FB9FC79-54A4-1E0C-5231-8864253FD4C6}" dt="2023-08-03T16:20:34.936" v="114" actId="20577"/>
          <ac:spMkLst>
            <pc:docMk/>
            <pc:sldMk cId="3988806097" sldId="2147479687"/>
            <ac:spMk id="8" creationId="{578F019D-04B4-6D22-0B09-C02808C472FD}"/>
          </ac:spMkLst>
        </pc:spChg>
        <pc:spChg chg="mod">
          <ac:chgData name="Jeffrey Obi" userId="S::jeffrey.obi@ie.ey.com::488f269d-1fa2-455e-bf95-7695136a100d" providerId="AD" clId="Web-{1FB9FC79-54A4-1E0C-5231-8864253FD4C6}" dt="2023-08-03T16:20:34.952" v="115" actId="20577"/>
          <ac:spMkLst>
            <pc:docMk/>
            <pc:sldMk cId="3988806097" sldId="2147479687"/>
            <ac:spMk id="10" creationId="{803D2091-CA92-BD16-5508-60D0ECEB76E9}"/>
          </ac:spMkLst>
        </pc:spChg>
        <pc:spChg chg="mod">
          <ac:chgData name="Jeffrey Obi" userId="S::jeffrey.obi@ie.ey.com::488f269d-1fa2-455e-bf95-7695136a100d" providerId="AD" clId="Web-{1FB9FC79-54A4-1E0C-5231-8864253FD4C6}" dt="2023-08-03T16:20:34.983" v="116" actId="20577"/>
          <ac:spMkLst>
            <pc:docMk/>
            <pc:sldMk cId="3988806097" sldId="2147479687"/>
            <ac:spMk id="11" creationId="{E3A7EA1A-9049-50F6-5D86-F22B5914AAD4}"/>
          </ac:spMkLst>
        </pc:spChg>
        <pc:spChg chg="mod">
          <ac:chgData name="Jeffrey Obi" userId="S::jeffrey.obi@ie.ey.com::488f269d-1fa2-455e-bf95-7695136a100d" providerId="AD" clId="Web-{1FB9FC79-54A4-1E0C-5231-8864253FD4C6}" dt="2023-08-03T16:20:35.014" v="117" actId="20577"/>
          <ac:spMkLst>
            <pc:docMk/>
            <pc:sldMk cId="3988806097" sldId="2147479687"/>
            <ac:spMk id="14" creationId="{FC55A752-5269-0D2D-010D-B9D8F3A3D936}"/>
          </ac:spMkLst>
        </pc:spChg>
        <pc:spChg chg="mod">
          <ac:chgData name="Jeffrey Obi" userId="S::jeffrey.obi@ie.ey.com::488f269d-1fa2-455e-bf95-7695136a100d" providerId="AD" clId="Web-{1FB9FC79-54A4-1E0C-5231-8864253FD4C6}" dt="2023-08-03T16:20:35.046" v="118" actId="20577"/>
          <ac:spMkLst>
            <pc:docMk/>
            <pc:sldMk cId="3988806097" sldId="2147479687"/>
            <ac:spMk id="15" creationId="{70FEBA19-6592-E4E9-6A5B-9B2CED4AFF28}"/>
          </ac:spMkLst>
        </pc:spChg>
        <pc:spChg chg="mod">
          <ac:chgData name="Jeffrey Obi" userId="S::jeffrey.obi@ie.ey.com::488f269d-1fa2-455e-bf95-7695136a100d" providerId="AD" clId="Web-{1FB9FC79-54A4-1E0C-5231-8864253FD4C6}" dt="2023-08-03T16:20:35.077" v="119" actId="20577"/>
          <ac:spMkLst>
            <pc:docMk/>
            <pc:sldMk cId="3988806097" sldId="2147479687"/>
            <ac:spMk id="17" creationId="{5C291E92-BF7E-FF28-0AC8-F1CE7470716D}"/>
          </ac:spMkLst>
        </pc:spChg>
        <pc:spChg chg="mod">
          <ac:chgData name="Jeffrey Obi" userId="S::jeffrey.obi@ie.ey.com::488f269d-1fa2-455e-bf95-7695136a100d" providerId="AD" clId="Web-{1FB9FC79-54A4-1E0C-5231-8864253FD4C6}" dt="2023-08-03T16:20:35.092" v="120" actId="20577"/>
          <ac:spMkLst>
            <pc:docMk/>
            <pc:sldMk cId="3988806097" sldId="2147479687"/>
            <ac:spMk id="18" creationId="{B91DAE18-1548-66D8-92DB-719C770B5E62}"/>
          </ac:spMkLst>
        </pc:spChg>
        <pc:spChg chg="mod">
          <ac:chgData name="Jeffrey Obi" userId="S::jeffrey.obi@ie.ey.com::488f269d-1fa2-455e-bf95-7695136a100d" providerId="AD" clId="Web-{1FB9FC79-54A4-1E0C-5231-8864253FD4C6}" dt="2023-08-03T16:20:35.124" v="121" actId="20577"/>
          <ac:spMkLst>
            <pc:docMk/>
            <pc:sldMk cId="3988806097" sldId="2147479687"/>
            <ac:spMk id="22" creationId="{48D2E3F5-B07D-CAE1-35D4-13770C9175B4}"/>
          </ac:spMkLst>
        </pc:spChg>
        <pc:spChg chg="mod">
          <ac:chgData name="Jeffrey Obi" userId="S::jeffrey.obi@ie.ey.com::488f269d-1fa2-455e-bf95-7695136a100d" providerId="AD" clId="Web-{1FB9FC79-54A4-1E0C-5231-8864253FD4C6}" dt="2023-08-03T16:20:35.139" v="122" actId="20577"/>
          <ac:spMkLst>
            <pc:docMk/>
            <pc:sldMk cId="3988806097" sldId="2147479687"/>
            <ac:spMk id="23" creationId="{7B5682E4-383A-0645-2501-9E0B55CCBCF7}"/>
          </ac:spMkLst>
        </pc:spChg>
        <pc:spChg chg="mod">
          <ac:chgData name="Jeffrey Obi" userId="S::jeffrey.obi@ie.ey.com::488f269d-1fa2-455e-bf95-7695136a100d" providerId="AD" clId="Web-{1FB9FC79-54A4-1E0C-5231-8864253FD4C6}" dt="2023-08-03T16:20:35.171" v="123" actId="20577"/>
          <ac:spMkLst>
            <pc:docMk/>
            <pc:sldMk cId="3988806097" sldId="2147479687"/>
            <ac:spMk id="26" creationId="{CD2E8E15-765F-827A-520D-48CA04F33D04}"/>
          </ac:spMkLst>
        </pc:spChg>
        <pc:spChg chg="mod">
          <ac:chgData name="Jeffrey Obi" userId="S::jeffrey.obi@ie.ey.com::488f269d-1fa2-455e-bf95-7695136a100d" providerId="AD" clId="Web-{1FB9FC79-54A4-1E0C-5231-8864253FD4C6}" dt="2023-08-03T16:20:35.202" v="124" actId="20577"/>
          <ac:spMkLst>
            <pc:docMk/>
            <pc:sldMk cId="3988806097" sldId="2147479687"/>
            <ac:spMk id="27" creationId="{DADD8F11-4570-DDA9-9ADE-2DAC24BA16DA}"/>
          </ac:spMkLst>
        </pc:spChg>
        <pc:spChg chg="mod">
          <ac:chgData name="Jeffrey Obi" userId="S::jeffrey.obi@ie.ey.com::488f269d-1fa2-455e-bf95-7695136a100d" providerId="AD" clId="Web-{1FB9FC79-54A4-1E0C-5231-8864253FD4C6}" dt="2023-08-03T16:20:35.233" v="125" actId="20577"/>
          <ac:spMkLst>
            <pc:docMk/>
            <pc:sldMk cId="3988806097" sldId="2147479687"/>
            <ac:spMk id="32" creationId="{7B590369-5F5C-E143-0456-CB64F95BB1BB}"/>
          </ac:spMkLst>
        </pc:spChg>
        <pc:spChg chg="mod">
          <ac:chgData name="Jeffrey Obi" userId="S::jeffrey.obi@ie.ey.com::488f269d-1fa2-455e-bf95-7695136a100d" providerId="AD" clId="Web-{1FB9FC79-54A4-1E0C-5231-8864253FD4C6}" dt="2023-08-03T16:20:30.686" v="95" actId="20577"/>
          <ac:spMkLst>
            <pc:docMk/>
            <pc:sldMk cId="3988806097" sldId="2147479687"/>
            <ac:spMk id="33" creationId="{5C1BC795-DDDD-5300-664D-A4B79E4C9707}"/>
          </ac:spMkLst>
        </pc:spChg>
        <pc:spChg chg="mod">
          <ac:chgData name="Jeffrey Obi" userId="S::jeffrey.obi@ie.ey.com::488f269d-1fa2-455e-bf95-7695136a100d" providerId="AD" clId="Web-{1FB9FC79-54A4-1E0C-5231-8864253FD4C6}" dt="2023-08-03T16:20:35.327" v="126" actId="20577"/>
          <ac:spMkLst>
            <pc:docMk/>
            <pc:sldMk cId="3988806097" sldId="2147479687"/>
            <ac:spMk id="37" creationId="{336FBFED-D5E0-D65D-DD9B-358C917B5603}"/>
          </ac:spMkLst>
        </pc:spChg>
        <pc:spChg chg="mod">
          <ac:chgData name="Jeffrey Obi" userId="S::jeffrey.obi@ie.ey.com::488f269d-1fa2-455e-bf95-7695136a100d" providerId="AD" clId="Web-{1FB9FC79-54A4-1E0C-5231-8864253FD4C6}" dt="2023-08-03T16:20:35.358" v="127" actId="20577"/>
          <ac:spMkLst>
            <pc:docMk/>
            <pc:sldMk cId="3988806097" sldId="2147479687"/>
            <ac:spMk id="38" creationId="{562226F6-490E-94FE-210B-260B2DBA982C}"/>
          </ac:spMkLst>
        </pc:spChg>
        <pc:spChg chg="mod">
          <ac:chgData name="Jeffrey Obi" userId="S::jeffrey.obi@ie.ey.com::488f269d-1fa2-455e-bf95-7695136a100d" providerId="AD" clId="Web-{1FB9FC79-54A4-1E0C-5231-8864253FD4C6}" dt="2023-08-03T16:20:35.389" v="128" actId="20577"/>
          <ac:spMkLst>
            <pc:docMk/>
            <pc:sldMk cId="3988806097" sldId="2147479687"/>
            <ac:spMk id="42" creationId="{446B1DCA-7F71-A45E-E1A7-15049C8A8EF8}"/>
          </ac:spMkLst>
        </pc:spChg>
        <pc:spChg chg="mod">
          <ac:chgData name="Jeffrey Obi" userId="S::jeffrey.obi@ie.ey.com::488f269d-1fa2-455e-bf95-7695136a100d" providerId="AD" clId="Web-{1FB9FC79-54A4-1E0C-5231-8864253FD4C6}" dt="2023-08-03T16:20:30.811" v="99" actId="20577"/>
          <ac:spMkLst>
            <pc:docMk/>
            <pc:sldMk cId="3988806097" sldId="2147479687"/>
            <ac:spMk id="43" creationId="{54251119-A919-DB42-8EEB-3BA69EB35C18}"/>
          </ac:spMkLst>
        </pc:spChg>
        <pc:spChg chg="mod">
          <ac:chgData name="Jeffrey Obi" userId="S::jeffrey.obi@ie.ey.com::488f269d-1fa2-455e-bf95-7695136a100d" providerId="AD" clId="Web-{1FB9FC79-54A4-1E0C-5231-8864253FD4C6}" dt="2023-08-03T16:20:35.499" v="129" actId="20577"/>
          <ac:spMkLst>
            <pc:docMk/>
            <pc:sldMk cId="3988806097" sldId="2147479687"/>
            <ac:spMk id="47" creationId="{848EB147-E914-126D-AD41-E06B5A3D891F}"/>
          </ac:spMkLst>
        </pc:spChg>
        <pc:spChg chg="mod">
          <ac:chgData name="Jeffrey Obi" userId="S::jeffrey.obi@ie.ey.com::488f269d-1fa2-455e-bf95-7695136a100d" providerId="AD" clId="Web-{1FB9FC79-54A4-1E0C-5231-8864253FD4C6}" dt="2023-08-03T16:20:35.530" v="130" actId="20577"/>
          <ac:spMkLst>
            <pc:docMk/>
            <pc:sldMk cId="3988806097" sldId="2147479687"/>
            <ac:spMk id="48" creationId="{6BB23C40-1B74-308A-667A-AC00D6FA85B9}"/>
          </ac:spMkLst>
        </pc:spChg>
        <pc:spChg chg="mod">
          <ac:chgData name="Jeffrey Obi" userId="S::jeffrey.obi@ie.ey.com::488f269d-1fa2-455e-bf95-7695136a100d" providerId="AD" clId="Web-{1FB9FC79-54A4-1E0C-5231-8864253FD4C6}" dt="2023-08-03T16:20:35.561" v="131" actId="20577"/>
          <ac:spMkLst>
            <pc:docMk/>
            <pc:sldMk cId="3988806097" sldId="2147479687"/>
            <ac:spMk id="52" creationId="{C53B99EB-C952-6FB9-4E80-2DDAA319A8EB}"/>
          </ac:spMkLst>
        </pc:spChg>
        <pc:spChg chg="mod">
          <ac:chgData name="Jeffrey Obi" userId="S::jeffrey.obi@ie.ey.com::488f269d-1fa2-455e-bf95-7695136a100d" providerId="AD" clId="Web-{1FB9FC79-54A4-1E0C-5231-8864253FD4C6}" dt="2023-08-03T16:20:30.952" v="103" actId="20577"/>
          <ac:spMkLst>
            <pc:docMk/>
            <pc:sldMk cId="3988806097" sldId="2147479687"/>
            <ac:spMk id="53" creationId="{F98E6C95-19BE-DCBB-4100-77AE0760AD23}"/>
          </ac:spMkLst>
        </pc:spChg>
        <pc:spChg chg="add mod">
          <ac:chgData name="Jeffrey Obi" userId="S::jeffrey.obi@ie.ey.com::488f269d-1fa2-455e-bf95-7695136a100d" providerId="AD" clId="Web-{1FB9FC79-54A4-1E0C-5231-8864253FD4C6}" dt="2023-08-03T16:20:35.655" v="132" actId="20577"/>
          <ac:spMkLst>
            <pc:docMk/>
            <pc:sldMk cId="3988806097" sldId="2147479687"/>
            <ac:spMk id="56" creationId="{031D775F-0917-4850-E376-C80EBAC3DE16}"/>
          </ac:spMkLst>
        </pc:spChg>
        <pc:spChg chg="add mod">
          <ac:chgData name="Jeffrey Obi" userId="S::jeffrey.obi@ie.ey.com::488f269d-1fa2-455e-bf95-7695136a100d" providerId="AD" clId="Web-{1FB9FC79-54A4-1E0C-5231-8864253FD4C6}" dt="2023-08-03T16:20:30.999" v="105" actId="20577"/>
          <ac:spMkLst>
            <pc:docMk/>
            <pc:sldMk cId="3988806097" sldId="2147479687"/>
            <ac:spMk id="58" creationId="{4A0DB7C0-47B9-FD65-4B6D-7E5B083BA57D}"/>
          </ac:spMkLst>
        </pc:spChg>
        <pc:spChg chg="add mod">
          <ac:chgData name="Jeffrey Obi" userId="S::jeffrey.obi@ie.ey.com::488f269d-1fa2-455e-bf95-7695136a100d" providerId="AD" clId="Web-{1FB9FC79-54A4-1E0C-5231-8864253FD4C6}" dt="2023-08-03T16:20:31.014" v="106" actId="20577"/>
          <ac:spMkLst>
            <pc:docMk/>
            <pc:sldMk cId="3988806097" sldId="2147479687"/>
            <ac:spMk id="59" creationId="{D1C142DC-9B83-3B31-AEFA-B42A6B633579}"/>
          </ac:spMkLst>
        </pc:spChg>
        <pc:spChg chg="add del mod">
          <ac:chgData name="Jeffrey Obi" userId="S::jeffrey.obi@ie.ey.com::488f269d-1fa2-455e-bf95-7695136a100d" providerId="AD" clId="Web-{1FB9FC79-54A4-1E0C-5231-8864253FD4C6}" dt="2023-08-03T16:18:49.448" v="73"/>
          <ac:spMkLst>
            <pc:docMk/>
            <pc:sldMk cId="3988806097" sldId="2147479687"/>
            <ac:spMk id="60" creationId="{3B8FF92D-144D-BB3B-F438-AC7E97D23BB8}"/>
          </ac:spMkLst>
        </pc:spChg>
        <pc:spChg chg="add mod">
          <ac:chgData name="Jeffrey Obi" userId="S::jeffrey.obi@ie.ey.com::488f269d-1fa2-455e-bf95-7695136a100d" providerId="AD" clId="Web-{1FB9FC79-54A4-1E0C-5231-8864253FD4C6}" dt="2023-08-03T16:20:31.030" v="107" actId="20577"/>
          <ac:spMkLst>
            <pc:docMk/>
            <pc:sldMk cId="3988806097" sldId="2147479687"/>
            <ac:spMk id="61" creationId="{BA5721B5-0BD9-E114-9F36-A63711A678B1}"/>
          </ac:spMkLst>
        </pc:spChg>
        <pc:spChg chg="add mod">
          <ac:chgData name="Jeffrey Obi" userId="S::jeffrey.obi@ie.ey.com::488f269d-1fa2-455e-bf95-7695136a100d" providerId="AD" clId="Web-{1FB9FC79-54A4-1E0C-5231-8864253FD4C6}" dt="2023-08-03T16:20:31.061" v="108" actId="20577"/>
          <ac:spMkLst>
            <pc:docMk/>
            <pc:sldMk cId="3988806097" sldId="2147479687"/>
            <ac:spMk id="62" creationId="{66A81D5A-66CD-808A-6A03-B91012566325}"/>
          </ac:spMkLst>
        </pc:spChg>
        <pc:spChg chg="add mod">
          <ac:chgData name="Jeffrey Obi" userId="S::jeffrey.obi@ie.ey.com::488f269d-1fa2-455e-bf95-7695136a100d" providerId="AD" clId="Web-{1FB9FC79-54A4-1E0C-5231-8864253FD4C6}" dt="2023-08-03T16:23:18.207" v="133" actId="1076"/>
          <ac:spMkLst>
            <pc:docMk/>
            <pc:sldMk cId="3988806097" sldId="2147479687"/>
            <ac:spMk id="63" creationId="{8DD6790E-6D10-38D0-29D7-F738AB636AE5}"/>
          </ac:spMkLst>
        </pc:spChg>
      </pc:sldChg>
      <pc:sldChg chg="add replId">
        <pc:chgData name="Jeffrey Obi" userId="S::jeffrey.obi@ie.ey.com::488f269d-1fa2-455e-bf95-7695136a100d" providerId="AD" clId="Web-{1FB9FC79-54A4-1E0C-5231-8864253FD4C6}" dt="2023-08-03T16:27:20.356" v="140"/>
        <pc:sldMkLst>
          <pc:docMk/>
          <pc:sldMk cId="3501663959" sldId="2147479688"/>
        </pc:sldMkLst>
      </pc:sldChg>
    </pc:docChg>
  </pc:docChgLst>
  <pc:docChgLst>
    <pc:chgData name="Brian Bambrick" userId="4a0d11bd-e942-4df0-b3ad-ad9bac78bbb3" providerId="ADAL" clId="{AC3BC922-7468-4B33-A761-2B7046E5E3DB}"/>
    <pc:docChg chg="undo custSel addSld delSld modSld modMainMaster modSection">
      <pc:chgData name="Brian Bambrick" userId="4a0d11bd-e942-4df0-b3ad-ad9bac78bbb3" providerId="ADAL" clId="{AC3BC922-7468-4B33-A761-2B7046E5E3DB}" dt="2023-08-15T14:08:16.420" v="1080" actId="680"/>
      <pc:docMkLst>
        <pc:docMk/>
      </pc:docMkLst>
      <pc:sldChg chg="modSp mod addCm delCm">
        <pc:chgData name="Brian Bambrick" userId="4a0d11bd-e942-4df0-b3ad-ad9bac78bbb3" providerId="ADAL" clId="{AC3BC922-7468-4B33-A761-2B7046E5E3DB}" dt="2023-08-15T13:14:56.068" v="134" actId="20577"/>
        <pc:sldMkLst>
          <pc:docMk/>
          <pc:sldMk cId="2692628411" sldId="728"/>
        </pc:sldMkLst>
        <pc:spChg chg="mod">
          <ac:chgData name="Brian Bambrick" userId="4a0d11bd-e942-4df0-b3ad-ad9bac78bbb3" providerId="ADAL" clId="{AC3BC922-7468-4B33-A761-2B7046E5E3DB}" dt="2023-08-15T13:14:56.068" v="134" actId="20577"/>
          <ac:spMkLst>
            <pc:docMk/>
            <pc:sldMk cId="2692628411" sldId="728"/>
            <ac:spMk id="9" creationId="{00000000-0000-0000-0000-000000000000}"/>
          </ac:spMkLst>
        </pc:spChg>
      </pc:sldChg>
      <pc:sldChg chg="modSp mod">
        <pc:chgData name="Brian Bambrick" userId="4a0d11bd-e942-4df0-b3ad-ad9bac78bbb3" providerId="ADAL" clId="{AC3BC922-7468-4B33-A761-2B7046E5E3DB}" dt="2023-08-15T13:37:56.601" v="560" actId="1035"/>
        <pc:sldMkLst>
          <pc:docMk/>
          <pc:sldMk cId="3270732291" sldId="2147473086"/>
        </pc:sldMkLst>
        <pc:spChg chg="mod">
          <ac:chgData name="Brian Bambrick" userId="4a0d11bd-e942-4df0-b3ad-ad9bac78bbb3" providerId="ADAL" clId="{AC3BC922-7468-4B33-A761-2B7046E5E3DB}" dt="2023-08-15T13:35:14.697" v="398" actId="1036"/>
          <ac:spMkLst>
            <pc:docMk/>
            <pc:sldMk cId="3270732291" sldId="2147473086"/>
            <ac:spMk id="2" creationId="{EF4C74AF-47A0-5692-D96F-577ED61E0DB8}"/>
          </ac:spMkLst>
        </pc:spChg>
        <pc:spChg chg="mod">
          <ac:chgData name="Brian Bambrick" userId="4a0d11bd-e942-4df0-b3ad-ad9bac78bbb3" providerId="ADAL" clId="{AC3BC922-7468-4B33-A761-2B7046E5E3DB}" dt="2023-08-15T13:35:14.697" v="398" actId="1036"/>
          <ac:spMkLst>
            <pc:docMk/>
            <pc:sldMk cId="3270732291" sldId="2147473086"/>
            <ac:spMk id="3" creationId="{DC2F74A8-1A6C-5854-F4F1-1FAFAC98C003}"/>
          </ac:spMkLst>
        </pc:spChg>
        <pc:spChg chg="mod">
          <ac:chgData name="Brian Bambrick" userId="4a0d11bd-e942-4df0-b3ad-ad9bac78bbb3" providerId="ADAL" clId="{AC3BC922-7468-4B33-A761-2B7046E5E3DB}" dt="2023-08-15T13:35:14.697" v="398" actId="1036"/>
          <ac:spMkLst>
            <pc:docMk/>
            <pc:sldMk cId="3270732291" sldId="2147473086"/>
            <ac:spMk id="4" creationId="{DC56FC81-B49D-1995-6A56-B970E9FB6BA8}"/>
          </ac:spMkLst>
        </pc:spChg>
        <pc:spChg chg="mod">
          <ac:chgData name="Brian Bambrick" userId="4a0d11bd-e942-4df0-b3ad-ad9bac78bbb3" providerId="ADAL" clId="{AC3BC922-7468-4B33-A761-2B7046E5E3DB}" dt="2023-08-15T13:35:14.697" v="398" actId="1036"/>
          <ac:spMkLst>
            <pc:docMk/>
            <pc:sldMk cId="3270732291" sldId="2147473086"/>
            <ac:spMk id="6" creationId="{D6B3904C-298A-03C4-17A9-9F7CC2E8F5BA}"/>
          </ac:spMkLst>
        </pc:spChg>
        <pc:spChg chg="mod">
          <ac:chgData name="Brian Bambrick" userId="4a0d11bd-e942-4df0-b3ad-ad9bac78bbb3" providerId="ADAL" clId="{AC3BC922-7468-4B33-A761-2B7046E5E3DB}" dt="2023-08-15T13:36:21.212" v="438" actId="1038"/>
          <ac:spMkLst>
            <pc:docMk/>
            <pc:sldMk cId="3270732291" sldId="2147473086"/>
            <ac:spMk id="22" creationId="{4C2AC5F6-CF95-1618-7D88-46523137B4BA}"/>
          </ac:spMkLst>
        </pc:spChg>
        <pc:spChg chg="mod">
          <ac:chgData name="Brian Bambrick" userId="4a0d11bd-e942-4df0-b3ad-ad9bac78bbb3" providerId="ADAL" clId="{AC3BC922-7468-4B33-A761-2B7046E5E3DB}" dt="2023-08-15T13:37:30.354" v="523" actId="1036"/>
          <ac:spMkLst>
            <pc:docMk/>
            <pc:sldMk cId="3270732291" sldId="2147473086"/>
            <ac:spMk id="25" creationId="{0B1B1B95-F9CB-7D63-1A68-246D665B11C4}"/>
          </ac:spMkLst>
        </pc:spChg>
        <pc:spChg chg="mod">
          <ac:chgData name="Brian Bambrick" userId="4a0d11bd-e942-4df0-b3ad-ad9bac78bbb3" providerId="ADAL" clId="{AC3BC922-7468-4B33-A761-2B7046E5E3DB}" dt="2023-08-15T13:36:55.757" v="496" actId="1036"/>
          <ac:spMkLst>
            <pc:docMk/>
            <pc:sldMk cId="3270732291" sldId="2147473086"/>
            <ac:spMk id="84" creationId="{3AA80988-7035-7D9B-E455-D932FFBD19E2}"/>
          </ac:spMkLst>
        </pc:spChg>
        <pc:spChg chg="mod">
          <ac:chgData name="Brian Bambrick" userId="4a0d11bd-e942-4df0-b3ad-ad9bac78bbb3" providerId="ADAL" clId="{AC3BC922-7468-4B33-A761-2B7046E5E3DB}" dt="2023-08-15T13:35:58.225" v="408" actId="1035"/>
          <ac:spMkLst>
            <pc:docMk/>
            <pc:sldMk cId="3270732291" sldId="2147473086"/>
            <ac:spMk id="85" creationId="{2782282D-A7E6-F0C8-3181-F5865C64F47E}"/>
          </ac:spMkLst>
        </pc:spChg>
        <pc:spChg chg="mod">
          <ac:chgData name="Brian Bambrick" userId="4a0d11bd-e942-4df0-b3ad-ad9bac78bbb3" providerId="ADAL" clId="{AC3BC922-7468-4B33-A761-2B7046E5E3DB}" dt="2023-08-15T13:36:38.995" v="455" actId="1035"/>
          <ac:spMkLst>
            <pc:docMk/>
            <pc:sldMk cId="3270732291" sldId="2147473086"/>
            <ac:spMk id="86" creationId="{A846DC34-89F2-7D0D-B0CC-52BEE862B45B}"/>
          </ac:spMkLst>
        </pc:spChg>
        <pc:spChg chg="mod">
          <ac:chgData name="Brian Bambrick" userId="4a0d11bd-e942-4df0-b3ad-ad9bac78bbb3" providerId="ADAL" clId="{AC3BC922-7468-4B33-A761-2B7046E5E3DB}" dt="2023-08-15T13:35:31.841" v="399" actId="14100"/>
          <ac:spMkLst>
            <pc:docMk/>
            <pc:sldMk cId="3270732291" sldId="2147473086"/>
            <ac:spMk id="87" creationId="{18D81DCF-CEC6-90F5-3FF9-29D3A0AD63D6}"/>
          </ac:spMkLst>
        </pc:spChg>
        <pc:spChg chg="mod">
          <ac:chgData name="Brian Bambrick" userId="4a0d11bd-e942-4df0-b3ad-ad9bac78bbb3" providerId="ADAL" clId="{AC3BC922-7468-4B33-A761-2B7046E5E3DB}" dt="2023-08-15T13:37:27.236" v="511" actId="1035"/>
          <ac:spMkLst>
            <pc:docMk/>
            <pc:sldMk cId="3270732291" sldId="2147473086"/>
            <ac:spMk id="88" creationId="{5A069DB5-F07D-54B5-FD0C-097FA0C8EFBE}"/>
          </ac:spMkLst>
        </pc:spChg>
        <pc:spChg chg="mod">
          <ac:chgData name="Brian Bambrick" userId="4a0d11bd-e942-4df0-b3ad-ad9bac78bbb3" providerId="ADAL" clId="{AC3BC922-7468-4B33-A761-2B7046E5E3DB}" dt="2023-08-15T13:35:52.543" v="403" actId="1036"/>
          <ac:spMkLst>
            <pc:docMk/>
            <pc:sldMk cId="3270732291" sldId="2147473086"/>
            <ac:spMk id="90" creationId="{2E18EDA6-2361-B88F-62AE-F5A630B9F6C0}"/>
          </ac:spMkLst>
        </pc:spChg>
        <pc:spChg chg="mod">
          <ac:chgData name="Brian Bambrick" userId="4a0d11bd-e942-4df0-b3ad-ad9bac78bbb3" providerId="ADAL" clId="{AC3BC922-7468-4B33-A761-2B7046E5E3DB}" dt="2023-08-15T13:36:43.789" v="468" actId="1037"/>
          <ac:spMkLst>
            <pc:docMk/>
            <pc:sldMk cId="3270732291" sldId="2147473086"/>
            <ac:spMk id="93" creationId="{15020061-B5B6-8EE7-D7EF-DD6DB07B8D17}"/>
          </ac:spMkLst>
        </pc:spChg>
        <pc:spChg chg="mod">
          <ac:chgData name="Brian Bambrick" userId="4a0d11bd-e942-4df0-b3ad-ad9bac78bbb3" providerId="ADAL" clId="{AC3BC922-7468-4B33-A761-2B7046E5E3DB}" dt="2023-08-15T13:36:48.951" v="483" actId="1037"/>
          <ac:spMkLst>
            <pc:docMk/>
            <pc:sldMk cId="3270732291" sldId="2147473086"/>
            <ac:spMk id="94" creationId="{51504E8A-EE17-7913-62B9-8C1B70C3F189}"/>
          </ac:spMkLst>
        </pc:spChg>
        <pc:spChg chg="mod">
          <ac:chgData name="Brian Bambrick" userId="4a0d11bd-e942-4df0-b3ad-ad9bac78bbb3" providerId="ADAL" clId="{AC3BC922-7468-4B33-A761-2B7046E5E3DB}" dt="2023-08-15T13:37:43.796" v="539" actId="1035"/>
          <ac:spMkLst>
            <pc:docMk/>
            <pc:sldMk cId="3270732291" sldId="2147473086"/>
            <ac:spMk id="95" creationId="{19037155-574F-6C9E-E167-D3152639D5B1}"/>
          </ac:spMkLst>
        </pc:spChg>
        <pc:spChg chg="mod">
          <ac:chgData name="Brian Bambrick" userId="4a0d11bd-e942-4df0-b3ad-ad9bac78bbb3" providerId="ADAL" clId="{AC3BC922-7468-4B33-A761-2B7046E5E3DB}" dt="2023-08-15T13:37:49.849" v="554" actId="1035"/>
          <ac:spMkLst>
            <pc:docMk/>
            <pc:sldMk cId="3270732291" sldId="2147473086"/>
            <ac:spMk id="96" creationId="{AC490D6B-5A61-09BE-BDE1-ACC718BEE4B0}"/>
          </ac:spMkLst>
        </pc:spChg>
        <pc:spChg chg="mod">
          <ac:chgData name="Brian Bambrick" userId="4a0d11bd-e942-4df0-b3ad-ad9bac78bbb3" providerId="ADAL" clId="{AC3BC922-7468-4B33-A761-2B7046E5E3DB}" dt="2023-08-15T13:37:56.601" v="560" actId="1035"/>
          <ac:spMkLst>
            <pc:docMk/>
            <pc:sldMk cId="3270732291" sldId="2147473086"/>
            <ac:spMk id="98" creationId="{372B0A1A-952B-7666-89D3-5995DDF04D9F}"/>
          </ac:spMkLst>
        </pc:spChg>
        <pc:picChg chg="mod">
          <ac:chgData name="Brian Bambrick" userId="4a0d11bd-e942-4df0-b3ad-ad9bac78bbb3" providerId="ADAL" clId="{AC3BC922-7468-4B33-A761-2B7046E5E3DB}" dt="2023-08-15T13:36:15.044" v="431" actId="1038"/>
          <ac:picMkLst>
            <pc:docMk/>
            <pc:sldMk cId="3270732291" sldId="2147473086"/>
            <ac:picMk id="104" creationId="{027C4C63-F342-7D6E-BC02-1ABF36A7B180}"/>
          </ac:picMkLst>
        </pc:picChg>
      </pc:sldChg>
      <pc:sldChg chg="modSp mod">
        <pc:chgData name="Brian Bambrick" userId="4a0d11bd-e942-4df0-b3ad-ad9bac78bbb3" providerId="ADAL" clId="{AC3BC922-7468-4B33-A761-2B7046E5E3DB}" dt="2023-08-15T13:49:05.384" v="944" actId="20577"/>
        <pc:sldMkLst>
          <pc:docMk/>
          <pc:sldMk cId="3168648727" sldId="2147479555"/>
        </pc:sldMkLst>
        <pc:spChg chg="mod">
          <ac:chgData name="Brian Bambrick" userId="4a0d11bd-e942-4df0-b3ad-ad9bac78bbb3" providerId="ADAL" clId="{AC3BC922-7468-4B33-A761-2B7046E5E3DB}" dt="2023-08-15T13:49:05.384" v="944" actId="20577"/>
          <ac:spMkLst>
            <pc:docMk/>
            <pc:sldMk cId="3168648727" sldId="2147479555"/>
            <ac:spMk id="1027" creationId="{0C3475B8-9541-BE05-AF3A-24F898D414EB}"/>
          </ac:spMkLst>
        </pc:spChg>
      </pc:sldChg>
      <pc:sldChg chg="modSp mod addCm modCm">
        <pc:chgData name="Brian Bambrick" userId="4a0d11bd-e942-4df0-b3ad-ad9bac78bbb3" providerId="ADAL" clId="{AC3BC922-7468-4B33-A761-2B7046E5E3DB}" dt="2023-08-15T13:47:38.847" v="938" actId="20577"/>
        <pc:sldMkLst>
          <pc:docMk/>
          <pc:sldMk cId="1584002695" sldId="2147479590"/>
        </pc:sldMkLst>
        <pc:spChg chg="mod">
          <ac:chgData name="Brian Bambrick" userId="4a0d11bd-e942-4df0-b3ad-ad9bac78bbb3" providerId="ADAL" clId="{AC3BC922-7468-4B33-A761-2B7046E5E3DB}" dt="2023-08-15T13:47:38.847" v="938" actId="20577"/>
          <ac:spMkLst>
            <pc:docMk/>
            <pc:sldMk cId="1584002695" sldId="2147479590"/>
            <ac:spMk id="3" creationId="{054356EA-79F4-3612-54CC-809CBFF37041}"/>
          </ac:spMkLst>
        </pc:spChg>
      </pc:sldChg>
      <pc:sldChg chg="addCm">
        <pc:chgData name="Brian Bambrick" userId="4a0d11bd-e942-4df0-b3ad-ad9bac78bbb3" providerId="ADAL" clId="{AC3BC922-7468-4B33-A761-2B7046E5E3DB}" dt="2023-08-15T13:54:56.331" v="987"/>
        <pc:sldMkLst>
          <pc:docMk/>
          <pc:sldMk cId="2395506064" sldId="2147479599"/>
        </pc:sldMkLst>
      </pc:sldChg>
      <pc:sldChg chg="modSp mod">
        <pc:chgData name="Brian Bambrick" userId="4a0d11bd-e942-4df0-b3ad-ad9bac78bbb3" providerId="ADAL" clId="{AC3BC922-7468-4B33-A761-2B7046E5E3DB}" dt="2023-08-15T13:53:30.244" v="986" actId="20577"/>
        <pc:sldMkLst>
          <pc:docMk/>
          <pc:sldMk cId="946023888" sldId="2147479621"/>
        </pc:sldMkLst>
        <pc:spChg chg="mod">
          <ac:chgData name="Brian Bambrick" userId="4a0d11bd-e942-4df0-b3ad-ad9bac78bbb3" providerId="ADAL" clId="{AC3BC922-7468-4B33-A761-2B7046E5E3DB}" dt="2023-08-15T13:53:30.244" v="986" actId="20577"/>
          <ac:spMkLst>
            <pc:docMk/>
            <pc:sldMk cId="946023888" sldId="2147479621"/>
            <ac:spMk id="13" creationId="{E748F713-E74C-59FC-9CFF-3BCC4E83C7CF}"/>
          </ac:spMkLst>
        </pc:spChg>
      </pc:sldChg>
      <pc:sldChg chg="modSp mod">
        <pc:chgData name="Brian Bambrick" userId="4a0d11bd-e942-4df0-b3ad-ad9bac78bbb3" providerId="ADAL" clId="{AC3BC922-7468-4B33-A761-2B7046E5E3DB}" dt="2023-08-15T13:56:09.634" v="992" actId="14100"/>
        <pc:sldMkLst>
          <pc:docMk/>
          <pc:sldMk cId="307834480" sldId="2147479629"/>
        </pc:sldMkLst>
        <pc:spChg chg="mod">
          <ac:chgData name="Brian Bambrick" userId="4a0d11bd-e942-4df0-b3ad-ad9bac78bbb3" providerId="ADAL" clId="{AC3BC922-7468-4B33-A761-2B7046E5E3DB}" dt="2023-08-15T13:55:56.841" v="991" actId="14100"/>
          <ac:spMkLst>
            <pc:docMk/>
            <pc:sldMk cId="307834480" sldId="2147479629"/>
            <ac:spMk id="14" creationId="{6728CBA2-9DBA-F75C-3B47-BB9A325A5629}"/>
          </ac:spMkLst>
        </pc:spChg>
        <pc:spChg chg="mod">
          <ac:chgData name="Brian Bambrick" userId="4a0d11bd-e942-4df0-b3ad-ad9bac78bbb3" providerId="ADAL" clId="{AC3BC922-7468-4B33-A761-2B7046E5E3DB}" dt="2023-08-15T13:56:09.634" v="992" actId="14100"/>
          <ac:spMkLst>
            <pc:docMk/>
            <pc:sldMk cId="307834480" sldId="2147479629"/>
            <ac:spMk id="24" creationId="{1DADEC07-A92F-89E1-B64D-56F1AF733946}"/>
          </ac:spMkLst>
        </pc:spChg>
        <pc:spChg chg="mod">
          <ac:chgData name="Brian Bambrick" userId="4a0d11bd-e942-4df0-b3ad-ad9bac78bbb3" providerId="ADAL" clId="{AC3BC922-7468-4B33-A761-2B7046E5E3DB}" dt="2023-08-15T13:55:50.281" v="989" actId="14100"/>
          <ac:spMkLst>
            <pc:docMk/>
            <pc:sldMk cId="307834480" sldId="2147479629"/>
            <ac:spMk id="25" creationId="{F849BF3F-444F-0370-4608-4ACEC90A3FBF}"/>
          </ac:spMkLst>
        </pc:spChg>
      </pc:sldChg>
      <pc:sldChg chg="modSp mod">
        <pc:chgData name="Brian Bambrick" userId="4a0d11bd-e942-4df0-b3ad-ad9bac78bbb3" providerId="ADAL" clId="{AC3BC922-7468-4B33-A761-2B7046E5E3DB}" dt="2023-08-15T13:50:15.666" v="950" actId="1076"/>
        <pc:sldMkLst>
          <pc:docMk/>
          <pc:sldMk cId="523484127" sldId="2147479637"/>
        </pc:sldMkLst>
        <pc:spChg chg="mod">
          <ac:chgData name="Brian Bambrick" userId="4a0d11bd-e942-4df0-b3ad-ad9bac78bbb3" providerId="ADAL" clId="{AC3BC922-7468-4B33-A761-2B7046E5E3DB}" dt="2023-08-15T13:50:15.666" v="950" actId="1076"/>
          <ac:spMkLst>
            <pc:docMk/>
            <pc:sldMk cId="523484127" sldId="2147479637"/>
            <ac:spMk id="10" creationId="{FBFA8DAE-1093-AD7D-A547-843DB0D98E19}"/>
          </ac:spMkLst>
        </pc:spChg>
        <pc:spChg chg="mod">
          <ac:chgData name="Brian Bambrick" userId="4a0d11bd-e942-4df0-b3ad-ad9bac78bbb3" providerId="ADAL" clId="{AC3BC922-7468-4B33-A761-2B7046E5E3DB}" dt="2023-08-15T13:50:03.443" v="948" actId="1076"/>
          <ac:spMkLst>
            <pc:docMk/>
            <pc:sldMk cId="523484127" sldId="2147479637"/>
            <ac:spMk id="11" creationId="{F9BCC7BA-47B8-A647-A0A4-C273A6DFC44B}"/>
          </ac:spMkLst>
        </pc:spChg>
        <pc:picChg chg="mod">
          <ac:chgData name="Brian Bambrick" userId="4a0d11bd-e942-4df0-b3ad-ad9bac78bbb3" providerId="ADAL" clId="{AC3BC922-7468-4B33-A761-2B7046E5E3DB}" dt="2023-08-15T13:49:55.771" v="946" actId="1076"/>
          <ac:picMkLst>
            <pc:docMk/>
            <pc:sldMk cId="523484127" sldId="2147479637"/>
            <ac:picMk id="12" creationId="{16E235E1-64E9-9248-8C4D-2F4274524D68}"/>
          </ac:picMkLst>
        </pc:picChg>
      </pc:sldChg>
      <pc:sldChg chg="addSp delSp modSp mod">
        <pc:chgData name="Brian Bambrick" userId="4a0d11bd-e942-4df0-b3ad-ad9bac78bbb3" providerId="ADAL" clId="{AC3BC922-7468-4B33-A761-2B7046E5E3DB}" dt="2023-08-15T14:03:46.414" v="1077" actId="1036"/>
        <pc:sldMkLst>
          <pc:docMk/>
          <pc:sldMk cId="3034964083" sldId="2147479684"/>
        </pc:sldMkLst>
        <pc:spChg chg="add mod">
          <ac:chgData name="Brian Bambrick" userId="4a0d11bd-e942-4df0-b3ad-ad9bac78bbb3" providerId="ADAL" clId="{AC3BC922-7468-4B33-A761-2B7046E5E3DB}" dt="2023-08-15T14:03:46.414" v="1077" actId="1036"/>
          <ac:spMkLst>
            <pc:docMk/>
            <pc:sldMk cId="3034964083" sldId="2147479684"/>
            <ac:spMk id="2" creationId="{DF9D52B6-DC85-7F02-9877-48F8654B91EF}"/>
          </ac:spMkLst>
        </pc:spChg>
        <pc:spChg chg="add mod">
          <ac:chgData name="Brian Bambrick" userId="4a0d11bd-e942-4df0-b3ad-ad9bac78bbb3" providerId="ADAL" clId="{AC3BC922-7468-4B33-A761-2B7046E5E3DB}" dt="2023-08-15T14:03:46.414" v="1077" actId="1036"/>
          <ac:spMkLst>
            <pc:docMk/>
            <pc:sldMk cId="3034964083" sldId="2147479684"/>
            <ac:spMk id="3" creationId="{37E6BD60-89F6-5432-B306-0689E6014231}"/>
          </ac:spMkLst>
        </pc:spChg>
        <pc:spChg chg="add mod">
          <ac:chgData name="Brian Bambrick" userId="4a0d11bd-e942-4df0-b3ad-ad9bac78bbb3" providerId="ADAL" clId="{AC3BC922-7468-4B33-A761-2B7046E5E3DB}" dt="2023-08-15T14:03:46.414" v="1077" actId="1036"/>
          <ac:spMkLst>
            <pc:docMk/>
            <pc:sldMk cId="3034964083" sldId="2147479684"/>
            <ac:spMk id="4" creationId="{8A9C4BC0-AF8D-D131-1559-E1462130719D}"/>
          </ac:spMkLst>
        </pc:spChg>
        <pc:spChg chg="add mod">
          <ac:chgData name="Brian Bambrick" userId="4a0d11bd-e942-4df0-b3ad-ad9bac78bbb3" providerId="ADAL" clId="{AC3BC922-7468-4B33-A761-2B7046E5E3DB}" dt="2023-08-15T14:03:46.414" v="1077" actId="1036"/>
          <ac:spMkLst>
            <pc:docMk/>
            <pc:sldMk cId="3034964083" sldId="2147479684"/>
            <ac:spMk id="6" creationId="{1723C0F9-E358-55D9-9E45-12EF8D101CC8}"/>
          </ac:spMkLst>
        </pc:spChg>
        <pc:spChg chg="add mod">
          <ac:chgData name="Brian Bambrick" userId="4a0d11bd-e942-4df0-b3ad-ad9bac78bbb3" providerId="ADAL" clId="{AC3BC922-7468-4B33-A761-2B7046E5E3DB}" dt="2023-08-15T14:03:46.414" v="1077" actId="1036"/>
          <ac:spMkLst>
            <pc:docMk/>
            <pc:sldMk cId="3034964083" sldId="2147479684"/>
            <ac:spMk id="7" creationId="{20764219-086A-C3F4-799C-F53E14497AF3}"/>
          </ac:spMkLst>
        </pc:spChg>
        <pc:spChg chg="mod">
          <ac:chgData name="Brian Bambrick" userId="4a0d11bd-e942-4df0-b3ad-ad9bac78bbb3" providerId="ADAL" clId="{AC3BC922-7468-4B33-A761-2B7046E5E3DB}" dt="2023-08-15T14:00:17.501" v="1031" actId="1076"/>
          <ac:spMkLst>
            <pc:docMk/>
            <pc:sldMk cId="3034964083" sldId="2147479684"/>
            <ac:spMk id="8" creationId="{7824D54C-15D2-467C-A016-166944D0781C}"/>
          </ac:spMkLst>
        </pc:spChg>
        <pc:spChg chg="add mod">
          <ac:chgData name="Brian Bambrick" userId="4a0d11bd-e942-4df0-b3ad-ad9bac78bbb3" providerId="ADAL" clId="{AC3BC922-7468-4B33-A761-2B7046E5E3DB}" dt="2023-08-15T14:03:46.414" v="1077" actId="1036"/>
          <ac:spMkLst>
            <pc:docMk/>
            <pc:sldMk cId="3034964083" sldId="2147479684"/>
            <ac:spMk id="9" creationId="{22082D9D-9145-CB86-5900-9E03CCDD9597}"/>
          </ac:spMkLst>
        </pc:spChg>
        <pc:spChg chg="add mod">
          <ac:chgData name="Brian Bambrick" userId="4a0d11bd-e942-4df0-b3ad-ad9bac78bbb3" providerId="ADAL" clId="{AC3BC922-7468-4B33-A761-2B7046E5E3DB}" dt="2023-08-15T13:59:59.017" v="1027"/>
          <ac:spMkLst>
            <pc:docMk/>
            <pc:sldMk cId="3034964083" sldId="2147479684"/>
            <ac:spMk id="10" creationId="{143897E2-8453-537F-C527-3CC6B8212C7E}"/>
          </ac:spMkLst>
        </pc:spChg>
        <pc:spChg chg="add mod">
          <ac:chgData name="Brian Bambrick" userId="4a0d11bd-e942-4df0-b3ad-ad9bac78bbb3" providerId="ADAL" clId="{AC3BC922-7468-4B33-A761-2B7046E5E3DB}" dt="2023-08-15T14:03:46.414" v="1077" actId="1036"/>
          <ac:spMkLst>
            <pc:docMk/>
            <pc:sldMk cId="3034964083" sldId="2147479684"/>
            <ac:spMk id="11" creationId="{AF1C5E65-B0B2-523A-990D-16D29F4C88A2}"/>
          </ac:spMkLst>
        </pc:spChg>
        <pc:spChg chg="add mod">
          <ac:chgData name="Brian Bambrick" userId="4a0d11bd-e942-4df0-b3ad-ad9bac78bbb3" providerId="ADAL" clId="{AC3BC922-7468-4B33-A761-2B7046E5E3DB}" dt="2023-08-15T14:03:46.414" v="1077" actId="1036"/>
          <ac:spMkLst>
            <pc:docMk/>
            <pc:sldMk cId="3034964083" sldId="2147479684"/>
            <ac:spMk id="12" creationId="{46D966A2-2F7C-5A41-383B-1784DCC45FBD}"/>
          </ac:spMkLst>
        </pc:spChg>
        <pc:spChg chg="add mod">
          <ac:chgData name="Brian Bambrick" userId="4a0d11bd-e942-4df0-b3ad-ad9bac78bbb3" providerId="ADAL" clId="{AC3BC922-7468-4B33-A761-2B7046E5E3DB}" dt="2023-08-15T14:03:46.414" v="1077" actId="1036"/>
          <ac:spMkLst>
            <pc:docMk/>
            <pc:sldMk cId="3034964083" sldId="2147479684"/>
            <ac:spMk id="13" creationId="{0808B88D-2C4C-73EA-2318-301C4B119183}"/>
          </ac:spMkLst>
        </pc:spChg>
        <pc:spChg chg="add mod">
          <ac:chgData name="Brian Bambrick" userId="4a0d11bd-e942-4df0-b3ad-ad9bac78bbb3" providerId="ADAL" clId="{AC3BC922-7468-4B33-A761-2B7046E5E3DB}" dt="2023-08-15T14:03:46.414" v="1077" actId="1036"/>
          <ac:spMkLst>
            <pc:docMk/>
            <pc:sldMk cId="3034964083" sldId="2147479684"/>
            <ac:spMk id="14" creationId="{DD58F3A5-8D38-19A3-FBAC-9B01A44B34DD}"/>
          </ac:spMkLst>
        </pc:spChg>
        <pc:spChg chg="add mod">
          <ac:chgData name="Brian Bambrick" userId="4a0d11bd-e942-4df0-b3ad-ad9bac78bbb3" providerId="ADAL" clId="{AC3BC922-7468-4B33-A761-2B7046E5E3DB}" dt="2023-08-15T14:03:46.414" v="1077" actId="1036"/>
          <ac:spMkLst>
            <pc:docMk/>
            <pc:sldMk cId="3034964083" sldId="2147479684"/>
            <ac:spMk id="15" creationId="{22CFEC05-F18F-617E-5BE7-8DD3131A28DC}"/>
          </ac:spMkLst>
        </pc:spChg>
        <pc:spChg chg="mod">
          <ac:chgData name="Brian Bambrick" userId="4a0d11bd-e942-4df0-b3ad-ad9bac78bbb3" providerId="ADAL" clId="{AC3BC922-7468-4B33-A761-2B7046E5E3DB}" dt="2023-08-15T13:59:59.017" v="1027"/>
          <ac:spMkLst>
            <pc:docMk/>
            <pc:sldMk cId="3034964083" sldId="2147479684"/>
            <ac:spMk id="17" creationId="{288A0B60-0BFF-5447-948E-F0F5A5D2BD38}"/>
          </ac:spMkLst>
        </pc:spChg>
        <pc:spChg chg="mod">
          <ac:chgData name="Brian Bambrick" userId="4a0d11bd-e942-4df0-b3ad-ad9bac78bbb3" providerId="ADAL" clId="{AC3BC922-7468-4B33-A761-2B7046E5E3DB}" dt="2023-08-15T13:59:59.017" v="1027"/>
          <ac:spMkLst>
            <pc:docMk/>
            <pc:sldMk cId="3034964083" sldId="2147479684"/>
            <ac:spMk id="18" creationId="{12600F56-6247-E5C2-6BD3-B46DD9B22ED6}"/>
          </ac:spMkLst>
        </pc:spChg>
        <pc:spChg chg="mod">
          <ac:chgData name="Brian Bambrick" userId="4a0d11bd-e942-4df0-b3ad-ad9bac78bbb3" providerId="ADAL" clId="{AC3BC922-7468-4B33-A761-2B7046E5E3DB}" dt="2023-08-15T13:59:59.017" v="1027"/>
          <ac:spMkLst>
            <pc:docMk/>
            <pc:sldMk cId="3034964083" sldId="2147479684"/>
            <ac:spMk id="19" creationId="{241C27EF-4D24-3341-A02C-0B250F884721}"/>
          </ac:spMkLst>
        </pc:spChg>
        <pc:spChg chg="mod">
          <ac:chgData name="Brian Bambrick" userId="4a0d11bd-e942-4df0-b3ad-ad9bac78bbb3" providerId="ADAL" clId="{AC3BC922-7468-4B33-A761-2B7046E5E3DB}" dt="2023-08-15T13:59:59.017" v="1027"/>
          <ac:spMkLst>
            <pc:docMk/>
            <pc:sldMk cId="3034964083" sldId="2147479684"/>
            <ac:spMk id="20" creationId="{9515D7F8-E171-1C40-50CF-6CBD4642C482}"/>
          </ac:spMkLst>
        </pc:spChg>
        <pc:spChg chg="mod">
          <ac:chgData name="Brian Bambrick" userId="4a0d11bd-e942-4df0-b3ad-ad9bac78bbb3" providerId="ADAL" clId="{AC3BC922-7468-4B33-A761-2B7046E5E3DB}" dt="2023-08-15T13:59:59.017" v="1027"/>
          <ac:spMkLst>
            <pc:docMk/>
            <pc:sldMk cId="3034964083" sldId="2147479684"/>
            <ac:spMk id="21" creationId="{63051517-BEF1-1A0A-D953-F453E28B5A9B}"/>
          </ac:spMkLst>
        </pc:spChg>
        <pc:spChg chg="mod">
          <ac:chgData name="Brian Bambrick" userId="4a0d11bd-e942-4df0-b3ad-ad9bac78bbb3" providerId="ADAL" clId="{AC3BC922-7468-4B33-A761-2B7046E5E3DB}" dt="2023-08-15T13:59:59.017" v="1027"/>
          <ac:spMkLst>
            <pc:docMk/>
            <pc:sldMk cId="3034964083" sldId="2147479684"/>
            <ac:spMk id="22" creationId="{06DD81EB-222D-E069-7BBB-97D9BCD2800F}"/>
          </ac:spMkLst>
        </pc:spChg>
        <pc:spChg chg="mod">
          <ac:chgData name="Brian Bambrick" userId="4a0d11bd-e942-4df0-b3ad-ad9bac78bbb3" providerId="ADAL" clId="{AC3BC922-7468-4B33-A761-2B7046E5E3DB}" dt="2023-08-15T13:59:59.017" v="1027"/>
          <ac:spMkLst>
            <pc:docMk/>
            <pc:sldMk cId="3034964083" sldId="2147479684"/>
            <ac:spMk id="23" creationId="{3840A01C-EF40-87C1-CA2A-122BB315ABA2}"/>
          </ac:spMkLst>
        </pc:spChg>
        <pc:spChg chg="mod">
          <ac:chgData name="Brian Bambrick" userId="4a0d11bd-e942-4df0-b3ad-ad9bac78bbb3" providerId="ADAL" clId="{AC3BC922-7468-4B33-A761-2B7046E5E3DB}" dt="2023-08-15T13:59:59.017" v="1027"/>
          <ac:spMkLst>
            <pc:docMk/>
            <pc:sldMk cId="3034964083" sldId="2147479684"/>
            <ac:spMk id="24" creationId="{273B3C01-F212-F680-098C-54B792EA1879}"/>
          </ac:spMkLst>
        </pc:spChg>
        <pc:spChg chg="mod">
          <ac:chgData name="Brian Bambrick" userId="4a0d11bd-e942-4df0-b3ad-ad9bac78bbb3" providerId="ADAL" clId="{AC3BC922-7468-4B33-A761-2B7046E5E3DB}" dt="2023-08-15T13:59:59.017" v="1027"/>
          <ac:spMkLst>
            <pc:docMk/>
            <pc:sldMk cId="3034964083" sldId="2147479684"/>
            <ac:spMk id="25" creationId="{4A2993A5-DDC1-8A48-C0CE-488C07F398A4}"/>
          </ac:spMkLst>
        </pc:spChg>
        <pc:spChg chg="mod">
          <ac:chgData name="Brian Bambrick" userId="4a0d11bd-e942-4df0-b3ad-ad9bac78bbb3" providerId="ADAL" clId="{AC3BC922-7468-4B33-A761-2B7046E5E3DB}" dt="2023-08-15T13:59:59.017" v="1027"/>
          <ac:spMkLst>
            <pc:docMk/>
            <pc:sldMk cId="3034964083" sldId="2147479684"/>
            <ac:spMk id="26" creationId="{2C0A210F-5A11-0ACA-384A-E832043B66D1}"/>
          </ac:spMkLst>
        </pc:spChg>
        <pc:spChg chg="del mod">
          <ac:chgData name="Brian Bambrick" userId="4a0d11bd-e942-4df0-b3ad-ad9bac78bbb3" providerId="ADAL" clId="{AC3BC922-7468-4B33-A761-2B7046E5E3DB}" dt="2023-08-15T14:00:26.631" v="1032" actId="478"/>
          <ac:spMkLst>
            <pc:docMk/>
            <pc:sldMk cId="3034964083" sldId="2147479684"/>
            <ac:spMk id="27" creationId="{93F79525-FA35-436C-97F9-2B7036ABF201}"/>
          </ac:spMkLst>
        </pc:spChg>
        <pc:spChg chg="mod">
          <ac:chgData name="Brian Bambrick" userId="4a0d11bd-e942-4df0-b3ad-ad9bac78bbb3" providerId="ADAL" clId="{AC3BC922-7468-4B33-A761-2B7046E5E3DB}" dt="2023-08-15T13:59:59.017" v="1027"/>
          <ac:spMkLst>
            <pc:docMk/>
            <pc:sldMk cId="3034964083" sldId="2147479684"/>
            <ac:spMk id="28" creationId="{B50E0E61-4DED-7FA9-8AFB-F9928100100D}"/>
          </ac:spMkLst>
        </pc:spChg>
        <pc:spChg chg="del mod">
          <ac:chgData name="Brian Bambrick" userId="4a0d11bd-e942-4df0-b3ad-ad9bac78bbb3" providerId="ADAL" clId="{AC3BC922-7468-4B33-A761-2B7046E5E3DB}" dt="2023-08-15T13:59:09.005" v="1018" actId="478"/>
          <ac:spMkLst>
            <pc:docMk/>
            <pc:sldMk cId="3034964083" sldId="2147479684"/>
            <ac:spMk id="29" creationId="{BB3B4067-6405-47D0-AA66-D894A60EC84C}"/>
          </ac:spMkLst>
        </pc:spChg>
        <pc:spChg chg="del mod">
          <ac:chgData name="Brian Bambrick" userId="4a0d11bd-e942-4df0-b3ad-ad9bac78bbb3" providerId="ADAL" clId="{AC3BC922-7468-4B33-A761-2B7046E5E3DB}" dt="2023-08-15T14:00:06.611" v="1028" actId="478"/>
          <ac:spMkLst>
            <pc:docMk/>
            <pc:sldMk cId="3034964083" sldId="2147479684"/>
            <ac:spMk id="30" creationId="{27DEE0E8-7497-484F-A42A-E057AC314262}"/>
          </ac:spMkLst>
        </pc:spChg>
        <pc:spChg chg="del mod">
          <ac:chgData name="Brian Bambrick" userId="4a0d11bd-e942-4df0-b3ad-ad9bac78bbb3" providerId="ADAL" clId="{AC3BC922-7468-4B33-A761-2B7046E5E3DB}" dt="2023-08-15T13:59:09.005" v="1018" actId="478"/>
          <ac:spMkLst>
            <pc:docMk/>
            <pc:sldMk cId="3034964083" sldId="2147479684"/>
            <ac:spMk id="31" creationId="{9411D9F3-7F66-4F20-B982-BFC963824790}"/>
          </ac:spMkLst>
        </pc:spChg>
        <pc:spChg chg="del mod">
          <ac:chgData name="Brian Bambrick" userId="4a0d11bd-e942-4df0-b3ad-ad9bac78bbb3" providerId="ADAL" clId="{AC3BC922-7468-4B33-A761-2B7046E5E3DB}" dt="2023-08-15T14:00:26.631" v="1032" actId="478"/>
          <ac:spMkLst>
            <pc:docMk/>
            <pc:sldMk cId="3034964083" sldId="2147479684"/>
            <ac:spMk id="32" creationId="{D2671382-C5DB-4226-9A50-A01792A9FA06}"/>
          </ac:spMkLst>
        </pc:spChg>
        <pc:spChg chg="del mod">
          <ac:chgData name="Brian Bambrick" userId="4a0d11bd-e942-4df0-b3ad-ad9bac78bbb3" providerId="ADAL" clId="{AC3BC922-7468-4B33-A761-2B7046E5E3DB}" dt="2023-08-15T13:59:09.005" v="1018" actId="478"/>
          <ac:spMkLst>
            <pc:docMk/>
            <pc:sldMk cId="3034964083" sldId="2147479684"/>
            <ac:spMk id="33" creationId="{999B776F-6EC9-4F29-B058-5503A5B54B90}"/>
          </ac:spMkLst>
        </pc:spChg>
        <pc:spChg chg="del mod">
          <ac:chgData name="Brian Bambrick" userId="4a0d11bd-e942-4df0-b3ad-ad9bac78bbb3" providerId="ADAL" clId="{AC3BC922-7468-4B33-A761-2B7046E5E3DB}" dt="2023-08-15T14:00:26.631" v="1032" actId="478"/>
          <ac:spMkLst>
            <pc:docMk/>
            <pc:sldMk cId="3034964083" sldId="2147479684"/>
            <ac:spMk id="34" creationId="{E7AE88EF-76A4-4FBC-A4C6-5A45FFD1E312}"/>
          </ac:spMkLst>
        </pc:spChg>
        <pc:spChg chg="del mod">
          <ac:chgData name="Brian Bambrick" userId="4a0d11bd-e942-4df0-b3ad-ad9bac78bbb3" providerId="ADAL" clId="{AC3BC922-7468-4B33-A761-2B7046E5E3DB}" dt="2023-08-15T13:59:09.005" v="1018" actId="478"/>
          <ac:spMkLst>
            <pc:docMk/>
            <pc:sldMk cId="3034964083" sldId="2147479684"/>
            <ac:spMk id="35" creationId="{45419B2E-DFA0-4A28-9518-524950E46B57}"/>
          </ac:spMkLst>
        </pc:spChg>
        <pc:spChg chg="del mod">
          <ac:chgData name="Brian Bambrick" userId="4a0d11bd-e942-4df0-b3ad-ad9bac78bbb3" providerId="ADAL" clId="{AC3BC922-7468-4B33-A761-2B7046E5E3DB}" dt="2023-08-15T14:00:26.631" v="1032" actId="478"/>
          <ac:spMkLst>
            <pc:docMk/>
            <pc:sldMk cId="3034964083" sldId="2147479684"/>
            <ac:spMk id="36" creationId="{4F22DAF6-704A-4BFF-BBB3-9DE506C148E1}"/>
          </ac:spMkLst>
        </pc:spChg>
        <pc:spChg chg="del mod">
          <ac:chgData name="Brian Bambrick" userId="4a0d11bd-e942-4df0-b3ad-ad9bac78bbb3" providerId="ADAL" clId="{AC3BC922-7468-4B33-A761-2B7046E5E3DB}" dt="2023-08-15T13:59:09.005" v="1018" actId="478"/>
          <ac:spMkLst>
            <pc:docMk/>
            <pc:sldMk cId="3034964083" sldId="2147479684"/>
            <ac:spMk id="37" creationId="{3B1A594E-A020-464C-9102-3AA63A8212A7}"/>
          </ac:spMkLst>
        </pc:spChg>
        <pc:spChg chg="del mod">
          <ac:chgData name="Brian Bambrick" userId="4a0d11bd-e942-4df0-b3ad-ad9bac78bbb3" providerId="ADAL" clId="{AC3BC922-7468-4B33-A761-2B7046E5E3DB}" dt="2023-08-15T14:00:26.631" v="1032" actId="478"/>
          <ac:spMkLst>
            <pc:docMk/>
            <pc:sldMk cId="3034964083" sldId="2147479684"/>
            <ac:spMk id="38" creationId="{0F3F3889-2D39-421A-9083-DA8DF3672AFA}"/>
          </ac:spMkLst>
        </pc:spChg>
        <pc:spChg chg="del mod">
          <ac:chgData name="Brian Bambrick" userId="4a0d11bd-e942-4df0-b3ad-ad9bac78bbb3" providerId="ADAL" clId="{AC3BC922-7468-4B33-A761-2B7046E5E3DB}" dt="2023-08-15T13:59:09.005" v="1018" actId="478"/>
          <ac:spMkLst>
            <pc:docMk/>
            <pc:sldMk cId="3034964083" sldId="2147479684"/>
            <ac:spMk id="39" creationId="{54C936DA-C4AC-4255-8308-4B44A8CDCFD1}"/>
          </ac:spMkLst>
        </pc:spChg>
        <pc:spChg chg="del mod">
          <ac:chgData name="Brian Bambrick" userId="4a0d11bd-e942-4df0-b3ad-ad9bac78bbb3" providerId="ADAL" clId="{AC3BC922-7468-4B33-A761-2B7046E5E3DB}" dt="2023-08-15T14:00:11.641" v="1029" actId="478"/>
          <ac:spMkLst>
            <pc:docMk/>
            <pc:sldMk cId="3034964083" sldId="2147479684"/>
            <ac:spMk id="128" creationId="{1717DE44-8782-47F3-8C2D-A687F1A3A2FC}"/>
          </ac:spMkLst>
        </pc:spChg>
        <pc:spChg chg="del mod">
          <ac:chgData name="Brian Bambrick" userId="4a0d11bd-e942-4df0-b3ad-ad9bac78bbb3" providerId="ADAL" clId="{AC3BC922-7468-4B33-A761-2B7046E5E3DB}" dt="2023-08-15T14:00:11.641" v="1029" actId="478"/>
          <ac:spMkLst>
            <pc:docMk/>
            <pc:sldMk cId="3034964083" sldId="2147479684"/>
            <ac:spMk id="129" creationId="{C4CC0DC6-C788-449F-A95F-ABC4B8DC62EB}"/>
          </ac:spMkLst>
        </pc:spChg>
        <pc:spChg chg="del mod">
          <ac:chgData name="Brian Bambrick" userId="4a0d11bd-e942-4df0-b3ad-ad9bac78bbb3" providerId="ADAL" clId="{AC3BC922-7468-4B33-A761-2B7046E5E3DB}" dt="2023-08-15T14:00:11.641" v="1029" actId="478"/>
          <ac:spMkLst>
            <pc:docMk/>
            <pc:sldMk cId="3034964083" sldId="2147479684"/>
            <ac:spMk id="130" creationId="{196DFE78-26FA-499C-BBE5-AD3ACF29E953}"/>
          </ac:spMkLst>
        </pc:spChg>
        <pc:spChg chg="del mod">
          <ac:chgData name="Brian Bambrick" userId="4a0d11bd-e942-4df0-b3ad-ad9bac78bbb3" providerId="ADAL" clId="{AC3BC922-7468-4B33-A761-2B7046E5E3DB}" dt="2023-08-15T14:00:11.641" v="1029" actId="478"/>
          <ac:spMkLst>
            <pc:docMk/>
            <pc:sldMk cId="3034964083" sldId="2147479684"/>
            <ac:spMk id="131" creationId="{287C6111-E000-4040-80B9-BE29F0ED74AE}"/>
          </ac:spMkLst>
        </pc:spChg>
        <pc:spChg chg="del mod">
          <ac:chgData name="Brian Bambrick" userId="4a0d11bd-e942-4df0-b3ad-ad9bac78bbb3" providerId="ADAL" clId="{AC3BC922-7468-4B33-A761-2B7046E5E3DB}" dt="2023-08-15T14:00:11.641" v="1029" actId="478"/>
          <ac:spMkLst>
            <pc:docMk/>
            <pc:sldMk cId="3034964083" sldId="2147479684"/>
            <ac:spMk id="132" creationId="{76C3354B-3FBE-4725-8D9A-642C028FBFF3}"/>
          </ac:spMkLst>
        </pc:spChg>
        <pc:spChg chg="mod">
          <ac:chgData name="Brian Bambrick" userId="4a0d11bd-e942-4df0-b3ad-ad9bac78bbb3" providerId="ADAL" clId="{AC3BC922-7468-4B33-A761-2B7046E5E3DB}" dt="2023-08-15T13:59:59.017" v="1027"/>
          <ac:spMkLst>
            <pc:docMk/>
            <pc:sldMk cId="3034964083" sldId="2147479684"/>
            <ac:spMk id="138" creationId="{80B0E46E-2EB3-9200-0237-60F51A7F012B}"/>
          </ac:spMkLst>
        </pc:spChg>
        <pc:spChg chg="mod">
          <ac:chgData name="Brian Bambrick" userId="4a0d11bd-e942-4df0-b3ad-ad9bac78bbb3" providerId="ADAL" clId="{AC3BC922-7468-4B33-A761-2B7046E5E3DB}" dt="2023-08-15T13:59:59.017" v="1027"/>
          <ac:spMkLst>
            <pc:docMk/>
            <pc:sldMk cId="3034964083" sldId="2147479684"/>
            <ac:spMk id="140" creationId="{073C26CE-B26C-4AAF-CC93-6D33FB11558A}"/>
          </ac:spMkLst>
        </pc:spChg>
        <pc:spChg chg="mod">
          <ac:chgData name="Brian Bambrick" userId="4a0d11bd-e942-4df0-b3ad-ad9bac78bbb3" providerId="ADAL" clId="{AC3BC922-7468-4B33-A761-2B7046E5E3DB}" dt="2023-08-15T13:59:59.017" v="1027"/>
          <ac:spMkLst>
            <pc:docMk/>
            <pc:sldMk cId="3034964083" sldId="2147479684"/>
            <ac:spMk id="141" creationId="{D912A5E7-A5AA-A22E-6B34-2A622100B1AA}"/>
          </ac:spMkLst>
        </pc:spChg>
        <pc:spChg chg="mod">
          <ac:chgData name="Brian Bambrick" userId="4a0d11bd-e942-4df0-b3ad-ad9bac78bbb3" providerId="ADAL" clId="{AC3BC922-7468-4B33-A761-2B7046E5E3DB}" dt="2023-08-15T13:59:59.017" v="1027"/>
          <ac:spMkLst>
            <pc:docMk/>
            <pc:sldMk cId="3034964083" sldId="2147479684"/>
            <ac:spMk id="142" creationId="{91681002-A543-87F6-E29F-39526FB1CED3}"/>
          </ac:spMkLst>
        </pc:spChg>
        <pc:spChg chg="mod">
          <ac:chgData name="Brian Bambrick" userId="4a0d11bd-e942-4df0-b3ad-ad9bac78bbb3" providerId="ADAL" clId="{AC3BC922-7468-4B33-A761-2B7046E5E3DB}" dt="2023-08-15T13:59:59.017" v="1027"/>
          <ac:spMkLst>
            <pc:docMk/>
            <pc:sldMk cId="3034964083" sldId="2147479684"/>
            <ac:spMk id="143" creationId="{35B464AF-2604-CBDE-37B1-A37F9A7B3943}"/>
          </ac:spMkLst>
        </pc:spChg>
        <pc:spChg chg="mod">
          <ac:chgData name="Brian Bambrick" userId="4a0d11bd-e942-4df0-b3ad-ad9bac78bbb3" providerId="ADAL" clId="{AC3BC922-7468-4B33-A761-2B7046E5E3DB}" dt="2023-08-15T13:59:59.017" v="1027"/>
          <ac:spMkLst>
            <pc:docMk/>
            <pc:sldMk cId="3034964083" sldId="2147479684"/>
            <ac:spMk id="144" creationId="{7C54DF14-0F6E-8412-2ADF-54C11E8E5F1B}"/>
          </ac:spMkLst>
        </pc:spChg>
        <pc:spChg chg="mod">
          <ac:chgData name="Brian Bambrick" userId="4a0d11bd-e942-4df0-b3ad-ad9bac78bbb3" providerId="ADAL" clId="{AC3BC922-7468-4B33-A761-2B7046E5E3DB}" dt="2023-08-15T13:59:59.017" v="1027"/>
          <ac:spMkLst>
            <pc:docMk/>
            <pc:sldMk cId="3034964083" sldId="2147479684"/>
            <ac:spMk id="145" creationId="{81F8E00D-E6D8-BDFD-9361-D0E7F8C6D873}"/>
          </ac:spMkLst>
        </pc:spChg>
        <pc:spChg chg="mod">
          <ac:chgData name="Brian Bambrick" userId="4a0d11bd-e942-4df0-b3ad-ad9bac78bbb3" providerId="ADAL" clId="{AC3BC922-7468-4B33-A761-2B7046E5E3DB}" dt="2023-08-15T13:59:59.017" v="1027"/>
          <ac:spMkLst>
            <pc:docMk/>
            <pc:sldMk cId="3034964083" sldId="2147479684"/>
            <ac:spMk id="146" creationId="{4073D089-9BFE-4035-D1BE-9EBEA134E2C8}"/>
          </ac:spMkLst>
        </pc:spChg>
        <pc:spChg chg="mod">
          <ac:chgData name="Brian Bambrick" userId="4a0d11bd-e942-4df0-b3ad-ad9bac78bbb3" providerId="ADAL" clId="{AC3BC922-7468-4B33-A761-2B7046E5E3DB}" dt="2023-08-15T13:59:59.017" v="1027"/>
          <ac:spMkLst>
            <pc:docMk/>
            <pc:sldMk cId="3034964083" sldId="2147479684"/>
            <ac:spMk id="147" creationId="{63E992CF-B361-99FE-EC4A-56F8151EFA2D}"/>
          </ac:spMkLst>
        </pc:spChg>
        <pc:spChg chg="mod">
          <ac:chgData name="Brian Bambrick" userId="4a0d11bd-e942-4df0-b3ad-ad9bac78bbb3" providerId="ADAL" clId="{AC3BC922-7468-4B33-A761-2B7046E5E3DB}" dt="2023-08-15T13:59:59.017" v="1027"/>
          <ac:spMkLst>
            <pc:docMk/>
            <pc:sldMk cId="3034964083" sldId="2147479684"/>
            <ac:spMk id="148" creationId="{7F0FA57E-EB1B-522B-1904-54BCB392DA37}"/>
          </ac:spMkLst>
        </pc:spChg>
        <pc:spChg chg="mod">
          <ac:chgData name="Brian Bambrick" userId="4a0d11bd-e942-4df0-b3ad-ad9bac78bbb3" providerId="ADAL" clId="{AC3BC922-7468-4B33-A761-2B7046E5E3DB}" dt="2023-08-15T13:59:59.017" v="1027"/>
          <ac:spMkLst>
            <pc:docMk/>
            <pc:sldMk cId="3034964083" sldId="2147479684"/>
            <ac:spMk id="149" creationId="{8346E38B-7171-2EEB-E5CB-0D34BAC7F955}"/>
          </ac:spMkLst>
        </pc:spChg>
        <pc:spChg chg="mod">
          <ac:chgData name="Brian Bambrick" userId="4a0d11bd-e942-4df0-b3ad-ad9bac78bbb3" providerId="ADAL" clId="{AC3BC922-7468-4B33-A761-2B7046E5E3DB}" dt="2023-08-15T13:59:59.017" v="1027"/>
          <ac:spMkLst>
            <pc:docMk/>
            <pc:sldMk cId="3034964083" sldId="2147479684"/>
            <ac:spMk id="150" creationId="{51711F03-62C9-2F58-D62D-E81E01BE90BD}"/>
          </ac:spMkLst>
        </pc:spChg>
        <pc:spChg chg="mod">
          <ac:chgData name="Brian Bambrick" userId="4a0d11bd-e942-4df0-b3ad-ad9bac78bbb3" providerId="ADAL" clId="{AC3BC922-7468-4B33-A761-2B7046E5E3DB}" dt="2023-08-15T13:59:59.017" v="1027"/>
          <ac:spMkLst>
            <pc:docMk/>
            <pc:sldMk cId="3034964083" sldId="2147479684"/>
            <ac:spMk id="152" creationId="{DC5EDBEA-4258-98E4-3914-EF2F1906EB3A}"/>
          </ac:spMkLst>
        </pc:spChg>
        <pc:spChg chg="mod">
          <ac:chgData name="Brian Bambrick" userId="4a0d11bd-e942-4df0-b3ad-ad9bac78bbb3" providerId="ADAL" clId="{AC3BC922-7468-4B33-A761-2B7046E5E3DB}" dt="2023-08-15T13:59:59.017" v="1027"/>
          <ac:spMkLst>
            <pc:docMk/>
            <pc:sldMk cId="3034964083" sldId="2147479684"/>
            <ac:spMk id="153" creationId="{AD316524-B40B-D7A8-9BA6-3882C4283C1E}"/>
          </ac:spMkLst>
        </pc:spChg>
        <pc:spChg chg="mod">
          <ac:chgData name="Brian Bambrick" userId="4a0d11bd-e942-4df0-b3ad-ad9bac78bbb3" providerId="ADAL" clId="{AC3BC922-7468-4B33-A761-2B7046E5E3DB}" dt="2023-08-15T13:59:59.017" v="1027"/>
          <ac:spMkLst>
            <pc:docMk/>
            <pc:sldMk cId="3034964083" sldId="2147479684"/>
            <ac:spMk id="154" creationId="{39006659-CBC1-F892-66BD-F82CCE88629C}"/>
          </ac:spMkLst>
        </pc:spChg>
        <pc:spChg chg="mod">
          <ac:chgData name="Brian Bambrick" userId="4a0d11bd-e942-4df0-b3ad-ad9bac78bbb3" providerId="ADAL" clId="{AC3BC922-7468-4B33-A761-2B7046E5E3DB}" dt="2023-08-15T13:59:59.017" v="1027"/>
          <ac:spMkLst>
            <pc:docMk/>
            <pc:sldMk cId="3034964083" sldId="2147479684"/>
            <ac:spMk id="155" creationId="{7E4F0F25-F648-9AB7-76DC-57F1D8BEE4A5}"/>
          </ac:spMkLst>
        </pc:spChg>
        <pc:spChg chg="mod">
          <ac:chgData name="Brian Bambrick" userId="4a0d11bd-e942-4df0-b3ad-ad9bac78bbb3" providerId="ADAL" clId="{AC3BC922-7468-4B33-A761-2B7046E5E3DB}" dt="2023-08-15T13:59:59.017" v="1027"/>
          <ac:spMkLst>
            <pc:docMk/>
            <pc:sldMk cId="3034964083" sldId="2147479684"/>
            <ac:spMk id="156" creationId="{8D44BD6B-2ACE-6E96-5759-4F0A66A2DEF2}"/>
          </ac:spMkLst>
        </pc:spChg>
        <pc:spChg chg="mod">
          <ac:chgData name="Brian Bambrick" userId="4a0d11bd-e942-4df0-b3ad-ad9bac78bbb3" providerId="ADAL" clId="{AC3BC922-7468-4B33-A761-2B7046E5E3DB}" dt="2023-08-15T13:59:59.017" v="1027"/>
          <ac:spMkLst>
            <pc:docMk/>
            <pc:sldMk cId="3034964083" sldId="2147479684"/>
            <ac:spMk id="157" creationId="{C6D470DB-4FC4-BC59-D84D-181160F1B71C}"/>
          </ac:spMkLst>
        </pc:spChg>
        <pc:spChg chg="mod">
          <ac:chgData name="Brian Bambrick" userId="4a0d11bd-e942-4df0-b3ad-ad9bac78bbb3" providerId="ADAL" clId="{AC3BC922-7468-4B33-A761-2B7046E5E3DB}" dt="2023-08-15T13:59:59.017" v="1027"/>
          <ac:spMkLst>
            <pc:docMk/>
            <pc:sldMk cId="3034964083" sldId="2147479684"/>
            <ac:spMk id="158" creationId="{C6544EC3-0E67-C7E0-245F-E293034DC2F7}"/>
          </ac:spMkLst>
        </pc:spChg>
        <pc:spChg chg="mod">
          <ac:chgData name="Brian Bambrick" userId="4a0d11bd-e942-4df0-b3ad-ad9bac78bbb3" providerId="ADAL" clId="{AC3BC922-7468-4B33-A761-2B7046E5E3DB}" dt="2023-08-15T13:59:59.017" v="1027"/>
          <ac:spMkLst>
            <pc:docMk/>
            <pc:sldMk cId="3034964083" sldId="2147479684"/>
            <ac:spMk id="159" creationId="{A1F50789-9312-B6BB-DDCE-7B1E1D0E5880}"/>
          </ac:spMkLst>
        </pc:spChg>
        <pc:spChg chg="mod">
          <ac:chgData name="Brian Bambrick" userId="4a0d11bd-e942-4df0-b3ad-ad9bac78bbb3" providerId="ADAL" clId="{AC3BC922-7468-4B33-A761-2B7046E5E3DB}" dt="2023-08-15T13:59:59.017" v="1027"/>
          <ac:spMkLst>
            <pc:docMk/>
            <pc:sldMk cId="3034964083" sldId="2147479684"/>
            <ac:spMk id="160" creationId="{BFEA4A0D-32CB-1430-2D87-03AC5B9F58CC}"/>
          </ac:spMkLst>
        </pc:spChg>
        <pc:spChg chg="mod">
          <ac:chgData name="Brian Bambrick" userId="4a0d11bd-e942-4df0-b3ad-ad9bac78bbb3" providerId="ADAL" clId="{AC3BC922-7468-4B33-A761-2B7046E5E3DB}" dt="2023-08-15T13:59:59.017" v="1027"/>
          <ac:spMkLst>
            <pc:docMk/>
            <pc:sldMk cId="3034964083" sldId="2147479684"/>
            <ac:spMk id="161" creationId="{826E572C-E1DC-2A32-91B9-E59A7A3D6291}"/>
          </ac:spMkLst>
        </pc:spChg>
        <pc:spChg chg="mod">
          <ac:chgData name="Brian Bambrick" userId="4a0d11bd-e942-4df0-b3ad-ad9bac78bbb3" providerId="ADAL" clId="{AC3BC922-7468-4B33-A761-2B7046E5E3DB}" dt="2023-08-15T13:59:59.017" v="1027"/>
          <ac:spMkLst>
            <pc:docMk/>
            <pc:sldMk cId="3034964083" sldId="2147479684"/>
            <ac:spMk id="162" creationId="{11FC08B4-3A3D-6F38-54C1-E1E007F5A2A1}"/>
          </ac:spMkLst>
        </pc:spChg>
        <pc:spChg chg="mod">
          <ac:chgData name="Brian Bambrick" userId="4a0d11bd-e942-4df0-b3ad-ad9bac78bbb3" providerId="ADAL" clId="{AC3BC922-7468-4B33-A761-2B7046E5E3DB}" dt="2023-08-15T13:59:59.017" v="1027"/>
          <ac:spMkLst>
            <pc:docMk/>
            <pc:sldMk cId="3034964083" sldId="2147479684"/>
            <ac:spMk id="163" creationId="{1378A44D-A503-C617-284A-D0E90E760598}"/>
          </ac:spMkLst>
        </pc:spChg>
        <pc:spChg chg="mod">
          <ac:chgData name="Brian Bambrick" userId="4a0d11bd-e942-4df0-b3ad-ad9bac78bbb3" providerId="ADAL" clId="{AC3BC922-7468-4B33-A761-2B7046E5E3DB}" dt="2023-08-15T13:59:59.017" v="1027"/>
          <ac:spMkLst>
            <pc:docMk/>
            <pc:sldMk cId="3034964083" sldId="2147479684"/>
            <ac:spMk id="164" creationId="{54670C01-9540-F89D-E551-1DCAE263B5A7}"/>
          </ac:spMkLst>
        </pc:spChg>
        <pc:spChg chg="mod">
          <ac:chgData name="Brian Bambrick" userId="4a0d11bd-e942-4df0-b3ad-ad9bac78bbb3" providerId="ADAL" clId="{AC3BC922-7468-4B33-A761-2B7046E5E3DB}" dt="2023-08-15T13:59:59.017" v="1027"/>
          <ac:spMkLst>
            <pc:docMk/>
            <pc:sldMk cId="3034964083" sldId="2147479684"/>
            <ac:spMk id="165" creationId="{D7A225F9-0AE2-330A-4A42-7F5A1DFCCC4D}"/>
          </ac:spMkLst>
        </pc:spChg>
        <pc:spChg chg="mod">
          <ac:chgData name="Brian Bambrick" userId="4a0d11bd-e942-4df0-b3ad-ad9bac78bbb3" providerId="ADAL" clId="{AC3BC922-7468-4B33-A761-2B7046E5E3DB}" dt="2023-08-15T13:59:59.017" v="1027"/>
          <ac:spMkLst>
            <pc:docMk/>
            <pc:sldMk cId="3034964083" sldId="2147479684"/>
            <ac:spMk id="166" creationId="{A9B103FE-938A-43DF-1324-B17A8DDD38B3}"/>
          </ac:spMkLst>
        </pc:spChg>
        <pc:spChg chg="mod">
          <ac:chgData name="Brian Bambrick" userId="4a0d11bd-e942-4df0-b3ad-ad9bac78bbb3" providerId="ADAL" clId="{AC3BC922-7468-4B33-A761-2B7046E5E3DB}" dt="2023-08-15T13:59:59.017" v="1027"/>
          <ac:spMkLst>
            <pc:docMk/>
            <pc:sldMk cId="3034964083" sldId="2147479684"/>
            <ac:spMk id="167" creationId="{6D6C427F-1AFA-C7A9-7B23-415D4FC7D221}"/>
          </ac:spMkLst>
        </pc:spChg>
        <pc:spChg chg="mod">
          <ac:chgData name="Brian Bambrick" userId="4a0d11bd-e942-4df0-b3ad-ad9bac78bbb3" providerId="ADAL" clId="{AC3BC922-7468-4B33-A761-2B7046E5E3DB}" dt="2023-08-15T13:59:59.017" v="1027"/>
          <ac:spMkLst>
            <pc:docMk/>
            <pc:sldMk cId="3034964083" sldId="2147479684"/>
            <ac:spMk id="168" creationId="{AF21D4F5-0CB9-F398-2983-27F83E62211C}"/>
          </ac:spMkLst>
        </pc:spChg>
        <pc:spChg chg="mod">
          <ac:chgData name="Brian Bambrick" userId="4a0d11bd-e942-4df0-b3ad-ad9bac78bbb3" providerId="ADAL" clId="{AC3BC922-7468-4B33-A761-2B7046E5E3DB}" dt="2023-08-15T13:59:59.017" v="1027"/>
          <ac:spMkLst>
            <pc:docMk/>
            <pc:sldMk cId="3034964083" sldId="2147479684"/>
            <ac:spMk id="170" creationId="{DD286756-1DC3-44F4-1709-56A4C91E0D9C}"/>
          </ac:spMkLst>
        </pc:spChg>
        <pc:spChg chg="mod">
          <ac:chgData name="Brian Bambrick" userId="4a0d11bd-e942-4df0-b3ad-ad9bac78bbb3" providerId="ADAL" clId="{AC3BC922-7468-4B33-A761-2B7046E5E3DB}" dt="2023-08-15T13:59:59.017" v="1027"/>
          <ac:spMkLst>
            <pc:docMk/>
            <pc:sldMk cId="3034964083" sldId="2147479684"/>
            <ac:spMk id="171" creationId="{2892A5AD-2F83-C88F-006B-9B0F83F445BD}"/>
          </ac:spMkLst>
        </pc:spChg>
        <pc:spChg chg="mod">
          <ac:chgData name="Brian Bambrick" userId="4a0d11bd-e942-4df0-b3ad-ad9bac78bbb3" providerId="ADAL" clId="{AC3BC922-7468-4B33-A761-2B7046E5E3DB}" dt="2023-08-15T13:59:59.017" v="1027"/>
          <ac:spMkLst>
            <pc:docMk/>
            <pc:sldMk cId="3034964083" sldId="2147479684"/>
            <ac:spMk id="172" creationId="{776FF786-0F20-AF4A-69B7-C2AFCB81E9D0}"/>
          </ac:spMkLst>
        </pc:spChg>
        <pc:spChg chg="mod">
          <ac:chgData name="Brian Bambrick" userId="4a0d11bd-e942-4df0-b3ad-ad9bac78bbb3" providerId="ADAL" clId="{AC3BC922-7468-4B33-A761-2B7046E5E3DB}" dt="2023-08-15T13:59:59.017" v="1027"/>
          <ac:spMkLst>
            <pc:docMk/>
            <pc:sldMk cId="3034964083" sldId="2147479684"/>
            <ac:spMk id="173" creationId="{765A8D50-E2CC-1EC1-4A4F-DEC374C07E2A}"/>
          </ac:spMkLst>
        </pc:spChg>
        <pc:spChg chg="mod">
          <ac:chgData name="Brian Bambrick" userId="4a0d11bd-e942-4df0-b3ad-ad9bac78bbb3" providerId="ADAL" clId="{AC3BC922-7468-4B33-A761-2B7046E5E3DB}" dt="2023-08-15T13:59:59.017" v="1027"/>
          <ac:spMkLst>
            <pc:docMk/>
            <pc:sldMk cId="3034964083" sldId="2147479684"/>
            <ac:spMk id="174" creationId="{7F5E3C0B-73B2-408D-5DFD-C7522AB6B006}"/>
          </ac:spMkLst>
        </pc:spChg>
        <pc:spChg chg="mod">
          <ac:chgData name="Brian Bambrick" userId="4a0d11bd-e942-4df0-b3ad-ad9bac78bbb3" providerId="ADAL" clId="{AC3BC922-7468-4B33-A761-2B7046E5E3DB}" dt="2023-08-15T13:59:59.017" v="1027"/>
          <ac:spMkLst>
            <pc:docMk/>
            <pc:sldMk cId="3034964083" sldId="2147479684"/>
            <ac:spMk id="175" creationId="{8C6DDAB5-6616-7739-DAD0-CB1EF0C7A001}"/>
          </ac:spMkLst>
        </pc:spChg>
        <pc:spChg chg="mod">
          <ac:chgData name="Brian Bambrick" userId="4a0d11bd-e942-4df0-b3ad-ad9bac78bbb3" providerId="ADAL" clId="{AC3BC922-7468-4B33-A761-2B7046E5E3DB}" dt="2023-08-15T13:59:59.017" v="1027"/>
          <ac:spMkLst>
            <pc:docMk/>
            <pc:sldMk cId="3034964083" sldId="2147479684"/>
            <ac:spMk id="176" creationId="{C096BC88-F495-3CC3-0CF2-9FF34576D9B8}"/>
          </ac:spMkLst>
        </pc:spChg>
        <pc:spChg chg="mod">
          <ac:chgData name="Brian Bambrick" userId="4a0d11bd-e942-4df0-b3ad-ad9bac78bbb3" providerId="ADAL" clId="{AC3BC922-7468-4B33-A761-2B7046E5E3DB}" dt="2023-08-15T13:59:59.017" v="1027"/>
          <ac:spMkLst>
            <pc:docMk/>
            <pc:sldMk cId="3034964083" sldId="2147479684"/>
            <ac:spMk id="177" creationId="{0B4C3F9A-A242-BC4A-7A4B-B9F2755C5545}"/>
          </ac:spMkLst>
        </pc:spChg>
        <pc:spChg chg="mod">
          <ac:chgData name="Brian Bambrick" userId="4a0d11bd-e942-4df0-b3ad-ad9bac78bbb3" providerId="ADAL" clId="{AC3BC922-7468-4B33-A761-2B7046E5E3DB}" dt="2023-08-15T13:59:59.017" v="1027"/>
          <ac:spMkLst>
            <pc:docMk/>
            <pc:sldMk cId="3034964083" sldId="2147479684"/>
            <ac:spMk id="178" creationId="{6A09EA53-A4FD-370A-4DA0-650A581DA573}"/>
          </ac:spMkLst>
        </pc:spChg>
        <pc:spChg chg="mod">
          <ac:chgData name="Brian Bambrick" userId="4a0d11bd-e942-4df0-b3ad-ad9bac78bbb3" providerId="ADAL" clId="{AC3BC922-7468-4B33-A761-2B7046E5E3DB}" dt="2023-08-15T13:59:59.017" v="1027"/>
          <ac:spMkLst>
            <pc:docMk/>
            <pc:sldMk cId="3034964083" sldId="2147479684"/>
            <ac:spMk id="179" creationId="{8F105E62-C9FF-BFC9-D3DF-DBE7F0F202A8}"/>
          </ac:spMkLst>
        </pc:spChg>
        <pc:spChg chg="mod">
          <ac:chgData name="Brian Bambrick" userId="4a0d11bd-e942-4df0-b3ad-ad9bac78bbb3" providerId="ADAL" clId="{AC3BC922-7468-4B33-A761-2B7046E5E3DB}" dt="2023-08-15T13:59:59.017" v="1027"/>
          <ac:spMkLst>
            <pc:docMk/>
            <pc:sldMk cId="3034964083" sldId="2147479684"/>
            <ac:spMk id="180" creationId="{0F132A27-19F9-63F2-479A-428A7D0C0DB0}"/>
          </ac:spMkLst>
        </pc:spChg>
        <pc:spChg chg="mod">
          <ac:chgData name="Brian Bambrick" userId="4a0d11bd-e942-4df0-b3ad-ad9bac78bbb3" providerId="ADAL" clId="{AC3BC922-7468-4B33-A761-2B7046E5E3DB}" dt="2023-08-15T13:59:59.017" v="1027"/>
          <ac:spMkLst>
            <pc:docMk/>
            <pc:sldMk cId="3034964083" sldId="2147479684"/>
            <ac:spMk id="181" creationId="{D18D54B6-031A-F3C9-EA18-0B288FFFCCB1}"/>
          </ac:spMkLst>
        </pc:spChg>
        <pc:spChg chg="mod">
          <ac:chgData name="Brian Bambrick" userId="4a0d11bd-e942-4df0-b3ad-ad9bac78bbb3" providerId="ADAL" clId="{AC3BC922-7468-4B33-A761-2B7046E5E3DB}" dt="2023-08-15T13:59:59.017" v="1027"/>
          <ac:spMkLst>
            <pc:docMk/>
            <pc:sldMk cId="3034964083" sldId="2147479684"/>
            <ac:spMk id="182" creationId="{CCA6B716-5A63-BEED-A110-5888859BBDC7}"/>
          </ac:spMkLst>
        </pc:spChg>
        <pc:spChg chg="mod">
          <ac:chgData name="Brian Bambrick" userId="4a0d11bd-e942-4df0-b3ad-ad9bac78bbb3" providerId="ADAL" clId="{AC3BC922-7468-4B33-A761-2B7046E5E3DB}" dt="2023-08-15T13:59:59.017" v="1027"/>
          <ac:spMkLst>
            <pc:docMk/>
            <pc:sldMk cId="3034964083" sldId="2147479684"/>
            <ac:spMk id="183" creationId="{5121B2BC-4B21-0CE7-9EE8-0B7F7D2B40CE}"/>
          </ac:spMkLst>
        </pc:spChg>
        <pc:spChg chg="mod">
          <ac:chgData name="Brian Bambrick" userId="4a0d11bd-e942-4df0-b3ad-ad9bac78bbb3" providerId="ADAL" clId="{AC3BC922-7468-4B33-A761-2B7046E5E3DB}" dt="2023-08-15T13:59:59.017" v="1027"/>
          <ac:spMkLst>
            <pc:docMk/>
            <pc:sldMk cId="3034964083" sldId="2147479684"/>
            <ac:spMk id="184" creationId="{EDBBE072-86BB-AD32-AF8A-1E24B92C3607}"/>
          </ac:spMkLst>
        </pc:spChg>
        <pc:spChg chg="mod">
          <ac:chgData name="Brian Bambrick" userId="4a0d11bd-e942-4df0-b3ad-ad9bac78bbb3" providerId="ADAL" clId="{AC3BC922-7468-4B33-A761-2B7046E5E3DB}" dt="2023-08-15T13:59:59.017" v="1027"/>
          <ac:spMkLst>
            <pc:docMk/>
            <pc:sldMk cId="3034964083" sldId="2147479684"/>
            <ac:spMk id="186" creationId="{F53EFCC7-67AE-B977-B634-6523A6C06414}"/>
          </ac:spMkLst>
        </pc:spChg>
        <pc:spChg chg="mod">
          <ac:chgData name="Brian Bambrick" userId="4a0d11bd-e942-4df0-b3ad-ad9bac78bbb3" providerId="ADAL" clId="{AC3BC922-7468-4B33-A761-2B7046E5E3DB}" dt="2023-08-15T13:59:59.017" v="1027"/>
          <ac:spMkLst>
            <pc:docMk/>
            <pc:sldMk cId="3034964083" sldId="2147479684"/>
            <ac:spMk id="187" creationId="{C629A408-28A6-DF8E-9F36-D68418EA4F07}"/>
          </ac:spMkLst>
        </pc:spChg>
        <pc:spChg chg="mod">
          <ac:chgData name="Brian Bambrick" userId="4a0d11bd-e942-4df0-b3ad-ad9bac78bbb3" providerId="ADAL" clId="{AC3BC922-7468-4B33-A761-2B7046E5E3DB}" dt="2023-08-15T13:59:59.017" v="1027"/>
          <ac:spMkLst>
            <pc:docMk/>
            <pc:sldMk cId="3034964083" sldId="2147479684"/>
            <ac:spMk id="188" creationId="{5D4ABA41-2DF8-75B0-A129-9BB306C9489C}"/>
          </ac:spMkLst>
        </pc:spChg>
        <pc:spChg chg="mod">
          <ac:chgData name="Brian Bambrick" userId="4a0d11bd-e942-4df0-b3ad-ad9bac78bbb3" providerId="ADAL" clId="{AC3BC922-7468-4B33-A761-2B7046E5E3DB}" dt="2023-08-15T13:59:59.017" v="1027"/>
          <ac:spMkLst>
            <pc:docMk/>
            <pc:sldMk cId="3034964083" sldId="2147479684"/>
            <ac:spMk id="189" creationId="{C40D0847-926C-63CD-D2C0-50FD8BB4BA8D}"/>
          </ac:spMkLst>
        </pc:spChg>
        <pc:spChg chg="mod">
          <ac:chgData name="Brian Bambrick" userId="4a0d11bd-e942-4df0-b3ad-ad9bac78bbb3" providerId="ADAL" clId="{AC3BC922-7468-4B33-A761-2B7046E5E3DB}" dt="2023-08-15T13:59:59.017" v="1027"/>
          <ac:spMkLst>
            <pc:docMk/>
            <pc:sldMk cId="3034964083" sldId="2147479684"/>
            <ac:spMk id="190" creationId="{B8DA3915-6660-1B8C-402B-ED1DBE94CD75}"/>
          </ac:spMkLst>
        </pc:spChg>
        <pc:spChg chg="del mod">
          <ac:chgData name="Brian Bambrick" userId="4a0d11bd-e942-4df0-b3ad-ad9bac78bbb3" providerId="ADAL" clId="{AC3BC922-7468-4B33-A761-2B7046E5E3DB}" dt="2023-08-15T14:00:11.641" v="1029" actId="478"/>
          <ac:spMkLst>
            <pc:docMk/>
            <pc:sldMk cId="3034964083" sldId="2147479684"/>
            <ac:spMk id="191" creationId="{A60E4E8F-C185-43CB-B46D-D2A389AC55FF}"/>
          </ac:spMkLst>
        </pc:spChg>
        <pc:spChg chg="mod">
          <ac:chgData name="Brian Bambrick" userId="4a0d11bd-e942-4df0-b3ad-ad9bac78bbb3" providerId="ADAL" clId="{AC3BC922-7468-4B33-A761-2B7046E5E3DB}" dt="2023-08-15T13:59:59.017" v="1027"/>
          <ac:spMkLst>
            <pc:docMk/>
            <pc:sldMk cId="3034964083" sldId="2147479684"/>
            <ac:spMk id="192" creationId="{563E7CC0-CF80-4405-0AB7-285947571EE9}"/>
          </ac:spMkLst>
        </pc:spChg>
        <pc:spChg chg="mod">
          <ac:chgData name="Brian Bambrick" userId="4a0d11bd-e942-4df0-b3ad-ad9bac78bbb3" providerId="ADAL" clId="{AC3BC922-7468-4B33-A761-2B7046E5E3DB}" dt="2023-08-15T13:59:59.017" v="1027"/>
          <ac:spMkLst>
            <pc:docMk/>
            <pc:sldMk cId="3034964083" sldId="2147479684"/>
            <ac:spMk id="193" creationId="{CDB6B5B2-57B4-2015-2AFF-447CD602285F}"/>
          </ac:spMkLst>
        </pc:spChg>
        <pc:spChg chg="mod">
          <ac:chgData name="Brian Bambrick" userId="4a0d11bd-e942-4df0-b3ad-ad9bac78bbb3" providerId="ADAL" clId="{AC3BC922-7468-4B33-A761-2B7046E5E3DB}" dt="2023-08-15T13:59:59.017" v="1027"/>
          <ac:spMkLst>
            <pc:docMk/>
            <pc:sldMk cId="3034964083" sldId="2147479684"/>
            <ac:spMk id="194" creationId="{91153D9F-1CB7-06A1-93CA-72B07B6EAACC}"/>
          </ac:spMkLst>
        </pc:spChg>
        <pc:spChg chg="mod">
          <ac:chgData name="Brian Bambrick" userId="4a0d11bd-e942-4df0-b3ad-ad9bac78bbb3" providerId="ADAL" clId="{AC3BC922-7468-4B33-A761-2B7046E5E3DB}" dt="2023-08-15T13:59:59.017" v="1027"/>
          <ac:spMkLst>
            <pc:docMk/>
            <pc:sldMk cId="3034964083" sldId="2147479684"/>
            <ac:spMk id="195" creationId="{EB9F253E-4A1B-F3A8-08D9-6AF034947F6C}"/>
          </ac:spMkLst>
        </pc:spChg>
        <pc:spChg chg="mod">
          <ac:chgData name="Brian Bambrick" userId="4a0d11bd-e942-4df0-b3ad-ad9bac78bbb3" providerId="ADAL" clId="{AC3BC922-7468-4B33-A761-2B7046E5E3DB}" dt="2023-08-15T13:59:59.017" v="1027"/>
          <ac:spMkLst>
            <pc:docMk/>
            <pc:sldMk cId="3034964083" sldId="2147479684"/>
            <ac:spMk id="196" creationId="{9B9D4C52-4CBA-9047-0C31-9404D5384FA8}"/>
          </ac:spMkLst>
        </pc:spChg>
        <pc:spChg chg="mod">
          <ac:chgData name="Brian Bambrick" userId="4a0d11bd-e942-4df0-b3ad-ad9bac78bbb3" providerId="ADAL" clId="{AC3BC922-7468-4B33-A761-2B7046E5E3DB}" dt="2023-08-15T13:59:59.017" v="1027"/>
          <ac:spMkLst>
            <pc:docMk/>
            <pc:sldMk cId="3034964083" sldId="2147479684"/>
            <ac:spMk id="197" creationId="{68287010-D3DC-64F8-669E-8C2B2D9E2500}"/>
          </ac:spMkLst>
        </pc:spChg>
        <pc:spChg chg="mod">
          <ac:chgData name="Brian Bambrick" userId="4a0d11bd-e942-4df0-b3ad-ad9bac78bbb3" providerId="ADAL" clId="{AC3BC922-7468-4B33-A761-2B7046E5E3DB}" dt="2023-08-15T13:59:59.017" v="1027"/>
          <ac:spMkLst>
            <pc:docMk/>
            <pc:sldMk cId="3034964083" sldId="2147479684"/>
            <ac:spMk id="198" creationId="{118CCDA5-857B-78AA-0631-8EE0A06EB620}"/>
          </ac:spMkLst>
        </pc:spChg>
        <pc:spChg chg="mod">
          <ac:chgData name="Brian Bambrick" userId="4a0d11bd-e942-4df0-b3ad-ad9bac78bbb3" providerId="ADAL" clId="{AC3BC922-7468-4B33-A761-2B7046E5E3DB}" dt="2023-08-15T13:59:59.017" v="1027"/>
          <ac:spMkLst>
            <pc:docMk/>
            <pc:sldMk cId="3034964083" sldId="2147479684"/>
            <ac:spMk id="199" creationId="{C286AD1F-FE3C-4826-E32C-E9EEC3E79FDF}"/>
          </ac:spMkLst>
        </pc:spChg>
        <pc:spChg chg="mod">
          <ac:chgData name="Brian Bambrick" userId="4a0d11bd-e942-4df0-b3ad-ad9bac78bbb3" providerId="ADAL" clId="{AC3BC922-7468-4B33-A761-2B7046E5E3DB}" dt="2023-08-15T13:59:59.017" v="1027"/>
          <ac:spMkLst>
            <pc:docMk/>
            <pc:sldMk cId="3034964083" sldId="2147479684"/>
            <ac:spMk id="200" creationId="{ABF309E5-AFF3-4FEC-E4CC-A751AA315ECC}"/>
          </ac:spMkLst>
        </pc:spChg>
        <pc:spChg chg="mod">
          <ac:chgData name="Brian Bambrick" userId="4a0d11bd-e942-4df0-b3ad-ad9bac78bbb3" providerId="ADAL" clId="{AC3BC922-7468-4B33-A761-2B7046E5E3DB}" dt="2023-08-15T13:59:59.017" v="1027"/>
          <ac:spMkLst>
            <pc:docMk/>
            <pc:sldMk cId="3034964083" sldId="2147479684"/>
            <ac:spMk id="201" creationId="{3D9C8305-465D-5A96-96B1-F990EEAAC2E1}"/>
          </ac:spMkLst>
        </pc:spChg>
        <pc:spChg chg="mod">
          <ac:chgData name="Brian Bambrick" userId="4a0d11bd-e942-4df0-b3ad-ad9bac78bbb3" providerId="ADAL" clId="{AC3BC922-7468-4B33-A761-2B7046E5E3DB}" dt="2023-08-15T13:59:59.017" v="1027"/>
          <ac:spMkLst>
            <pc:docMk/>
            <pc:sldMk cId="3034964083" sldId="2147479684"/>
            <ac:spMk id="202" creationId="{BBF544D0-3467-10A3-0678-B76D1E013780}"/>
          </ac:spMkLst>
        </pc:spChg>
        <pc:spChg chg="mod">
          <ac:chgData name="Brian Bambrick" userId="4a0d11bd-e942-4df0-b3ad-ad9bac78bbb3" providerId="ADAL" clId="{AC3BC922-7468-4B33-A761-2B7046E5E3DB}" dt="2023-08-15T13:59:59.017" v="1027"/>
          <ac:spMkLst>
            <pc:docMk/>
            <pc:sldMk cId="3034964083" sldId="2147479684"/>
            <ac:spMk id="203" creationId="{6D35B1C1-E8ED-EF9D-1208-E4DD97B54DAC}"/>
          </ac:spMkLst>
        </pc:spChg>
        <pc:spChg chg="mod">
          <ac:chgData name="Brian Bambrick" userId="4a0d11bd-e942-4df0-b3ad-ad9bac78bbb3" providerId="ADAL" clId="{AC3BC922-7468-4B33-A761-2B7046E5E3DB}" dt="2023-08-15T13:59:59.017" v="1027"/>
          <ac:spMkLst>
            <pc:docMk/>
            <pc:sldMk cId="3034964083" sldId="2147479684"/>
            <ac:spMk id="205" creationId="{972AF67B-0539-F116-4D13-8918518270D7}"/>
          </ac:spMkLst>
        </pc:spChg>
        <pc:spChg chg="mod">
          <ac:chgData name="Brian Bambrick" userId="4a0d11bd-e942-4df0-b3ad-ad9bac78bbb3" providerId="ADAL" clId="{AC3BC922-7468-4B33-A761-2B7046E5E3DB}" dt="2023-08-15T13:59:59.017" v="1027"/>
          <ac:spMkLst>
            <pc:docMk/>
            <pc:sldMk cId="3034964083" sldId="2147479684"/>
            <ac:spMk id="206" creationId="{B140AD38-2B17-972F-BD12-5B576A9297E8}"/>
          </ac:spMkLst>
        </pc:spChg>
        <pc:spChg chg="mod">
          <ac:chgData name="Brian Bambrick" userId="4a0d11bd-e942-4df0-b3ad-ad9bac78bbb3" providerId="ADAL" clId="{AC3BC922-7468-4B33-A761-2B7046E5E3DB}" dt="2023-08-15T13:59:59.017" v="1027"/>
          <ac:spMkLst>
            <pc:docMk/>
            <pc:sldMk cId="3034964083" sldId="2147479684"/>
            <ac:spMk id="208" creationId="{23B1D50B-BBD8-DC13-7E79-E085888A2122}"/>
          </ac:spMkLst>
        </pc:spChg>
        <pc:spChg chg="mod">
          <ac:chgData name="Brian Bambrick" userId="4a0d11bd-e942-4df0-b3ad-ad9bac78bbb3" providerId="ADAL" clId="{AC3BC922-7468-4B33-A761-2B7046E5E3DB}" dt="2023-08-15T13:59:59.017" v="1027"/>
          <ac:spMkLst>
            <pc:docMk/>
            <pc:sldMk cId="3034964083" sldId="2147479684"/>
            <ac:spMk id="209" creationId="{966B62C7-F803-2FA9-9224-3A968D89DEBE}"/>
          </ac:spMkLst>
        </pc:spChg>
        <pc:spChg chg="mod">
          <ac:chgData name="Brian Bambrick" userId="4a0d11bd-e942-4df0-b3ad-ad9bac78bbb3" providerId="ADAL" clId="{AC3BC922-7468-4B33-A761-2B7046E5E3DB}" dt="2023-08-15T13:59:59.017" v="1027"/>
          <ac:spMkLst>
            <pc:docMk/>
            <pc:sldMk cId="3034964083" sldId="2147479684"/>
            <ac:spMk id="210" creationId="{10445DBC-7294-E3D1-6B22-A0F064D15A8A}"/>
          </ac:spMkLst>
        </pc:spChg>
        <pc:spChg chg="mod">
          <ac:chgData name="Brian Bambrick" userId="4a0d11bd-e942-4df0-b3ad-ad9bac78bbb3" providerId="ADAL" clId="{AC3BC922-7468-4B33-A761-2B7046E5E3DB}" dt="2023-08-15T13:59:59.017" v="1027"/>
          <ac:spMkLst>
            <pc:docMk/>
            <pc:sldMk cId="3034964083" sldId="2147479684"/>
            <ac:spMk id="211" creationId="{802516F2-61D0-BC8A-22FC-AC2F26CF9D68}"/>
          </ac:spMkLst>
        </pc:spChg>
        <pc:spChg chg="mod">
          <ac:chgData name="Brian Bambrick" userId="4a0d11bd-e942-4df0-b3ad-ad9bac78bbb3" providerId="ADAL" clId="{AC3BC922-7468-4B33-A761-2B7046E5E3DB}" dt="2023-08-15T13:59:59.017" v="1027"/>
          <ac:spMkLst>
            <pc:docMk/>
            <pc:sldMk cId="3034964083" sldId="2147479684"/>
            <ac:spMk id="212" creationId="{76BA9645-B2B5-4429-DDD9-A876E9530A7A}"/>
          </ac:spMkLst>
        </pc:spChg>
        <pc:spChg chg="mod">
          <ac:chgData name="Brian Bambrick" userId="4a0d11bd-e942-4df0-b3ad-ad9bac78bbb3" providerId="ADAL" clId="{AC3BC922-7468-4B33-A761-2B7046E5E3DB}" dt="2023-08-15T13:59:59.017" v="1027"/>
          <ac:spMkLst>
            <pc:docMk/>
            <pc:sldMk cId="3034964083" sldId="2147479684"/>
            <ac:spMk id="213" creationId="{C7A6CD28-F1B3-0180-763C-DDB7A87DB80B}"/>
          </ac:spMkLst>
        </pc:spChg>
        <pc:spChg chg="mod">
          <ac:chgData name="Brian Bambrick" userId="4a0d11bd-e942-4df0-b3ad-ad9bac78bbb3" providerId="ADAL" clId="{AC3BC922-7468-4B33-A761-2B7046E5E3DB}" dt="2023-08-15T13:59:59.017" v="1027"/>
          <ac:spMkLst>
            <pc:docMk/>
            <pc:sldMk cId="3034964083" sldId="2147479684"/>
            <ac:spMk id="214" creationId="{09641BDB-94AE-DEE7-FF71-30FDDE063B49}"/>
          </ac:spMkLst>
        </pc:spChg>
        <pc:spChg chg="mod">
          <ac:chgData name="Brian Bambrick" userId="4a0d11bd-e942-4df0-b3ad-ad9bac78bbb3" providerId="ADAL" clId="{AC3BC922-7468-4B33-A761-2B7046E5E3DB}" dt="2023-08-15T13:59:59.017" v="1027"/>
          <ac:spMkLst>
            <pc:docMk/>
            <pc:sldMk cId="3034964083" sldId="2147479684"/>
            <ac:spMk id="215" creationId="{743F810C-F225-23E9-99FD-CE6795D34FD2}"/>
          </ac:spMkLst>
        </pc:spChg>
        <pc:spChg chg="add mod">
          <ac:chgData name="Brian Bambrick" userId="4a0d11bd-e942-4df0-b3ad-ad9bac78bbb3" providerId="ADAL" clId="{AC3BC922-7468-4B33-A761-2B7046E5E3DB}" dt="2023-08-15T14:03:46.414" v="1077" actId="1036"/>
          <ac:spMkLst>
            <pc:docMk/>
            <pc:sldMk cId="3034964083" sldId="2147479684"/>
            <ac:spMk id="216" creationId="{6767760F-B7B7-A749-7F4A-C3509ACE617D}"/>
          </ac:spMkLst>
        </pc:spChg>
        <pc:spChg chg="add mod">
          <ac:chgData name="Brian Bambrick" userId="4a0d11bd-e942-4df0-b3ad-ad9bac78bbb3" providerId="ADAL" clId="{AC3BC922-7468-4B33-A761-2B7046E5E3DB}" dt="2023-08-15T14:03:46.414" v="1077" actId="1036"/>
          <ac:spMkLst>
            <pc:docMk/>
            <pc:sldMk cId="3034964083" sldId="2147479684"/>
            <ac:spMk id="217" creationId="{8623302B-B71E-F893-BE48-17FAB5B0EFCA}"/>
          </ac:spMkLst>
        </pc:spChg>
        <pc:spChg chg="add mod">
          <ac:chgData name="Brian Bambrick" userId="4a0d11bd-e942-4df0-b3ad-ad9bac78bbb3" providerId="ADAL" clId="{AC3BC922-7468-4B33-A761-2B7046E5E3DB}" dt="2023-08-15T14:03:46.414" v="1077" actId="1036"/>
          <ac:spMkLst>
            <pc:docMk/>
            <pc:sldMk cId="3034964083" sldId="2147479684"/>
            <ac:spMk id="218" creationId="{3DC5C206-87F0-B9CA-5B82-E91D8EFAF4A0}"/>
          </ac:spMkLst>
        </pc:spChg>
        <pc:spChg chg="add mod">
          <ac:chgData name="Brian Bambrick" userId="4a0d11bd-e942-4df0-b3ad-ad9bac78bbb3" providerId="ADAL" clId="{AC3BC922-7468-4B33-A761-2B7046E5E3DB}" dt="2023-08-15T14:03:46.414" v="1077" actId="1036"/>
          <ac:spMkLst>
            <pc:docMk/>
            <pc:sldMk cId="3034964083" sldId="2147479684"/>
            <ac:spMk id="219" creationId="{4DB05CBA-6461-7504-7A3F-9A8814014A28}"/>
          </ac:spMkLst>
        </pc:spChg>
        <pc:spChg chg="add mod">
          <ac:chgData name="Brian Bambrick" userId="4a0d11bd-e942-4df0-b3ad-ad9bac78bbb3" providerId="ADAL" clId="{AC3BC922-7468-4B33-A761-2B7046E5E3DB}" dt="2023-08-15T14:03:46.414" v="1077" actId="1036"/>
          <ac:spMkLst>
            <pc:docMk/>
            <pc:sldMk cId="3034964083" sldId="2147479684"/>
            <ac:spMk id="220" creationId="{B74E4346-E06D-9B75-0CBE-65B10DA87174}"/>
          </ac:spMkLst>
        </pc:spChg>
        <pc:spChg chg="add mod">
          <ac:chgData name="Brian Bambrick" userId="4a0d11bd-e942-4df0-b3ad-ad9bac78bbb3" providerId="ADAL" clId="{AC3BC922-7468-4B33-A761-2B7046E5E3DB}" dt="2023-08-15T14:03:46.414" v="1077" actId="1036"/>
          <ac:spMkLst>
            <pc:docMk/>
            <pc:sldMk cId="3034964083" sldId="2147479684"/>
            <ac:spMk id="221" creationId="{F4211D52-612F-A7BE-EF58-DB931CD8D44B}"/>
          </ac:spMkLst>
        </pc:spChg>
        <pc:grpChg chg="add mod">
          <ac:chgData name="Brian Bambrick" userId="4a0d11bd-e942-4df0-b3ad-ad9bac78bbb3" providerId="ADAL" clId="{AC3BC922-7468-4B33-A761-2B7046E5E3DB}" dt="2023-08-15T14:03:46.414" v="1077" actId="1036"/>
          <ac:grpSpMkLst>
            <pc:docMk/>
            <pc:sldMk cId="3034964083" sldId="2147479684"/>
            <ac:grpSpMk id="16" creationId="{41D77740-06F7-4A9C-AFDF-A841B3702B3E}"/>
          </ac:grpSpMkLst>
        </pc:grpChg>
        <pc:grpChg chg="del mod">
          <ac:chgData name="Brian Bambrick" userId="4a0d11bd-e942-4df0-b3ad-ad9bac78bbb3" providerId="ADAL" clId="{AC3BC922-7468-4B33-A761-2B7046E5E3DB}" dt="2023-08-15T13:59:56.480" v="1026" actId="478"/>
          <ac:grpSpMkLst>
            <pc:docMk/>
            <pc:sldMk cId="3034964083" sldId="2147479684"/>
            <ac:grpSpMk id="40" creationId="{FD5EF340-1383-4440-9686-F960CE871F5D}"/>
          </ac:grpSpMkLst>
        </pc:grpChg>
        <pc:grpChg chg="del mod">
          <ac:chgData name="Brian Bambrick" userId="4a0d11bd-e942-4df0-b3ad-ad9bac78bbb3" providerId="ADAL" clId="{AC3BC922-7468-4B33-A761-2B7046E5E3DB}" dt="2023-08-15T14:00:11.641" v="1029" actId="478"/>
          <ac:grpSpMkLst>
            <pc:docMk/>
            <pc:sldMk cId="3034964083" sldId="2147479684"/>
            <ac:grpSpMk id="53" creationId="{A9555641-9511-4C94-BEA0-A5E4EC6CF8DF}"/>
          </ac:grpSpMkLst>
        </pc:grpChg>
        <pc:grpChg chg="del mod">
          <ac:chgData name="Brian Bambrick" userId="4a0d11bd-e942-4df0-b3ad-ad9bac78bbb3" providerId="ADAL" clId="{AC3BC922-7468-4B33-A761-2B7046E5E3DB}" dt="2023-08-15T14:00:11.641" v="1029" actId="478"/>
          <ac:grpSpMkLst>
            <pc:docMk/>
            <pc:sldMk cId="3034964083" sldId="2147479684"/>
            <ac:grpSpMk id="65" creationId="{D01CDE07-1898-44E5-8C42-A599E8E39C5E}"/>
          </ac:grpSpMkLst>
        </pc:grpChg>
        <pc:grpChg chg="del mod">
          <ac:chgData name="Brian Bambrick" userId="4a0d11bd-e942-4df0-b3ad-ad9bac78bbb3" providerId="ADAL" clId="{AC3BC922-7468-4B33-A761-2B7046E5E3DB}" dt="2023-08-15T14:00:11.641" v="1029" actId="478"/>
          <ac:grpSpMkLst>
            <pc:docMk/>
            <pc:sldMk cId="3034964083" sldId="2147479684"/>
            <ac:grpSpMk id="83" creationId="{1D464E95-87AE-484D-AEAF-CA4FE8F505C3}"/>
          </ac:grpSpMkLst>
        </pc:grpChg>
        <pc:grpChg chg="del mod">
          <ac:chgData name="Brian Bambrick" userId="4a0d11bd-e942-4df0-b3ad-ad9bac78bbb3" providerId="ADAL" clId="{AC3BC922-7468-4B33-A761-2B7046E5E3DB}" dt="2023-08-15T14:00:11.641" v="1029" actId="478"/>
          <ac:grpSpMkLst>
            <pc:docMk/>
            <pc:sldMk cId="3034964083" sldId="2147479684"/>
            <ac:grpSpMk id="99" creationId="{D58700D8-2A18-4A77-8FD1-DDFD1ACA1F6D}"/>
          </ac:grpSpMkLst>
        </pc:grpChg>
        <pc:grpChg chg="del mod">
          <ac:chgData name="Brian Bambrick" userId="4a0d11bd-e942-4df0-b3ad-ad9bac78bbb3" providerId="ADAL" clId="{AC3BC922-7468-4B33-A761-2B7046E5E3DB}" dt="2023-08-15T14:00:11.641" v="1029" actId="478"/>
          <ac:grpSpMkLst>
            <pc:docMk/>
            <pc:sldMk cId="3034964083" sldId="2147479684"/>
            <ac:grpSpMk id="117" creationId="{78019E90-AAC4-4702-BF30-5AB8110AA8B8}"/>
          </ac:grpSpMkLst>
        </pc:grpChg>
        <pc:grpChg chg="add mod">
          <ac:chgData name="Brian Bambrick" userId="4a0d11bd-e942-4df0-b3ad-ad9bac78bbb3" providerId="ADAL" clId="{AC3BC922-7468-4B33-A761-2B7046E5E3DB}" dt="2023-08-15T14:03:46.414" v="1077" actId="1036"/>
          <ac:grpSpMkLst>
            <pc:docMk/>
            <pc:sldMk cId="3034964083" sldId="2147479684"/>
            <ac:grpSpMk id="139" creationId="{35A044D0-C05D-F1DD-F833-D80A139F1A84}"/>
          </ac:grpSpMkLst>
        </pc:grpChg>
        <pc:grpChg chg="add mod">
          <ac:chgData name="Brian Bambrick" userId="4a0d11bd-e942-4df0-b3ad-ad9bac78bbb3" providerId="ADAL" clId="{AC3BC922-7468-4B33-A761-2B7046E5E3DB}" dt="2023-08-15T14:03:46.414" v="1077" actId="1036"/>
          <ac:grpSpMkLst>
            <pc:docMk/>
            <pc:sldMk cId="3034964083" sldId="2147479684"/>
            <ac:grpSpMk id="151" creationId="{9F3365BC-A255-561C-ABCC-045E1198FF65}"/>
          </ac:grpSpMkLst>
        </pc:grpChg>
        <pc:grpChg chg="add mod">
          <ac:chgData name="Brian Bambrick" userId="4a0d11bd-e942-4df0-b3ad-ad9bac78bbb3" providerId="ADAL" clId="{AC3BC922-7468-4B33-A761-2B7046E5E3DB}" dt="2023-08-15T14:03:46.414" v="1077" actId="1036"/>
          <ac:grpSpMkLst>
            <pc:docMk/>
            <pc:sldMk cId="3034964083" sldId="2147479684"/>
            <ac:grpSpMk id="169" creationId="{145CFE34-2409-BE88-3F5B-B73DCEC91CDC}"/>
          </ac:grpSpMkLst>
        </pc:grpChg>
        <pc:grpChg chg="add mod">
          <ac:chgData name="Brian Bambrick" userId="4a0d11bd-e942-4df0-b3ad-ad9bac78bbb3" providerId="ADAL" clId="{AC3BC922-7468-4B33-A761-2B7046E5E3DB}" dt="2023-08-15T14:03:46.414" v="1077" actId="1036"/>
          <ac:grpSpMkLst>
            <pc:docMk/>
            <pc:sldMk cId="3034964083" sldId="2147479684"/>
            <ac:grpSpMk id="185" creationId="{7FD6F1F9-5885-63EE-6813-AA76C94554B5}"/>
          </ac:grpSpMkLst>
        </pc:grpChg>
        <pc:grpChg chg="add mod">
          <ac:chgData name="Brian Bambrick" userId="4a0d11bd-e942-4df0-b3ad-ad9bac78bbb3" providerId="ADAL" clId="{AC3BC922-7468-4B33-A761-2B7046E5E3DB}" dt="2023-08-15T14:03:46.414" v="1077" actId="1036"/>
          <ac:grpSpMkLst>
            <pc:docMk/>
            <pc:sldMk cId="3034964083" sldId="2147479684"/>
            <ac:grpSpMk id="204" creationId="{351EEB6D-1062-68BD-3097-ADF247377207}"/>
          </ac:grpSpMkLst>
        </pc:grpChg>
      </pc:sldChg>
      <pc:sldChg chg="modSp mod addCm">
        <pc:chgData name="Brian Bambrick" userId="4a0d11bd-e942-4df0-b3ad-ad9bac78bbb3" providerId="ADAL" clId="{AC3BC922-7468-4B33-A761-2B7046E5E3DB}" dt="2023-08-15T13:32:47.254" v="325"/>
        <pc:sldMkLst>
          <pc:docMk/>
          <pc:sldMk cId="3541093670" sldId="2147479686"/>
        </pc:sldMkLst>
        <pc:spChg chg="mod">
          <ac:chgData name="Brian Bambrick" userId="4a0d11bd-e942-4df0-b3ad-ad9bac78bbb3" providerId="ADAL" clId="{AC3BC922-7468-4B33-A761-2B7046E5E3DB}" dt="2023-08-15T13:23:28.625" v="324" actId="20577"/>
          <ac:spMkLst>
            <pc:docMk/>
            <pc:sldMk cId="3541093670" sldId="2147479686"/>
            <ac:spMk id="65" creationId="{112B29F6-9E6C-C7C0-8020-9669671E299F}"/>
          </ac:spMkLst>
        </pc:spChg>
      </pc:sldChg>
      <pc:sldChg chg="add del">
        <pc:chgData name="Brian Bambrick" userId="4a0d11bd-e942-4df0-b3ad-ad9bac78bbb3" providerId="ADAL" clId="{AC3BC922-7468-4B33-A761-2B7046E5E3DB}" dt="2023-08-15T14:04:09.080" v="1078" actId="2696"/>
        <pc:sldMkLst>
          <pc:docMk/>
          <pc:sldMk cId="2666135975" sldId="2147479722"/>
        </pc:sldMkLst>
      </pc:sldChg>
      <pc:sldChg chg="new del">
        <pc:chgData name="Brian Bambrick" userId="4a0d11bd-e942-4df0-b3ad-ad9bac78bbb3" providerId="ADAL" clId="{AC3BC922-7468-4B33-A761-2B7046E5E3DB}" dt="2023-08-15T14:08:16.420" v="1080" actId="680"/>
        <pc:sldMkLst>
          <pc:docMk/>
          <pc:sldMk cId="2955217331" sldId="2147479722"/>
        </pc:sldMkLst>
      </pc:sldChg>
      <pc:sldMasterChg chg="modSldLayout">
        <pc:chgData name="Brian Bambrick" userId="4a0d11bd-e942-4df0-b3ad-ad9bac78bbb3" providerId="ADAL" clId="{AC3BC922-7468-4B33-A761-2B7046E5E3DB}" dt="2023-08-15T13:34:47.566" v="361"/>
        <pc:sldMasterMkLst>
          <pc:docMk/>
          <pc:sldMasterMk cId="1586323379" sldId="2147483862"/>
        </pc:sldMasterMkLst>
        <pc:sldLayoutChg chg="modSp mod">
          <pc:chgData name="Brian Bambrick" userId="4a0d11bd-e942-4df0-b3ad-ad9bac78bbb3" providerId="ADAL" clId="{AC3BC922-7468-4B33-A761-2B7046E5E3DB}" dt="2023-08-15T13:34:47.565" v="357"/>
          <pc:sldLayoutMkLst>
            <pc:docMk/>
            <pc:sldMasterMk cId="1586323379" sldId="2147483862"/>
            <pc:sldLayoutMk cId="3767257778" sldId="2147483863"/>
          </pc:sldLayoutMkLst>
          <pc:spChg chg="mod modVis">
            <ac:chgData name="Brian Bambrick" userId="4a0d11bd-e942-4df0-b3ad-ad9bac78bbb3" providerId="ADAL" clId="{AC3BC922-7468-4B33-A761-2B7046E5E3DB}" dt="2023-08-15T13:34:47.565" v="357"/>
            <ac:spMkLst>
              <pc:docMk/>
              <pc:sldMasterMk cId="1586323379" sldId="2147483862"/>
              <pc:sldLayoutMk cId="3767257778" sldId="2147483863"/>
              <ac:spMk id="12" creationId="{DA9741B6-D337-4A18-8ECB-FB21A6953E44}"/>
            </ac:spMkLst>
          </pc:spChg>
        </pc:sldLayoutChg>
        <pc:sldLayoutChg chg="modSp mod">
          <pc:chgData name="Brian Bambrick" userId="4a0d11bd-e942-4df0-b3ad-ad9bac78bbb3" providerId="ADAL" clId="{AC3BC922-7468-4B33-A761-2B7046E5E3DB}" dt="2023-08-15T13:34:47.565" v="359"/>
          <pc:sldLayoutMkLst>
            <pc:docMk/>
            <pc:sldMasterMk cId="1586323379" sldId="2147483862"/>
            <pc:sldLayoutMk cId="1350954426" sldId="2147483864"/>
          </pc:sldLayoutMkLst>
          <pc:spChg chg="mod modVis">
            <ac:chgData name="Brian Bambrick" userId="4a0d11bd-e942-4df0-b3ad-ad9bac78bbb3" providerId="ADAL" clId="{AC3BC922-7468-4B33-A761-2B7046E5E3DB}" dt="2023-08-15T13:34:47.565" v="359"/>
            <ac:spMkLst>
              <pc:docMk/>
              <pc:sldMasterMk cId="1586323379" sldId="2147483862"/>
              <pc:sldLayoutMk cId="1350954426" sldId="2147483864"/>
              <ac:spMk id="12" creationId="{DA9741B6-D337-4A18-8ECB-FB21A6953E44}"/>
            </ac:spMkLst>
          </pc:spChg>
        </pc:sldLayoutChg>
        <pc:sldLayoutChg chg="modSp mod">
          <pc:chgData name="Brian Bambrick" userId="4a0d11bd-e942-4df0-b3ad-ad9bac78bbb3" providerId="ADAL" clId="{AC3BC922-7468-4B33-A761-2B7046E5E3DB}" dt="2023-08-15T13:34:47.566" v="361"/>
          <pc:sldLayoutMkLst>
            <pc:docMk/>
            <pc:sldMasterMk cId="1586323379" sldId="2147483862"/>
            <pc:sldLayoutMk cId="2097239032" sldId="2147483945"/>
          </pc:sldLayoutMkLst>
          <pc:spChg chg="mod modVis">
            <ac:chgData name="Brian Bambrick" userId="4a0d11bd-e942-4df0-b3ad-ad9bac78bbb3" providerId="ADAL" clId="{AC3BC922-7468-4B33-A761-2B7046E5E3DB}" dt="2023-08-15T13:34:47.566" v="361"/>
            <ac:spMkLst>
              <pc:docMk/>
              <pc:sldMasterMk cId="1586323379" sldId="2147483862"/>
              <pc:sldLayoutMk cId="2097239032" sldId="2147483945"/>
              <ac:spMk id="23" creationId="{E820DC59-E206-4DC0-9012-584F8EBAF730}"/>
            </ac:spMkLst>
          </pc:spChg>
        </pc:sldLayoutChg>
      </pc:sldMasterChg>
      <pc:sldMasterChg chg="modSldLayout">
        <pc:chgData name="Brian Bambrick" userId="4a0d11bd-e942-4df0-b3ad-ad9bac78bbb3" providerId="ADAL" clId="{AC3BC922-7468-4B33-A761-2B7046E5E3DB}" dt="2023-08-15T13:34:47.571" v="385"/>
        <pc:sldMasterMkLst>
          <pc:docMk/>
          <pc:sldMasterMk cId="3298897061" sldId="2147483871"/>
        </pc:sldMasterMkLst>
        <pc:sldLayoutChg chg="modSp mod">
          <pc:chgData name="Brian Bambrick" userId="4a0d11bd-e942-4df0-b3ad-ad9bac78bbb3" providerId="ADAL" clId="{AC3BC922-7468-4B33-A761-2B7046E5E3DB}" dt="2023-08-15T13:34:47.566" v="363"/>
          <pc:sldLayoutMkLst>
            <pc:docMk/>
            <pc:sldMasterMk cId="3298897061" sldId="2147483871"/>
            <pc:sldLayoutMk cId="2651862868" sldId="2147483872"/>
          </pc:sldLayoutMkLst>
          <pc:spChg chg="mod modVis">
            <ac:chgData name="Brian Bambrick" userId="4a0d11bd-e942-4df0-b3ad-ad9bac78bbb3" providerId="ADAL" clId="{AC3BC922-7468-4B33-A761-2B7046E5E3DB}" dt="2023-08-15T13:34:47.566" v="363"/>
            <ac:spMkLst>
              <pc:docMk/>
              <pc:sldMasterMk cId="3298897061" sldId="2147483871"/>
              <pc:sldLayoutMk cId="2651862868" sldId="2147483872"/>
              <ac:spMk id="12" creationId="{DA9741B6-D337-4A18-8ECB-FB21A6953E44}"/>
            </ac:spMkLst>
          </pc:spChg>
        </pc:sldLayoutChg>
        <pc:sldLayoutChg chg="modSp mod">
          <pc:chgData name="Brian Bambrick" userId="4a0d11bd-e942-4df0-b3ad-ad9bac78bbb3" providerId="ADAL" clId="{AC3BC922-7468-4B33-A761-2B7046E5E3DB}" dt="2023-08-15T13:34:47.567" v="365"/>
          <pc:sldLayoutMkLst>
            <pc:docMk/>
            <pc:sldMasterMk cId="3298897061" sldId="2147483871"/>
            <pc:sldLayoutMk cId="2975444879" sldId="2147483873"/>
          </pc:sldLayoutMkLst>
          <pc:spChg chg="mod modVis">
            <ac:chgData name="Brian Bambrick" userId="4a0d11bd-e942-4df0-b3ad-ad9bac78bbb3" providerId="ADAL" clId="{AC3BC922-7468-4B33-A761-2B7046E5E3DB}" dt="2023-08-15T13:34:47.567" v="365"/>
            <ac:spMkLst>
              <pc:docMk/>
              <pc:sldMasterMk cId="3298897061" sldId="2147483871"/>
              <pc:sldLayoutMk cId="2975444879" sldId="2147483873"/>
              <ac:spMk id="12" creationId="{DA9741B6-D337-4A18-8ECB-FB21A6953E44}"/>
            </ac:spMkLst>
          </pc:spChg>
        </pc:sldLayoutChg>
        <pc:sldLayoutChg chg="modSp mod">
          <pc:chgData name="Brian Bambrick" userId="4a0d11bd-e942-4df0-b3ad-ad9bac78bbb3" providerId="ADAL" clId="{AC3BC922-7468-4B33-A761-2B7046E5E3DB}" dt="2023-08-15T13:34:47.567" v="367"/>
          <pc:sldLayoutMkLst>
            <pc:docMk/>
            <pc:sldMasterMk cId="3298897061" sldId="2147483871"/>
            <pc:sldLayoutMk cId="1244673949" sldId="2147483874"/>
          </pc:sldLayoutMkLst>
          <pc:spChg chg="mod modVis">
            <ac:chgData name="Brian Bambrick" userId="4a0d11bd-e942-4df0-b3ad-ad9bac78bbb3" providerId="ADAL" clId="{AC3BC922-7468-4B33-A761-2B7046E5E3DB}" dt="2023-08-15T13:34:47.567" v="367"/>
            <ac:spMkLst>
              <pc:docMk/>
              <pc:sldMasterMk cId="3298897061" sldId="2147483871"/>
              <pc:sldLayoutMk cId="1244673949" sldId="2147483874"/>
              <ac:spMk id="80" creationId="{EF8E9275-C0E0-4ABA-8699-73E5E292EC85}"/>
            </ac:spMkLst>
          </pc:spChg>
        </pc:sldLayoutChg>
        <pc:sldLayoutChg chg="modSp mod">
          <pc:chgData name="Brian Bambrick" userId="4a0d11bd-e942-4df0-b3ad-ad9bac78bbb3" providerId="ADAL" clId="{AC3BC922-7468-4B33-A761-2B7046E5E3DB}" dt="2023-08-15T13:34:47.567" v="369"/>
          <pc:sldLayoutMkLst>
            <pc:docMk/>
            <pc:sldMasterMk cId="3298897061" sldId="2147483871"/>
            <pc:sldLayoutMk cId="2851575894" sldId="2147483875"/>
          </pc:sldLayoutMkLst>
          <pc:spChg chg="mod modVis">
            <ac:chgData name="Brian Bambrick" userId="4a0d11bd-e942-4df0-b3ad-ad9bac78bbb3" providerId="ADAL" clId="{AC3BC922-7468-4B33-A761-2B7046E5E3DB}" dt="2023-08-15T13:34:47.567" v="369"/>
            <ac:spMkLst>
              <pc:docMk/>
              <pc:sldMasterMk cId="3298897061" sldId="2147483871"/>
              <pc:sldLayoutMk cId="2851575894" sldId="2147483875"/>
              <ac:spMk id="23" creationId="{E820DC59-E206-4DC0-9012-584F8EBAF730}"/>
            </ac:spMkLst>
          </pc:spChg>
        </pc:sldLayoutChg>
        <pc:sldLayoutChg chg="modSp mod">
          <pc:chgData name="Brian Bambrick" userId="4a0d11bd-e942-4df0-b3ad-ad9bac78bbb3" providerId="ADAL" clId="{AC3BC922-7468-4B33-A761-2B7046E5E3DB}" dt="2023-08-15T13:34:47.567" v="371"/>
          <pc:sldLayoutMkLst>
            <pc:docMk/>
            <pc:sldMasterMk cId="3298897061" sldId="2147483871"/>
            <pc:sldLayoutMk cId="2553739660" sldId="2147483876"/>
          </pc:sldLayoutMkLst>
          <pc:spChg chg="mod modVis">
            <ac:chgData name="Brian Bambrick" userId="4a0d11bd-e942-4df0-b3ad-ad9bac78bbb3" providerId="ADAL" clId="{AC3BC922-7468-4B33-A761-2B7046E5E3DB}" dt="2023-08-15T13:34:47.567" v="371"/>
            <ac:spMkLst>
              <pc:docMk/>
              <pc:sldMasterMk cId="3298897061" sldId="2147483871"/>
              <pc:sldLayoutMk cId="2553739660" sldId="2147483876"/>
              <ac:spMk id="19" creationId="{B63A7CBA-3151-452E-BD2F-D3E65CE1595F}"/>
            </ac:spMkLst>
          </pc:spChg>
        </pc:sldLayoutChg>
        <pc:sldLayoutChg chg="modSp mod">
          <pc:chgData name="Brian Bambrick" userId="4a0d11bd-e942-4df0-b3ad-ad9bac78bbb3" providerId="ADAL" clId="{AC3BC922-7468-4B33-A761-2B7046E5E3DB}" dt="2023-08-15T13:34:47.568" v="373"/>
          <pc:sldLayoutMkLst>
            <pc:docMk/>
            <pc:sldMasterMk cId="3298897061" sldId="2147483871"/>
            <pc:sldLayoutMk cId="3898934645" sldId="2147483877"/>
          </pc:sldLayoutMkLst>
          <pc:spChg chg="mod modVis">
            <ac:chgData name="Brian Bambrick" userId="4a0d11bd-e942-4df0-b3ad-ad9bac78bbb3" providerId="ADAL" clId="{AC3BC922-7468-4B33-A761-2B7046E5E3DB}" dt="2023-08-15T13:34:47.568" v="373"/>
            <ac:spMkLst>
              <pc:docMk/>
              <pc:sldMasterMk cId="3298897061" sldId="2147483871"/>
              <pc:sldLayoutMk cId="3898934645" sldId="2147483877"/>
              <ac:spMk id="19" creationId="{CF130104-FAF2-4309-9701-573F37743137}"/>
            </ac:spMkLst>
          </pc:spChg>
        </pc:sldLayoutChg>
        <pc:sldLayoutChg chg="modSp mod">
          <pc:chgData name="Brian Bambrick" userId="4a0d11bd-e942-4df0-b3ad-ad9bac78bbb3" providerId="ADAL" clId="{AC3BC922-7468-4B33-A761-2B7046E5E3DB}" dt="2023-08-15T13:34:47.568" v="375"/>
          <pc:sldLayoutMkLst>
            <pc:docMk/>
            <pc:sldMasterMk cId="3298897061" sldId="2147483871"/>
            <pc:sldLayoutMk cId="686942639" sldId="2147483883"/>
          </pc:sldLayoutMkLst>
          <pc:spChg chg="mod modVis">
            <ac:chgData name="Brian Bambrick" userId="4a0d11bd-e942-4df0-b3ad-ad9bac78bbb3" providerId="ADAL" clId="{AC3BC922-7468-4B33-A761-2B7046E5E3DB}" dt="2023-08-15T13:34:47.568" v="375"/>
            <ac:spMkLst>
              <pc:docMk/>
              <pc:sldMasterMk cId="3298897061" sldId="2147483871"/>
              <pc:sldLayoutMk cId="686942639" sldId="2147483883"/>
              <ac:spMk id="20" creationId="{B69EB865-6B86-419B-923C-F7DDC68C9C66}"/>
            </ac:spMkLst>
          </pc:spChg>
        </pc:sldLayoutChg>
        <pc:sldLayoutChg chg="modSp mod">
          <pc:chgData name="Brian Bambrick" userId="4a0d11bd-e942-4df0-b3ad-ad9bac78bbb3" providerId="ADAL" clId="{AC3BC922-7468-4B33-A761-2B7046E5E3DB}" dt="2023-08-15T13:34:47.569" v="377"/>
          <pc:sldLayoutMkLst>
            <pc:docMk/>
            <pc:sldMasterMk cId="3298897061" sldId="2147483871"/>
            <pc:sldLayoutMk cId="1436358732" sldId="2147483885"/>
          </pc:sldLayoutMkLst>
          <pc:spChg chg="mod modVis">
            <ac:chgData name="Brian Bambrick" userId="4a0d11bd-e942-4df0-b3ad-ad9bac78bbb3" providerId="ADAL" clId="{AC3BC922-7468-4B33-A761-2B7046E5E3DB}" dt="2023-08-15T13:34:47.569" v="377"/>
            <ac:spMkLst>
              <pc:docMk/>
              <pc:sldMasterMk cId="3298897061" sldId="2147483871"/>
              <pc:sldLayoutMk cId="1436358732" sldId="2147483885"/>
              <ac:spMk id="11" creationId="{8D4CA674-C969-4C5C-9EA4-6D41FE961DE2}"/>
            </ac:spMkLst>
          </pc:spChg>
        </pc:sldLayoutChg>
        <pc:sldLayoutChg chg="modSp mod">
          <pc:chgData name="Brian Bambrick" userId="4a0d11bd-e942-4df0-b3ad-ad9bac78bbb3" providerId="ADAL" clId="{AC3BC922-7468-4B33-A761-2B7046E5E3DB}" dt="2023-08-15T13:34:47.569" v="379"/>
          <pc:sldLayoutMkLst>
            <pc:docMk/>
            <pc:sldMasterMk cId="3298897061" sldId="2147483871"/>
            <pc:sldLayoutMk cId="2001212214" sldId="2147483886"/>
          </pc:sldLayoutMkLst>
          <pc:spChg chg="mod modVis">
            <ac:chgData name="Brian Bambrick" userId="4a0d11bd-e942-4df0-b3ad-ad9bac78bbb3" providerId="ADAL" clId="{AC3BC922-7468-4B33-A761-2B7046E5E3DB}" dt="2023-08-15T13:34:47.569" v="379"/>
            <ac:spMkLst>
              <pc:docMk/>
              <pc:sldMasterMk cId="3298897061" sldId="2147483871"/>
              <pc:sldLayoutMk cId="2001212214" sldId="2147483886"/>
              <ac:spMk id="6" creationId="{97A26880-8DD7-4A78-ADAF-91ED2E744A7C}"/>
            </ac:spMkLst>
          </pc:spChg>
        </pc:sldLayoutChg>
        <pc:sldLayoutChg chg="modSp mod">
          <pc:chgData name="Brian Bambrick" userId="4a0d11bd-e942-4df0-b3ad-ad9bac78bbb3" providerId="ADAL" clId="{AC3BC922-7468-4B33-A761-2B7046E5E3DB}" dt="2023-08-15T13:34:47.570" v="381"/>
          <pc:sldLayoutMkLst>
            <pc:docMk/>
            <pc:sldMasterMk cId="3298897061" sldId="2147483871"/>
            <pc:sldLayoutMk cId="2502501040" sldId="2147483887"/>
          </pc:sldLayoutMkLst>
          <pc:spChg chg="mod modVis">
            <ac:chgData name="Brian Bambrick" userId="4a0d11bd-e942-4df0-b3ad-ad9bac78bbb3" providerId="ADAL" clId="{AC3BC922-7468-4B33-A761-2B7046E5E3DB}" dt="2023-08-15T13:34:47.570" v="381"/>
            <ac:spMkLst>
              <pc:docMk/>
              <pc:sldMasterMk cId="3298897061" sldId="2147483871"/>
              <pc:sldLayoutMk cId="2502501040" sldId="2147483887"/>
              <ac:spMk id="10" creationId="{9B070B28-7AAC-47E5-9EB5-96B8B8B88057}"/>
            </ac:spMkLst>
          </pc:spChg>
        </pc:sldLayoutChg>
        <pc:sldLayoutChg chg="modSp mod">
          <pc:chgData name="Brian Bambrick" userId="4a0d11bd-e942-4df0-b3ad-ad9bac78bbb3" providerId="ADAL" clId="{AC3BC922-7468-4B33-A761-2B7046E5E3DB}" dt="2023-08-15T13:34:47.570" v="383"/>
          <pc:sldLayoutMkLst>
            <pc:docMk/>
            <pc:sldMasterMk cId="3298897061" sldId="2147483871"/>
            <pc:sldLayoutMk cId="1771166054" sldId="2147483888"/>
          </pc:sldLayoutMkLst>
          <pc:spChg chg="mod modVis">
            <ac:chgData name="Brian Bambrick" userId="4a0d11bd-e942-4df0-b3ad-ad9bac78bbb3" providerId="ADAL" clId="{AC3BC922-7468-4B33-A761-2B7046E5E3DB}" dt="2023-08-15T13:34:47.570" v="383"/>
            <ac:spMkLst>
              <pc:docMk/>
              <pc:sldMasterMk cId="3298897061" sldId="2147483871"/>
              <pc:sldLayoutMk cId="1771166054" sldId="2147483888"/>
              <ac:spMk id="14" creationId="{9773E7D9-2434-4381-A00D-27B62C086733}"/>
            </ac:spMkLst>
          </pc:spChg>
        </pc:sldLayoutChg>
        <pc:sldLayoutChg chg="modSp mod">
          <pc:chgData name="Brian Bambrick" userId="4a0d11bd-e942-4df0-b3ad-ad9bac78bbb3" providerId="ADAL" clId="{AC3BC922-7468-4B33-A761-2B7046E5E3DB}" dt="2023-08-15T13:34:47.571" v="385"/>
          <pc:sldLayoutMkLst>
            <pc:docMk/>
            <pc:sldMasterMk cId="3298897061" sldId="2147483871"/>
            <pc:sldLayoutMk cId="2026342208" sldId="2147483897"/>
          </pc:sldLayoutMkLst>
          <pc:spChg chg="mod modVis">
            <ac:chgData name="Brian Bambrick" userId="4a0d11bd-e942-4df0-b3ad-ad9bac78bbb3" providerId="ADAL" clId="{AC3BC922-7468-4B33-A761-2B7046E5E3DB}" dt="2023-08-15T13:34:47.571" v="385"/>
            <ac:spMkLst>
              <pc:docMk/>
              <pc:sldMasterMk cId="3298897061" sldId="2147483871"/>
              <pc:sldLayoutMk cId="2026342208" sldId="2147483897"/>
              <ac:spMk id="6" creationId="{07E26922-A33C-4191-8E2B-AF4AB14B5936}"/>
            </ac:spMkLst>
          </pc:spChg>
        </pc:sldLayoutChg>
      </pc:sldMasterChg>
    </pc:docChg>
  </pc:docChgLst>
  <pc:docChgLst>
    <pc:chgData name="Immanuel J Daniel" userId="S::immanuel.johnston.daniel@ie.ey.com::b9141605-49ff-443e-8af4-0c21e2766a66" providerId="AD" clId="Web-{1DAFAA41-423D-5265-4591-0685A7297610}"/>
    <pc:docChg chg="modSld">
      <pc:chgData name="Immanuel J Daniel" userId="S::immanuel.johnston.daniel@ie.ey.com::b9141605-49ff-443e-8af4-0c21e2766a66" providerId="AD" clId="Web-{1DAFAA41-423D-5265-4591-0685A7297610}" dt="2023-07-25T09:58:48.608" v="73"/>
      <pc:docMkLst>
        <pc:docMk/>
      </pc:docMkLst>
      <pc:sldChg chg="delSp modSp">
        <pc:chgData name="Immanuel J Daniel" userId="S::immanuel.johnston.daniel@ie.ey.com::b9141605-49ff-443e-8af4-0c21e2766a66" providerId="AD" clId="Web-{1DAFAA41-423D-5265-4591-0685A7297610}" dt="2023-07-25T09:58:48.608" v="73"/>
        <pc:sldMkLst>
          <pc:docMk/>
          <pc:sldMk cId="2074381867" sldId="2147479609"/>
        </pc:sldMkLst>
        <pc:graphicFrameChg chg="mod modGraphic">
          <ac:chgData name="Immanuel J Daniel" userId="S::immanuel.johnston.daniel@ie.ey.com::b9141605-49ff-443e-8af4-0c21e2766a66" providerId="AD" clId="Web-{1DAFAA41-423D-5265-4591-0685A7297610}" dt="2023-07-25T09:58:43.811" v="72"/>
          <ac:graphicFrameMkLst>
            <pc:docMk/>
            <pc:sldMk cId="2074381867" sldId="2147479609"/>
            <ac:graphicFrameMk id="3" creationId="{A8C79D6C-A7C9-DB57-D69D-756EB168AE4F}"/>
          </ac:graphicFrameMkLst>
        </pc:graphicFrameChg>
        <pc:picChg chg="del">
          <ac:chgData name="Immanuel J Daniel" userId="S::immanuel.johnston.daniel@ie.ey.com::b9141605-49ff-443e-8af4-0c21e2766a66" providerId="AD" clId="Web-{1DAFAA41-423D-5265-4591-0685A7297610}" dt="2023-07-25T09:58:48.608" v="73"/>
          <ac:picMkLst>
            <pc:docMk/>
            <pc:sldMk cId="2074381867" sldId="2147479609"/>
            <ac:picMk id="105" creationId="{0658A200-E198-5ACF-B913-8A29143DFC6E}"/>
          </ac:picMkLst>
        </pc:picChg>
      </pc:sldChg>
    </pc:docChg>
  </pc:docChgLst>
  <pc:docChgLst>
    <pc:chgData name="Immanuel J Daniel" userId="S::immanuel.johnston.daniel@ie.ey.com::b9141605-49ff-443e-8af4-0c21e2766a66" providerId="AD" clId="Web-{5EA88E8A-7200-B49B-DF3F-E8E6D5B2C08A}"/>
    <pc:docChg chg="mod modSld sldOrd">
      <pc:chgData name="Immanuel J Daniel" userId="S::immanuel.johnston.daniel@ie.ey.com::b9141605-49ff-443e-8af4-0c21e2766a66" providerId="AD" clId="Web-{5EA88E8A-7200-B49B-DF3F-E8E6D5B2C08A}" dt="2023-07-24T11:27:36.839" v="21"/>
      <pc:docMkLst>
        <pc:docMk/>
      </pc:docMkLst>
      <pc:sldChg chg="ord">
        <pc:chgData name="Immanuel J Daniel" userId="S::immanuel.johnston.daniel@ie.ey.com::b9141605-49ff-443e-8af4-0c21e2766a66" providerId="AD" clId="Web-{5EA88E8A-7200-B49B-DF3F-E8E6D5B2C08A}" dt="2023-07-24T11:23:29.222" v="18"/>
        <pc:sldMkLst>
          <pc:docMk/>
          <pc:sldMk cId="2364299347" sldId="2147473116"/>
        </pc:sldMkLst>
      </pc:sldChg>
      <pc:sldChg chg="modSp">
        <pc:chgData name="Immanuel J Daniel" userId="S::immanuel.johnston.daniel@ie.ey.com::b9141605-49ff-443e-8af4-0c21e2766a66" providerId="AD" clId="Web-{5EA88E8A-7200-B49B-DF3F-E8E6D5B2C08A}" dt="2023-07-24T11:23:12.659" v="17" actId="20577"/>
        <pc:sldMkLst>
          <pc:docMk/>
          <pc:sldMk cId="3168648727" sldId="2147479555"/>
        </pc:sldMkLst>
        <pc:spChg chg="mod">
          <ac:chgData name="Immanuel J Daniel" userId="S::immanuel.johnston.daniel@ie.ey.com::b9141605-49ff-443e-8af4-0c21e2766a66" providerId="AD" clId="Web-{5EA88E8A-7200-B49B-DF3F-E8E6D5B2C08A}" dt="2023-07-24T11:19:36.621" v="2" actId="20577"/>
          <ac:spMkLst>
            <pc:docMk/>
            <pc:sldMk cId="3168648727" sldId="2147479555"/>
            <ac:spMk id="32" creationId="{68AFBBC2-7F7E-4854-BE55-04CEE013C0FB}"/>
          </ac:spMkLst>
        </pc:spChg>
        <pc:spChg chg="mod">
          <ac:chgData name="Immanuel J Daniel" userId="S::immanuel.johnston.daniel@ie.ey.com::b9141605-49ff-443e-8af4-0c21e2766a66" providerId="AD" clId="Web-{5EA88E8A-7200-B49B-DF3F-E8E6D5B2C08A}" dt="2023-07-24T11:23:12.659" v="17" actId="20577"/>
          <ac:spMkLst>
            <pc:docMk/>
            <pc:sldMk cId="3168648727" sldId="2147479555"/>
            <ac:spMk id="1027" creationId="{0C3475B8-9541-BE05-AF3A-24F898D414EB}"/>
          </ac:spMkLst>
        </pc:spChg>
      </pc:sldChg>
      <pc:sldChg chg="modCm">
        <pc:chgData name="Immanuel J Daniel" userId="S::immanuel.johnston.daniel@ie.ey.com::b9141605-49ff-443e-8af4-0c21e2766a66" providerId="AD" clId="Web-{5EA88E8A-7200-B49B-DF3F-E8E6D5B2C08A}" dt="2023-07-24T11:26:00.039" v="20"/>
        <pc:sldMkLst>
          <pc:docMk/>
          <pc:sldMk cId="2959984300" sldId="2147479565"/>
        </pc:sldMkLst>
      </pc:sldChg>
      <pc:sldChg chg="modCm">
        <pc:chgData name="Immanuel J Daniel" userId="S::immanuel.johnston.daniel@ie.ey.com::b9141605-49ff-443e-8af4-0c21e2766a66" providerId="AD" clId="Web-{5EA88E8A-7200-B49B-DF3F-E8E6D5B2C08A}" dt="2023-07-24T11:27:36.839" v="21"/>
        <pc:sldMkLst>
          <pc:docMk/>
          <pc:sldMk cId="1584002695" sldId="2147479590"/>
        </pc:sldMkLst>
      </pc:sldChg>
    </pc:docChg>
  </pc:docChgLst>
  <pc:docChgLst>
    <pc:chgData name="Immanuel J Daniel" userId="S::immanuel.johnston.daniel@ie.ey.com::b9141605-49ff-443e-8af4-0c21e2766a66" providerId="AD" clId="Web-{02729073-F1E6-FFE3-1449-CD97EBC9ED1B}"/>
    <pc:docChg chg="modSld">
      <pc:chgData name="Immanuel J Daniel" userId="S::immanuel.johnston.daniel@ie.ey.com::b9141605-49ff-443e-8af4-0c21e2766a66" providerId="AD" clId="Web-{02729073-F1E6-FFE3-1449-CD97EBC9ED1B}" dt="2023-07-21T10:14:43.910" v="46" actId="20577"/>
      <pc:docMkLst>
        <pc:docMk/>
      </pc:docMkLst>
      <pc:sldChg chg="delSp modSp">
        <pc:chgData name="Immanuel J Daniel" userId="S::immanuel.johnston.daniel@ie.ey.com::b9141605-49ff-443e-8af4-0c21e2766a66" providerId="AD" clId="Web-{02729073-F1E6-FFE3-1449-CD97EBC9ED1B}" dt="2023-07-21T10:10:49.014" v="10" actId="20577"/>
        <pc:sldMkLst>
          <pc:docMk/>
          <pc:sldMk cId="2692628411" sldId="728"/>
        </pc:sldMkLst>
        <pc:spChg chg="mod">
          <ac:chgData name="Immanuel J Daniel" userId="S::immanuel.johnston.daniel@ie.ey.com::b9141605-49ff-443e-8af4-0c21e2766a66" providerId="AD" clId="Web-{02729073-F1E6-FFE3-1449-CD97EBC9ED1B}" dt="2023-07-21T10:10:49.014" v="10" actId="20577"/>
          <ac:spMkLst>
            <pc:docMk/>
            <pc:sldMk cId="2692628411" sldId="728"/>
            <ac:spMk id="9" creationId="{00000000-0000-0000-0000-000000000000}"/>
          </ac:spMkLst>
        </pc:spChg>
        <pc:picChg chg="del mod">
          <ac:chgData name="Immanuel J Daniel" userId="S::immanuel.johnston.daniel@ie.ey.com::b9141605-49ff-443e-8af4-0c21e2766a66" providerId="AD" clId="Web-{02729073-F1E6-FFE3-1449-CD97EBC9ED1B}" dt="2023-07-21T10:10:07.763" v="2"/>
          <ac:picMkLst>
            <pc:docMk/>
            <pc:sldMk cId="2692628411" sldId="728"/>
            <ac:picMk id="2" creationId="{EA6B08A3-E6EC-45A6-97EB-93B59FB3CD57}"/>
          </ac:picMkLst>
        </pc:picChg>
        <pc:picChg chg="del">
          <ac:chgData name="Immanuel J Daniel" userId="S::immanuel.johnston.daniel@ie.ey.com::b9141605-49ff-443e-8af4-0c21e2766a66" providerId="AD" clId="Web-{02729073-F1E6-FFE3-1449-CD97EBC9ED1B}" dt="2023-07-21T10:10:07.763" v="6"/>
          <ac:picMkLst>
            <pc:docMk/>
            <pc:sldMk cId="2692628411" sldId="728"/>
            <ac:picMk id="3" creationId="{F556333C-0E35-4A92-A854-8B93FA45FF31}"/>
          </ac:picMkLst>
        </pc:picChg>
        <pc:picChg chg="del">
          <ac:chgData name="Immanuel J Daniel" userId="S::immanuel.johnston.daniel@ie.ey.com::b9141605-49ff-443e-8af4-0c21e2766a66" providerId="AD" clId="Web-{02729073-F1E6-FFE3-1449-CD97EBC9ED1B}" dt="2023-07-21T10:10:07.763" v="5"/>
          <ac:picMkLst>
            <pc:docMk/>
            <pc:sldMk cId="2692628411" sldId="728"/>
            <ac:picMk id="7" creationId="{56332148-F504-469E-A7BE-E9E3E9FDC19E}"/>
          </ac:picMkLst>
        </pc:picChg>
        <pc:picChg chg="del">
          <ac:chgData name="Immanuel J Daniel" userId="S::immanuel.johnston.daniel@ie.ey.com::b9141605-49ff-443e-8af4-0c21e2766a66" providerId="AD" clId="Web-{02729073-F1E6-FFE3-1449-CD97EBC9ED1B}" dt="2023-07-21T10:10:07.763" v="3"/>
          <ac:picMkLst>
            <pc:docMk/>
            <pc:sldMk cId="2692628411" sldId="728"/>
            <ac:picMk id="11" creationId="{BE9FB165-A0C4-4BC6-818B-C10661B95CC6}"/>
          </ac:picMkLst>
        </pc:picChg>
        <pc:picChg chg="del">
          <ac:chgData name="Immanuel J Daniel" userId="S::immanuel.johnston.daniel@ie.ey.com::b9141605-49ff-443e-8af4-0c21e2766a66" providerId="AD" clId="Web-{02729073-F1E6-FFE3-1449-CD97EBC9ED1B}" dt="2023-07-21T10:10:07.763" v="4"/>
          <ac:picMkLst>
            <pc:docMk/>
            <pc:sldMk cId="2692628411" sldId="728"/>
            <ac:picMk id="20" creationId="{1BC32020-A786-4F29-AC56-D7B34044189B}"/>
          </ac:picMkLst>
        </pc:picChg>
        <pc:inkChg chg="del">
          <ac:chgData name="Immanuel J Daniel" userId="S::immanuel.johnston.daniel@ie.ey.com::b9141605-49ff-443e-8af4-0c21e2766a66" providerId="AD" clId="Web-{02729073-F1E6-FFE3-1449-CD97EBC9ED1B}" dt="2023-07-21T10:10:10.825" v="7"/>
          <ac:inkMkLst>
            <pc:docMk/>
            <pc:sldMk cId="2692628411" sldId="728"/>
            <ac:inkMk id="18" creationId="{8DB569DD-34AA-494F-B7FD-49533582E82D}"/>
          </ac:inkMkLst>
        </pc:inkChg>
      </pc:sldChg>
      <pc:sldChg chg="addSp modSp">
        <pc:chgData name="Immanuel J Daniel" userId="S::immanuel.johnston.daniel@ie.ey.com::b9141605-49ff-443e-8af4-0c21e2766a66" providerId="AD" clId="Web-{02729073-F1E6-FFE3-1449-CD97EBC9ED1B}" dt="2023-07-21T10:14:43.910" v="46" actId="20577"/>
        <pc:sldMkLst>
          <pc:docMk/>
          <pc:sldMk cId="1569982749" sldId="2142535160"/>
        </pc:sldMkLst>
        <pc:spChg chg="add mod">
          <ac:chgData name="Immanuel J Daniel" userId="S::immanuel.johnston.daniel@ie.ey.com::b9141605-49ff-443e-8af4-0c21e2766a66" providerId="AD" clId="Web-{02729073-F1E6-FFE3-1449-CD97EBC9ED1B}" dt="2023-07-21T10:12:56.720" v="38" actId="1076"/>
          <ac:spMkLst>
            <pc:docMk/>
            <pc:sldMk cId="1569982749" sldId="2142535160"/>
            <ac:spMk id="2" creationId="{F6509F0A-76E8-327B-FC3F-309E67BA2FF6}"/>
          </ac:spMkLst>
        </pc:spChg>
        <pc:spChg chg="add mod">
          <ac:chgData name="Immanuel J Daniel" userId="S::immanuel.johnston.daniel@ie.ey.com::b9141605-49ff-443e-8af4-0c21e2766a66" providerId="AD" clId="Web-{02729073-F1E6-FFE3-1449-CD97EBC9ED1B}" dt="2023-07-21T10:14:03.221" v="44" actId="1076"/>
          <ac:spMkLst>
            <pc:docMk/>
            <pc:sldMk cId="1569982749" sldId="2142535160"/>
            <ac:spMk id="4" creationId="{000C7826-6AF1-7E39-A47F-526D03FE600C}"/>
          </ac:spMkLst>
        </pc:spChg>
        <pc:spChg chg="add mod">
          <ac:chgData name="Immanuel J Daniel" userId="S::immanuel.johnston.daniel@ie.ey.com::b9141605-49ff-443e-8af4-0c21e2766a66" providerId="AD" clId="Web-{02729073-F1E6-FFE3-1449-CD97EBC9ED1B}" dt="2023-07-21T10:14:43.910" v="46" actId="20577"/>
          <ac:spMkLst>
            <pc:docMk/>
            <pc:sldMk cId="1569982749" sldId="2142535160"/>
            <ac:spMk id="5" creationId="{8C5AF90F-51B0-6DA3-E6DF-5D2BAD359F61}"/>
          </ac:spMkLst>
        </pc:spChg>
        <pc:spChg chg="mod">
          <ac:chgData name="Immanuel J Daniel" userId="S::immanuel.johnston.daniel@ie.ey.com::b9141605-49ff-443e-8af4-0c21e2766a66" providerId="AD" clId="Web-{02729073-F1E6-FFE3-1449-CD97EBC9ED1B}" dt="2023-07-21T10:13:48.612" v="43" actId="1076"/>
          <ac:spMkLst>
            <pc:docMk/>
            <pc:sldMk cId="1569982749" sldId="2142535160"/>
            <ac:spMk id="41" creationId="{B6D55723-E75F-4003-B079-9C36419AD28F}"/>
          </ac:spMkLst>
        </pc:spChg>
        <pc:spChg chg="mod">
          <ac:chgData name="Immanuel J Daniel" userId="S::immanuel.johnston.daniel@ie.ey.com::b9141605-49ff-443e-8af4-0c21e2766a66" providerId="AD" clId="Web-{02729073-F1E6-FFE3-1449-CD97EBC9ED1B}" dt="2023-07-21T10:13:38.987" v="42" actId="1076"/>
          <ac:spMkLst>
            <pc:docMk/>
            <pc:sldMk cId="1569982749" sldId="2142535160"/>
            <ac:spMk id="42" creationId="{6FB47840-2903-46BB-8088-444E1E89EB9B}"/>
          </ac:spMkLst>
        </pc:spChg>
        <pc:spChg chg="mod">
          <ac:chgData name="Immanuel J Daniel" userId="S::immanuel.johnston.daniel@ie.ey.com::b9141605-49ff-443e-8af4-0c21e2766a66" providerId="AD" clId="Web-{02729073-F1E6-FFE3-1449-CD97EBC9ED1B}" dt="2023-07-21T10:13:02.361" v="39" actId="1076"/>
          <ac:spMkLst>
            <pc:docMk/>
            <pc:sldMk cId="1569982749" sldId="2142535160"/>
            <ac:spMk id="43" creationId="{F70A18C1-6F7D-4357-8FFF-E2A5F5CE8D8F}"/>
          </ac:spMkLst>
        </pc:spChg>
      </pc:sldChg>
    </pc:docChg>
  </pc:docChgLst>
  <pc:docChgLst>
    <pc:chgData name="Paul Browne" userId="S::paul.browne@ie.ey.com::454025d3-a6e9-4992-968a-01d28be10bb4" providerId="AD" clId="Web-{328B6650-450E-23AC-645F-B264596627B4}"/>
    <pc:docChg chg="modSld">
      <pc:chgData name="Paul Browne" userId="S::paul.browne@ie.ey.com::454025d3-a6e9-4992-968a-01d28be10bb4" providerId="AD" clId="Web-{328B6650-450E-23AC-645F-B264596627B4}" dt="2023-05-22T14:17:06.784" v="1" actId="14100"/>
      <pc:docMkLst>
        <pc:docMk/>
      </pc:docMkLst>
      <pc:sldChg chg="modSp">
        <pc:chgData name="Paul Browne" userId="S::paul.browne@ie.ey.com::454025d3-a6e9-4992-968a-01d28be10bb4" providerId="AD" clId="Web-{328B6650-450E-23AC-645F-B264596627B4}" dt="2023-05-22T14:17:06.784" v="1" actId="14100"/>
        <pc:sldMkLst>
          <pc:docMk/>
          <pc:sldMk cId="3270732291" sldId="2147473086"/>
        </pc:sldMkLst>
        <pc:picChg chg="mod">
          <ac:chgData name="Paul Browne" userId="S::paul.browne@ie.ey.com::454025d3-a6e9-4992-968a-01d28be10bb4" providerId="AD" clId="Web-{328B6650-450E-23AC-645F-B264596627B4}" dt="2023-05-22T14:17:06.784" v="1" actId="14100"/>
          <ac:picMkLst>
            <pc:docMk/>
            <pc:sldMk cId="3270732291" sldId="2147473086"/>
            <ac:picMk id="104" creationId="{027C4C63-F342-7D6E-BC02-1ABF36A7B180}"/>
          </ac:picMkLst>
        </pc:picChg>
      </pc:sldChg>
    </pc:docChg>
  </pc:docChgLst>
  <pc:docChgLst>
    <pc:chgData name="Shidin Haridas" userId="3071142a-3ddc-482b-9fc6-71165c37ec32" providerId="ADAL" clId="{AC92B47F-0B07-4274-8A2B-5EF210811B94}"/>
    <pc:docChg chg="sldOrd">
      <pc:chgData name="Shidin Haridas" userId="3071142a-3ddc-482b-9fc6-71165c37ec32" providerId="ADAL" clId="{AC92B47F-0B07-4274-8A2B-5EF210811B94}" dt="2023-06-02T13:18:35.755" v="0" actId="20578"/>
      <pc:docMkLst>
        <pc:docMk/>
      </pc:docMkLst>
      <pc:sldChg chg="ord">
        <pc:chgData name="Shidin Haridas" userId="3071142a-3ddc-482b-9fc6-71165c37ec32" providerId="ADAL" clId="{AC92B47F-0B07-4274-8A2B-5EF210811B94}" dt="2023-06-02T13:18:35.755" v="0" actId="20578"/>
        <pc:sldMkLst>
          <pc:docMk/>
          <pc:sldMk cId="633734048" sldId="2142535106"/>
        </pc:sldMkLst>
      </pc:sldChg>
    </pc:docChg>
  </pc:docChgLst>
  <pc:docChgLst>
    <pc:chgData name="Immanuel J Daniel" userId="S::immanuel.johnston.daniel@ie.ey.com::b9141605-49ff-443e-8af4-0c21e2766a66" providerId="AD" clId="Web-{05E36DE3-4CF0-A9D3-8F29-09BC3E1DDF48}"/>
    <pc:docChg chg="modSld">
      <pc:chgData name="Immanuel J Daniel" userId="S::immanuel.johnston.daniel@ie.ey.com::b9141605-49ff-443e-8af4-0c21e2766a66" providerId="AD" clId="Web-{05E36DE3-4CF0-A9D3-8F29-09BC3E1DDF48}" dt="2023-08-15T10:44:41.943" v="1"/>
      <pc:docMkLst>
        <pc:docMk/>
      </pc:docMkLst>
      <pc:sldChg chg="modCm">
        <pc:chgData name="Immanuel J Daniel" userId="S::immanuel.johnston.daniel@ie.ey.com::b9141605-49ff-443e-8af4-0c21e2766a66" providerId="AD" clId="Web-{05E36DE3-4CF0-A9D3-8F29-09BC3E1DDF48}" dt="2023-08-15T10:44:41.943" v="1"/>
        <pc:sldMkLst>
          <pc:docMk/>
          <pc:sldMk cId="2943416714" sldId="2147473090"/>
        </pc:sldMkLst>
        <pc:extLst>
          <p:ext xmlns:p="http://schemas.openxmlformats.org/presentationml/2006/main" uri="{D6D511B9-2390-475A-947B-AFAB55BFBCF1}">
            <pc226:cmChg xmlns="" xmlns:pc226="http://schemas.microsoft.com/office/powerpoint/2022/06/main/command" chg="">
              <pc226:chgData name="Immanuel J Daniel" userId="S::immanuel.johnston.daniel@ie.ey.com::b9141605-49ff-443e-8af4-0c21e2766a66" providerId="AD" clId="Web-{05E36DE3-4CF0-A9D3-8F29-09BC3E1DDF48}" dt="2023-08-15T10:44:41.943" v="1"/>
              <pc2:cmMkLst xmlns:pc2="http://schemas.microsoft.com/office/powerpoint/2019/9/main/command">
                <pc:docMk/>
                <pc:sldMk cId="2943416714" sldId="2147473090"/>
                <pc2:cmMk id="{5D404E63-EE13-4603-9885-B29E52E4D284}"/>
              </pc2:cmMkLst>
              <pc226:cmRplyChg chg="add">
                <pc226:chgData name="Immanuel J Daniel" userId="S::immanuel.johnston.daniel@ie.ey.com::b9141605-49ff-443e-8af4-0c21e2766a66" providerId="AD" clId="Web-{05E36DE3-4CF0-A9D3-8F29-09BC3E1DDF48}" dt="2023-08-15T10:44:41.943" v="1"/>
                <pc2:cmRplyMkLst xmlns:pc2="http://schemas.microsoft.com/office/powerpoint/2019/9/main/command">
                  <pc:docMk/>
                  <pc:sldMk cId="2943416714" sldId="2147473090"/>
                  <pc2:cmMk id="{5D404E63-EE13-4603-9885-B29E52E4D284}"/>
                  <pc2:cmRplyMk id="{7ECAC941-FE3A-4CB1-8F08-640D293944FA}"/>
                </pc2:cmRplyMkLst>
              </pc226:cmRplyChg>
            </pc226:cmChg>
          </p:ext>
        </pc:extLst>
      </pc:sldChg>
      <pc:sldChg chg="modSp">
        <pc:chgData name="Immanuel J Daniel" userId="S::immanuel.johnston.daniel@ie.ey.com::b9141605-49ff-443e-8af4-0c21e2766a66" providerId="AD" clId="Web-{05E36DE3-4CF0-A9D3-8F29-09BC3E1DDF48}" dt="2023-08-15T10:43:42.363" v="0" actId="20577"/>
        <pc:sldMkLst>
          <pc:docMk/>
          <pc:sldMk cId="2588773507" sldId="2147479707"/>
        </pc:sldMkLst>
        <pc:spChg chg="mod">
          <ac:chgData name="Immanuel J Daniel" userId="S::immanuel.johnston.daniel@ie.ey.com::b9141605-49ff-443e-8af4-0c21e2766a66" providerId="AD" clId="Web-{05E36DE3-4CF0-A9D3-8F29-09BC3E1DDF48}" dt="2023-08-15T10:43:42.363" v="0" actId="20577"/>
          <ac:spMkLst>
            <pc:docMk/>
            <pc:sldMk cId="2588773507" sldId="2147479707"/>
            <ac:spMk id="4" creationId="{E432C490-8501-4DEB-9800-36DD8F00D9DA}"/>
          </ac:spMkLst>
        </pc:spChg>
      </pc:sldChg>
    </pc:docChg>
  </pc:docChgLst>
  <pc:docChgLst>
    <pc:chgData name="Ahmed Helmy" userId="S::ahmed.helmy@ie.ey.com::00ab2dc9-190a-451b-8f35-a658adf790b2" providerId="AD" clId="Web-{97F98082-824E-101B-5D57-7A9EFE84576F}"/>
    <pc:docChg chg="modSld">
      <pc:chgData name="Ahmed Helmy" userId="S::ahmed.helmy@ie.ey.com::00ab2dc9-190a-451b-8f35-a658adf790b2" providerId="AD" clId="Web-{97F98082-824E-101B-5D57-7A9EFE84576F}" dt="2023-08-02T13:43:27.143" v="35"/>
      <pc:docMkLst>
        <pc:docMk/>
      </pc:docMkLst>
      <pc:sldChg chg="modSp">
        <pc:chgData name="Ahmed Helmy" userId="S::ahmed.helmy@ie.ey.com::00ab2dc9-190a-451b-8f35-a658adf790b2" providerId="AD" clId="Web-{97F98082-824E-101B-5D57-7A9EFE84576F}" dt="2023-08-02T13:41:53.436" v="5"/>
        <pc:sldMkLst>
          <pc:docMk/>
          <pc:sldMk cId="2550533011" sldId="2147479673"/>
        </pc:sldMkLst>
        <pc:graphicFrameChg chg="mod modGraphic">
          <ac:chgData name="Ahmed Helmy" userId="S::ahmed.helmy@ie.ey.com::00ab2dc9-190a-451b-8f35-a658adf790b2" providerId="AD" clId="Web-{97F98082-824E-101B-5D57-7A9EFE84576F}" dt="2023-08-02T13:41:53.436" v="5"/>
          <ac:graphicFrameMkLst>
            <pc:docMk/>
            <pc:sldMk cId="2550533011" sldId="2147479673"/>
            <ac:graphicFrameMk id="7" creationId="{5DCABCDC-296C-4F88-B983-ADE23267D9A0}"/>
          </ac:graphicFrameMkLst>
        </pc:graphicFrameChg>
      </pc:sldChg>
      <pc:sldChg chg="modSp">
        <pc:chgData name="Ahmed Helmy" userId="S::ahmed.helmy@ie.ey.com::00ab2dc9-190a-451b-8f35-a658adf790b2" providerId="AD" clId="Web-{97F98082-824E-101B-5D57-7A9EFE84576F}" dt="2023-08-02T13:43:27.143" v="35"/>
        <pc:sldMkLst>
          <pc:docMk/>
          <pc:sldMk cId="1379980121" sldId="2147479674"/>
        </pc:sldMkLst>
        <pc:graphicFrameChg chg="mod modGraphic">
          <ac:chgData name="Ahmed Helmy" userId="S::ahmed.helmy@ie.ey.com::00ab2dc9-190a-451b-8f35-a658adf790b2" providerId="AD" clId="Web-{97F98082-824E-101B-5D57-7A9EFE84576F}" dt="2023-08-02T13:43:27.143" v="35"/>
          <ac:graphicFrameMkLst>
            <pc:docMk/>
            <pc:sldMk cId="1379980121" sldId="2147479674"/>
            <ac:graphicFrameMk id="3" creationId="{3451C71F-C329-CFAC-20D5-D224F1EA9CA9}"/>
          </ac:graphicFrameMkLst>
        </pc:graphicFrameChg>
      </pc:sldChg>
      <pc:sldChg chg="modSp">
        <pc:chgData name="Ahmed Helmy" userId="S::ahmed.helmy@ie.ey.com::00ab2dc9-190a-451b-8f35-a658adf790b2" providerId="AD" clId="Web-{97F98082-824E-101B-5D57-7A9EFE84576F}" dt="2023-08-02T13:43:04.205" v="31"/>
        <pc:sldMkLst>
          <pc:docMk/>
          <pc:sldMk cId="2959099894" sldId="2147479678"/>
        </pc:sldMkLst>
        <pc:graphicFrameChg chg="mod modGraphic">
          <ac:chgData name="Ahmed Helmy" userId="S::ahmed.helmy@ie.ey.com::00ab2dc9-190a-451b-8f35-a658adf790b2" providerId="AD" clId="Web-{97F98082-824E-101B-5D57-7A9EFE84576F}" dt="2023-08-02T13:43:04.205" v="31"/>
          <ac:graphicFrameMkLst>
            <pc:docMk/>
            <pc:sldMk cId="2959099894" sldId="2147479678"/>
            <ac:graphicFrameMk id="2" creationId="{2C6B1AC5-CB7D-3F99-FD63-71D0D177EF9B}"/>
          </ac:graphicFrameMkLst>
        </pc:graphicFrameChg>
      </pc:sldChg>
      <pc:sldChg chg="modSp">
        <pc:chgData name="Ahmed Helmy" userId="S::ahmed.helmy@ie.ey.com::00ab2dc9-190a-451b-8f35-a658adf790b2" providerId="AD" clId="Web-{97F98082-824E-101B-5D57-7A9EFE84576F}" dt="2023-08-02T13:42:26.219" v="21"/>
        <pc:sldMkLst>
          <pc:docMk/>
          <pc:sldMk cId="3711356101" sldId="2147479680"/>
        </pc:sldMkLst>
        <pc:graphicFrameChg chg="mod modGraphic">
          <ac:chgData name="Ahmed Helmy" userId="S::ahmed.helmy@ie.ey.com::00ab2dc9-190a-451b-8f35-a658adf790b2" providerId="AD" clId="Web-{97F98082-824E-101B-5D57-7A9EFE84576F}" dt="2023-08-02T13:42:26.219" v="21"/>
          <ac:graphicFrameMkLst>
            <pc:docMk/>
            <pc:sldMk cId="3711356101" sldId="2147479680"/>
            <ac:graphicFrameMk id="3" creationId="{20E610EF-F192-B8D0-31AC-99AD5AF5A907}"/>
          </ac:graphicFrameMkLst>
        </pc:graphicFrameChg>
      </pc:sldChg>
      <pc:sldChg chg="modSp">
        <pc:chgData name="Ahmed Helmy" userId="S::ahmed.helmy@ie.ey.com::00ab2dc9-190a-451b-8f35-a658adf790b2" providerId="AD" clId="Web-{97F98082-824E-101B-5D57-7A9EFE84576F}" dt="2023-08-02T13:43:09.924" v="33"/>
        <pc:sldMkLst>
          <pc:docMk/>
          <pc:sldMk cId="2458956774" sldId="2147479681"/>
        </pc:sldMkLst>
        <pc:graphicFrameChg chg="mod modGraphic">
          <ac:chgData name="Ahmed Helmy" userId="S::ahmed.helmy@ie.ey.com::00ab2dc9-190a-451b-8f35-a658adf790b2" providerId="AD" clId="Web-{97F98082-824E-101B-5D57-7A9EFE84576F}" dt="2023-08-02T13:43:09.924" v="33"/>
          <ac:graphicFrameMkLst>
            <pc:docMk/>
            <pc:sldMk cId="2458956774" sldId="2147479681"/>
            <ac:graphicFrameMk id="2" creationId="{2C6B1AC5-CB7D-3F99-FD63-71D0D177EF9B}"/>
          </ac:graphicFrameMkLst>
        </pc:graphicFrameChg>
      </pc:sldChg>
    </pc:docChg>
  </pc:docChgLst>
  <pc:docChgLst>
    <pc:chgData name="Immanuel J Daniel" userId="S::immanuel.johnston.daniel@ie.ey.com::b9141605-49ff-443e-8af4-0c21e2766a66" providerId="AD" clId="Web-{1A5CB108-A674-DBE9-14C9-F22931908AA5}"/>
    <pc:docChg chg="modSld modSection">
      <pc:chgData name="Immanuel J Daniel" userId="S::immanuel.johnston.daniel@ie.ey.com::b9141605-49ff-443e-8af4-0c21e2766a66" providerId="AD" clId="Web-{1A5CB108-A674-DBE9-14C9-F22931908AA5}" dt="2023-07-27T15:09:34.410" v="79"/>
      <pc:docMkLst>
        <pc:docMk/>
      </pc:docMkLst>
      <pc:sldChg chg="modSp">
        <pc:chgData name="Immanuel J Daniel" userId="S::immanuel.johnston.daniel@ie.ey.com::b9141605-49ff-443e-8af4-0c21e2766a66" providerId="AD" clId="Web-{1A5CB108-A674-DBE9-14C9-F22931908AA5}" dt="2023-07-27T09:17:31.617" v="3" actId="20577"/>
        <pc:sldMkLst>
          <pc:docMk/>
          <pc:sldMk cId="3505510019" sldId="2142535109"/>
        </pc:sldMkLst>
        <pc:spChg chg="mod">
          <ac:chgData name="Immanuel J Daniel" userId="S::immanuel.johnston.daniel@ie.ey.com::b9141605-49ff-443e-8af4-0c21e2766a66" providerId="AD" clId="Web-{1A5CB108-A674-DBE9-14C9-F22931908AA5}" dt="2023-07-27T09:17:31.617" v="3" actId="20577"/>
          <ac:spMkLst>
            <pc:docMk/>
            <pc:sldMk cId="3505510019" sldId="2142535109"/>
            <ac:spMk id="3" creationId="{54653C93-EE7D-BEDF-D2B4-67B3FBB2F9ED}"/>
          </ac:spMkLst>
        </pc:spChg>
      </pc:sldChg>
      <pc:sldChg chg="addSp modSp">
        <pc:chgData name="Immanuel J Daniel" userId="S::immanuel.johnston.daniel@ie.ey.com::b9141605-49ff-443e-8af4-0c21e2766a66" providerId="AD" clId="Web-{1A5CB108-A674-DBE9-14C9-F22931908AA5}" dt="2023-07-27T09:20:16.358" v="25" actId="20577"/>
        <pc:sldMkLst>
          <pc:docMk/>
          <pc:sldMk cId="1569982749" sldId="2142535160"/>
        </pc:sldMkLst>
        <pc:spChg chg="mod">
          <ac:chgData name="Immanuel J Daniel" userId="S::immanuel.johnston.daniel@ie.ey.com::b9141605-49ff-443e-8af4-0c21e2766a66" providerId="AD" clId="Web-{1A5CB108-A674-DBE9-14C9-F22931908AA5}" dt="2023-07-27T09:19:48.763" v="18" actId="20577"/>
          <ac:spMkLst>
            <pc:docMk/>
            <pc:sldMk cId="1569982749" sldId="2142535160"/>
            <ac:spMk id="4" creationId="{000C7826-6AF1-7E39-A47F-526D03FE600C}"/>
          </ac:spMkLst>
        </pc:spChg>
        <pc:spChg chg="add mod">
          <ac:chgData name="Immanuel J Daniel" userId="S::immanuel.johnston.daniel@ie.ey.com::b9141605-49ff-443e-8af4-0c21e2766a66" providerId="AD" clId="Web-{1A5CB108-A674-DBE9-14C9-F22931908AA5}" dt="2023-07-27T09:20:16.358" v="25" actId="20577"/>
          <ac:spMkLst>
            <pc:docMk/>
            <pc:sldMk cId="1569982749" sldId="2142535160"/>
            <ac:spMk id="5" creationId="{A078B296-1339-EF0E-8B97-0A3F7D290E85}"/>
          </ac:spMkLst>
        </pc:spChg>
      </pc:sldChg>
      <pc:sldChg chg="modSp">
        <pc:chgData name="Immanuel J Daniel" userId="S::immanuel.johnston.daniel@ie.ey.com::b9141605-49ff-443e-8af4-0c21e2766a66" providerId="AD" clId="Web-{1A5CB108-A674-DBE9-14C9-F22931908AA5}" dt="2023-07-27T15:09:34.410" v="79"/>
        <pc:sldMkLst>
          <pc:docMk/>
          <pc:sldMk cId="2074381867" sldId="2147479609"/>
        </pc:sldMkLst>
        <pc:graphicFrameChg chg="mod modGraphic">
          <ac:chgData name="Immanuel J Daniel" userId="S::immanuel.johnston.daniel@ie.ey.com::b9141605-49ff-443e-8af4-0c21e2766a66" providerId="AD" clId="Web-{1A5CB108-A674-DBE9-14C9-F22931908AA5}" dt="2023-07-27T15:09:34.410" v="79"/>
          <ac:graphicFrameMkLst>
            <pc:docMk/>
            <pc:sldMk cId="2074381867" sldId="2147479609"/>
            <ac:graphicFrameMk id="3" creationId="{A8C79D6C-A7C9-DB57-D69D-756EB168AE4F}"/>
          </ac:graphicFrameMkLst>
        </pc:graphicFrameChg>
      </pc:sldChg>
    </pc:docChg>
  </pc:docChgLst>
  <pc:docChgLst>
    <pc:chgData name="Ahmed Helmy" userId="S::ahmed.helmy@ie.ey.com::00ab2dc9-190a-451b-8f35-a658adf790b2" providerId="AD" clId="Web-{A76F639E-6AC3-F9B3-103E-C8A40CBB5B45}"/>
    <pc:docChg chg="modSld">
      <pc:chgData name="Ahmed Helmy" userId="S::ahmed.helmy@ie.ey.com::00ab2dc9-190a-451b-8f35-a658adf790b2" providerId="AD" clId="Web-{A76F639E-6AC3-F9B3-103E-C8A40CBB5B45}" dt="2023-07-31T09:16:56.870" v="18" actId="20577"/>
      <pc:docMkLst>
        <pc:docMk/>
      </pc:docMkLst>
      <pc:sldChg chg="modSp">
        <pc:chgData name="Ahmed Helmy" userId="S::ahmed.helmy@ie.ey.com::00ab2dc9-190a-451b-8f35-a658adf790b2" providerId="AD" clId="Web-{A76F639E-6AC3-F9B3-103E-C8A40CBB5B45}" dt="2023-07-31T09:15:11.836" v="15" actId="14100"/>
        <pc:sldMkLst>
          <pc:docMk/>
          <pc:sldMk cId="1254331358" sldId="2147479623"/>
        </pc:sldMkLst>
        <pc:spChg chg="mod">
          <ac:chgData name="Ahmed Helmy" userId="S::ahmed.helmy@ie.ey.com::00ab2dc9-190a-451b-8f35-a658adf790b2" providerId="AD" clId="Web-{A76F639E-6AC3-F9B3-103E-C8A40CBB5B45}" dt="2023-07-31T09:15:11.836" v="15" actId="14100"/>
          <ac:spMkLst>
            <pc:docMk/>
            <pc:sldMk cId="1254331358" sldId="2147479623"/>
            <ac:spMk id="3" creationId="{A3E0401D-34B9-84E0-1877-7D73E3473042}"/>
          </ac:spMkLst>
        </pc:spChg>
        <pc:spChg chg="mod">
          <ac:chgData name="Ahmed Helmy" userId="S::ahmed.helmy@ie.ey.com::00ab2dc9-190a-451b-8f35-a658adf790b2" providerId="AD" clId="Web-{A76F639E-6AC3-F9B3-103E-C8A40CBB5B45}" dt="2023-07-31T09:14:56.507" v="14" actId="20577"/>
          <ac:spMkLst>
            <pc:docMk/>
            <pc:sldMk cId="1254331358" sldId="2147479623"/>
            <ac:spMk id="6" creationId="{DB57BDEC-391C-BDCB-C111-D57C96DB51A4}"/>
          </ac:spMkLst>
        </pc:spChg>
      </pc:sldChg>
      <pc:sldChg chg="modSp">
        <pc:chgData name="Ahmed Helmy" userId="S::ahmed.helmy@ie.ey.com::00ab2dc9-190a-451b-8f35-a658adf790b2" providerId="AD" clId="Web-{A76F639E-6AC3-F9B3-103E-C8A40CBB5B45}" dt="2023-07-31T09:16:56.870" v="18" actId="20577"/>
        <pc:sldMkLst>
          <pc:docMk/>
          <pc:sldMk cId="523484127" sldId="2147479637"/>
        </pc:sldMkLst>
        <pc:spChg chg="mod">
          <ac:chgData name="Ahmed Helmy" userId="S::ahmed.helmy@ie.ey.com::00ab2dc9-190a-451b-8f35-a658adf790b2" providerId="AD" clId="Web-{A76F639E-6AC3-F9B3-103E-C8A40CBB5B45}" dt="2023-07-31T09:16:56.870" v="18" actId="20577"/>
          <ac:spMkLst>
            <pc:docMk/>
            <pc:sldMk cId="523484127" sldId="2147479637"/>
            <ac:spMk id="10" creationId="{FBFA8DAE-1093-AD7D-A547-843DB0D98E19}"/>
          </ac:spMkLst>
        </pc:spChg>
      </pc:sldChg>
    </pc:docChg>
  </pc:docChgLst>
  <pc:docChgLst>
    <pc:chgData name="Terry Maguire" userId="2249fb97-a567-4f7b-b39b-1c4ca33163fa" providerId="ADAL" clId="{54CB69BD-61B9-43EA-A06E-56C338521FC1}"/>
    <pc:docChg chg="modSld">
      <pc:chgData name="Terry Maguire" userId="2249fb97-a567-4f7b-b39b-1c4ca33163fa" providerId="ADAL" clId="{54CB69BD-61B9-43EA-A06E-56C338521FC1}" dt="2023-04-25T10:27:59.656" v="3" actId="20577"/>
      <pc:docMkLst>
        <pc:docMk/>
      </pc:docMkLst>
      <pc:sldChg chg="modSp mod">
        <pc:chgData name="Terry Maguire" userId="2249fb97-a567-4f7b-b39b-1c4ca33163fa" providerId="ADAL" clId="{54CB69BD-61B9-43EA-A06E-56C338521FC1}" dt="2023-04-25T10:27:59.656" v="3" actId="20577"/>
        <pc:sldMkLst>
          <pc:docMk/>
          <pc:sldMk cId="2692628411" sldId="728"/>
        </pc:sldMkLst>
        <pc:spChg chg="mod">
          <ac:chgData name="Terry Maguire" userId="2249fb97-a567-4f7b-b39b-1c4ca33163fa" providerId="ADAL" clId="{54CB69BD-61B9-43EA-A06E-56C338521FC1}" dt="2023-04-25T10:27:59.656" v="3" actId="20577"/>
          <ac:spMkLst>
            <pc:docMk/>
            <pc:sldMk cId="2692628411" sldId="728"/>
            <ac:spMk id="9" creationId="{00000000-0000-0000-0000-000000000000}"/>
          </ac:spMkLst>
        </pc:spChg>
        <pc:picChg chg="mod">
          <ac:chgData name="Terry Maguire" userId="2249fb97-a567-4f7b-b39b-1c4ca33163fa" providerId="ADAL" clId="{54CB69BD-61B9-43EA-A06E-56C338521FC1}" dt="2023-04-25T10:27:29.285" v="1" actId="1076"/>
          <ac:picMkLst>
            <pc:docMk/>
            <pc:sldMk cId="2692628411" sldId="728"/>
            <ac:picMk id="21" creationId="{3F631ACE-01A8-4AFD-BBAF-4412E86BCE38}"/>
          </ac:picMkLst>
        </pc:picChg>
      </pc:sldChg>
    </pc:docChg>
  </pc:docChgLst>
</pc:chgInfo>
</file>

<file path=ppt/comments/modernComment_2D8_A07E3FBB.xml><?xml version="1.0" encoding="utf-8"?>
<p188:cmLst xmlns:a="http://schemas.openxmlformats.org/drawingml/2006/main" xmlns:r="http://schemas.openxmlformats.org/officeDocument/2006/relationships" xmlns:p188="http://schemas.microsoft.com/office/powerpoint/2018/8/main">
  <p188:cm id="{C94CA023-73A2-4362-B7C8-FB6BD71D9088}" authorId="{EC6DFC0E-34D9-DA25-FA2F-0506010E6802}" created="2023-08-11T12:14:46.201">
    <pc:sldMkLst xmlns:pc="http://schemas.microsoft.com/office/powerpoint/2013/main/command">
      <pc:docMk/>
      <pc:sldMk cId="2692628411" sldId="728"/>
    </pc:sldMkLst>
    <p188:replyLst>
      <p188:reply id="{3CD2CAE3-70D0-4BF1-A571-E35E60126E2E}" authorId="{D9730D20-9693-B279-3B55-3E49B120B039}" created="2023-08-11T13:08:25.208">
        <p188:txBody>
          <a:bodyPr/>
          <a:lstStyle/>
          <a:p>
            <a:r>
              <a:rPr lang="en-US"/>
              <a:t>[@Matthew Macfarlane] can we also add Ronan Glynn? </a:t>
            </a:r>
          </a:p>
        </p188:txBody>
      </p188:reply>
    </p188:replyLst>
    <p188:txBody>
      <a:bodyPr/>
      <a:lstStyle/>
      <a:p>
        <a:r>
          <a:rPr lang="en-IE"/>
          <a:t>Profile photos</a:t>
        </a:r>
      </a:p>
    </p188:txBody>
  </p188:cm>
</p188:cmLst>
</file>

<file path=ppt/comments/modernComment_7FFFD6BE_C2F36A03.xml><?xml version="1.0" encoding="utf-8"?>
<p188:cmLst xmlns:a="http://schemas.openxmlformats.org/drawingml/2006/main" xmlns:r="http://schemas.openxmlformats.org/officeDocument/2006/relationships" xmlns:p188="http://schemas.microsoft.com/office/powerpoint/2018/8/main">
  <p188:cm id="{597E734A-33AD-418F-A1A0-2E8ED3949958}" authorId="{D9730D20-9693-B279-3B55-3E49B120B039}" status="resolved" created="2023-08-02T13:09:11.661" complete="100000">
    <pc:sldMkLst xmlns:pc="http://schemas.microsoft.com/office/powerpoint/2013/main/command">
      <pc:docMk/>
      <pc:sldMk cId="3270732291" sldId="2147473086"/>
    </pc:sldMkLst>
    <p188:txBody>
      <a:bodyPr/>
      <a:lstStyle/>
      <a:p>
        <a:r>
          <a:rPr lang="en-US"/>
          <a:t>Add Kerry?</a:t>
        </a:r>
      </a:p>
    </p188:txBody>
  </p188:cm>
  <p188:cm id="{8F60F54B-B2C7-4FE1-AD57-2639F88F4925}" authorId="{47EA7E3B-FFA5-9DD7-F09B-65427C4B1586}" status="resolved" created="2023-08-02T14:30:20.424" complete="100000">
    <pc:sldMkLst xmlns:pc="http://schemas.microsoft.com/office/powerpoint/2013/main/command">
      <pc:docMk/>
      <pc:sldMk cId="3270732291" sldId="2147473086"/>
    </pc:sldMkLst>
    <p188:replyLst>
      <p188:reply id="{370CEDD6-E2F0-4316-BB16-A0D857384504}" authorId="{D9730D20-9693-B279-3B55-3E49B120B039}" created="2023-08-11T11:20:47.671">
        <p188:txBody>
          <a:bodyPr/>
          <a:lstStyle/>
          <a:p>
            <a:r>
              <a:rPr lang="en-US"/>
              <a:t>Done.</a:t>
            </a:r>
          </a:p>
        </p188:txBody>
      </p188:reply>
    </p188:replyLst>
    <p188:txBody>
      <a:bodyPr/>
      <a:lstStyle/>
      <a:p>
        <a:r>
          <a:rPr lang="en-IE"/>
          <a:t>I think this slide should go a bit higher - lot of global before we get to local, perhaps local then global.</a:t>
        </a:r>
      </a:p>
    </p188:txBody>
    <p188:extLst>
      <p:ext xmlns:p="http://schemas.openxmlformats.org/presentationml/2006/main" uri="{57CB4572-C831-44C2-8A1C-0ADB6CCDFE69}">
        <p223:reactions xmlns:p223="http://schemas.microsoft.com/office/powerpoint/2022/03/main" xmlns="">
          <p223:rxn type="👍">
            <p223:instance time="2023-08-03T14:43:12.839" authorId="{D9730D20-9693-B279-3B55-3E49B120B039}"/>
          </p223:rxn>
        </p223:reactions>
      </p:ext>
    </p188:extLst>
  </p188:cm>
</p188:cmLst>
</file>

<file path=ppt/comments/modernComment_7FFFD6CF_2121F4D6.xml><?xml version="1.0" encoding="utf-8"?>
<p188:cmLst xmlns:a="http://schemas.openxmlformats.org/drawingml/2006/main" xmlns:r="http://schemas.openxmlformats.org/officeDocument/2006/relationships" xmlns:p188="http://schemas.microsoft.com/office/powerpoint/2018/8/main">
  <p188:cm id="{0252C372-52E0-4ED7-B7B8-C5AE85DA96DC}" authorId="{D9730D20-9693-B279-3B55-3E49B120B039}" created="2023-08-02T15:09:32.838">
    <pc:sldMkLst xmlns:pc="http://schemas.microsoft.com/office/powerpoint/2013/main/command">
      <pc:docMk/>
      <pc:sldMk cId="555873494" sldId="2147473103"/>
    </pc:sldMkLst>
    <p188:txBody>
      <a:bodyPr/>
      <a:lstStyle/>
      <a:p>
        <a:r>
          <a:rPr lang="en-US"/>
          <a:t>TBD - Separate Tender Response Document available for Insurance and Financials.  </a:t>
        </a:r>
      </a:p>
    </p188:txBody>
  </p188:cm>
</p188:cmLst>
</file>

<file path=ppt/comments/modernComment_7FFFD6D2_E166C796.xml><?xml version="1.0" encoding="utf-8"?>
<p188:cmLst xmlns:a="http://schemas.openxmlformats.org/drawingml/2006/main" xmlns:r="http://schemas.openxmlformats.org/officeDocument/2006/relationships" xmlns:p188="http://schemas.microsoft.com/office/powerpoint/2018/8/main">
  <p188:cm id="{AC3759DB-D889-4A8B-AD43-D384706772CB}" authorId="{DDDF3EC4-635C-937A-6DF5-BBDD5E2D15C0}" status="resolved" created="2023-07-22T11:45:58.498" complete="100000">
    <pc:sldMkLst xmlns:pc="http://schemas.microsoft.com/office/powerpoint/2013/main/command">
      <pc:docMk/>
      <pc:sldMk cId="3781609366" sldId="2147473106"/>
    </pc:sldMkLst>
    <p188:txBody>
      <a:bodyPr/>
      <a:lstStyle/>
      <a:p>
        <a:r>
          <a:rPr lang="en-IE"/>
          <a:t>[@Immanuel] and [@Matthew], reverted the content of this side to the original Kerry deck as there is no need to change / add to it.</a:t>
        </a:r>
      </a:p>
    </p188:txBody>
  </p188:cm>
</p188:cmLst>
</file>

<file path=ppt/comments/modernComment_7FFFD715_B936028B.xml><?xml version="1.0" encoding="utf-8"?>
<p188:cmLst xmlns:a="http://schemas.openxmlformats.org/drawingml/2006/main" xmlns:r="http://schemas.openxmlformats.org/officeDocument/2006/relationships" xmlns:p188="http://schemas.microsoft.com/office/powerpoint/2018/8/main">
  <p188:cm id="{5AF81B1B-3480-4654-B903-B46C9FFCD435}" authorId="{47EA7E3B-FFA5-9DD7-F09B-65427C4B1586}" created="2023-08-02T15:13:23.821">
    <pc:sldMkLst xmlns:pc="http://schemas.microsoft.com/office/powerpoint/2013/main/command">
      <pc:docMk/>
      <pc:sldMk cId="3107324555" sldId="2147473173"/>
    </pc:sldMkLst>
    <p188:txBody>
      <a:bodyPr/>
      <a:lstStyle/>
      <a:p>
        <a:r>
          <a:rPr lang="en-IE"/>
          <a:t>Need to review the requirements for creds, however there may be better creds out there i.e. data center transformation (550 VMs) in Hastings UK they are FS but could be a good cred.</a:t>
        </a:r>
      </a:p>
    </p188:txBody>
  </p188:cm>
</p188:cmLst>
</file>

<file path=ppt/comments/modernComment_7FFFF026_5E69F687.xml><?xml version="1.0" encoding="utf-8"?>
<p188:cmLst xmlns:a="http://schemas.openxmlformats.org/drawingml/2006/main" xmlns:r="http://schemas.openxmlformats.org/officeDocument/2006/relationships" xmlns:p188="http://schemas.microsoft.com/office/powerpoint/2018/8/main">
  <p188:cm id="{CF1D45E5-BA45-4168-9D63-9B1443BF178C}" authorId="{FEB00BD1-4E3E-8996-191D-8DB66C790BA4}" created="2023-08-15T13:40:34.258">
    <ac:txMkLst xmlns:ac="http://schemas.microsoft.com/office/drawing/2013/main/command">
      <pc:docMk xmlns:pc="http://schemas.microsoft.com/office/powerpoint/2013/main/command"/>
      <pc:sldMk xmlns:pc="http://schemas.microsoft.com/office/powerpoint/2013/main/command" cId="1584002695" sldId="2147479590"/>
      <ac:spMk id="3" creationId="{054356EA-79F4-3612-54CC-809CBFF37041}"/>
      <ac:txMk cp="290" len="17">
        <ac:context len="2484" hash="3157207056"/>
      </ac:txMk>
    </ac:txMkLst>
    <p188:pos x="6854935" y="348587"/>
    <p188:txBody>
      <a:bodyPr/>
      <a:lstStyle/>
      <a:p>
        <a:r>
          <a:rPr lang="en-IE"/>
          <a:t>I don't like the wording "example" here. Consider something like "reference architecture" instead?</a:t>
        </a:r>
      </a:p>
    </p188:txBody>
  </p188:cm>
  <p188:cm id="{687E7347-CF51-4A92-B84D-488F51D1191A}" authorId="{FEB00BD1-4E3E-8996-191D-8DB66C790BA4}" created="2023-08-15T13:46:01.884">
    <ac:txMkLst xmlns:ac="http://schemas.microsoft.com/office/drawing/2013/main/command">
      <pc:docMk xmlns:pc="http://schemas.microsoft.com/office/powerpoint/2013/main/command"/>
      <pc:sldMk xmlns:pc="http://schemas.microsoft.com/office/powerpoint/2013/main/command" cId="1584002695" sldId="2147479590"/>
      <ac:spMk id="3" creationId="{054356EA-79F4-3612-54CC-809CBFF37041}"/>
      <ac:txMk cp="1668" len="73">
        <ac:context len="2484" hash="3157207056"/>
      </ac:txMk>
    </ac:txMkLst>
    <p188:pos x="10924015" y="2146907"/>
    <p188:txBody>
      <a:bodyPr/>
      <a:lstStyle/>
      <a:p>
        <a:r>
          <a:rPr lang="en-IE"/>
          <a:t>Is there a mention of who will do this maintenance? Is it part of our job? Might be good to call this out here.</a:t>
        </a:r>
      </a:p>
    </p188:txBody>
  </p188:cm>
</p188:cmLst>
</file>

<file path=ppt/comments/modernComment_7FFFF02F_8EC88590.xml><?xml version="1.0" encoding="utf-8"?>
<p188:cmLst xmlns:a="http://schemas.openxmlformats.org/drawingml/2006/main" xmlns:r="http://schemas.openxmlformats.org/officeDocument/2006/relationships" xmlns:p188="http://schemas.microsoft.com/office/powerpoint/2018/8/main">
  <p188:cm id="{7D62B19A-2B42-4A09-9DEC-2E4A1366B38C}" authorId="{FEB00BD1-4E3E-8996-191D-8DB66C790BA4}" created="2023-08-15T13:54:56.225">
    <pc:sldMkLst xmlns:pc="http://schemas.microsoft.com/office/powerpoint/2013/main/command">
      <pc:docMk/>
      <pc:sldMk cId="2395506064" sldId="2147479599"/>
    </pc:sldMkLst>
    <p188:txBody>
      <a:bodyPr/>
      <a:lstStyle/>
      <a:p>
        <a:r>
          <a:rPr lang="en-IE"/>
          <a:t>I'd suggest putting Backup and Recovery slides beside each other as they naturally are pretty interconnected.</a:t>
        </a:r>
      </a:p>
    </p188:txBody>
  </p188:cm>
</p188:cmLst>
</file>

<file path=ppt/comments/modernComment_7FFFF040_DAF34B9C.xml><?xml version="1.0" encoding="utf-8"?>
<p188:cmLst xmlns:a="http://schemas.openxmlformats.org/drawingml/2006/main" xmlns:r="http://schemas.openxmlformats.org/officeDocument/2006/relationships" xmlns:p188="http://schemas.microsoft.com/office/powerpoint/2018/8/main">
  <p188:cm id="{9FC39839-394E-4765-97DC-A1A27942DD6A}" authorId="{47EA7E3B-FFA5-9DD7-F09B-65427C4B1586}" created="2023-08-02T14:42:50.618">
    <pc:sldMkLst xmlns:pc="http://schemas.microsoft.com/office/powerpoint/2013/main/command">
      <pc:docMk/>
      <pc:sldMk cId="3673377692" sldId="2147479616"/>
    </pc:sldMkLst>
    <p188:txBody>
      <a:bodyPr/>
      <a:lstStyle/>
      <a:p>
        <a:r>
          <a:rPr lang="en-IE"/>
          <a:t>Format is wrong here, not using Calibri.</a:t>
        </a:r>
      </a:p>
    </p188:txBody>
  </p188:cm>
</p188:cmLst>
</file>

<file path=ppt/comments/modernComment_7FFFF042_4338444F.xml><?xml version="1.0" encoding="utf-8"?>
<p188:cmLst xmlns:a="http://schemas.openxmlformats.org/drawingml/2006/main" xmlns:r="http://schemas.openxmlformats.org/officeDocument/2006/relationships" xmlns:p188="http://schemas.microsoft.com/office/powerpoint/2018/8/main">
  <p188:cm id="{925A3D8C-2BDB-4673-8A8E-919A50ACB214}" authorId="{47EA7E3B-FFA5-9DD7-F09B-65427C4B1586}" created="2023-08-02T14:39:01.574">
    <pc:sldMkLst xmlns:pc="http://schemas.microsoft.com/office/powerpoint/2013/main/command">
      <pc:docMk/>
      <pc:sldMk cId="1127760975" sldId="2147479618"/>
    </pc:sldMkLst>
    <p188:txBody>
      <a:bodyPr/>
      <a:lstStyle/>
      <a:p>
        <a:r>
          <a:rPr lang="en-IE"/>
          <a:t>Format is wrong here, not using Calibri.</a:t>
        </a:r>
      </a:p>
    </p188:txBody>
  </p188:cm>
</p188:cmLst>
</file>

<file path=ppt/comments/modernComment_7FFFF050_512B4ECC.xml><?xml version="1.0" encoding="utf-8"?>
<p188:cmLst xmlns:a="http://schemas.openxmlformats.org/drawingml/2006/main" xmlns:r="http://schemas.openxmlformats.org/officeDocument/2006/relationships" xmlns:p188="http://schemas.microsoft.com/office/powerpoint/2018/8/main">
  <p188:cm id="{1D9796B6-B921-4D9F-B1FE-76059C9F48CE}" authorId="{DCE02102-A22F-D06B-E9E9-F9BA1CCAB09D}" created="2023-08-09T11:12:22.996">
    <ac:txMkLst xmlns:ac="http://schemas.microsoft.com/office/drawing/2013/main/command">
      <pc:docMk xmlns:pc="http://schemas.microsoft.com/office/powerpoint/2013/main/command"/>
      <pc:sldMk xmlns:pc="http://schemas.microsoft.com/office/powerpoint/2013/main/command" cId="1361792716" sldId="2147479632"/>
      <ac:spMk id="8" creationId="{7824D54C-15D2-467C-A016-166944D0781C}"/>
      <ac:txMk cp="6" len="18">
        <ac:context len="25" hash="3553821126"/>
      </ac:txMk>
    </ac:txMkLst>
    <p188:pos x="2812026" y="394948"/>
    <p188:txBody>
      <a:bodyPr/>
      <a:lstStyle/>
      <a:p>
        <a:r>
          <a:rPr lang="en-GB"/>
          <a:t>Majority of the ISO Certifications shown on the following slides are UK or Global based.  Please confirm these are ok to be used.</a:t>
        </a:r>
      </a:p>
    </p188:txBody>
  </p188:cm>
</p188:cmLst>
</file>

<file path=ppt/comments/modernComment_7FFFF055_1F33BBDF.xml><?xml version="1.0" encoding="utf-8"?>
<p188:cmLst xmlns:a="http://schemas.openxmlformats.org/drawingml/2006/main" xmlns:r="http://schemas.openxmlformats.org/officeDocument/2006/relationships" xmlns:p188="http://schemas.microsoft.com/office/powerpoint/2018/8/main">
  <p188:cm id="{E173BA51-68DD-4CC5-A6E0-63FD2FDC934A}" authorId="{750B0335-F334-9E54-A4E2-73132CED306D}" status="resolved" created="2023-07-26T12:16:00.189" complete="100000">
    <pc:sldMkLst xmlns:pc="http://schemas.microsoft.com/office/powerpoint/2013/main/command">
      <pc:docMk/>
      <pc:sldMk cId="523484127" sldId="2147479637"/>
    </pc:sldMkLst>
    <p188:txBody>
      <a:bodyPr/>
      <a:lstStyle/>
      <a:p>
        <a:r>
          <a:rPr lang="en-US"/>
          <a:t>This slide to be reviewed / modified after covering the clarification questions</a:t>
        </a:r>
      </a:p>
    </p188:txBody>
  </p188:cm>
  <p188:cm id="{BD4943C1-5B6D-4B94-AEA7-75F497539B4E}" authorId="{DDDF3EC4-635C-937A-6DF5-BBDD5E2D15C0}" created="2023-07-27T14:19:27.542">
    <ac:deMkLst xmlns:ac="http://schemas.microsoft.com/office/drawing/2013/main/command">
      <pc:docMk xmlns:pc="http://schemas.microsoft.com/office/powerpoint/2013/main/command"/>
      <pc:sldMk xmlns:pc="http://schemas.microsoft.com/office/powerpoint/2013/main/command" cId="523484127" sldId="2147479637"/>
      <ac:spMk id="10" creationId="{FBFA8DAE-1093-AD7D-A547-843DB0D98E19}"/>
    </ac:deMkLst>
    <p188:txBody>
      <a:bodyPr/>
      <a:lstStyle/>
      <a:p>
        <a:r>
          <a:rPr lang="en-IE"/>
          <a:t>@Ahmed, this is a good place holder until we get answers to the questions we asked. The content will most likely need to be changed based on the response to the questions.</a:t>
        </a:r>
      </a:p>
    </p188:txBody>
  </p188:cm>
</p188:cmLst>
</file>

<file path=ppt/comments/modernComment_7FFFF056_7ECA86C3.xml><?xml version="1.0" encoding="utf-8"?>
<p188:cmLst xmlns:a="http://schemas.openxmlformats.org/drawingml/2006/main" xmlns:r="http://schemas.openxmlformats.org/officeDocument/2006/relationships" xmlns:p188="http://schemas.microsoft.com/office/powerpoint/2018/8/main">
  <p188:cm id="{FF6EEF29-41C8-40DF-A477-90149B8BFDBF}" authorId="{47EA7E3B-FFA5-9DD7-F09B-65427C4B1586}" created="2023-08-02T14:42:30.278">
    <pc:sldMkLst xmlns:pc="http://schemas.microsoft.com/office/powerpoint/2013/main/command">
      <pc:docMk/>
      <pc:sldMk cId="2127201987" sldId="2147479638"/>
    </pc:sldMkLst>
    <p188:txBody>
      <a:bodyPr/>
      <a:lstStyle/>
      <a:p>
        <a:r>
          <a:rPr lang="en-IE"/>
          <a:t>Format is wrong here, not using Calibri.</a:t>
        </a:r>
      </a:p>
    </p188:txBody>
  </p188:cm>
</p188:cmLst>
</file>

<file path=ppt/comments/modernComment_7FFFF059_C7975E2.xml><?xml version="1.0" encoding="utf-8"?>
<p188:cmLst xmlns:a="http://schemas.openxmlformats.org/drawingml/2006/main" xmlns:r="http://schemas.openxmlformats.org/officeDocument/2006/relationships" xmlns:p188="http://schemas.microsoft.com/office/powerpoint/2018/8/main">
  <p188:cm id="{B5ACF356-E5F3-4800-9797-1661C8CAABE8}" authorId="{47EA7E3B-FFA5-9DD7-F09B-65427C4B1586}" created="2023-08-02T14:42:39.736">
    <pc:sldMkLst xmlns:pc="http://schemas.microsoft.com/office/powerpoint/2013/main/command">
      <pc:docMk/>
      <pc:sldMk cId="209286626" sldId="2147479641"/>
    </pc:sldMkLst>
    <p188:txBody>
      <a:bodyPr/>
      <a:lstStyle/>
      <a:p>
        <a:r>
          <a:rPr lang="en-IE"/>
          <a:t>Format is wrong here, not using Calibri.</a:t>
        </a:r>
      </a:p>
    </p188:txBody>
  </p188:cm>
</p188:cmLst>
</file>

<file path=ppt/comments/modernComment_7FFFF061_A17F65D3.xml><?xml version="1.0" encoding="utf-8"?>
<p188:cmLst xmlns:a="http://schemas.openxmlformats.org/drawingml/2006/main" xmlns:r="http://schemas.openxmlformats.org/officeDocument/2006/relationships" xmlns:p188="http://schemas.microsoft.com/office/powerpoint/2018/8/main">
  <p188:cm id="{33D1C5E1-0C55-41F1-B057-E1D2FD75C74B}" authorId="{DCE02102-A22F-D06B-E9E9-F9BA1CCAB09D}" created="2023-08-01T09:53:44.008">
    <pc:sldMkLst xmlns:pc="http://schemas.microsoft.com/office/powerpoint/2013/main/command">
      <pc:docMk/>
      <pc:sldMk cId="1412110567" sldId="2147479649"/>
    </pc:sldMkLst>
    <p188:replyLst>
      <p188:reply id="{734CDE56-7100-47A4-937C-8058B89A4D60}" authorId="{D9730D20-9693-B279-3B55-3E49B120B039}" created="2023-08-11T14:06:33.449">
        <p188:txBody>
          <a:bodyPr/>
          <a:lstStyle/>
          <a:p>
            <a:r>
              <a:rPr lang="en-US"/>
              <a:t>[@Plunkett Kelly] I would suggest to retain this slide.</a:t>
            </a:r>
          </a:p>
        </p188:txBody>
      </p188:reply>
      <p188:reply id="{489EB93B-A7FA-4834-9315-69D8324A4466}" authorId="{5234D9FA-46B5-D7EF-AA5A-4864A6EFA8C8}" created="2023-08-11T14:08:38.562">
        <p188:txBody>
          <a:bodyPr/>
          <a:lstStyle/>
          <a:p>
            <a:r>
              <a:rPr lang="en-US"/>
              <a:t>ok thanks</a:t>
            </a:r>
          </a:p>
        </p188:txBody>
      </p188:reply>
    </p188:replyLst>
    <p188:txBody>
      <a:bodyPr/>
      <a:lstStyle/>
      <a:p>
        <a:r>
          <a:rPr lang="en-GB"/>
          <a:t>@Immanuel J Daniel/@Matthew Macfarlane, can you review this slide and if it either needs to be added to the Quality Assurance process within the 'Detailed Delivery Approach', kept here or removed altogether?  It does cover what is on slide 67 and the Level 3: Service Quality Review. Thanks</a:t>
        </a:r>
      </a:p>
    </p188:txBody>
  </p188:cm>
</p188:cmLst>
</file>

<file path=ppt/comments/modernComment_7FFFF063_2EE95CD7.xml><?xml version="1.0" encoding="utf-8"?>
<p188:cmLst xmlns:a="http://schemas.openxmlformats.org/drawingml/2006/main" xmlns:r="http://schemas.openxmlformats.org/officeDocument/2006/relationships" xmlns:p188="http://schemas.microsoft.com/office/powerpoint/2018/8/main">
  <p188:cm id="{F8381688-1F67-4763-820F-0CE03F5278D5}" authorId="{3916B8DD-280A-5613-E642-2DA3C64C8423}" created="2023-07-28T11:22:38.501">
    <ac:txMkLst xmlns:ac="http://schemas.microsoft.com/office/drawing/2013/main/command">
      <pc:docMk xmlns:pc="http://schemas.microsoft.com/office/powerpoint/2013/main/command"/>
      <pc:sldMk xmlns:pc="http://schemas.microsoft.com/office/powerpoint/2013/main/command" cId="787045591" sldId="2147479651"/>
      <ac:spMk id="2" creationId="{79492056-A46A-C98F-7C19-8A45ECCB4E81}"/>
      <ac:txMk cp="887" len="313">
        <ac:context len="1796" hash="1175699736"/>
      </ac:txMk>
    </ac:txMkLst>
    <p188:pos x="4238624" y="2680159"/>
    <p188:replyLst>
      <p188:reply id="{135082E6-359B-476A-BCD6-FC11BEEA8FC7}" authorId="{DCE02102-A22F-D06B-E9E9-F9BA1CCAB09D}" created="2023-07-28T11:57:15.011">
        <p188:txBody>
          <a:bodyPr/>
          <a:lstStyle/>
          <a:p>
            <a:r>
              <a:rPr lang="en-GB"/>
              <a:t>Ive added in what I think are appropriate.  They have mentioned that Critical events we should respond to them within 30mins of logging the incident</a:t>
            </a:r>
          </a:p>
        </p188:txBody>
      </p188:reply>
      <p188:reply id="{A364D16F-2965-488A-8D53-6DAF290E6A2C}" authorId="{3916B8DD-280A-5613-E642-2DA3C64C8423}" created="2023-07-28T13:28:29.750">
        <p188:txBody>
          <a:bodyPr/>
          <a:lstStyle/>
          <a:p>
            <a:r>
              <a:rPr lang="en-IE"/>
              <a:t>Thanks Plunkett</a:t>
            </a:r>
          </a:p>
        </p188:txBody>
      </p188:reply>
    </p188:replyLst>
    <p188:txBody>
      <a:bodyPr/>
      <a:lstStyle/>
      <a:p>
        <a:r>
          <a:rPr lang="en-IE"/>
          <a:t>Hi all, I can't provide timelines as I am not sure about it, can someone add timelines who is familiar with EYs managed service SLAs</a:t>
        </a:r>
      </a:p>
    </p188:txBody>
  </p188:cm>
  <p188:cm id="{9FE280A6-D9AD-4E54-A65F-26ED2DF24CEA}" authorId="{47EA7E3B-FFA5-9DD7-F09B-65427C4B1586}" created="2023-08-02T14:57:56.439">
    <pc:sldMkLst xmlns:pc="http://schemas.microsoft.com/office/powerpoint/2013/main/command">
      <pc:docMk/>
      <pc:sldMk cId="787045591" sldId="2147479651"/>
    </pc:sldMkLst>
    <p188:replyLst>
      <p188:reply id="{98DEDF96-50D5-48A4-B4E6-E579D3BC13C0}" authorId="{D9730D20-9693-B279-3B55-3E49B120B039}" created="2023-08-02T16:36:24.445">
        <p188:txBody>
          <a:bodyPr/>
          <a:lstStyle/>
          <a:p>
            <a:r>
              <a:rPr lang="en-US"/>
              <a:t>Possibly it's titled specific to Clients KPI mentioned in 1.0.8.</a:t>
            </a:r>
          </a:p>
        </p188:txBody>
      </p188:reply>
      <p188:reply id="{366BAA4E-91FC-4D0A-9286-F44A6688CAF2}" authorId="{3916B8DD-280A-5613-E642-2DA3C64C8423}" created="2023-08-03T08:32:01.535">
        <p188:txBody>
          <a:bodyPr/>
          <a:lstStyle/>
          <a:p>
            <a:r>
              <a:rPr lang="en-IE"/>
              <a:t>Correct, these are categorised based on client requirements</a:t>
            </a:r>
          </a:p>
        </p188:txBody>
      </p188:reply>
    </p188:replyLst>
    <p188:txBody>
      <a:bodyPr/>
      <a:lstStyle/>
      <a:p>
        <a:r>
          <a:rPr lang="en-IE"/>
          <a:t>We typically categorise incidents as P1/P2 and use this reference in other parts of this document, I'd refer to those rather than these new titles of 'Critical Priority'</a:t>
        </a:r>
      </a:p>
    </p188:txBody>
  </p188:cm>
</p188:cmLst>
</file>

<file path=ppt/comments/modernComment_7FFFF086_D310CD26.xml><?xml version="1.0" encoding="utf-8"?>
<p188:cmLst xmlns:a="http://schemas.openxmlformats.org/drawingml/2006/main" xmlns:r="http://schemas.openxmlformats.org/officeDocument/2006/relationships" xmlns:p188="http://schemas.microsoft.com/office/powerpoint/2018/8/main">
  <p188:cm id="{FA703231-8674-4A08-B24D-84887EC24E6C}" authorId="{FEB00BD1-4E3E-8996-191D-8DB66C790BA4}" created="2023-08-15T13:32:47.124">
    <ac:txMkLst xmlns:ac="http://schemas.microsoft.com/office/drawing/2013/main/command">
      <pc:docMk xmlns:pc="http://schemas.microsoft.com/office/powerpoint/2013/main/command"/>
      <pc:sldMk xmlns:pc="http://schemas.microsoft.com/office/powerpoint/2013/main/command" cId="3541093670" sldId="2147479686"/>
      <ac:spMk id="123" creationId="{B18721CB-771E-F56D-03AD-2C8005BA3E97}"/>
      <ac:txMk cp="31" len="595">
        <ac:context len="1385" hash="2247873514"/>
      </ac:txMk>
    </ac:txMkLst>
    <p188:pos x="3355253" y="405410"/>
    <p188:txBody>
      <a:bodyPr/>
      <a:lstStyle/>
      <a:p>
        <a:r>
          <a:rPr lang="en-IE"/>
          <a:t>This paragraph doesn't sound great IMO. Maybe consider re-wording to something like: 
We believe that the delivery approach for this project will be key in the provision of a fit-for-purpose solution that fulfils all the requirements set out by SJH. We propose to implement a solution that focuses on the core components of IDAM, Connectivity, Backup, Compute, Data, Deployment Management, Recovery, Security, overall Governance and Quality Assurance. Our experienced team will continuity and a unique awareness of both the challenges and opportunities for planning, building, deploying and then supporting a critical solution for SJH.</a:t>
        </a:r>
      </a:p>
    </p188:txBody>
  </p188:cm>
</p188:cmLst>
</file>

<file path=ppt/comments/modernComment_7FFFF088_D0B726D7.xml><?xml version="1.0" encoding="utf-8"?>
<p188:cmLst xmlns:a="http://schemas.openxmlformats.org/drawingml/2006/main" xmlns:r="http://schemas.openxmlformats.org/officeDocument/2006/relationships" xmlns:p188="http://schemas.microsoft.com/office/powerpoint/2018/8/main">
  <p188:cm id="{C936E6D9-37A2-4DF6-B7CA-46FB6B63CF33}" authorId="{A502332A-7302-D403-B17B-9EF1DA01F005}" created="2023-08-15T13:15:03.018">
    <pc:sldMkLst xmlns:pc="http://schemas.microsoft.com/office/powerpoint/2013/main/command">
      <pc:docMk/>
      <pc:sldMk cId="3501663959" sldId="2147479688"/>
    </pc:sldMkLst>
    <p188:txBody>
      <a:bodyPr/>
      <a:lstStyle/>
      <a:p>
        <a:r>
          <a:rPr lang="en-IE"/>
          <a:t>[@Volodymyr Shatalov]/[@Jeffrey Obi]/[@Oyinlola Popoola] could you update this slide with SMR and their profiles.
</a:t>
        </a:r>
      </a:p>
    </p188:txBody>
  </p188:cm>
</p188:cmLst>
</file>

<file path=ppt/comments/modernComment_7FFFF08F_524E4443.xml><?xml version="1.0" encoding="utf-8"?>
<p188:cmLst xmlns:a="http://schemas.openxmlformats.org/drawingml/2006/main" xmlns:r="http://schemas.openxmlformats.org/officeDocument/2006/relationships" xmlns:p188="http://schemas.microsoft.com/office/powerpoint/2018/8/main">
  <p188:cm id="{A703EE7D-C176-426C-8BED-15FA6B522E4C}" authorId="{47EA7E3B-FFA5-9DD7-F09B-65427C4B1586}" created="2023-08-02T14:39:24.277">
    <pc:sldMkLst xmlns:pc="http://schemas.microsoft.com/office/powerpoint/2013/main/command">
      <pc:docMk/>
      <pc:sldMk cId="3046752737" sldId="2147479614"/>
    </pc:sldMkLst>
    <p188:txBody>
      <a:bodyPr/>
      <a:lstStyle/>
      <a:p>
        <a:r>
          <a:rPr lang="en-IE"/>
          <a:t>Format is wrong here, not using Calibri.</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583617-2BDA-4EE9-9567-46F080C370BD}" type="doc">
      <dgm:prSet loTypeId="urn:microsoft.com/office/officeart/2005/8/layout/hChevron3" loCatId="process" qsTypeId="urn:microsoft.com/office/officeart/2005/8/quickstyle/simple1" qsCatId="simple" csTypeId="urn:microsoft.com/office/officeart/2005/8/colors/accent1_2" csCatId="accent1" phldr="1"/>
      <dgm:spPr/>
    </dgm:pt>
    <dgm:pt modelId="{456D69F9-7626-4DD6-B8B6-162AB963ACA6}">
      <dgm:prSet phldrT="[Tex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Create new SQL Server Migration Assistant (SSMA) project</a:t>
          </a:r>
        </a:p>
      </dgm:t>
    </dgm:pt>
    <dgm:pt modelId="{ED4690E5-164A-4511-9494-012BBA14B124}" type="parTrans" cxnId="{C3D10277-A78A-49CA-82C3-2F2D1AE3114D}">
      <dgm:prSet/>
      <dgm:spPr/>
      <dgm:t>
        <a:bodyPr/>
        <a:lstStyle/>
        <a:p>
          <a:endParaRPr lang="en-IE"/>
        </a:p>
      </dgm:t>
    </dgm:pt>
    <dgm:pt modelId="{C5A0CA82-F1DD-491A-B0E1-09CFD2761F9E}" type="sibTrans" cxnId="{C3D10277-A78A-49CA-82C3-2F2D1AE3114D}">
      <dgm:prSet/>
      <dgm:spPr/>
      <dgm:t>
        <a:bodyPr/>
        <a:lstStyle/>
        <a:p>
          <a:endParaRPr lang="en-IE"/>
        </a:p>
      </dgm:t>
    </dgm:pt>
    <dgm:pt modelId="{7761702F-D9A7-4C74-9050-400A891BD11E}">
      <dgm:prSet phldrT="[Text]" custT="1"/>
      <dgm:spPr>
        <a:solidFill>
          <a:schemeClr val="bg1">
            <a:lumMod val="60000"/>
            <a:lumOff val="40000"/>
          </a:schemeClr>
        </a:solidFill>
      </dgm:spPr>
      <dgm:t>
        <a:bodyPr/>
        <a:lstStyle/>
        <a:p>
          <a:r>
            <a:rPr lang="en-IE" sz="850">
              <a:solidFill>
                <a:schemeClr val="tx1"/>
              </a:solidFill>
              <a:latin typeface="Calibri" panose="020F0502020204030204" pitchFamily="34" charset="0"/>
              <a:cs typeface="Calibri" panose="020F0502020204030204" pitchFamily="34" charset="0"/>
            </a:rPr>
            <a:t>Add access database files to the project</a:t>
          </a:r>
        </a:p>
      </dgm:t>
    </dgm:pt>
    <dgm:pt modelId="{3DFBDF3D-29CC-4722-8FA6-C1E16D9E41C1}" type="parTrans" cxnId="{B304F998-B362-40A3-9681-035FF65199F5}">
      <dgm:prSet/>
      <dgm:spPr/>
      <dgm:t>
        <a:bodyPr/>
        <a:lstStyle/>
        <a:p>
          <a:endParaRPr lang="en-IE"/>
        </a:p>
      </dgm:t>
    </dgm:pt>
    <dgm:pt modelId="{9862F0CB-689F-423C-B86C-41CE603B4CEB}" type="sibTrans" cxnId="{B304F998-B362-40A3-9681-035FF65199F5}">
      <dgm:prSet/>
      <dgm:spPr/>
      <dgm:t>
        <a:bodyPr/>
        <a:lstStyle/>
        <a:p>
          <a:endParaRPr lang="en-IE"/>
        </a:p>
      </dgm:t>
    </dgm:pt>
    <dgm:pt modelId="{F8212425-7132-4338-8BE9-33FAF302962E}">
      <dgm:prSet phldrT="[Text]" custT="1"/>
      <dgm:spPr>
        <a:solidFill>
          <a:schemeClr val="bg1">
            <a:lumMod val="20000"/>
            <a:lumOff val="80000"/>
          </a:schemeClr>
        </a:solidFill>
      </dgm:spPr>
      <dgm:t>
        <a:bodyPr/>
        <a:lstStyle/>
        <a:p>
          <a:r>
            <a:rPr lang="en-IE" sz="850">
              <a:latin typeface="Calibri" panose="020F0502020204030204" pitchFamily="34" charset="0"/>
              <a:cs typeface="Calibri" panose="020F0502020204030204" pitchFamily="34" charset="0"/>
            </a:rPr>
            <a:t>Connect to target instance of SQL Server</a:t>
          </a:r>
        </a:p>
      </dgm:t>
    </dgm:pt>
    <dgm:pt modelId="{2BA874F2-BD6D-462B-8096-8900752F8CE4}" type="parTrans" cxnId="{CD52CF86-5D71-4AE0-80D4-45FCBBDC954C}">
      <dgm:prSet/>
      <dgm:spPr/>
      <dgm:t>
        <a:bodyPr/>
        <a:lstStyle/>
        <a:p>
          <a:endParaRPr lang="en-IE"/>
        </a:p>
      </dgm:t>
    </dgm:pt>
    <dgm:pt modelId="{1AB2F713-723B-4A48-B8B9-4A24C6F5E298}" type="sibTrans" cxnId="{CD52CF86-5D71-4AE0-80D4-45FCBBDC954C}">
      <dgm:prSet/>
      <dgm:spPr/>
      <dgm:t>
        <a:bodyPr/>
        <a:lstStyle/>
        <a:p>
          <a:endParaRPr lang="en-IE"/>
        </a:p>
      </dgm:t>
    </dgm:pt>
    <dgm:pt modelId="{31C5D582-892A-47D1-8EB2-67006A191070}">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Customise source-target mapping if needed</a:t>
          </a:r>
        </a:p>
      </dgm:t>
    </dgm:pt>
    <dgm:pt modelId="{6019157C-9E33-42C9-A96B-65F179DDABFE}" type="parTrans" cxnId="{64EF9E0D-13A2-4868-BD79-11F15737D93A}">
      <dgm:prSet/>
      <dgm:spPr/>
      <dgm:t>
        <a:bodyPr/>
        <a:lstStyle/>
        <a:p>
          <a:endParaRPr lang="en-IE"/>
        </a:p>
      </dgm:t>
    </dgm:pt>
    <dgm:pt modelId="{FACF18A5-932C-4F01-B2FB-1CA7D7BB759C}" type="sibTrans" cxnId="{64EF9E0D-13A2-4868-BD79-11F15737D93A}">
      <dgm:prSet/>
      <dgm:spPr/>
      <dgm:t>
        <a:bodyPr/>
        <a:lstStyle/>
        <a:p>
          <a:endParaRPr lang="en-IE"/>
        </a:p>
      </dgm:t>
    </dgm:pt>
    <dgm:pt modelId="{1EBE3E35-7D35-42E2-85F9-E98677618505}">
      <dgm:prSet custT="1"/>
      <dgm:spPr>
        <a:solidFill>
          <a:schemeClr val="bg1">
            <a:lumMod val="60000"/>
            <a:lumOff val="40000"/>
          </a:schemeClr>
        </a:solidFill>
      </dgm:spPr>
      <dgm:t>
        <a:bodyPr/>
        <a:lstStyle/>
        <a:p>
          <a:r>
            <a:rPr lang="en-IE" sz="750">
              <a:solidFill>
                <a:schemeClr val="tx1"/>
              </a:solidFill>
              <a:latin typeface="Calibri" panose="020F0502020204030204" pitchFamily="34" charset="0"/>
              <a:cs typeface="Calibri" panose="020F0502020204030204" pitchFamily="34" charset="0"/>
            </a:rPr>
            <a:t>Create assessment report on predicted success/failure of load</a:t>
          </a:r>
        </a:p>
      </dgm:t>
    </dgm:pt>
    <dgm:pt modelId="{76F05C3B-6408-49BB-8864-67E5D75376E4}" type="parTrans" cxnId="{7A5825E1-503A-4597-A04A-A6D1DA020A17}">
      <dgm:prSet/>
      <dgm:spPr/>
      <dgm:t>
        <a:bodyPr/>
        <a:lstStyle/>
        <a:p>
          <a:endParaRPr lang="en-IE"/>
        </a:p>
      </dgm:t>
    </dgm:pt>
    <dgm:pt modelId="{B0AEE5B5-1BB8-4E98-8EA7-2C174745BB58}" type="sibTrans" cxnId="{7A5825E1-503A-4597-A04A-A6D1DA020A17}">
      <dgm:prSet/>
      <dgm:spPr/>
      <dgm:t>
        <a:bodyPr/>
        <a:lstStyle/>
        <a:p>
          <a:endParaRPr lang="en-IE"/>
        </a:p>
      </dgm:t>
    </dgm:pt>
    <dgm:pt modelId="{3C1A5EA4-7CF8-46AE-A447-775BD4B56C99}">
      <dgm:prSet custT="1"/>
      <dgm:spPr>
        <a:solidFill>
          <a:schemeClr val="bg1">
            <a:lumMod val="20000"/>
            <a:lumOff val="80000"/>
          </a:schemeClr>
        </a:solidFill>
      </dgm:spPr>
      <dgm:t>
        <a:bodyPr/>
        <a:lstStyle/>
        <a:p>
          <a:r>
            <a:rPr lang="en-IE" sz="750">
              <a:latin typeface="Calibri" panose="020F0502020204030204" pitchFamily="34" charset="0"/>
              <a:cs typeface="Calibri" panose="020F0502020204030204" pitchFamily="34" charset="0"/>
            </a:rPr>
            <a:t>Convert Access database objects to SQL Server definitions</a:t>
          </a:r>
        </a:p>
      </dgm:t>
    </dgm:pt>
    <dgm:pt modelId="{98E8D83B-5307-4282-9A90-ACC4A08799E5}" type="parTrans" cxnId="{9B137DB8-18E5-45D7-BFA5-6B315C446AD6}">
      <dgm:prSet/>
      <dgm:spPr/>
      <dgm:t>
        <a:bodyPr/>
        <a:lstStyle/>
        <a:p>
          <a:endParaRPr lang="en-IE"/>
        </a:p>
      </dgm:t>
    </dgm:pt>
    <dgm:pt modelId="{B980017F-05A2-4F28-BCFE-58F271F96770}" type="sibTrans" cxnId="{9B137DB8-18E5-45D7-BFA5-6B315C446AD6}">
      <dgm:prSet/>
      <dgm:spPr/>
      <dgm:t>
        <a:bodyPr/>
        <a:lstStyle/>
        <a:p>
          <a:endParaRPr lang="en-IE"/>
        </a:p>
      </dgm:t>
    </dgm:pt>
    <dgm:pt modelId="{5796F0BB-5BCD-4978-87CF-8B2D48307801}">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Load converted database objects into SQL Server</a:t>
          </a:r>
        </a:p>
      </dgm:t>
    </dgm:pt>
    <dgm:pt modelId="{CFDA17D0-E5A4-4F9C-B07C-C24BA98CDF85}" type="parTrans" cxnId="{88CEF654-0C5F-4525-9D4C-283738F0A185}">
      <dgm:prSet/>
      <dgm:spPr/>
      <dgm:t>
        <a:bodyPr/>
        <a:lstStyle/>
        <a:p>
          <a:endParaRPr lang="en-IE"/>
        </a:p>
      </dgm:t>
    </dgm:pt>
    <dgm:pt modelId="{E442E5AB-E569-4328-923D-2F2347EAC23D}" type="sibTrans" cxnId="{88CEF654-0C5F-4525-9D4C-283738F0A185}">
      <dgm:prSet/>
      <dgm:spPr/>
      <dgm:t>
        <a:bodyPr/>
        <a:lstStyle/>
        <a:p>
          <a:endParaRPr lang="en-IE"/>
        </a:p>
      </dgm:t>
    </dgm:pt>
    <dgm:pt modelId="{8A4C7B9D-97EF-44DF-AF20-754AEE5C6ADA}">
      <dgm:prSet custT="1"/>
      <dgm:spPr>
        <a:solidFill>
          <a:schemeClr val="tx2"/>
        </a:solidFill>
      </dgm:spPr>
      <dgm:t>
        <a:bodyPr/>
        <a:lstStyle/>
        <a:p>
          <a:r>
            <a:rPr lang="en-IE" sz="850">
              <a:latin typeface="Calibri" panose="020F0502020204030204" pitchFamily="34" charset="0"/>
              <a:cs typeface="Calibri" panose="020F0502020204030204" pitchFamily="34" charset="0"/>
            </a:rPr>
            <a:t>Migrate Access data to SQL Server</a:t>
          </a:r>
        </a:p>
      </dgm:t>
    </dgm:pt>
    <dgm:pt modelId="{F2992F71-9695-470D-AD3C-34CC9BB0562E}" type="parTrans" cxnId="{FDE9DD1B-1EFE-4F7E-AF21-E54D0FE823E5}">
      <dgm:prSet/>
      <dgm:spPr/>
      <dgm:t>
        <a:bodyPr/>
        <a:lstStyle/>
        <a:p>
          <a:endParaRPr lang="en-IE"/>
        </a:p>
      </dgm:t>
    </dgm:pt>
    <dgm:pt modelId="{685C2276-ACB6-4179-845D-98A685736F2A}" type="sibTrans" cxnId="{FDE9DD1B-1EFE-4F7E-AF21-E54D0FE823E5}">
      <dgm:prSet/>
      <dgm:spPr/>
      <dgm:t>
        <a:bodyPr/>
        <a:lstStyle/>
        <a:p>
          <a:endParaRPr lang="en-IE"/>
        </a:p>
      </dgm:t>
    </dgm:pt>
    <dgm:pt modelId="{A109EDF4-9C84-4E50-BBBF-353D360EEFDF}" type="pres">
      <dgm:prSet presAssocID="{C7583617-2BDA-4EE9-9567-46F080C370BD}" presName="Name0" presStyleCnt="0">
        <dgm:presLayoutVars>
          <dgm:dir/>
          <dgm:resizeHandles val="exact"/>
        </dgm:presLayoutVars>
      </dgm:prSet>
      <dgm:spPr/>
    </dgm:pt>
    <dgm:pt modelId="{BD2D8588-5F40-406F-9EA4-B20184A0F5D4}" type="pres">
      <dgm:prSet presAssocID="{456D69F9-7626-4DD6-B8B6-162AB963ACA6}" presName="parTxOnly" presStyleLbl="node1" presStyleIdx="0" presStyleCnt="8">
        <dgm:presLayoutVars>
          <dgm:bulletEnabled val="1"/>
        </dgm:presLayoutVars>
      </dgm:prSet>
      <dgm:spPr/>
    </dgm:pt>
    <dgm:pt modelId="{24B76A56-F759-4303-85F8-D123C5842B28}" type="pres">
      <dgm:prSet presAssocID="{C5A0CA82-F1DD-491A-B0E1-09CFD2761F9E}" presName="parSpace" presStyleCnt="0"/>
      <dgm:spPr/>
    </dgm:pt>
    <dgm:pt modelId="{52439D9C-6E67-42C8-A94B-4AA770B874FE}" type="pres">
      <dgm:prSet presAssocID="{7761702F-D9A7-4C74-9050-400A891BD11E}" presName="parTxOnly" presStyleLbl="node1" presStyleIdx="1" presStyleCnt="8">
        <dgm:presLayoutVars>
          <dgm:bulletEnabled val="1"/>
        </dgm:presLayoutVars>
      </dgm:prSet>
      <dgm:spPr/>
    </dgm:pt>
    <dgm:pt modelId="{B5F665B3-BDE6-41E3-AE4B-42AB60B7D517}" type="pres">
      <dgm:prSet presAssocID="{9862F0CB-689F-423C-B86C-41CE603B4CEB}" presName="parSpace" presStyleCnt="0"/>
      <dgm:spPr/>
    </dgm:pt>
    <dgm:pt modelId="{AEE43438-EB55-43F6-BD82-B4D23CACA6F8}" type="pres">
      <dgm:prSet presAssocID="{F8212425-7132-4338-8BE9-33FAF302962E}" presName="parTxOnly" presStyleLbl="node1" presStyleIdx="2" presStyleCnt="8">
        <dgm:presLayoutVars>
          <dgm:bulletEnabled val="1"/>
        </dgm:presLayoutVars>
      </dgm:prSet>
      <dgm:spPr/>
    </dgm:pt>
    <dgm:pt modelId="{2BCBDA80-09FF-4520-B7F9-E24B9E6DFD66}" type="pres">
      <dgm:prSet presAssocID="{1AB2F713-723B-4A48-B8B9-4A24C6F5E298}" presName="parSpace" presStyleCnt="0"/>
      <dgm:spPr/>
    </dgm:pt>
    <dgm:pt modelId="{26BD502D-FC19-4925-9863-883CB25798A6}" type="pres">
      <dgm:prSet presAssocID="{31C5D582-892A-47D1-8EB2-67006A191070}" presName="parTxOnly" presStyleLbl="node1" presStyleIdx="3" presStyleCnt="8" custLinFactNeighborX="-10176" custLinFactNeighborY="-346">
        <dgm:presLayoutVars>
          <dgm:bulletEnabled val="1"/>
        </dgm:presLayoutVars>
      </dgm:prSet>
      <dgm:spPr/>
    </dgm:pt>
    <dgm:pt modelId="{1CE48FF5-8883-48D4-B584-E87C17432603}" type="pres">
      <dgm:prSet presAssocID="{FACF18A5-932C-4F01-B2FB-1CA7D7BB759C}" presName="parSpace" presStyleCnt="0"/>
      <dgm:spPr/>
    </dgm:pt>
    <dgm:pt modelId="{044179A8-AFB0-4C6A-9F0E-94B44845ECF0}" type="pres">
      <dgm:prSet presAssocID="{1EBE3E35-7D35-42E2-85F9-E98677618505}" presName="parTxOnly" presStyleLbl="node1" presStyleIdx="4" presStyleCnt="8" custLinFactNeighborX="-12567">
        <dgm:presLayoutVars>
          <dgm:bulletEnabled val="1"/>
        </dgm:presLayoutVars>
      </dgm:prSet>
      <dgm:spPr/>
    </dgm:pt>
    <dgm:pt modelId="{93BEB85C-8FC5-4E23-8305-FCAE16A17B30}" type="pres">
      <dgm:prSet presAssocID="{B0AEE5B5-1BB8-4E98-8EA7-2C174745BB58}" presName="parSpace" presStyleCnt="0"/>
      <dgm:spPr/>
    </dgm:pt>
    <dgm:pt modelId="{8518A415-EEA2-40E0-94CD-BECCA7DBD568}" type="pres">
      <dgm:prSet presAssocID="{3C1A5EA4-7CF8-46AE-A447-775BD4B56C99}" presName="parTxOnly" presStyleLbl="node1" presStyleIdx="5" presStyleCnt="8" custLinFactNeighborX="-14502">
        <dgm:presLayoutVars>
          <dgm:bulletEnabled val="1"/>
        </dgm:presLayoutVars>
      </dgm:prSet>
      <dgm:spPr/>
    </dgm:pt>
    <dgm:pt modelId="{B3CC25C0-4495-4FBA-97D4-2DCAA8B02823}" type="pres">
      <dgm:prSet presAssocID="{B980017F-05A2-4F28-BCFE-58F271F96770}" presName="parSpace" presStyleCnt="0"/>
      <dgm:spPr/>
    </dgm:pt>
    <dgm:pt modelId="{717C86D2-20E0-46CC-AFF5-20400664B5A0}" type="pres">
      <dgm:prSet presAssocID="{5796F0BB-5BCD-4978-87CF-8B2D48307801}" presName="parTxOnly" presStyleLbl="node1" presStyleIdx="6" presStyleCnt="8" custLinFactNeighborX="-14020">
        <dgm:presLayoutVars>
          <dgm:bulletEnabled val="1"/>
        </dgm:presLayoutVars>
      </dgm:prSet>
      <dgm:spPr/>
    </dgm:pt>
    <dgm:pt modelId="{B8EA6844-3261-425F-BCBD-60F21C0A3426}" type="pres">
      <dgm:prSet presAssocID="{E442E5AB-E569-4328-923D-2F2347EAC23D}" presName="parSpace" presStyleCnt="0"/>
      <dgm:spPr/>
    </dgm:pt>
    <dgm:pt modelId="{BE8586BE-6DE1-42ED-BAB2-301BE4B157AD}" type="pres">
      <dgm:prSet presAssocID="{8A4C7B9D-97EF-44DF-AF20-754AEE5C6ADA}" presName="parTxOnly" presStyleLbl="node1" presStyleIdx="7" presStyleCnt="8" custLinFactNeighborX="-15965">
        <dgm:presLayoutVars>
          <dgm:bulletEnabled val="1"/>
        </dgm:presLayoutVars>
      </dgm:prSet>
      <dgm:spPr/>
    </dgm:pt>
  </dgm:ptLst>
  <dgm:cxnLst>
    <dgm:cxn modelId="{AFFBEC04-7B81-47C6-818B-5AF8C759D5EF}" type="presOf" srcId="{8A4C7B9D-97EF-44DF-AF20-754AEE5C6ADA}" destId="{BE8586BE-6DE1-42ED-BAB2-301BE4B157AD}" srcOrd="0" destOrd="0" presId="urn:microsoft.com/office/officeart/2005/8/layout/hChevron3"/>
    <dgm:cxn modelId="{64EF9E0D-13A2-4868-BD79-11F15737D93A}" srcId="{C7583617-2BDA-4EE9-9567-46F080C370BD}" destId="{31C5D582-892A-47D1-8EB2-67006A191070}" srcOrd="3" destOrd="0" parTransId="{6019157C-9E33-42C9-A96B-65F179DDABFE}" sibTransId="{FACF18A5-932C-4F01-B2FB-1CA7D7BB759C}"/>
    <dgm:cxn modelId="{FDE9DD1B-1EFE-4F7E-AF21-E54D0FE823E5}" srcId="{C7583617-2BDA-4EE9-9567-46F080C370BD}" destId="{8A4C7B9D-97EF-44DF-AF20-754AEE5C6ADA}" srcOrd="7" destOrd="0" parTransId="{F2992F71-9695-470D-AD3C-34CC9BB0562E}" sibTransId="{685C2276-ACB6-4179-845D-98A685736F2A}"/>
    <dgm:cxn modelId="{6DFA9D34-E167-4576-90B8-02E12C15BE97}" type="presOf" srcId="{7761702F-D9A7-4C74-9050-400A891BD11E}" destId="{52439D9C-6E67-42C8-A94B-4AA770B874FE}" srcOrd="0" destOrd="0" presId="urn:microsoft.com/office/officeart/2005/8/layout/hChevron3"/>
    <dgm:cxn modelId="{D4336F64-6B3E-4213-A938-A74FF2169C37}" type="presOf" srcId="{F8212425-7132-4338-8BE9-33FAF302962E}" destId="{AEE43438-EB55-43F6-BD82-B4D23CACA6F8}" srcOrd="0" destOrd="0" presId="urn:microsoft.com/office/officeart/2005/8/layout/hChevron3"/>
    <dgm:cxn modelId="{88CEF654-0C5F-4525-9D4C-283738F0A185}" srcId="{C7583617-2BDA-4EE9-9567-46F080C370BD}" destId="{5796F0BB-5BCD-4978-87CF-8B2D48307801}" srcOrd="6" destOrd="0" parTransId="{CFDA17D0-E5A4-4F9C-B07C-C24BA98CDF85}" sibTransId="{E442E5AB-E569-4328-923D-2F2347EAC23D}"/>
    <dgm:cxn modelId="{2803DC76-544C-47BD-BD61-1538AB0D1FBC}" type="presOf" srcId="{C7583617-2BDA-4EE9-9567-46F080C370BD}" destId="{A109EDF4-9C84-4E50-BBBF-353D360EEFDF}" srcOrd="0" destOrd="0" presId="urn:microsoft.com/office/officeart/2005/8/layout/hChevron3"/>
    <dgm:cxn modelId="{C3D10277-A78A-49CA-82C3-2F2D1AE3114D}" srcId="{C7583617-2BDA-4EE9-9567-46F080C370BD}" destId="{456D69F9-7626-4DD6-B8B6-162AB963ACA6}" srcOrd="0" destOrd="0" parTransId="{ED4690E5-164A-4511-9494-012BBA14B124}" sibTransId="{C5A0CA82-F1DD-491A-B0E1-09CFD2761F9E}"/>
    <dgm:cxn modelId="{5574BC78-5E76-4997-A0A8-03A8083E499E}" type="presOf" srcId="{3C1A5EA4-7CF8-46AE-A447-775BD4B56C99}" destId="{8518A415-EEA2-40E0-94CD-BECCA7DBD568}" srcOrd="0" destOrd="0" presId="urn:microsoft.com/office/officeart/2005/8/layout/hChevron3"/>
    <dgm:cxn modelId="{CD52CF86-5D71-4AE0-80D4-45FCBBDC954C}" srcId="{C7583617-2BDA-4EE9-9567-46F080C370BD}" destId="{F8212425-7132-4338-8BE9-33FAF302962E}" srcOrd="2" destOrd="0" parTransId="{2BA874F2-BD6D-462B-8096-8900752F8CE4}" sibTransId="{1AB2F713-723B-4A48-B8B9-4A24C6F5E298}"/>
    <dgm:cxn modelId="{7DE72C89-35BA-4C14-BFB1-B3736017224D}" type="presOf" srcId="{5796F0BB-5BCD-4978-87CF-8B2D48307801}" destId="{717C86D2-20E0-46CC-AFF5-20400664B5A0}" srcOrd="0" destOrd="0" presId="urn:microsoft.com/office/officeart/2005/8/layout/hChevron3"/>
    <dgm:cxn modelId="{B304F998-B362-40A3-9681-035FF65199F5}" srcId="{C7583617-2BDA-4EE9-9567-46F080C370BD}" destId="{7761702F-D9A7-4C74-9050-400A891BD11E}" srcOrd="1" destOrd="0" parTransId="{3DFBDF3D-29CC-4722-8FA6-C1E16D9E41C1}" sibTransId="{9862F0CB-689F-423C-B86C-41CE603B4CEB}"/>
    <dgm:cxn modelId="{8AB02A9C-727D-4B1F-B792-456FE720A196}" type="presOf" srcId="{31C5D582-892A-47D1-8EB2-67006A191070}" destId="{26BD502D-FC19-4925-9863-883CB25798A6}" srcOrd="0" destOrd="0" presId="urn:microsoft.com/office/officeart/2005/8/layout/hChevron3"/>
    <dgm:cxn modelId="{98ABF4B5-A820-4FA9-B07F-3D09BD5A0A88}" type="presOf" srcId="{456D69F9-7626-4DD6-B8B6-162AB963ACA6}" destId="{BD2D8588-5F40-406F-9EA4-B20184A0F5D4}" srcOrd="0" destOrd="0" presId="urn:microsoft.com/office/officeart/2005/8/layout/hChevron3"/>
    <dgm:cxn modelId="{9B137DB8-18E5-45D7-BFA5-6B315C446AD6}" srcId="{C7583617-2BDA-4EE9-9567-46F080C370BD}" destId="{3C1A5EA4-7CF8-46AE-A447-775BD4B56C99}" srcOrd="5" destOrd="0" parTransId="{98E8D83B-5307-4282-9A90-ACC4A08799E5}" sibTransId="{B980017F-05A2-4F28-BCFE-58F271F96770}"/>
    <dgm:cxn modelId="{7A5825E1-503A-4597-A04A-A6D1DA020A17}" srcId="{C7583617-2BDA-4EE9-9567-46F080C370BD}" destId="{1EBE3E35-7D35-42E2-85F9-E98677618505}" srcOrd="4" destOrd="0" parTransId="{76F05C3B-6408-49BB-8864-67E5D75376E4}" sibTransId="{B0AEE5B5-1BB8-4E98-8EA7-2C174745BB58}"/>
    <dgm:cxn modelId="{1A823AE3-81B3-4045-8B17-024CED4E16EF}" type="presOf" srcId="{1EBE3E35-7D35-42E2-85F9-E98677618505}" destId="{044179A8-AFB0-4C6A-9F0E-94B44845ECF0}" srcOrd="0" destOrd="0" presId="urn:microsoft.com/office/officeart/2005/8/layout/hChevron3"/>
    <dgm:cxn modelId="{0DCDD44B-5B02-4819-B91E-28425C872B62}" type="presParOf" srcId="{A109EDF4-9C84-4E50-BBBF-353D360EEFDF}" destId="{BD2D8588-5F40-406F-9EA4-B20184A0F5D4}" srcOrd="0" destOrd="0" presId="urn:microsoft.com/office/officeart/2005/8/layout/hChevron3"/>
    <dgm:cxn modelId="{257BA397-7F59-4622-BF0C-C8EC27291AAD}" type="presParOf" srcId="{A109EDF4-9C84-4E50-BBBF-353D360EEFDF}" destId="{24B76A56-F759-4303-85F8-D123C5842B28}" srcOrd="1" destOrd="0" presId="urn:microsoft.com/office/officeart/2005/8/layout/hChevron3"/>
    <dgm:cxn modelId="{886A2CEC-0B76-4511-924B-E165B73668F6}" type="presParOf" srcId="{A109EDF4-9C84-4E50-BBBF-353D360EEFDF}" destId="{52439D9C-6E67-42C8-A94B-4AA770B874FE}" srcOrd="2" destOrd="0" presId="urn:microsoft.com/office/officeart/2005/8/layout/hChevron3"/>
    <dgm:cxn modelId="{16DF0365-A9A1-44A4-9CBB-9F6D67F69495}" type="presParOf" srcId="{A109EDF4-9C84-4E50-BBBF-353D360EEFDF}" destId="{B5F665B3-BDE6-41E3-AE4B-42AB60B7D517}" srcOrd="3" destOrd="0" presId="urn:microsoft.com/office/officeart/2005/8/layout/hChevron3"/>
    <dgm:cxn modelId="{D21F9A1F-5EDB-4F40-8F07-5379BD3F028F}" type="presParOf" srcId="{A109EDF4-9C84-4E50-BBBF-353D360EEFDF}" destId="{AEE43438-EB55-43F6-BD82-B4D23CACA6F8}" srcOrd="4" destOrd="0" presId="urn:microsoft.com/office/officeart/2005/8/layout/hChevron3"/>
    <dgm:cxn modelId="{81454F2B-61EB-437B-8485-D636FC5A6634}" type="presParOf" srcId="{A109EDF4-9C84-4E50-BBBF-353D360EEFDF}" destId="{2BCBDA80-09FF-4520-B7F9-E24B9E6DFD66}" srcOrd="5" destOrd="0" presId="urn:microsoft.com/office/officeart/2005/8/layout/hChevron3"/>
    <dgm:cxn modelId="{FD13CBD1-34CD-4721-B780-0B8F91022324}" type="presParOf" srcId="{A109EDF4-9C84-4E50-BBBF-353D360EEFDF}" destId="{26BD502D-FC19-4925-9863-883CB25798A6}" srcOrd="6" destOrd="0" presId="urn:microsoft.com/office/officeart/2005/8/layout/hChevron3"/>
    <dgm:cxn modelId="{6EB71097-B074-4AD6-921F-B4D1D02429F8}" type="presParOf" srcId="{A109EDF4-9C84-4E50-BBBF-353D360EEFDF}" destId="{1CE48FF5-8883-48D4-B584-E87C17432603}" srcOrd="7" destOrd="0" presId="urn:microsoft.com/office/officeart/2005/8/layout/hChevron3"/>
    <dgm:cxn modelId="{DBE0B744-83E3-4315-A413-EECFCDA1C908}" type="presParOf" srcId="{A109EDF4-9C84-4E50-BBBF-353D360EEFDF}" destId="{044179A8-AFB0-4C6A-9F0E-94B44845ECF0}" srcOrd="8" destOrd="0" presId="urn:microsoft.com/office/officeart/2005/8/layout/hChevron3"/>
    <dgm:cxn modelId="{6C281AF7-2EBA-4F94-A5D4-4320A60B4347}" type="presParOf" srcId="{A109EDF4-9C84-4E50-BBBF-353D360EEFDF}" destId="{93BEB85C-8FC5-4E23-8305-FCAE16A17B30}" srcOrd="9" destOrd="0" presId="urn:microsoft.com/office/officeart/2005/8/layout/hChevron3"/>
    <dgm:cxn modelId="{08035988-5644-4F87-8AC5-D1AAAF18CAA1}" type="presParOf" srcId="{A109EDF4-9C84-4E50-BBBF-353D360EEFDF}" destId="{8518A415-EEA2-40E0-94CD-BECCA7DBD568}" srcOrd="10" destOrd="0" presId="urn:microsoft.com/office/officeart/2005/8/layout/hChevron3"/>
    <dgm:cxn modelId="{0D0A940E-39CD-4DE2-946A-8183AABB8687}" type="presParOf" srcId="{A109EDF4-9C84-4E50-BBBF-353D360EEFDF}" destId="{B3CC25C0-4495-4FBA-97D4-2DCAA8B02823}" srcOrd="11" destOrd="0" presId="urn:microsoft.com/office/officeart/2005/8/layout/hChevron3"/>
    <dgm:cxn modelId="{77AC4841-5D14-4F48-843E-EE7F8C0959B9}" type="presParOf" srcId="{A109EDF4-9C84-4E50-BBBF-353D360EEFDF}" destId="{717C86D2-20E0-46CC-AFF5-20400664B5A0}" srcOrd="12" destOrd="0" presId="urn:microsoft.com/office/officeart/2005/8/layout/hChevron3"/>
    <dgm:cxn modelId="{A7E27515-2F29-43B3-ABBA-43B00EBABD41}" type="presParOf" srcId="{A109EDF4-9C84-4E50-BBBF-353D360EEFDF}" destId="{B8EA6844-3261-425F-BCBD-60F21C0A3426}" srcOrd="13" destOrd="0" presId="urn:microsoft.com/office/officeart/2005/8/layout/hChevron3"/>
    <dgm:cxn modelId="{E9E6EAA9-3326-458A-ADB3-A92587A5BCDA}" type="presParOf" srcId="{A109EDF4-9C84-4E50-BBBF-353D360EEFDF}" destId="{BE8586BE-6DE1-42ED-BAB2-301BE4B157AD}" srcOrd="14"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583617-2BDA-4EE9-9567-46F080C370BD}" type="doc">
      <dgm:prSet loTypeId="urn:microsoft.com/office/officeart/2005/8/layout/hChevron3" loCatId="process" qsTypeId="urn:microsoft.com/office/officeart/2005/8/quickstyle/simple1" qsCatId="simple" csTypeId="urn:microsoft.com/office/officeart/2005/8/colors/accent1_2" csCatId="accent1" phldr="1"/>
      <dgm:spPr/>
    </dgm:pt>
    <dgm:pt modelId="{456D69F9-7626-4DD6-B8B6-162AB963ACA6}">
      <dgm:prSet phldrT="[Tex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Backup database</a:t>
          </a:r>
        </a:p>
      </dgm:t>
    </dgm:pt>
    <dgm:pt modelId="{ED4690E5-164A-4511-9494-012BBA14B124}" type="parTrans" cxnId="{C3D10277-A78A-49CA-82C3-2F2D1AE3114D}">
      <dgm:prSet/>
      <dgm:spPr/>
      <dgm:t>
        <a:bodyPr/>
        <a:lstStyle/>
        <a:p>
          <a:endParaRPr lang="en-IE">
            <a:latin typeface="Calibri" panose="020F0502020204030204" pitchFamily="34" charset="0"/>
            <a:cs typeface="Calibri" panose="020F0502020204030204" pitchFamily="34" charset="0"/>
          </a:endParaRPr>
        </a:p>
      </dgm:t>
    </dgm:pt>
    <dgm:pt modelId="{C5A0CA82-F1DD-491A-B0E1-09CFD2761F9E}" type="sibTrans" cxnId="{C3D10277-A78A-49CA-82C3-2F2D1AE3114D}">
      <dgm:prSet/>
      <dgm:spPr/>
      <dgm:t>
        <a:bodyPr/>
        <a:lstStyle/>
        <a:p>
          <a:endParaRPr lang="en-IE">
            <a:latin typeface="Calibri" panose="020F0502020204030204" pitchFamily="34" charset="0"/>
            <a:cs typeface="Calibri" panose="020F0502020204030204" pitchFamily="34" charset="0"/>
          </a:endParaRPr>
        </a:p>
      </dgm:t>
    </dgm:pt>
    <dgm:pt modelId="{7761702F-D9A7-4C74-9050-400A891BD11E}">
      <dgm:prSet phldrT="[Text]" custT="1"/>
      <dgm:spPr>
        <a:solidFill>
          <a:schemeClr val="bg1">
            <a:lumMod val="60000"/>
            <a:lumOff val="40000"/>
          </a:schemeClr>
        </a:solidFill>
      </dgm:spPr>
      <dgm:t>
        <a:bodyPr/>
        <a:lstStyle/>
        <a:p>
          <a:r>
            <a:rPr lang="en-IE" sz="850">
              <a:solidFill>
                <a:schemeClr val="tx1"/>
              </a:solidFill>
              <a:latin typeface="Calibri" panose="020F0502020204030204" pitchFamily="34" charset="0"/>
              <a:cs typeface="Calibri" panose="020F0502020204030204" pitchFamily="34" charset="0"/>
            </a:rPr>
            <a:t>Configure Source and Target instance  parameters</a:t>
          </a:r>
        </a:p>
      </dgm:t>
    </dgm:pt>
    <dgm:pt modelId="{3DFBDF3D-29CC-4722-8FA6-C1E16D9E41C1}" type="parTrans" cxnId="{B304F998-B362-40A3-9681-035FF65199F5}">
      <dgm:prSet/>
      <dgm:spPr/>
      <dgm:t>
        <a:bodyPr/>
        <a:lstStyle/>
        <a:p>
          <a:endParaRPr lang="en-IE">
            <a:latin typeface="Calibri" panose="020F0502020204030204" pitchFamily="34" charset="0"/>
            <a:cs typeface="Calibri" panose="020F0502020204030204" pitchFamily="34" charset="0"/>
          </a:endParaRPr>
        </a:p>
      </dgm:t>
    </dgm:pt>
    <dgm:pt modelId="{9862F0CB-689F-423C-B86C-41CE603B4CEB}" type="sibTrans" cxnId="{B304F998-B362-40A3-9681-035FF65199F5}">
      <dgm:prSet/>
      <dgm:spPr/>
      <dgm:t>
        <a:bodyPr/>
        <a:lstStyle/>
        <a:p>
          <a:endParaRPr lang="en-IE">
            <a:latin typeface="Calibri" panose="020F0502020204030204" pitchFamily="34" charset="0"/>
            <a:cs typeface="Calibri" panose="020F0502020204030204" pitchFamily="34" charset="0"/>
          </a:endParaRPr>
        </a:p>
      </dgm:t>
    </dgm:pt>
    <dgm:pt modelId="{F8212425-7132-4338-8BE9-33FAF302962E}">
      <dgm:prSet phldrT="[Text]" custT="1"/>
      <dgm:spPr>
        <a:solidFill>
          <a:schemeClr val="bg1">
            <a:lumMod val="20000"/>
            <a:lumOff val="80000"/>
          </a:schemeClr>
        </a:solidFill>
      </dgm:spPr>
      <dgm:t>
        <a:bodyPr/>
        <a:lstStyle/>
        <a:p>
          <a:r>
            <a:rPr lang="en-IE" sz="850">
              <a:solidFill>
                <a:schemeClr val="bg1"/>
              </a:solidFill>
              <a:latin typeface="Calibri" panose="020F0502020204030204" pitchFamily="34" charset="0"/>
              <a:cs typeface="Calibri" panose="020F0502020204030204" pitchFamily="34" charset="0"/>
            </a:rPr>
            <a:t>Export database objects</a:t>
          </a:r>
        </a:p>
      </dgm:t>
    </dgm:pt>
    <dgm:pt modelId="{2BA874F2-BD6D-462B-8096-8900752F8CE4}" type="parTrans" cxnId="{CD52CF86-5D71-4AE0-80D4-45FCBBDC954C}">
      <dgm:prSet/>
      <dgm:spPr/>
      <dgm:t>
        <a:bodyPr/>
        <a:lstStyle/>
        <a:p>
          <a:endParaRPr lang="en-IE">
            <a:latin typeface="Calibri" panose="020F0502020204030204" pitchFamily="34" charset="0"/>
            <a:cs typeface="Calibri" panose="020F0502020204030204" pitchFamily="34" charset="0"/>
          </a:endParaRPr>
        </a:p>
      </dgm:t>
    </dgm:pt>
    <dgm:pt modelId="{1AB2F713-723B-4A48-B8B9-4A24C6F5E298}" type="sibTrans" cxnId="{CD52CF86-5D71-4AE0-80D4-45FCBBDC954C}">
      <dgm:prSet/>
      <dgm:spPr/>
      <dgm:t>
        <a:bodyPr/>
        <a:lstStyle/>
        <a:p>
          <a:endParaRPr lang="en-IE">
            <a:latin typeface="Calibri" panose="020F0502020204030204" pitchFamily="34" charset="0"/>
            <a:cs typeface="Calibri" panose="020F0502020204030204" pitchFamily="34" charset="0"/>
          </a:endParaRPr>
        </a:p>
      </dgm:t>
    </dgm:pt>
    <dgm:pt modelId="{31C5D582-892A-47D1-8EB2-67006A191070}">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Export the data</a:t>
          </a:r>
        </a:p>
      </dgm:t>
    </dgm:pt>
    <dgm:pt modelId="{6019157C-9E33-42C9-A96B-65F179DDABFE}" type="parTrans" cxnId="{64EF9E0D-13A2-4868-BD79-11F15737D93A}">
      <dgm:prSet/>
      <dgm:spPr/>
      <dgm:t>
        <a:bodyPr/>
        <a:lstStyle/>
        <a:p>
          <a:endParaRPr lang="en-IE">
            <a:latin typeface="Calibri" panose="020F0502020204030204" pitchFamily="34" charset="0"/>
            <a:cs typeface="Calibri" panose="020F0502020204030204" pitchFamily="34" charset="0"/>
          </a:endParaRPr>
        </a:p>
      </dgm:t>
    </dgm:pt>
    <dgm:pt modelId="{FACF18A5-932C-4F01-B2FB-1CA7D7BB759C}" type="sibTrans" cxnId="{64EF9E0D-13A2-4868-BD79-11F15737D93A}">
      <dgm:prSet/>
      <dgm:spPr/>
      <dgm:t>
        <a:bodyPr/>
        <a:lstStyle/>
        <a:p>
          <a:endParaRPr lang="en-IE">
            <a:latin typeface="Calibri" panose="020F0502020204030204" pitchFamily="34" charset="0"/>
            <a:cs typeface="Calibri" panose="020F0502020204030204" pitchFamily="34" charset="0"/>
          </a:endParaRPr>
        </a:p>
      </dgm:t>
    </dgm:pt>
    <dgm:pt modelId="{1EBE3E35-7D35-42E2-85F9-E98677618505}">
      <dgm:prSet custT="1"/>
      <dgm:spPr>
        <a:solidFill>
          <a:schemeClr val="bg1">
            <a:lumMod val="60000"/>
            <a:lumOff val="40000"/>
          </a:schemeClr>
        </a:solidFill>
      </dgm:spPr>
      <dgm:t>
        <a:bodyPr/>
        <a:lstStyle/>
        <a:p>
          <a:r>
            <a:rPr lang="en-IE" sz="850">
              <a:solidFill>
                <a:schemeClr val="tx1"/>
              </a:solidFill>
              <a:latin typeface="Calibri" panose="020F0502020204030204" pitchFamily="34" charset="0"/>
              <a:cs typeface="Calibri" panose="020F0502020204030204" pitchFamily="34" charset="0"/>
            </a:rPr>
            <a:t>Import database objects</a:t>
          </a:r>
        </a:p>
      </dgm:t>
    </dgm:pt>
    <dgm:pt modelId="{76F05C3B-6408-49BB-8864-67E5D75376E4}" type="parTrans" cxnId="{7A5825E1-503A-4597-A04A-A6D1DA020A17}">
      <dgm:prSet/>
      <dgm:spPr/>
      <dgm:t>
        <a:bodyPr/>
        <a:lstStyle/>
        <a:p>
          <a:endParaRPr lang="en-IE">
            <a:latin typeface="Calibri" panose="020F0502020204030204" pitchFamily="34" charset="0"/>
            <a:cs typeface="Calibri" panose="020F0502020204030204" pitchFamily="34" charset="0"/>
          </a:endParaRPr>
        </a:p>
      </dgm:t>
    </dgm:pt>
    <dgm:pt modelId="{B0AEE5B5-1BB8-4E98-8EA7-2C174745BB58}" type="sibTrans" cxnId="{7A5825E1-503A-4597-A04A-A6D1DA020A17}">
      <dgm:prSet/>
      <dgm:spPr/>
      <dgm:t>
        <a:bodyPr/>
        <a:lstStyle/>
        <a:p>
          <a:endParaRPr lang="en-IE">
            <a:latin typeface="Calibri" panose="020F0502020204030204" pitchFamily="34" charset="0"/>
            <a:cs typeface="Calibri" panose="020F0502020204030204" pitchFamily="34" charset="0"/>
          </a:endParaRPr>
        </a:p>
      </dgm:t>
    </dgm:pt>
    <dgm:pt modelId="{3C1A5EA4-7CF8-46AE-A447-775BD4B56C99}">
      <dgm:prSet custT="1"/>
      <dgm:spPr>
        <a:solidFill>
          <a:schemeClr val="bg1">
            <a:lumMod val="20000"/>
            <a:lumOff val="80000"/>
          </a:schemeClr>
        </a:solidFill>
      </dgm:spPr>
      <dgm:t>
        <a:bodyPr/>
        <a:lstStyle/>
        <a:p>
          <a:r>
            <a:rPr lang="en-IE" sz="850">
              <a:solidFill>
                <a:schemeClr val="bg1"/>
              </a:solidFill>
              <a:latin typeface="Calibri" panose="020F0502020204030204" pitchFamily="34" charset="0"/>
              <a:cs typeface="Calibri" panose="020F0502020204030204" pitchFamily="34" charset="0"/>
            </a:rPr>
            <a:t>Import data</a:t>
          </a:r>
        </a:p>
      </dgm:t>
    </dgm:pt>
    <dgm:pt modelId="{98E8D83B-5307-4282-9A90-ACC4A08799E5}" type="parTrans" cxnId="{9B137DB8-18E5-45D7-BFA5-6B315C446AD6}">
      <dgm:prSet/>
      <dgm:spPr/>
      <dgm:t>
        <a:bodyPr/>
        <a:lstStyle/>
        <a:p>
          <a:endParaRPr lang="en-IE">
            <a:latin typeface="Calibri" panose="020F0502020204030204" pitchFamily="34" charset="0"/>
            <a:cs typeface="Calibri" panose="020F0502020204030204" pitchFamily="34" charset="0"/>
          </a:endParaRPr>
        </a:p>
      </dgm:t>
    </dgm:pt>
    <dgm:pt modelId="{B980017F-05A2-4F28-BCFE-58F271F96770}" type="sibTrans" cxnId="{9B137DB8-18E5-45D7-BFA5-6B315C446AD6}">
      <dgm:prSet/>
      <dgm:spPr/>
      <dgm:t>
        <a:bodyPr/>
        <a:lstStyle/>
        <a:p>
          <a:endParaRPr lang="en-IE">
            <a:latin typeface="Calibri" panose="020F0502020204030204" pitchFamily="34" charset="0"/>
            <a:cs typeface="Calibri" panose="020F0502020204030204" pitchFamily="34" charset="0"/>
          </a:endParaRPr>
        </a:p>
      </dgm:t>
    </dgm:pt>
    <dgm:pt modelId="{5796F0BB-5BCD-4978-87CF-8B2D48307801}">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Validate successful imports</a:t>
          </a:r>
        </a:p>
      </dgm:t>
    </dgm:pt>
    <dgm:pt modelId="{CFDA17D0-E5A4-4F9C-B07C-C24BA98CDF85}" type="parTrans" cxnId="{88CEF654-0C5F-4525-9D4C-283738F0A185}">
      <dgm:prSet/>
      <dgm:spPr/>
      <dgm:t>
        <a:bodyPr/>
        <a:lstStyle/>
        <a:p>
          <a:endParaRPr lang="en-IE">
            <a:latin typeface="Calibri" panose="020F0502020204030204" pitchFamily="34" charset="0"/>
            <a:cs typeface="Calibri" panose="020F0502020204030204" pitchFamily="34" charset="0"/>
          </a:endParaRPr>
        </a:p>
      </dgm:t>
    </dgm:pt>
    <dgm:pt modelId="{E442E5AB-E569-4328-923D-2F2347EAC23D}" type="sibTrans" cxnId="{88CEF654-0C5F-4525-9D4C-283738F0A185}">
      <dgm:prSet/>
      <dgm:spPr/>
      <dgm:t>
        <a:bodyPr/>
        <a:lstStyle/>
        <a:p>
          <a:endParaRPr lang="en-IE">
            <a:latin typeface="Calibri" panose="020F0502020204030204" pitchFamily="34" charset="0"/>
            <a:cs typeface="Calibri" panose="020F0502020204030204" pitchFamily="34" charset="0"/>
          </a:endParaRPr>
        </a:p>
      </dgm:t>
    </dgm:pt>
    <dgm:pt modelId="{8A4C7B9D-97EF-44DF-AF20-754AEE5C6ADA}">
      <dgm:prSet custT="1"/>
      <dgm:spPr>
        <a:solidFill>
          <a:schemeClr val="tx2"/>
        </a:solidFill>
      </dgm:spPr>
      <dgm:t>
        <a:bodyPr/>
        <a:lstStyle/>
        <a:p>
          <a:r>
            <a:rPr lang="en-IE" sz="850">
              <a:solidFill>
                <a:schemeClr val="bg1"/>
              </a:solidFill>
              <a:latin typeface="Calibri" panose="020F0502020204030204" pitchFamily="34" charset="0"/>
              <a:cs typeface="Calibri" panose="020F0502020204030204" pitchFamily="34" charset="0"/>
            </a:rPr>
            <a:t>Migrate application(s) if required</a:t>
          </a:r>
        </a:p>
      </dgm:t>
    </dgm:pt>
    <dgm:pt modelId="{F2992F71-9695-470D-AD3C-34CC9BB0562E}" type="parTrans" cxnId="{37C864B9-A178-4E33-B3A3-B1BBB9C9FB27}">
      <dgm:prSet/>
      <dgm:spPr/>
      <dgm:t>
        <a:bodyPr/>
        <a:lstStyle/>
        <a:p>
          <a:endParaRPr lang="en-IE">
            <a:latin typeface="Calibri" panose="020F0502020204030204" pitchFamily="34" charset="0"/>
            <a:cs typeface="Calibri" panose="020F0502020204030204" pitchFamily="34" charset="0"/>
          </a:endParaRPr>
        </a:p>
      </dgm:t>
    </dgm:pt>
    <dgm:pt modelId="{685C2276-ACB6-4179-845D-98A685736F2A}" type="sibTrans" cxnId="{37C864B9-A178-4E33-B3A3-B1BBB9C9FB27}">
      <dgm:prSet/>
      <dgm:spPr/>
      <dgm:t>
        <a:bodyPr/>
        <a:lstStyle/>
        <a:p>
          <a:endParaRPr lang="en-IE">
            <a:latin typeface="Calibri" panose="020F0502020204030204" pitchFamily="34" charset="0"/>
            <a:cs typeface="Calibri" panose="020F0502020204030204" pitchFamily="34" charset="0"/>
          </a:endParaRPr>
        </a:p>
      </dgm:t>
    </dgm:pt>
    <dgm:pt modelId="{A109EDF4-9C84-4E50-BBBF-353D360EEFDF}" type="pres">
      <dgm:prSet presAssocID="{C7583617-2BDA-4EE9-9567-46F080C370BD}" presName="Name0" presStyleCnt="0">
        <dgm:presLayoutVars>
          <dgm:dir/>
          <dgm:resizeHandles val="exact"/>
        </dgm:presLayoutVars>
      </dgm:prSet>
      <dgm:spPr/>
    </dgm:pt>
    <dgm:pt modelId="{BD2D8588-5F40-406F-9EA4-B20184A0F5D4}" type="pres">
      <dgm:prSet presAssocID="{456D69F9-7626-4DD6-B8B6-162AB963ACA6}" presName="parTxOnly" presStyleLbl="node1" presStyleIdx="0" presStyleCnt="8">
        <dgm:presLayoutVars>
          <dgm:bulletEnabled val="1"/>
        </dgm:presLayoutVars>
      </dgm:prSet>
      <dgm:spPr/>
    </dgm:pt>
    <dgm:pt modelId="{24B76A56-F759-4303-85F8-D123C5842B28}" type="pres">
      <dgm:prSet presAssocID="{C5A0CA82-F1DD-491A-B0E1-09CFD2761F9E}" presName="parSpace" presStyleCnt="0"/>
      <dgm:spPr/>
    </dgm:pt>
    <dgm:pt modelId="{52439D9C-6E67-42C8-A94B-4AA770B874FE}" type="pres">
      <dgm:prSet presAssocID="{7761702F-D9A7-4C74-9050-400A891BD11E}" presName="parTxOnly" presStyleLbl="node1" presStyleIdx="1" presStyleCnt="8">
        <dgm:presLayoutVars>
          <dgm:bulletEnabled val="1"/>
        </dgm:presLayoutVars>
      </dgm:prSet>
      <dgm:spPr/>
    </dgm:pt>
    <dgm:pt modelId="{B5F665B3-BDE6-41E3-AE4B-42AB60B7D517}" type="pres">
      <dgm:prSet presAssocID="{9862F0CB-689F-423C-B86C-41CE603B4CEB}" presName="parSpace" presStyleCnt="0"/>
      <dgm:spPr/>
    </dgm:pt>
    <dgm:pt modelId="{AEE43438-EB55-43F6-BD82-B4D23CACA6F8}" type="pres">
      <dgm:prSet presAssocID="{F8212425-7132-4338-8BE9-33FAF302962E}" presName="parTxOnly" presStyleLbl="node1" presStyleIdx="2" presStyleCnt="8">
        <dgm:presLayoutVars>
          <dgm:bulletEnabled val="1"/>
        </dgm:presLayoutVars>
      </dgm:prSet>
      <dgm:spPr/>
    </dgm:pt>
    <dgm:pt modelId="{2BCBDA80-09FF-4520-B7F9-E24B9E6DFD66}" type="pres">
      <dgm:prSet presAssocID="{1AB2F713-723B-4A48-B8B9-4A24C6F5E298}" presName="parSpace" presStyleCnt="0"/>
      <dgm:spPr/>
    </dgm:pt>
    <dgm:pt modelId="{26BD502D-FC19-4925-9863-883CB25798A6}" type="pres">
      <dgm:prSet presAssocID="{31C5D582-892A-47D1-8EB2-67006A191070}" presName="parTxOnly" presStyleLbl="node1" presStyleIdx="3" presStyleCnt="8" custScaleY="102154" custLinFactNeighborX="-10176" custLinFactNeighborY="-346">
        <dgm:presLayoutVars>
          <dgm:bulletEnabled val="1"/>
        </dgm:presLayoutVars>
      </dgm:prSet>
      <dgm:spPr/>
    </dgm:pt>
    <dgm:pt modelId="{1CE48FF5-8883-48D4-B584-E87C17432603}" type="pres">
      <dgm:prSet presAssocID="{FACF18A5-932C-4F01-B2FB-1CA7D7BB759C}" presName="parSpace" presStyleCnt="0"/>
      <dgm:spPr/>
    </dgm:pt>
    <dgm:pt modelId="{044179A8-AFB0-4C6A-9F0E-94B44845ECF0}" type="pres">
      <dgm:prSet presAssocID="{1EBE3E35-7D35-42E2-85F9-E98677618505}" presName="parTxOnly" presStyleLbl="node1" presStyleIdx="4" presStyleCnt="8" custLinFactNeighborX="-12567">
        <dgm:presLayoutVars>
          <dgm:bulletEnabled val="1"/>
        </dgm:presLayoutVars>
      </dgm:prSet>
      <dgm:spPr/>
    </dgm:pt>
    <dgm:pt modelId="{93BEB85C-8FC5-4E23-8305-FCAE16A17B30}" type="pres">
      <dgm:prSet presAssocID="{B0AEE5B5-1BB8-4E98-8EA7-2C174745BB58}" presName="parSpace" presStyleCnt="0"/>
      <dgm:spPr/>
    </dgm:pt>
    <dgm:pt modelId="{8518A415-EEA2-40E0-94CD-BECCA7DBD568}" type="pres">
      <dgm:prSet presAssocID="{3C1A5EA4-7CF8-46AE-A447-775BD4B56C99}" presName="parTxOnly" presStyleLbl="node1" presStyleIdx="5" presStyleCnt="8" custLinFactNeighborX="-14502">
        <dgm:presLayoutVars>
          <dgm:bulletEnabled val="1"/>
        </dgm:presLayoutVars>
      </dgm:prSet>
      <dgm:spPr/>
    </dgm:pt>
    <dgm:pt modelId="{B3CC25C0-4495-4FBA-97D4-2DCAA8B02823}" type="pres">
      <dgm:prSet presAssocID="{B980017F-05A2-4F28-BCFE-58F271F96770}" presName="parSpace" presStyleCnt="0"/>
      <dgm:spPr/>
    </dgm:pt>
    <dgm:pt modelId="{717C86D2-20E0-46CC-AFF5-20400664B5A0}" type="pres">
      <dgm:prSet presAssocID="{5796F0BB-5BCD-4978-87CF-8B2D48307801}" presName="parTxOnly" presStyleLbl="node1" presStyleIdx="6" presStyleCnt="8" custLinFactNeighborX="-14020">
        <dgm:presLayoutVars>
          <dgm:bulletEnabled val="1"/>
        </dgm:presLayoutVars>
      </dgm:prSet>
      <dgm:spPr/>
    </dgm:pt>
    <dgm:pt modelId="{B8EA6844-3261-425F-BCBD-60F21C0A3426}" type="pres">
      <dgm:prSet presAssocID="{E442E5AB-E569-4328-923D-2F2347EAC23D}" presName="parSpace" presStyleCnt="0"/>
      <dgm:spPr/>
    </dgm:pt>
    <dgm:pt modelId="{BE8586BE-6DE1-42ED-BAB2-301BE4B157AD}" type="pres">
      <dgm:prSet presAssocID="{8A4C7B9D-97EF-44DF-AF20-754AEE5C6ADA}" presName="parTxOnly" presStyleLbl="node1" presStyleIdx="7" presStyleCnt="8" custLinFactNeighborX="-15965">
        <dgm:presLayoutVars>
          <dgm:bulletEnabled val="1"/>
        </dgm:presLayoutVars>
      </dgm:prSet>
      <dgm:spPr/>
    </dgm:pt>
  </dgm:ptLst>
  <dgm:cxnLst>
    <dgm:cxn modelId="{D3AA6808-25A6-4133-A8F8-D36669AA6A71}" type="presOf" srcId="{8A4C7B9D-97EF-44DF-AF20-754AEE5C6ADA}" destId="{BE8586BE-6DE1-42ED-BAB2-301BE4B157AD}" srcOrd="0" destOrd="0" presId="urn:microsoft.com/office/officeart/2005/8/layout/hChevron3"/>
    <dgm:cxn modelId="{64EF9E0D-13A2-4868-BD79-11F15737D93A}" srcId="{C7583617-2BDA-4EE9-9567-46F080C370BD}" destId="{31C5D582-892A-47D1-8EB2-67006A191070}" srcOrd="3" destOrd="0" parTransId="{6019157C-9E33-42C9-A96B-65F179DDABFE}" sibTransId="{FACF18A5-932C-4F01-B2FB-1CA7D7BB759C}"/>
    <dgm:cxn modelId="{6DFA9D34-E167-4576-90B8-02E12C15BE97}" type="presOf" srcId="{7761702F-D9A7-4C74-9050-400A891BD11E}" destId="{52439D9C-6E67-42C8-A94B-4AA770B874FE}" srcOrd="0" destOrd="0" presId="urn:microsoft.com/office/officeart/2005/8/layout/hChevron3"/>
    <dgm:cxn modelId="{D4336F64-6B3E-4213-A938-A74FF2169C37}" type="presOf" srcId="{F8212425-7132-4338-8BE9-33FAF302962E}" destId="{AEE43438-EB55-43F6-BD82-B4D23CACA6F8}" srcOrd="0" destOrd="0" presId="urn:microsoft.com/office/officeart/2005/8/layout/hChevron3"/>
    <dgm:cxn modelId="{88CEF654-0C5F-4525-9D4C-283738F0A185}" srcId="{C7583617-2BDA-4EE9-9567-46F080C370BD}" destId="{5796F0BB-5BCD-4978-87CF-8B2D48307801}" srcOrd="6" destOrd="0" parTransId="{CFDA17D0-E5A4-4F9C-B07C-C24BA98CDF85}" sibTransId="{E442E5AB-E569-4328-923D-2F2347EAC23D}"/>
    <dgm:cxn modelId="{2803DC76-544C-47BD-BD61-1538AB0D1FBC}" type="presOf" srcId="{C7583617-2BDA-4EE9-9567-46F080C370BD}" destId="{A109EDF4-9C84-4E50-BBBF-353D360EEFDF}" srcOrd="0" destOrd="0" presId="urn:microsoft.com/office/officeart/2005/8/layout/hChevron3"/>
    <dgm:cxn modelId="{C3D10277-A78A-49CA-82C3-2F2D1AE3114D}" srcId="{C7583617-2BDA-4EE9-9567-46F080C370BD}" destId="{456D69F9-7626-4DD6-B8B6-162AB963ACA6}" srcOrd="0" destOrd="0" parTransId="{ED4690E5-164A-4511-9494-012BBA14B124}" sibTransId="{C5A0CA82-F1DD-491A-B0E1-09CFD2761F9E}"/>
    <dgm:cxn modelId="{5574BC78-5E76-4997-A0A8-03A8083E499E}" type="presOf" srcId="{3C1A5EA4-7CF8-46AE-A447-775BD4B56C99}" destId="{8518A415-EEA2-40E0-94CD-BECCA7DBD568}" srcOrd="0" destOrd="0" presId="urn:microsoft.com/office/officeart/2005/8/layout/hChevron3"/>
    <dgm:cxn modelId="{CD52CF86-5D71-4AE0-80D4-45FCBBDC954C}" srcId="{C7583617-2BDA-4EE9-9567-46F080C370BD}" destId="{F8212425-7132-4338-8BE9-33FAF302962E}" srcOrd="2" destOrd="0" parTransId="{2BA874F2-BD6D-462B-8096-8900752F8CE4}" sibTransId="{1AB2F713-723B-4A48-B8B9-4A24C6F5E298}"/>
    <dgm:cxn modelId="{7DE72C89-35BA-4C14-BFB1-B3736017224D}" type="presOf" srcId="{5796F0BB-5BCD-4978-87CF-8B2D48307801}" destId="{717C86D2-20E0-46CC-AFF5-20400664B5A0}" srcOrd="0" destOrd="0" presId="urn:microsoft.com/office/officeart/2005/8/layout/hChevron3"/>
    <dgm:cxn modelId="{B304F998-B362-40A3-9681-035FF65199F5}" srcId="{C7583617-2BDA-4EE9-9567-46F080C370BD}" destId="{7761702F-D9A7-4C74-9050-400A891BD11E}" srcOrd="1" destOrd="0" parTransId="{3DFBDF3D-29CC-4722-8FA6-C1E16D9E41C1}" sibTransId="{9862F0CB-689F-423C-B86C-41CE603B4CEB}"/>
    <dgm:cxn modelId="{8AB02A9C-727D-4B1F-B792-456FE720A196}" type="presOf" srcId="{31C5D582-892A-47D1-8EB2-67006A191070}" destId="{26BD502D-FC19-4925-9863-883CB25798A6}" srcOrd="0" destOrd="0" presId="urn:microsoft.com/office/officeart/2005/8/layout/hChevron3"/>
    <dgm:cxn modelId="{98ABF4B5-A820-4FA9-B07F-3D09BD5A0A88}" type="presOf" srcId="{456D69F9-7626-4DD6-B8B6-162AB963ACA6}" destId="{BD2D8588-5F40-406F-9EA4-B20184A0F5D4}" srcOrd="0" destOrd="0" presId="urn:microsoft.com/office/officeart/2005/8/layout/hChevron3"/>
    <dgm:cxn modelId="{9B137DB8-18E5-45D7-BFA5-6B315C446AD6}" srcId="{C7583617-2BDA-4EE9-9567-46F080C370BD}" destId="{3C1A5EA4-7CF8-46AE-A447-775BD4B56C99}" srcOrd="5" destOrd="0" parTransId="{98E8D83B-5307-4282-9A90-ACC4A08799E5}" sibTransId="{B980017F-05A2-4F28-BCFE-58F271F96770}"/>
    <dgm:cxn modelId="{37C864B9-A178-4E33-B3A3-B1BBB9C9FB27}" srcId="{C7583617-2BDA-4EE9-9567-46F080C370BD}" destId="{8A4C7B9D-97EF-44DF-AF20-754AEE5C6ADA}" srcOrd="7" destOrd="0" parTransId="{F2992F71-9695-470D-AD3C-34CC9BB0562E}" sibTransId="{685C2276-ACB6-4179-845D-98A685736F2A}"/>
    <dgm:cxn modelId="{7A5825E1-503A-4597-A04A-A6D1DA020A17}" srcId="{C7583617-2BDA-4EE9-9567-46F080C370BD}" destId="{1EBE3E35-7D35-42E2-85F9-E98677618505}" srcOrd="4" destOrd="0" parTransId="{76F05C3B-6408-49BB-8864-67E5D75376E4}" sibTransId="{B0AEE5B5-1BB8-4E98-8EA7-2C174745BB58}"/>
    <dgm:cxn modelId="{1A823AE3-81B3-4045-8B17-024CED4E16EF}" type="presOf" srcId="{1EBE3E35-7D35-42E2-85F9-E98677618505}" destId="{044179A8-AFB0-4C6A-9F0E-94B44845ECF0}" srcOrd="0" destOrd="0" presId="urn:microsoft.com/office/officeart/2005/8/layout/hChevron3"/>
    <dgm:cxn modelId="{0DCDD44B-5B02-4819-B91E-28425C872B62}" type="presParOf" srcId="{A109EDF4-9C84-4E50-BBBF-353D360EEFDF}" destId="{BD2D8588-5F40-406F-9EA4-B20184A0F5D4}" srcOrd="0" destOrd="0" presId="urn:microsoft.com/office/officeart/2005/8/layout/hChevron3"/>
    <dgm:cxn modelId="{257BA397-7F59-4622-BF0C-C8EC27291AAD}" type="presParOf" srcId="{A109EDF4-9C84-4E50-BBBF-353D360EEFDF}" destId="{24B76A56-F759-4303-85F8-D123C5842B28}" srcOrd="1" destOrd="0" presId="urn:microsoft.com/office/officeart/2005/8/layout/hChevron3"/>
    <dgm:cxn modelId="{886A2CEC-0B76-4511-924B-E165B73668F6}" type="presParOf" srcId="{A109EDF4-9C84-4E50-BBBF-353D360EEFDF}" destId="{52439D9C-6E67-42C8-A94B-4AA770B874FE}" srcOrd="2" destOrd="0" presId="urn:microsoft.com/office/officeart/2005/8/layout/hChevron3"/>
    <dgm:cxn modelId="{16DF0365-A9A1-44A4-9CBB-9F6D67F69495}" type="presParOf" srcId="{A109EDF4-9C84-4E50-BBBF-353D360EEFDF}" destId="{B5F665B3-BDE6-41E3-AE4B-42AB60B7D517}" srcOrd="3" destOrd="0" presId="urn:microsoft.com/office/officeart/2005/8/layout/hChevron3"/>
    <dgm:cxn modelId="{D21F9A1F-5EDB-4F40-8F07-5379BD3F028F}" type="presParOf" srcId="{A109EDF4-9C84-4E50-BBBF-353D360EEFDF}" destId="{AEE43438-EB55-43F6-BD82-B4D23CACA6F8}" srcOrd="4" destOrd="0" presId="urn:microsoft.com/office/officeart/2005/8/layout/hChevron3"/>
    <dgm:cxn modelId="{81454F2B-61EB-437B-8485-D636FC5A6634}" type="presParOf" srcId="{A109EDF4-9C84-4E50-BBBF-353D360EEFDF}" destId="{2BCBDA80-09FF-4520-B7F9-E24B9E6DFD66}" srcOrd="5" destOrd="0" presId="urn:microsoft.com/office/officeart/2005/8/layout/hChevron3"/>
    <dgm:cxn modelId="{FD13CBD1-34CD-4721-B780-0B8F91022324}" type="presParOf" srcId="{A109EDF4-9C84-4E50-BBBF-353D360EEFDF}" destId="{26BD502D-FC19-4925-9863-883CB25798A6}" srcOrd="6" destOrd="0" presId="urn:microsoft.com/office/officeart/2005/8/layout/hChevron3"/>
    <dgm:cxn modelId="{6EB71097-B074-4AD6-921F-B4D1D02429F8}" type="presParOf" srcId="{A109EDF4-9C84-4E50-BBBF-353D360EEFDF}" destId="{1CE48FF5-8883-48D4-B584-E87C17432603}" srcOrd="7" destOrd="0" presId="urn:microsoft.com/office/officeart/2005/8/layout/hChevron3"/>
    <dgm:cxn modelId="{DBE0B744-83E3-4315-A413-EECFCDA1C908}" type="presParOf" srcId="{A109EDF4-9C84-4E50-BBBF-353D360EEFDF}" destId="{044179A8-AFB0-4C6A-9F0E-94B44845ECF0}" srcOrd="8" destOrd="0" presId="urn:microsoft.com/office/officeart/2005/8/layout/hChevron3"/>
    <dgm:cxn modelId="{6C281AF7-2EBA-4F94-A5D4-4320A60B4347}" type="presParOf" srcId="{A109EDF4-9C84-4E50-BBBF-353D360EEFDF}" destId="{93BEB85C-8FC5-4E23-8305-FCAE16A17B30}" srcOrd="9" destOrd="0" presId="urn:microsoft.com/office/officeart/2005/8/layout/hChevron3"/>
    <dgm:cxn modelId="{08035988-5644-4F87-8AC5-D1AAAF18CAA1}" type="presParOf" srcId="{A109EDF4-9C84-4E50-BBBF-353D360EEFDF}" destId="{8518A415-EEA2-40E0-94CD-BECCA7DBD568}" srcOrd="10" destOrd="0" presId="urn:microsoft.com/office/officeart/2005/8/layout/hChevron3"/>
    <dgm:cxn modelId="{0D0A940E-39CD-4DE2-946A-8183AABB8687}" type="presParOf" srcId="{A109EDF4-9C84-4E50-BBBF-353D360EEFDF}" destId="{B3CC25C0-4495-4FBA-97D4-2DCAA8B02823}" srcOrd="11" destOrd="0" presId="urn:microsoft.com/office/officeart/2005/8/layout/hChevron3"/>
    <dgm:cxn modelId="{77AC4841-5D14-4F48-843E-EE7F8C0959B9}" type="presParOf" srcId="{A109EDF4-9C84-4E50-BBBF-353D360EEFDF}" destId="{717C86D2-20E0-46CC-AFF5-20400664B5A0}" srcOrd="12" destOrd="0" presId="urn:microsoft.com/office/officeart/2005/8/layout/hChevron3"/>
    <dgm:cxn modelId="{A6B6AB7C-2703-4FDE-A6FF-E4DDDF10A416}" type="presParOf" srcId="{A109EDF4-9C84-4E50-BBBF-353D360EEFDF}" destId="{B8EA6844-3261-425F-BCBD-60F21C0A3426}" srcOrd="13" destOrd="0" presId="urn:microsoft.com/office/officeart/2005/8/layout/hChevron3"/>
    <dgm:cxn modelId="{D16D781A-1D8F-43D5-94F6-6B9402D1F2A9}" type="presParOf" srcId="{A109EDF4-9C84-4E50-BBBF-353D360EEFDF}" destId="{BE8586BE-6DE1-42ED-BAB2-301BE4B157AD}" srcOrd="14"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7583617-2BDA-4EE9-9567-46F080C370BD}" type="doc">
      <dgm:prSet loTypeId="urn:microsoft.com/office/officeart/2005/8/layout/hChevron3" loCatId="process" qsTypeId="urn:microsoft.com/office/officeart/2005/8/quickstyle/simple1" qsCatId="simple" csTypeId="urn:microsoft.com/office/officeart/2005/8/colors/accent1_2" csCatId="accent1" phldr="1"/>
      <dgm:spPr/>
    </dgm:pt>
    <dgm:pt modelId="{456D69F9-7626-4DD6-B8B6-162AB963ACA6}">
      <dgm:prSet phldrT="[Tex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Create Azure Database Migration Service Instance</a:t>
          </a:r>
        </a:p>
      </dgm:t>
    </dgm:pt>
    <dgm:pt modelId="{ED4690E5-164A-4511-9494-012BBA14B124}" type="parTrans" cxnId="{C3D10277-A78A-49CA-82C3-2F2D1AE3114D}">
      <dgm:prSet/>
      <dgm:spPr/>
      <dgm:t>
        <a:bodyPr/>
        <a:lstStyle/>
        <a:p>
          <a:endParaRPr lang="en-IE">
            <a:latin typeface="Calibri" panose="020F0502020204030204" pitchFamily="34" charset="0"/>
            <a:cs typeface="Calibri" panose="020F0502020204030204" pitchFamily="34" charset="0"/>
          </a:endParaRPr>
        </a:p>
      </dgm:t>
    </dgm:pt>
    <dgm:pt modelId="{C5A0CA82-F1DD-491A-B0E1-09CFD2761F9E}" type="sibTrans" cxnId="{C3D10277-A78A-49CA-82C3-2F2D1AE3114D}">
      <dgm:prSet/>
      <dgm:spPr/>
      <dgm:t>
        <a:bodyPr/>
        <a:lstStyle/>
        <a:p>
          <a:endParaRPr lang="en-IE">
            <a:latin typeface="Calibri" panose="020F0502020204030204" pitchFamily="34" charset="0"/>
            <a:cs typeface="Calibri" panose="020F0502020204030204" pitchFamily="34" charset="0"/>
          </a:endParaRPr>
        </a:p>
      </dgm:t>
    </dgm:pt>
    <dgm:pt modelId="{7761702F-D9A7-4C74-9050-400A891BD11E}">
      <dgm:prSet phldrT="[Text]" custT="1"/>
      <dgm:spPr>
        <a:solidFill>
          <a:schemeClr val="bg1">
            <a:lumMod val="60000"/>
            <a:lumOff val="40000"/>
          </a:schemeClr>
        </a:solidFill>
      </dgm:spPr>
      <dgm:t>
        <a:bodyPr/>
        <a:lstStyle/>
        <a:p>
          <a:r>
            <a:rPr lang="en-IE" sz="850">
              <a:solidFill>
                <a:schemeClr val="tx1"/>
              </a:solidFill>
              <a:latin typeface="Calibri" panose="020F0502020204030204" pitchFamily="34" charset="0"/>
              <a:cs typeface="Calibri" panose="020F0502020204030204" pitchFamily="34" charset="0"/>
            </a:rPr>
            <a:t>Create </a:t>
          </a:r>
        </a:p>
      </dgm:t>
    </dgm:pt>
    <dgm:pt modelId="{3DFBDF3D-29CC-4722-8FA6-C1E16D9E41C1}" type="parTrans" cxnId="{B304F998-B362-40A3-9681-035FF65199F5}">
      <dgm:prSet/>
      <dgm:spPr/>
      <dgm:t>
        <a:bodyPr/>
        <a:lstStyle/>
        <a:p>
          <a:endParaRPr lang="en-IE">
            <a:latin typeface="Calibri" panose="020F0502020204030204" pitchFamily="34" charset="0"/>
            <a:cs typeface="Calibri" panose="020F0502020204030204" pitchFamily="34" charset="0"/>
          </a:endParaRPr>
        </a:p>
      </dgm:t>
    </dgm:pt>
    <dgm:pt modelId="{9862F0CB-689F-423C-B86C-41CE603B4CEB}" type="sibTrans" cxnId="{B304F998-B362-40A3-9681-035FF65199F5}">
      <dgm:prSet/>
      <dgm:spPr/>
      <dgm:t>
        <a:bodyPr/>
        <a:lstStyle/>
        <a:p>
          <a:endParaRPr lang="en-IE">
            <a:latin typeface="Calibri" panose="020F0502020204030204" pitchFamily="34" charset="0"/>
            <a:cs typeface="Calibri" panose="020F0502020204030204" pitchFamily="34" charset="0"/>
          </a:endParaRPr>
        </a:p>
      </dgm:t>
    </dgm:pt>
    <dgm:pt modelId="{F8212425-7132-4338-8BE9-33FAF302962E}">
      <dgm:prSet phldrT="[Text]" custT="1"/>
      <dgm:spPr>
        <a:solidFill>
          <a:schemeClr val="bg1">
            <a:lumMod val="20000"/>
            <a:lumOff val="80000"/>
          </a:schemeClr>
        </a:solidFill>
      </dgm:spPr>
      <dgm:t>
        <a:bodyPr/>
        <a:lstStyle/>
        <a:p>
          <a:r>
            <a:rPr lang="en-IE" sz="850">
              <a:solidFill>
                <a:schemeClr val="bg1"/>
              </a:solidFill>
              <a:latin typeface="Calibri" panose="020F0502020204030204" pitchFamily="34" charset="0"/>
              <a:cs typeface="Calibri" panose="020F0502020204030204" pitchFamily="34" charset="0"/>
            </a:rPr>
            <a:t>Export database objects</a:t>
          </a:r>
        </a:p>
      </dgm:t>
    </dgm:pt>
    <dgm:pt modelId="{2BA874F2-BD6D-462B-8096-8900752F8CE4}" type="parTrans" cxnId="{CD52CF86-5D71-4AE0-80D4-45FCBBDC954C}">
      <dgm:prSet/>
      <dgm:spPr/>
      <dgm:t>
        <a:bodyPr/>
        <a:lstStyle/>
        <a:p>
          <a:endParaRPr lang="en-IE">
            <a:latin typeface="Calibri" panose="020F0502020204030204" pitchFamily="34" charset="0"/>
            <a:cs typeface="Calibri" panose="020F0502020204030204" pitchFamily="34" charset="0"/>
          </a:endParaRPr>
        </a:p>
      </dgm:t>
    </dgm:pt>
    <dgm:pt modelId="{1AB2F713-723B-4A48-B8B9-4A24C6F5E298}" type="sibTrans" cxnId="{CD52CF86-5D71-4AE0-80D4-45FCBBDC954C}">
      <dgm:prSet/>
      <dgm:spPr/>
      <dgm:t>
        <a:bodyPr/>
        <a:lstStyle/>
        <a:p>
          <a:endParaRPr lang="en-IE">
            <a:latin typeface="Calibri" panose="020F0502020204030204" pitchFamily="34" charset="0"/>
            <a:cs typeface="Calibri" panose="020F0502020204030204" pitchFamily="34" charset="0"/>
          </a:endParaRPr>
        </a:p>
      </dgm:t>
    </dgm:pt>
    <dgm:pt modelId="{31C5D582-892A-47D1-8EB2-67006A191070}">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Export the data</a:t>
          </a:r>
        </a:p>
      </dgm:t>
    </dgm:pt>
    <dgm:pt modelId="{6019157C-9E33-42C9-A96B-65F179DDABFE}" type="parTrans" cxnId="{64EF9E0D-13A2-4868-BD79-11F15737D93A}">
      <dgm:prSet/>
      <dgm:spPr/>
      <dgm:t>
        <a:bodyPr/>
        <a:lstStyle/>
        <a:p>
          <a:endParaRPr lang="en-IE">
            <a:latin typeface="Calibri" panose="020F0502020204030204" pitchFamily="34" charset="0"/>
            <a:cs typeface="Calibri" panose="020F0502020204030204" pitchFamily="34" charset="0"/>
          </a:endParaRPr>
        </a:p>
      </dgm:t>
    </dgm:pt>
    <dgm:pt modelId="{FACF18A5-932C-4F01-B2FB-1CA7D7BB759C}" type="sibTrans" cxnId="{64EF9E0D-13A2-4868-BD79-11F15737D93A}">
      <dgm:prSet/>
      <dgm:spPr/>
      <dgm:t>
        <a:bodyPr/>
        <a:lstStyle/>
        <a:p>
          <a:endParaRPr lang="en-IE">
            <a:latin typeface="Calibri" panose="020F0502020204030204" pitchFamily="34" charset="0"/>
            <a:cs typeface="Calibri" panose="020F0502020204030204" pitchFamily="34" charset="0"/>
          </a:endParaRPr>
        </a:p>
      </dgm:t>
    </dgm:pt>
    <dgm:pt modelId="{1EBE3E35-7D35-42E2-85F9-E98677618505}">
      <dgm:prSet custT="1"/>
      <dgm:spPr>
        <a:solidFill>
          <a:schemeClr val="bg1">
            <a:lumMod val="60000"/>
            <a:lumOff val="40000"/>
          </a:schemeClr>
        </a:solidFill>
      </dgm:spPr>
      <dgm:t>
        <a:bodyPr/>
        <a:lstStyle/>
        <a:p>
          <a:r>
            <a:rPr lang="en-IE" sz="850">
              <a:solidFill>
                <a:schemeClr val="tx1"/>
              </a:solidFill>
              <a:latin typeface="Calibri" panose="020F0502020204030204" pitchFamily="34" charset="0"/>
              <a:cs typeface="Calibri" panose="020F0502020204030204" pitchFamily="34" charset="0"/>
            </a:rPr>
            <a:t>Import database objects</a:t>
          </a:r>
        </a:p>
      </dgm:t>
    </dgm:pt>
    <dgm:pt modelId="{76F05C3B-6408-49BB-8864-67E5D75376E4}" type="parTrans" cxnId="{7A5825E1-503A-4597-A04A-A6D1DA020A17}">
      <dgm:prSet/>
      <dgm:spPr/>
      <dgm:t>
        <a:bodyPr/>
        <a:lstStyle/>
        <a:p>
          <a:endParaRPr lang="en-IE">
            <a:latin typeface="Calibri" panose="020F0502020204030204" pitchFamily="34" charset="0"/>
            <a:cs typeface="Calibri" panose="020F0502020204030204" pitchFamily="34" charset="0"/>
          </a:endParaRPr>
        </a:p>
      </dgm:t>
    </dgm:pt>
    <dgm:pt modelId="{B0AEE5B5-1BB8-4E98-8EA7-2C174745BB58}" type="sibTrans" cxnId="{7A5825E1-503A-4597-A04A-A6D1DA020A17}">
      <dgm:prSet/>
      <dgm:spPr/>
      <dgm:t>
        <a:bodyPr/>
        <a:lstStyle/>
        <a:p>
          <a:endParaRPr lang="en-IE">
            <a:latin typeface="Calibri" panose="020F0502020204030204" pitchFamily="34" charset="0"/>
            <a:cs typeface="Calibri" panose="020F0502020204030204" pitchFamily="34" charset="0"/>
          </a:endParaRPr>
        </a:p>
      </dgm:t>
    </dgm:pt>
    <dgm:pt modelId="{3C1A5EA4-7CF8-46AE-A447-775BD4B56C99}">
      <dgm:prSet custT="1"/>
      <dgm:spPr>
        <a:solidFill>
          <a:schemeClr val="bg1">
            <a:lumMod val="20000"/>
            <a:lumOff val="80000"/>
          </a:schemeClr>
        </a:solidFill>
      </dgm:spPr>
      <dgm:t>
        <a:bodyPr/>
        <a:lstStyle/>
        <a:p>
          <a:r>
            <a:rPr lang="en-IE" sz="850">
              <a:solidFill>
                <a:schemeClr val="bg1"/>
              </a:solidFill>
              <a:latin typeface="Calibri" panose="020F0502020204030204" pitchFamily="34" charset="0"/>
              <a:cs typeface="Calibri" panose="020F0502020204030204" pitchFamily="34" charset="0"/>
            </a:rPr>
            <a:t>Import data</a:t>
          </a:r>
        </a:p>
      </dgm:t>
    </dgm:pt>
    <dgm:pt modelId="{98E8D83B-5307-4282-9A90-ACC4A08799E5}" type="parTrans" cxnId="{9B137DB8-18E5-45D7-BFA5-6B315C446AD6}">
      <dgm:prSet/>
      <dgm:spPr/>
      <dgm:t>
        <a:bodyPr/>
        <a:lstStyle/>
        <a:p>
          <a:endParaRPr lang="en-IE">
            <a:latin typeface="Calibri" panose="020F0502020204030204" pitchFamily="34" charset="0"/>
            <a:cs typeface="Calibri" panose="020F0502020204030204" pitchFamily="34" charset="0"/>
          </a:endParaRPr>
        </a:p>
      </dgm:t>
    </dgm:pt>
    <dgm:pt modelId="{B980017F-05A2-4F28-BCFE-58F271F96770}" type="sibTrans" cxnId="{9B137DB8-18E5-45D7-BFA5-6B315C446AD6}">
      <dgm:prSet/>
      <dgm:spPr/>
      <dgm:t>
        <a:bodyPr/>
        <a:lstStyle/>
        <a:p>
          <a:endParaRPr lang="en-IE">
            <a:latin typeface="Calibri" panose="020F0502020204030204" pitchFamily="34" charset="0"/>
            <a:cs typeface="Calibri" panose="020F0502020204030204" pitchFamily="34" charset="0"/>
          </a:endParaRPr>
        </a:p>
      </dgm:t>
    </dgm:pt>
    <dgm:pt modelId="{5796F0BB-5BCD-4978-87CF-8B2D48307801}">
      <dgm:prSet custT="1"/>
      <dgm:spPr>
        <a:solidFill>
          <a:schemeClr val="bg1"/>
        </a:solidFill>
      </dgm:spPr>
      <dgm:t>
        <a:bodyPr/>
        <a:lstStyle/>
        <a:p>
          <a:r>
            <a:rPr lang="en-IE" sz="850">
              <a:solidFill>
                <a:schemeClr val="tx1"/>
              </a:solidFill>
              <a:latin typeface="Calibri" panose="020F0502020204030204" pitchFamily="34" charset="0"/>
              <a:cs typeface="Calibri" panose="020F0502020204030204" pitchFamily="34" charset="0"/>
            </a:rPr>
            <a:t>Validate successful imports</a:t>
          </a:r>
        </a:p>
      </dgm:t>
    </dgm:pt>
    <dgm:pt modelId="{CFDA17D0-E5A4-4F9C-B07C-C24BA98CDF85}" type="parTrans" cxnId="{88CEF654-0C5F-4525-9D4C-283738F0A185}">
      <dgm:prSet/>
      <dgm:spPr/>
      <dgm:t>
        <a:bodyPr/>
        <a:lstStyle/>
        <a:p>
          <a:endParaRPr lang="en-IE">
            <a:latin typeface="Calibri" panose="020F0502020204030204" pitchFamily="34" charset="0"/>
            <a:cs typeface="Calibri" panose="020F0502020204030204" pitchFamily="34" charset="0"/>
          </a:endParaRPr>
        </a:p>
      </dgm:t>
    </dgm:pt>
    <dgm:pt modelId="{E442E5AB-E569-4328-923D-2F2347EAC23D}" type="sibTrans" cxnId="{88CEF654-0C5F-4525-9D4C-283738F0A185}">
      <dgm:prSet/>
      <dgm:spPr/>
      <dgm:t>
        <a:bodyPr/>
        <a:lstStyle/>
        <a:p>
          <a:endParaRPr lang="en-IE">
            <a:latin typeface="Calibri" panose="020F0502020204030204" pitchFamily="34" charset="0"/>
            <a:cs typeface="Calibri" panose="020F0502020204030204" pitchFamily="34" charset="0"/>
          </a:endParaRPr>
        </a:p>
      </dgm:t>
    </dgm:pt>
    <dgm:pt modelId="{8A4C7B9D-97EF-44DF-AF20-754AEE5C6ADA}">
      <dgm:prSet custT="1"/>
      <dgm:spPr>
        <a:solidFill>
          <a:schemeClr val="tx2"/>
        </a:solidFill>
      </dgm:spPr>
      <dgm:t>
        <a:bodyPr/>
        <a:lstStyle/>
        <a:p>
          <a:r>
            <a:rPr lang="en-IE" sz="850">
              <a:solidFill>
                <a:schemeClr val="bg1"/>
              </a:solidFill>
              <a:latin typeface="Calibri" panose="020F0502020204030204" pitchFamily="34" charset="0"/>
              <a:cs typeface="Calibri" panose="020F0502020204030204" pitchFamily="34" charset="0"/>
            </a:rPr>
            <a:t>Migrate application(s) if required</a:t>
          </a:r>
        </a:p>
      </dgm:t>
    </dgm:pt>
    <dgm:pt modelId="{F2992F71-9695-470D-AD3C-34CC9BB0562E}" type="parTrans" cxnId="{37C864B9-A178-4E33-B3A3-B1BBB9C9FB27}">
      <dgm:prSet/>
      <dgm:spPr/>
      <dgm:t>
        <a:bodyPr/>
        <a:lstStyle/>
        <a:p>
          <a:endParaRPr lang="en-IE">
            <a:latin typeface="Calibri" panose="020F0502020204030204" pitchFamily="34" charset="0"/>
            <a:cs typeface="Calibri" panose="020F0502020204030204" pitchFamily="34" charset="0"/>
          </a:endParaRPr>
        </a:p>
      </dgm:t>
    </dgm:pt>
    <dgm:pt modelId="{685C2276-ACB6-4179-845D-98A685736F2A}" type="sibTrans" cxnId="{37C864B9-A178-4E33-B3A3-B1BBB9C9FB27}">
      <dgm:prSet/>
      <dgm:spPr/>
      <dgm:t>
        <a:bodyPr/>
        <a:lstStyle/>
        <a:p>
          <a:endParaRPr lang="en-IE">
            <a:latin typeface="Calibri" panose="020F0502020204030204" pitchFamily="34" charset="0"/>
            <a:cs typeface="Calibri" panose="020F0502020204030204" pitchFamily="34" charset="0"/>
          </a:endParaRPr>
        </a:p>
      </dgm:t>
    </dgm:pt>
    <dgm:pt modelId="{A109EDF4-9C84-4E50-BBBF-353D360EEFDF}" type="pres">
      <dgm:prSet presAssocID="{C7583617-2BDA-4EE9-9567-46F080C370BD}" presName="Name0" presStyleCnt="0">
        <dgm:presLayoutVars>
          <dgm:dir/>
          <dgm:resizeHandles val="exact"/>
        </dgm:presLayoutVars>
      </dgm:prSet>
      <dgm:spPr/>
    </dgm:pt>
    <dgm:pt modelId="{BD2D8588-5F40-406F-9EA4-B20184A0F5D4}" type="pres">
      <dgm:prSet presAssocID="{456D69F9-7626-4DD6-B8B6-162AB963ACA6}" presName="parTxOnly" presStyleLbl="node1" presStyleIdx="0" presStyleCnt="8">
        <dgm:presLayoutVars>
          <dgm:bulletEnabled val="1"/>
        </dgm:presLayoutVars>
      </dgm:prSet>
      <dgm:spPr/>
    </dgm:pt>
    <dgm:pt modelId="{24B76A56-F759-4303-85F8-D123C5842B28}" type="pres">
      <dgm:prSet presAssocID="{C5A0CA82-F1DD-491A-B0E1-09CFD2761F9E}" presName="parSpace" presStyleCnt="0"/>
      <dgm:spPr/>
    </dgm:pt>
    <dgm:pt modelId="{52439D9C-6E67-42C8-A94B-4AA770B874FE}" type="pres">
      <dgm:prSet presAssocID="{7761702F-D9A7-4C74-9050-400A891BD11E}" presName="parTxOnly" presStyleLbl="node1" presStyleIdx="1" presStyleCnt="8">
        <dgm:presLayoutVars>
          <dgm:bulletEnabled val="1"/>
        </dgm:presLayoutVars>
      </dgm:prSet>
      <dgm:spPr/>
    </dgm:pt>
    <dgm:pt modelId="{B5F665B3-BDE6-41E3-AE4B-42AB60B7D517}" type="pres">
      <dgm:prSet presAssocID="{9862F0CB-689F-423C-B86C-41CE603B4CEB}" presName="parSpace" presStyleCnt="0"/>
      <dgm:spPr/>
    </dgm:pt>
    <dgm:pt modelId="{AEE43438-EB55-43F6-BD82-B4D23CACA6F8}" type="pres">
      <dgm:prSet presAssocID="{F8212425-7132-4338-8BE9-33FAF302962E}" presName="parTxOnly" presStyleLbl="node1" presStyleIdx="2" presStyleCnt="8">
        <dgm:presLayoutVars>
          <dgm:bulletEnabled val="1"/>
        </dgm:presLayoutVars>
      </dgm:prSet>
      <dgm:spPr/>
    </dgm:pt>
    <dgm:pt modelId="{2BCBDA80-09FF-4520-B7F9-E24B9E6DFD66}" type="pres">
      <dgm:prSet presAssocID="{1AB2F713-723B-4A48-B8B9-4A24C6F5E298}" presName="parSpace" presStyleCnt="0"/>
      <dgm:spPr/>
    </dgm:pt>
    <dgm:pt modelId="{26BD502D-FC19-4925-9863-883CB25798A6}" type="pres">
      <dgm:prSet presAssocID="{31C5D582-892A-47D1-8EB2-67006A191070}" presName="parTxOnly" presStyleLbl="node1" presStyleIdx="3" presStyleCnt="8" custLinFactNeighborX="-10176" custLinFactNeighborY="-346">
        <dgm:presLayoutVars>
          <dgm:bulletEnabled val="1"/>
        </dgm:presLayoutVars>
      </dgm:prSet>
      <dgm:spPr/>
    </dgm:pt>
    <dgm:pt modelId="{1CE48FF5-8883-48D4-B584-E87C17432603}" type="pres">
      <dgm:prSet presAssocID="{FACF18A5-932C-4F01-B2FB-1CA7D7BB759C}" presName="parSpace" presStyleCnt="0"/>
      <dgm:spPr/>
    </dgm:pt>
    <dgm:pt modelId="{044179A8-AFB0-4C6A-9F0E-94B44845ECF0}" type="pres">
      <dgm:prSet presAssocID="{1EBE3E35-7D35-42E2-85F9-E98677618505}" presName="parTxOnly" presStyleLbl="node1" presStyleIdx="4" presStyleCnt="8" custLinFactNeighborX="-12567" custLinFactNeighborY="25994">
        <dgm:presLayoutVars>
          <dgm:bulletEnabled val="1"/>
        </dgm:presLayoutVars>
      </dgm:prSet>
      <dgm:spPr/>
    </dgm:pt>
    <dgm:pt modelId="{93BEB85C-8FC5-4E23-8305-FCAE16A17B30}" type="pres">
      <dgm:prSet presAssocID="{B0AEE5B5-1BB8-4E98-8EA7-2C174745BB58}" presName="parSpace" presStyleCnt="0"/>
      <dgm:spPr/>
    </dgm:pt>
    <dgm:pt modelId="{8518A415-EEA2-40E0-94CD-BECCA7DBD568}" type="pres">
      <dgm:prSet presAssocID="{3C1A5EA4-7CF8-46AE-A447-775BD4B56C99}" presName="parTxOnly" presStyleLbl="node1" presStyleIdx="5" presStyleCnt="8" custLinFactNeighborX="-14502">
        <dgm:presLayoutVars>
          <dgm:bulletEnabled val="1"/>
        </dgm:presLayoutVars>
      </dgm:prSet>
      <dgm:spPr/>
    </dgm:pt>
    <dgm:pt modelId="{B3CC25C0-4495-4FBA-97D4-2DCAA8B02823}" type="pres">
      <dgm:prSet presAssocID="{B980017F-05A2-4F28-BCFE-58F271F96770}" presName="parSpace" presStyleCnt="0"/>
      <dgm:spPr/>
    </dgm:pt>
    <dgm:pt modelId="{717C86D2-20E0-46CC-AFF5-20400664B5A0}" type="pres">
      <dgm:prSet presAssocID="{5796F0BB-5BCD-4978-87CF-8B2D48307801}" presName="parTxOnly" presStyleLbl="node1" presStyleIdx="6" presStyleCnt="8" custLinFactNeighborX="-14020">
        <dgm:presLayoutVars>
          <dgm:bulletEnabled val="1"/>
        </dgm:presLayoutVars>
      </dgm:prSet>
      <dgm:spPr/>
    </dgm:pt>
    <dgm:pt modelId="{B8EA6844-3261-425F-BCBD-60F21C0A3426}" type="pres">
      <dgm:prSet presAssocID="{E442E5AB-E569-4328-923D-2F2347EAC23D}" presName="parSpace" presStyleCnt="0"/>
      <dgm:spPr/>
    </dgm:pt>
    <dgm:pt modelId="{BE8586BE-6DE1-42ED-BAB2-301BE4B157AD}" type="pres">
      <dgm:prSet presAssocID="{8A4C7B9D-97EF-44DF-AF20-754AEE5C6ADA}" presName="parTxOnly" presStyleLbl="node1" presStyleIdx="7" presStyleCnt="8" custLinFactNeighborX="-15965">
        <dgm:presLayoutVars>
          <dgm:bulletEnabled val="1"/>
        </dgm:presLayoutVars>
      </dgm:prSet>
      <dgm:spPr/>
    </dgm:pt>
  </dgm:ptLst>
  <dgm:cxnLst>
    <dgm:cxn modelId="{D3AA6808-25A6-4133-A8F8-D36669AA6A71}" type="presOf" srcId="{8A4C7B9D-97EF-44DF-AF20-754AEE5C6ADA}" destId="{BE8586BE-6DE1-42ED-BAB2-301BE4B157AD}" srcOrd="0" destOrd="0" presId="urn:microsoft.com/office/officeart/2005/8/layout/hChevron3"/>
    <dgm:cxn modelId="{64EF9E0D-13A2-4868-BD79-11F15737D93A}" srcId="{C7583617-2BDA-4EE9-9567-46F080C370BD}" destId="{31C5D582-892A-47D1-8EB2-67006A191070}" srcOrd="3" destOrd="0" parTransId="{6019157C-9E33-42C9-A96B-65F179DDABFE}" sibTransId="{FACF18A5-932C-4F01-B2FB-1CA7D7BB759C}"/>
    <dgm:cxn modelId="{6DFA9D34-E167-4576-90B8-02E12C15BE97}" type="presOf" srcId="{7761702F-D9A7-4C74-9050-400A891BD11E}" destId="{52439D9C-6E67-42C8-A94B-4AA770B874FE}" srcOrd="0" destOrd="0" presId="urn:microsoft.com/office/officeart/2005/8/layout/hChevron3"/>
    <dgm:cxn modelId="{D4336F64-6B3E-4213-A938-A74FF2169C37}" type="presOf" srcId="{F8212425-7132-4338-8BE9-33FAF302962E}" destId="{AEE43438-EB55-43F6-BD82-B4D23CACA6F8}" srcOrd="0" destOrd="0" presId="urn:microsoft.com/office/officeart/2005/8/layout/hChevron3"/>
    <dgm:cxn modelId="{88CEF654-0C5F-4525-9D4C-283738F0A185}" srcId="{C7583617-2BDA-4EE9-9567-46F080C370BD}" destId="{5796F0BB-5BCD-4978-87CF-8B2D48307801}" srcOrd="6" destOrd="0" parTransId="{CFDA17D0-E5A4-4F9C-B07C-C24BA98CDF85}" sibTransId="{E442E5AB-E569-4328-923D-2F2347EAC23D}"/>
    <dgm:cxn modelId="{2803DC76-544C-47BD-BD61-1538AB0D1FBC}" type="presOf" srcId="{C7583617-2BDA-4EE9-9567-46F080C370BD}" destId="{A109EDF4-9C84-4E50-BBBF-353D360EEFDF}" srcOrd="0" destOrd="0" presId="urn:microsoft.com/office/officeart/2005/8/layout/hChevron3"/>
    <dgm:cxn modelId="{C3D10277-A78A-49CA-82C3-2F2D1AE3114D}" srcId="{C7583617-2BDA-4EE9-9567-46F080C370BD}" destId="{456D69F9-7626-4DD6-B8B6-162AB963ACA6}" srcOrd="0" destOrd="0" parTransId="{ED4690E5-164A-4511-9494-012BBA14B124}" sibTransId="{C5A0CA82-F1DD-491A-B0E1-09CFD2761F9E}"/>
    <dgm:cxn modelId="{5574BC78-5E76-4997-A0A8-03A8083E499E}" type="presOf" srcId="{3C1A5EA4-7CF8-46AE-A447-775BD4B56C99}" destId="{8518A415-EEA2-40E0-94CD-BECCA7DBD568}" srcOrd="0" destOrd="0" presId="urn:microsoft.com/office/officeart/2005/8/layout/hChevron3"/>
    <dgm:cxn modelId="{CD52CF86-5D71-4AE0-80D4-45FCBBDC954C}" srcId="{C7583617-2BDA-4EE9-9567-46F080C370BD}" destId="{F8212425-7132-4338-8BE9-33FAF302962E}" srcOrd="2" destOrd="0" parTransId="{2BA874F2-BD6D-462B-8096-8900752F8CE4}" sibTransId="{1AB2F713-723B-4A48-B8B9-4A24C6F5E298}"/>
    <dgm:cxn modelId="{7DE72C89-35BA-4C14-BFB1-B3736017224D}" type="presOf" srcId="{5796F0BB-5BCD-4978-87CF-8B2D48307801}" destId="{717C86D2-20E0-46CC-AFF5-20400664B5A0}" srcOrd="0" destOrd="0" presId="urn:microsoft.com/office/officeart/2005/8/layout/hChevron3"/>
    <dgm:cxn modelId="{B304F998-B362-40A3-9681-035FF65199F5}" srcId="{C7583617-2BDA-4EE9-9567-46F080C370BD}" destId="{7761702F-D9A7-4C74-9050-400A891BD11E}" srcOrd="1" destOrd="0" parTransId="{3DFBDF3D-29CC-4722-8FA6-C1E16D9E41C1}" sibTransId="{9862F0CB-689F-423C-B86C-41CE603B4CEB}"/>
    <dgm:cxn modelId="{8AB02A9C-727D-4B1F-B792-456FE720A196}" type="presOf" srcId="{31C5D582-892A-47D1-8EB2-67006A191070}" destId="{26BD502D-FC19-4925-9863-883CB25798A6}" srcOrd="0" destOrd="0" presId="urn:microsoft.com/office/officeart/2005/8/layout/hChevron3"/>
    <dgm:cxn modelId="{98ABF4B5-A820-4FA9-B07F-3D09BD5A0A88}" type="presOf" srcId="{456D69F9-7626-4DD6-B8B6-162AB963ACA6}" destId="{BD2D8588-5F40-406F-9EA4-B20184A0F5D4}" srcOrd="0" destOrd="0" presId="urn:microsoft.com/office/officeart/2005/8/layout/hChevron3"/>
    <dgm:cxn modelId="{9B137DB8-18E5-45D7-BFA5-6B315C446AD6}" srcId="{C7583617-2BDA-4EE9-9567-46F080C370BD}" destId="{3C1A5EA4-7CF8-46AE-A447-775BD4B56C99}" srcOrd="5" destOrd="0" parTransId="{98E8D83B-5307-4282-9A90-ACC4A08799E5}" sibTransId="{B980017F-05A2-4F28-BCFE-58F271F96770}"/>
    <dgm:cxn modelId="{37C864B9-A178-4E33-B3A3-B1BBB9C9FB27}" srcId="{C7583617-2BDA-4EE9-9567-46F080C370BD}" destId="{8A4C7B9D-97EF-44DF-AF20-754AEE5C6ADA}" srcOrd="7" destOrd="0" parTransId="{F2992F71-9695-470D-AD3C-34CC9BB0562E}" sibTransId="{685C2276-ACB6-4179-845D-98A685736F2A}"/>
    <dgm:cxn modelId="{7A5825E1-503A-4597-A04A-A6D1DA020A17}" srcId="{C7583617-2BDA-4EE9-9567-46F080C370BD}" destId="{1EBE3E35-7D35-42E2-85F9-E98677618505}" srcOrd="4" destOrd="0" parTransId="{76F05C3B-6408-49BB-8864-67E5D75376E4}" sibTransId="{B0AEE5B5-1BB8-4E98-8EA7-2C174745BB58}"/>
    <dgm:cxn modelId="{1A823AE3-81B3-4045-8B17-024CED4E16EF}" type="presOf" srcId="{1EBE3E35-7D35-42E2-85F9-E98677618505}" destId="{044179A8-AFB0-4C6A-9F0E-94B44845ECF0}" srcOrd="0" destOrd="0" presId="urn:microsoft.com/office/officeart/2005/8/layout/hChevron3"/>
    <dgm:cxn modelId="{0DCDD44B-5B02-4819-B91E-28425C872B62}" type="presParOf" srcId="{A109EDF4-9C84-4E50-BBBF-353D360EEFDF}" destId="{BD2D8588-5F40-406F-9EA4-B20184A0F5D4}" srcOrd="0" destOrd="0" presId="urn:microsoft.com/office/officeart/2005/8/layout/hChevron3"/>
    <dgm:cxn modelId="{257BA397-7F59-4622-BF0C-C8EC27291AAD}" type="presParOf" srcId="{A109EDF4-9C84-4E50-BBBF-353D360EEFDF}" destId="{24B76A56-F759-4303-85F8-D123C5842B28}" srcOrd="1" destOrd="0" presId="urn:microsoft.com/office/officeart/2005/8/layout/hChevron3"/>
    <dgm:cxn modelId="{886A2CEC-0B76-4511-924B-E165B73668F6}" type="presParOf" srcId="{A109EDF4-9C84-4E50-BBBF-353D360EEFDF}" destId="{52439D9C-6E67-42C8-A94B-4AA770B874FE}" srcOrd="2" destOrd="0" presId="urn:microsoft.com/office/officeart/2005/8/layout/hChevron3"/>
    <dgm:cxn modelId="{16DF0365-A9A1-44A4-9CBB-9F6D67F69495}" type="presParOf" srcId="{A109EDF4-9C84-4E50-BBBF-353D360EEFDF}" destId="{B5F665B3-BDE6-41E3-AE4B-42AB60B7D517}" srcOrd="3" destOrd="0" presId="urn:microsoft.com/office/officeart/2005/8/layout/hChevron3"/>
    <dgm:cxn modelId="{D21F9A1F-5EDB-4F40-8F07-5379BD3F028F}" type="presParOf" srcId="{A109EDF4-9C84-4E50-BBBF-353D360EEFDF}" destId="{AEE43438-EB55-43F6-BD82-B4D23CACA6F8}" srcOrd="4" destOrd="0" presId="urn:microsoft.com/office/officeart/2005/8/layout/hChevron3"/>
    <dgm:cxn modelId="{81454F2B-61EB-437B-8485-D636FC5A6634}" type="presParOf" srcId="{A109EDF4-9C84-4E50-BBBF-353D360EEFDF}" destId="{2BCBDA80-09FF-4520-B7F9-E24B9E6DFD66}" srcOrd="5" destOrd="0" presId="urn:microsoft.com/office/officeart/2005/8/layout/hChevron3"/>
    <dgm:cxn modelId="{FD13CBD1-34CD-4721-B780-0B8F91022324}" type="presParOf" srcId="{A109EDF4-9C84-4E50-BBBF-353D360EEFDF}" destId="{26BD502D-FC19-4925-9863-883CB25798A6}" srcOrd="6" destOrd="0" presId="urn:microsoft.com/office/officeart/2005/8/layout/hChevron3"/>
    <dgm:cxn modelId="{6EB71097-B074-4AD6-921F-B4D1D02429F8}" type="presParOf" srcId="{A109EDF4-9C84-4E50-BBBF-353D360EEFDF}" destId="{1CE48FF5-8883-48D4-B584-E87C17432603}" srcOrd="7" destOrd="0" presId="urn:microsoft.com/office/officeart/2005/8/layout/hChevron3"/>
    <dgm:cxn modelId="{DBE0B744-83E3-4315-A413-EECFCDA1C908}" type="presParOf" srcId="{A109EDF4-9C84-4E50-BBBF-353D360EEFDF}" destId="{044179A8-AFB0-4C6A-9F0E-94B44845ECF0}" srcOrd="8" destOrd="0" presId="urn:microsoft.com/office/officeart/2005/8/layout/hChevron3"/>
    <dgm:cxn modelId="{6C281AF7-2EBA-4F94-A5D4-4320A60B4347}" type="presParOf" srcId="{A109EDF4-9C84-4E50-BBBF-353D360EEFDF}" destId="{93BEB85C-8FC5-4E23-8305-FCAE16A17B30}" srcOrd="9" destOrd="0" presId="urn:microsoft.com/office/officeart/2005/8/layout/hChevron3"/>
    <dgm:cxn modelId="{08035988-5644-4F87-8AC5-D1AAAF18CAA1}" type="presParOf" srcId="{A109EDF4-9C84-4E50-BBBF-353D360EEFDF}" destId="{8518A415-EEA2-40E0-94CD-BECCA7DBD568}" srcOrd="10" destOrd="0" presId="urn:microsoft.com/office/officeart/2005/8/layout/hChevron3"/>
    <dgm:cxn modelId="{0D0A940E-39CD-4DE2-946A-8183AABB8687}" type="presParOf" srcId="{A109EDF4-9C84-4E50-BBBF-353D360EEFDF}" destId="{B3CC25C0-4495-4FBA-97D4-2DCAA8B02823}" srcOrd="11" destOrd="0" presId="urn:microsoft.com/office/officeart/2005/8/layout/hChevron3"/>
    <dgm:cxn modelId="{77AC4841-5D14-4F48-843E-EE7F8C0959B9}" type="presParOf" srcId="{A109EDF4-9C84-4E50-BBBF-353D360EEFDF}" destId="{717C86D2-20E0-46CC-AFF5-20400664B5A0}" srcOrd="12" destOrd="0" presId="urn:microsoft.com/office/officeart/2005/8/layout/hChevron3"/>
    <dgm:cxn modelId="{A6B6AB7C-2703-4FDE-A6FF-E4DDDF10A416}" type="presParOf" srcId="{A109EDF4-9C84-4E50-BBBF-353D360EEFDF}" destId="{B8EA6844-3261-425F-BCBD-60F21C0A3426}" srcOrd="13" destOrd="0" presId="urn:microsoft.com/office/officeart/2005/8/layout/hChevron3"/>
    <dgm:cxn modelId="{D16D781A-1D8F-43D5-94F6-6B9402D1F2A9}" type="presParOf" srcId="{A109EDF4-9C84-4E50-BBBF-353D360EEFDF}" destId="{BE8586BE-6DE1-42ED-BAB2-301BE4B157AD}" srcOrd="14" destOrd="0" presId="urn:microsoft.com/office/officeart/2005/8/layout/hChevron3"/>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2D8588-5F40-406F-9EA4-B20184A0F5D4}">
      <dsp:nvSpPr>
        <dsp:cNvPr id="0" name=""/>
        <dsp:cNvSpPr/>
      </dsp:nvSpPr>
      <dsp:spPr>
        <a:xfrm>
          <a:off x="5231" y="0"/>
          <a:ext cx="1621760" cy="445773"/>
        </a:xfrm>
        <a:prstGeom prst="homePlate">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Create new SQL Server Migration Assistant (SSMA) project</a:t>
          </a:r>
        </a:p>
      </dsp:txBody>
      <dsp:txXfrm>
        <a:off x="5231" y="0"/>
        <a:ext cx="1510317" cy="445773"/>
      </dsp:txXfrm>
    </dsp:sp>
    <dsp:sp modelId="{52439D9C-6E67-42C8-A94B-4AA770B874FE}">
      <dsp:nvSpPr>
        <dsp:cNvPr id="0" name=""/>
        <dsp:cNvSpPr/>
      </dsp:nvSpPr>
      <dsp:spPr>
        <a:xfrm>
          <a:off x="1302639" y="0"/>
          <a:ext cx="1621760" cy="445773"/>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Add access database files to the project</a:t>
          </a:r>
        </a:p>
      </dsp:txBody>
      <dsp:txXfrm>
        <a:off x="1525526" y="0"/>
        <a:ext cx="1175987" cy="445773"/>
      </dsp:txXfrm>
    </dsp:sp>
    <dsp:sp modelId="{AEE43438-EB55-43F6-BD82-B4D23CACA6F8}">
      <dsp:nvSpPr>
        <dsp:cNvPr id="0" name=""/>
        <dsp:cNvSpPr/>
      </dsp:nvSpPr>
      <dsp:spPr>
        <a:xfrm>
          <a:off x="2600047" y="0"/>
          <a:ext cx="1621760" cy="445773"/>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latin typeface="Calibri" panose="020F0502020204030204" pitchFamily="34" charset="0"/>
              <a:cs typeface="Calibri" panose="020F0502020204030204" pitchFamily="34" charset="0"/>
            </a:rPr>
            <a:t>Connect to target instance of SQL Server</a:t>
          </a:r>
        </a:p>
      </dsp:txBody>
      <dsp:txXfrm>
        <a:off x="2822934" y="0"/>
        <a:ext cx="1175987" cy="445773"/>
      </dsp:txXfrm>
    </dsp:sp>
    <dsp:sp modelId="{26BD502D-FC19-4925-9863-883CB25798A6}">
      <dsp:nvSpPr>
        <dsp:cNvPr id="0" name=""/>
        <dsp:cNvSpPr/>
      </dsp:nvSpPr>
      <dsp:spPr>
        <a:xfrm>
          <a:off x="3864450" y="0"/>
          <a:ext cx="1621760" cy="445773"/>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Customise source-target mapping if needed</a:t>
          </a:r>
        </a:p>
      </dsp:txBody>
      <dsp:txXfrm>
        <a:off x="4087337" y="0"/>
        <a:ext cx="1175987" cy="445773"/>
      </dsp:txXfrm>
    </dsp:sp>
    <dsp:sp modelId="{044179A8-AFB0-4C6A-9F0E-94B44845ECF0}">
      <dsp:nvSpPr>
        <dsp:cNvPr id="0" name=""/>
        <dsp:cNvSpPr/>
      </dsp:nvSpPr>
      <dsp:spPr>
        <a:xfrm>
          <a:off x="5154103" y="0"/>
          <a:ext cx="1621760" cy="445773"/>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33375">
            <a:lnSpc>
              <a:spcPct val="90000"/>
            </a:lnSpc>
            <a:spcBef>
              <a:spcPct val="0"/>
            </a:spcBef>
            <a:spcAft>
              <a:spcPct val="35000"/>
            </a:spcAft>
            <a:buNone/>
          </a:pPr>
          <a:r>
            <a:rPr lang="en-IE" sz="750" kern="1200">
              <a:solidFill>
                <a:schemeClr val="tx1"/>
              </a:solidFill>
              <a:latin typeface="Calibri" panose="020F0502020204030204" pitchFamily="34" charset="0"/>
              <a:cs typeface="Calibri" panose="020F0502020204030204" pitchFamily="34" charset="0"/>
            </a:rPr>
            <a:t>Create assessment report on predicted success/failure of load</a:t>
          </a:r>
        </a:p>
      </dsp:txBody>
      <dsp:txXfrm>
        <a:off x="5376990" y="0"/>
        <a:ext cx="1175987" cy="445773"/>
      </dsp:txXfrm>
    </dsp:sp>
    <dsp:sp modelId="{8518A415-EEA2-40E0-94CD-BECCA7DBD568}">
      <dsp:nvSpPr>
        <dsp:cNvPr id="0" name=""/>
        <dsp:cNvSpPr/>
      </dsp:nvSpPr>
      <dsp:spPr>
        <a:xfrm>
          <a:off x="6445235" y="0"/>
          <a:ext cx="1621760" cy="445773"/>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33375">
            <a:lnSpc>
              <a:spcPct val="90000"/>
            </a:lnSpc>
            <a:spcBef>
              <a:spcPct val="0"/>
            </a:spcBef>
            <a:spcAft>
              <a:spcPct val="35000"/>
            </a:spcAft>
            <a:buNone/>
          </a:pPr>
          <a:r>
            <a:rPr lang="en-IE" sz="750" kern="1200">
              <a:latin typeface="Calibri" panose="020F0502020204030204" pitchFamily="34" charset="0"/>
              <a:cs typeface="Calibri" panose="020F0502020204030204" pitchFamily="34" charset="0"/>
            </a:rPr>
            <a:t>Convert Access database objects to SQL Server definitions</a:t>
          </a:r>
        </a:p>
      </dsp:txBody>
      <dsp:txXfrm>
        <a:off x="6668122" y="0"/>
        <a:ext cx="1175987" cy="445773"/>
      </dsp:txXfrm>
    </dsp:sp>
    <dsp:sp modelId="{717C86D2-20E0-46CC-AFF5-20400664B5A0}">
      <dsp:nvSpPr>
        <dsp:cNvPr id="0" name=""/>
        <dsp:cNvSpPr/>
      </dsp:nvSpPr>
      <dsp:spPr>
        <a:xfrm>
          <a:off x="7744206" y="0"/>
          <a:ext cx="1621760" cy="445773"/>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Load converted database objects into SQL Server</a:t>
          </a:r>
        </a:p>
      </dsp:txBody>
      <dsp:txXfrm>
        <a:off x="7967093" y="0"/>
        <a:ext cx="1175987" cy="445773"/>
      </dsp:txXfrm>
    </dsp:sp>
    <dsp:sp modelId="{BE8586BE-6DE1-42ED-BAB2-301BE4B157AD}">
      <dsp:nvSpPr>
        <dsp:cNvPr id="0" name=""/>
        <dsp:cNvSpPr/>
      </dsp:nvSpPr>
      <dsp:spPr>
        <a:xfrm>
          <a:off x="9035306" y="0"/>
          <a:ext cx="1621760" cy="445773"/>
        </a:xfrm>
        <a:prstGeom prst="chevron">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latin typeface="Calibri" panose="020F0502020204030204" pitchFamily="34" charset="0"/>
              <a:cs typeface="Calibri" panose="020F0502020204030204" pitchFamily="34" charset="0"/>
            </a:rPr>
            <a:t>Migrate Access data to SQL Server</a:t>
          </a:r>
        </a:p>
      </dsp:txBody>
      <dsp:txXfrm>
        <a:off x="9258193" y="0"/>
        <a:ext cx="1175987" cy="4457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2D8588-5F40-406F-9EA4-B20184A0F5D4}">
      <dsp:nvSpPr>
        <dsp:cNvPr id="0" name=""/>
        <dsp:cNvSpPr/>
      </dsp:nvSpPr>
      <dsp:spPr>
        <a:xfrm>
          <a:off x="5231" y="0"/>
          <a:ext cx="1621760" cy="379445"/>
        </a:xfrm>
        <a:prstGeom prst="homePlate">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Backup database</a:t>
          </a:r>
        </a:p>
      </dsp:txBody>
      <dsp:txXfrm>
        <a:off x="5231" y="0"/>
        <a:ext cx="1526899" cy="379445"/>
      </dsp:txXfrm>
    </dsp:sp>
    <dsp:sp modelId="{52439D9C-6E67-42C8-A94B-4AA770B874FE}">
      <dsp:nvSpPr>
        <dsp:cNvPr id="0" name=""/>
        <dsp:cNvSpPr/>
      </dsp:nvSpPr>
      <dsp:spPr>
        <a:xfrm>
          <a:off x="1302639" y="0"/>
          <a:ext cx="1621760" cy="379445"/>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Configure Source and Target instance  parameters</a:t>
          </a:r>
        </a:p>
      </dsp:txBody>
      <dsp:txXfrm>
        <a:off x="1492362" y="0"/>
        <a:ext cx="1242315" cy="379445"/>
      </dsp:txXfrm>
    </dsp:sp>
    <dsp:sp modelId="{AEE43438-EB55-43F6-BD82-B4D23CACA6F8}">
      <dsp:nvSpPr>
        <dsp:cNvPr id="0" name=""/>
        <dsp:cNvSpPr/>
      </dsp:nvSpPr>
      <dsp:spPr>
        <a:xfrm>
          <a:off x="2600047" y="0"/>
          <a:ext cx="1621760" cy="379445"/>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Export database objects</a:t>
          </a:r>
        </a:p>
      </dsp:txBody>
      <dsp:txXfrm>
        <a:off x="2789770" y="0"/>
        <a:ext cx="1242315" cy="379445"/>
      </dsp:txXfrm>
    </dsp:sp>
    <dsp:sp modelId="{26BD502D-FC19-4925-9863-883CB25798A6}">
      <dsp:nvSpPr>
        <dsp:cNvPr id="0" name=""/>
        <dsp:cNvSpPr/>
      </dsp:nvSpPr>
      <dsp:spPr>
        <a:xfrm>
          <a:off x="3864450" y="0"/>
          <a:ext cx="1621760" cy="379445"/>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Export the data</a:t>
          </a:r>
        </a:p>
      </dsp:txBody>
      <dsp:txXfrm>
        <a:off x="4054173" y="0"/>
        <a:ext cx="1242315" cy="379445"/>
      </dsp:txXfrm>
    </dsp:sp>
    <dsp:sp modelId="{044179A8-AFB0-4C6A-9F0E-94B44845ECF0}">
      <dsp:nvSpPr>
        <dsp:cNvPr id="0" name=""/>
        <dsp:cNvSpPr/>
      </dsp:nvSpPr>
      <dsp:spPr>
        <a:xfrm>
          <a:off x="5154103" y="0"/>
          <a:ext cx="1621760" cy="379445"/>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Import database objects</a:t>
          </a:r>
        </a:p>
      </dsp:txBody>
      <dsp:txXfrm>
        <a:off x="5343826" y="0"/>
        <a:ext cx="1242315" cy="379445"/>
      </dsp:txXfrm>
    </dsp:sp>
    <dsp:sp modelId="{8518A415-EEA2-40E0-94CD-BECCA7DBD568}">
      <dsp:nvSpPr>
        <dsp:cNvPr id="0" name=""/>
        <dsp:cNvSpPr/>
      </dsp:nvSpPr>
      <dsp:spPr>
        <a:xfrm>
          <a:off x="6445235" y="0"/>
          <a:ext cx="1621760" cy="379445"/>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Import data</a:t>
          </a:r>
        </a:p>
      </dsp:txBody>
      <dsp:txXfrm>
        <a:off x="6634958" y="0"/>
        <a:ext cx="1242315" cy="379445"/>
      </dsp:txXfrm>
    </dsp:sp>
    <dsp:sp modelId="{717C86D2-20E0-46CC-AFF5-20400664B5A0}">
      <dsp:nvSpPr>
        <dsp:cNvPr id="0" name=""/>
        <dsp:cNvSpPr/>
      </dsp:nvSpPr>
      <dsp:spPr>
        <a:xfrm>
          <a:off x="7744206" y="0"/>
          <a:ext cx="1621760" cy="379445"/>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Validate successful imports</a:t>
          </a:r>
        </a:p>
      </dsp:txBody>
      <dsp:txXfrm>
        <a:off x="7933929" y="0"/>
        <a:ext cx="1242315" cy="379445"/>
      </dsp:txXfrm>
    </dsp:sp>
    <dsp:sp modelId="{BE8586BE-6DE1-42ED-BAB2-301BE4B157AD}">
      <dsp:nvSpPr>
        <dsp:cNvPr id="0" name=""/>
        <dsp:cNvSpPr/>
      </dsp:nvSpPr>
      <dsp:spPr>
        <a:xfrm>
          <a:off x="9035306" y="0"/>
          <a:ext cx="1621760" cy="379445"/>
        </a:xfrm>
        <a:prstGeom prst="chevron">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Migrate application(s) if required</a:t>
          </a:r>
        </a:p>
      </dsp:txBody>
      <dsp:txXfrm>
        <a:off x="9225029" y="0"/>
        <a:ext cx="1242315" cy="3794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2D8588-5F40-406F-9EA4-B20184A0F5D4}">
      <dsp:nvSpPr>
        <dsp:cNvPr id="0" name=""/>
        <dsp:cNvSpPr/>
      </dsp:nvSpPr>
      <dsp:spPr>
        <a:xfrm>
          <a:off x="5231" y="0"/>
          <a:ext cx="1621760" cy="424597"/>
        </a:xfrm>
        <a:prstGeom prst="homePlate">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Create Azure Database Migration Service Instance</a:t>
          </a:r>
        </a:p>
      </dsp:txBody>
      <dsp:txXfrm>
        <a:off x="5231" y="0"/>
        <a:ext cx="1515611" cy="424597"/>
      </dsp:txXfrm>
    </dsp:sp>
    <dsp:sp modelId="{52439D9C-6E67-42C8-A94B-4AA770B874FE}">
      <dsp:nvSpPr>
        <dsp:cNvPr id="0" name=""/>
        <dsp:cNvSpPr/>
      </dsp:nvSpPr>
      <dsp:spPr>
        <a:xfrm>
          <a:off x="1302639" y="0"/>
          <a:ext cx="1621760" cy="424597"/>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Create </a:t>
          </a:r>
        </a:p>
      </dsp:txBody>
      <dsp:txXfrm>
        <a:off x="1514938" y="0"/>
        <a:ext cx="1197163" cy="424597"/>
      </dsp:txXfrm>
    </dsp:sp>
    <dsp:sp modelId="{AEE43438-EB55-43F6-BD82-B4D23CACA6F8}">
      <dsp:nvSpPr>
        <dsp:cNvPr id="0" name=""/>
        <dsp:cNvSpPr/>
      </dsp:nvSpPr>
      <dsp:spPr>
        <a:xfrm>
          <a:off x="2600047" y="0"/>
          <a:ext cx="1621760" cy="424597"/>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Export database objects</a:t>
          </a:r>
        </a:p>
      </dsp:txBody>
      <dsp:txXfrm>
        <a:off x="2812346" y="0"/>
        <a:ext cx="1197163" cy="424597"/>
      </dsp:txXfrm>
    </dsp:sp>
    <dsp:sp modelId="{26BD502D-FC19-4925-9863-883CB25798A6}">
      <dsp:nvSpPr>
        <dsp:cNvPr id="0" name=""/>
        <dsp:cNvSpPr/>
      </dsp:nvSpPr>
      <dsp:spPr>
        <a:xfrm>
          <a:off x="3864449" y="0"/>
          <a:ext cx="1621760" cy="424597"/>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Export the data</a:t>
          </a:r>
        </a:p>
      </dsp:txBody>
      <dsp:txXfrm>
        <a:off x="4076748" y="0"/>
        <a:ext cx="1197163" cy="424597"/>
      </dsp:txXfrm>
    </dsp:sp>
    <dsp:sp modelId="{044179A8-AFB0-4C6A-9F0E-94B44845ECF0}">
      <dsp:nvSpPr>
        <dsp:cNvPr id="0" name=""/>
        <dsp:cNvSpPr/>
      </dsp:nvSpPr>
      <dsp:spPr>
        <a:xfrm>
          <a:off x="5154102" y="0"/>
          <a:ext cx="1621760" cy="424597"/>
        </a:xfrm>
        <a:prstGeom prst="chevron">
          <a:avLst/>
        </a:prstGeom>
        <a:solidFill>
          <a:schemeClr val="bg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Import database objects</a:t>
          </a:r>
        </a:p>
      </dsp:txBody>
      <dsp:txXfrm>
        <a:off x="5366401" y="0"/>
        <a:ext cx="1197163" cy="424597"/>
      </dsp:txXfrm>
    </dsp:sp>
    <dsp:sp modelId="{8518A415-EEA2-40E0-94CD-BECCA7DBD568}">
      <dsp:nvSpPr>
        <dsp:cNvPr id="0" name=""/>
        <dsp:cNvSpPr/>
      </dsp:nvSpPr>
      <dsp:spPr>
        <a:xfrm>
          <a:off x="6445233" y="0"/>
          <a:ext cx="1621760" cy="424597"/>
        </a:xfrm>
        <a:prstGeom prst="chevron">
          <a:avLst/>
        </a:prstGeom>
        <a:solidFill>
          <a:schemeClr val="bg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Import data</a:t>
          </a:r>
        </a:p>
      </dsp:txBody>
      <dsp:txXfrm>
        <a:off x="6657532" y="0"/>
        <a:ext cx="1197163" cy="424597"/>
      </dsp:txXfrm>
    </dsp:sp>
    <dsp:sp modelId="{717C86D2-20E0-46CC-AFF5-20400664B5A0}">
      <dsp:nvSpPr>
        <dsp:cNvPr id="0" name=""/>
        <dsp:cNvSpPr/>
      </dsp:nvSpPr>
      <dsp:spPr>
        <a:xfrm>
          <a:off x="7744205" y="0"/>
          <a:ext cx="1621760" cy="424597"/>
        </a:xfrm>
        <a:prstGeom prst="chevron">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tx1"/>
              </a:solidFill>
              <a:latin typeface="Calibri" panose="020F0502020204030204" pitchFamily="34" charset="0"/>
              <a:cs typeface="Calibri" panose="020F0502020204030204" pitchFamily="34" charset="0"/>
            </a:rPr>
            <a:t>Validate successful imports</a:t>
          </a:r>
        </a:p>
      </dsp:txBody>
      <dsp:txXfrm>
        <a:off x="7956504" y="0"/>
        <a:ext cx="1197163" cy="424597"/>
      </dsp:txXfrm>
    </dsp:sp>
    <dsp:sp modelId="{BE8586BE-6DE1-42ED-BAB2-301BE4B157AD}">
      <dsp:nvSpPr>
        <dsp:cNvPr id="0" name=""/>
        <dsp:cNvSpPr/>
      </dsp:nvSpPr>
      <dsp:spPr>
        <a:xfrm>
          <a:off x="9035304" y="0"/>
          <a:ext cx="1621760" cy="424597"/>
        </a:xfrm>
        <a:prstGeom prst="chevron">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377825">
            <a:lnSpc>
              <a:spcPct val="90000"/>
            </a:lnSpc>
            <a:spcBef>
              <a:spcPct val="0"/>
            </a:spcBef>
            <a:spcAft>
              <a:spcPct val="35000"/>
            </a:spcAft>
            <a:buNone/>
          </a:pPr>
          <a:r>
            <a:rPr lang="en-IE" sz="850" kern="1200">
              <a:solidFill>
                <a:schemeClr val="bg1"/>
              </a:solidFill>
              <a:latin typeface="Calibri" panose="020F0502020204030204" pitchFamily="34" charset="0"/>
              <a:cs typeface="Calibri" panose="020F0502020204030204" pitchFamily="34" charset="0"/>
            </a:rPr>
            <a:t>Migrate application(s) if required</a:t>
          </a:r>
        </a:p>
      </dsp:txBody>
      <dsp:txXfrm>
        <a:off x="9247603" y="0"/>
        <a:ext cx="1197163" cy="42459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8281ED7-D871-D8B0-945C-B35B6CB2FC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a:extLst>
              <a:ext uri="{FF2B5EF4-FFF2-40B4-BE49-F238E27FC236}">
                <a16:creationId xmlns:a16="http://schemas.microsoft.com/office/drawing/2014/main" id="{1E90E701-9C00-9C5C-31FB-338F536E2B2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FBBE48-C55C-4811-84BB-387E3BFB27C5}" type="datetimeFigureOut">
              <a:rPr lang="en-IE" smtClean="0"/>
              <a:t>15/08/2023</a:t>
            </a:fld>
            <a:endParaRPr lang="en-IE"/>
          </a:p>
        </p:txBody>
      </p:sp>
      <p:sp>
        <p:nvSpPr>
          <p:cNvPr id="4" name="Footer Placeholder 3">
            <a:extLst>
              <a:ext uri="{FF2B5EF4-FFF2-40B4-BE49-F238E27FC236}">
                <a16:creationId xmlns:a16="http://schemas.microsoft.com/office/drawing/2014/main" id="{33F1F34D-3322-F17D-ECE9-5E9D1CF7F3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a:extLst>
              <a:ext uri="{FF2B5EF4-FFF2-40B4-BE49-F238E27FC236}">
                <a16:creationId xmlns:a16="http://schemas.microsoft.com/office/drawing/2014/main" id="{068821BD-0854-676B-95B6-8EB7A970CC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EDABD9-2019-4301-B0AC-FA64CD2D3329}" type="slidenum">
              <a:rPr lang="en-IE" smtClean="0"/>
              <a:t>‹#›</a:t>
            </a:fld>
            <a:endParaRPr lang="en-IE"/>
          </a:p>
        </p:txBody>
      </p:sp>
    </p:spTree>
    <p:extLst>
      <p:ext uri="{BB962C8B-B14F-4D97-AF65-F5344CB8AC3E}">
        <p14:creationId xmlns:p14="http://schemas.microsoft.com/office/powerpoint/2010/main" val="387252065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C8AD86-F150-42B9-BAC7-0A005005FA09}" type="datetimeFigureOut">
              <a:rPr lang="en-IE" smtClean="0"/>
              <a:t>15/08/2023</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4E0A79-C2A2-445B-BBFD-38970B1C7518}" type="slidenum">
              <a:rPr lang="en-IE" smtClean="0"/>
              <a:t>‹#›</a:t>
            </a:fld>
            <a:endParaRPr lang="en-IE"/>
          </a:p>
        </p:txBody>
      </p:sp>
    </p:spTree>
    <p:extLst>
      <p:ext uri="{BB962C8B-B14F-4D97-AF65-F5344CB8AC3E}">
        <p14:creationId xmlns:p14="http://schemas.microsoft.com/office/powerpoint/2010/main" val="174489972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5" name="Slide Number Placeholder 4">
            <a:extLst>
              <a:ext uri="{FF2B5EF4-FFF2-40B4-BE49-F238E27FC236}">
                <a16:creationId xmlns:a16="http://schemas.microsoft.com/office/drawing/2014/main" id="{65CEEF8F-9FC3-7984-461F-A186210A571A}"/>
              </a:ext>
            </a:extLst>
          </p:cNvPr>
          <p:cNvSpPr>
            <a:spLocks noGrp="1"/>
          </p:cNvSpPr>
          <p:nvPr>
            <p:ph type="sldNum" sz="quarter" idx="5"/>
          </p:nvPr>
        </p:nvSpPr>
        <p:spPr/>
        <p:txBody>
          <a:bodyPr/>
          <a:lstStyle/>
          <a:p>
            <a:fld id="{3B4E0A79-C2A2-445B-BBFD-38970B1C7518}" type="slidenum">
              <a:rPr lang="en-IE" smtClean="0"/>
              <a:t>1</a:t>
            </a:fld>
            <a:endParaRPr lang="en-IE"/>
          </a:p>
        </p:txBody>
      </p:sp>
    </p:spTree>
    <p:extLst>
      <p:ext uri="{BB962C8B-B14F-4D97-AF65-F5344CB8AC3E}">
        <p14:creationId xmlns:p14="http://schemas.microsoft.com/office/powerpoint/2010/main" val="380944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22FB5778-911B-234C-77B7-BA0C9372BAAE}"/>
              </a:ext>
            </a:extLst>
          </p:cNvPr>
          <p:cNvSpPr>
            <a:spLocks noGrp="1"/>
          </p:cNvSpPr>
          <p:nvPr>
            <p:ph type="sldNum" sz="quarter" idx="5"/>
          </p:nvPr>
        </p:nvSpPr>
        <p:spPr/>
        <p:txBody>
          <a:bodyPr/>
          <a:lstStyle/>
          <a:p>
            <a:fld id="{3B4E0A79-C2A2-445B-BBFD-38970B1C7518}" type="slidenum">
              <a:rPr lang="en-IE" smtClean="0"/>
              <a:t>30</a:t>
            </a:fld>
            <a:endParaRPr lang="en-IE"/>
          </a:p>
        </p:txBody>
      </p:sp>
    </p:spTree>
    <p:extLst>
      <p:ext uri="{BB962C8B-B14F-4D97-AF65-F5344CB8AC3E}">
        <p14:creationId xmlns:p14="http://schemas.microsoft.com/office/powerpoint/2010/main" val="3068419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67A61B32-1D97-EFF4-2025-EF26C03EA6D7}"/>
              </a:ext>
            </a:extLst>
          </p:cNvPr>
          <p:cNvSpPr>
            <a:spLocks noGrp="1"/>
          </p:cNvSpPr>
          <p:nvPr>
            <p:ph type="sldNum" sz="quarter" idx="5"/>
          </p:nvPr>
        </p:nvSpPr>
        <p:spPr/>
        <p:txBody>
          <a:bodyPr/>
          <a:lstStyle/>
          <a:p>
            <a:fld id="{3B4E0A79-C2A2-445B-BBFD-38970B1C7518}" type="slidenum">
              <a:rPr lang="en-IE" smtClean="0"/>
              <a:t>31</a:t>
            </a:fld>
            <a:endParaRPr lang="en-IE"/>
          </a:p>
        </p:txBody>
      </p:sp>
    </p:spTree>
    <p:extLst>
      <p:ext uri="{BB962C8B-B14F-4D97-AF65-F5344CB8AC3E}">
        <p14:creationId xmlns:p14="http://schemas.microsoft.com/office/powerpoint/2010/main" val="777053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E034E8EB-1D5E-5974-291E-6FC0BEAB9883}"/>
              </a:ext>
            </a:extLst>
          </p:cNvPr>
          <p:cNvSpPr>
            <a:spLocks noGrp="1"/>
          </p:cNvSpPr>
          <p:nvPr>
            <p:ph type="sldNum" sz="quarter" idx="5"/>
          </p:nvPr>
        </p:nvSpPr>
        <p:spPr/>
        <p:txBody>
          <a:bodyPr/>
          <a:lstStyle/>
          <a:p>
            <a:fld id="{3B4E0A79-C2A2-445B-BBFD-38970B1C7518}" type="slidenum">
              <a:rPr lang="en-IE" smtClean="0"/>
              <a:t>32</a:t>
            </a:fld>
            <a:endParaRPr lang="en-IE"/>
          </a:p>
        </p:txBody>
      </p:sp>
    </p:spTree>
    <p:extLst>
      <p:ext uri="{BB962C8B-B14F-4D97-AF65-F5344CB8AC3E}">
        <p14:creationId xmlns:p14="http://schemas.microsoft.com/office/powerpoint/2010/main" val="3942016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E034E8EB-1D5E-5974-291E-6FC0BEAB9883}"/>
              </a:ext>
            </a:extLst>
          </p:cNvPr>
          <p:cNvSpPr>
            <a:spLocks noGrp="1"/>
          </p:cNvSpPr>
          <p:nvPr>
            <p:ph type="sldNum" sz="quarter" idx="5"/>
          </p:nvPr>
        </p:nvSpPr>
        <p:spPr/>
        <p:txBody>
          <a:bodyPr/>
          <a:lstStyle/>
          <a:p>
            <a:fld id="{3B4E0A79-C2A2-445B-BBFD-38970B1C7518}" type="slidenum">
              <a:rPr lang="en-IE" smtClean="0"/>
              <a:t>33</a:t>
            </a:fld>
            <a:endParaRPr lang="en-IE"/>
          </a:p>
        </p:txBody>
      </p:sp>
    </p:spTree>
    <p:extLst>
      <p:ext uri="{BB962C8B-B14F-4D97-AF65-F5344CB8AC3E}">
        <p14:creationId xmlns:p14="http://schemas.microsoft.com/office/powerpoint/2010/main" val="3194771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503C7965-9851-22FE-F5B4-B72C0F08A476}"/>
              </a:ext>
            </a:extLst>
          </p:cNvPr>
          <p:cNvSpPr>
            <a:spLocks noGrp="1"/>
          </p:cNvSpPr>
          <p:nvPr>
            <p:ph type="sldNum" sz="quarter" idx="5"/>
          </p:nvPr>
        </p:nvSpPr>
        <p:spPr/>
        <p:txBody>
          <a:bodyPr/>
          <a:lstStyle/>
          <a:p>
            <a:fld id="{3B4E0A79-C2A2-445B-BBFD-38970B1C7518}" type="slidenum">
              <a:rPr lang="en-IE" smtClean="0"/>
              <a:t>66</a:t>
            </a:fld>
            <a:endParaRPr lang="en-IE"/>
          </a:p>
        </p:txBody>
      </p:sp>
    </p:spTree>
    <p:extLst>
      <p:ext uri="{BB962C8B-B14F-4D97-AF65-F5344CB8AC3E}">
        <p14:creationId xmlns:p14="http://schemas.microsoft.com/office/powerpoint/2010/main" val="3509995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FF78AB6E-4B74-5CFF-5C0D-8DC2F892F381}"/>
              </a:ext>
            </a:extLst>
          </p:cNvPr>
          <p:cNvSpPr>
            <a:spLocks noGrp="1"/>
          </p:cNvSpPr>
          <p:nvPr>
            <p:ph type="sldNum" sz="quarter" idx="5"/>
          </p:nvPr>
        </p:nvSpPr>
        <p:spPr/>
        <p:txBody>
          <a:bodyPr/>
          <a:lstStyle/>
          <a:p>
            <a:fld id="{3B4E0A79-C2A2-445B-BBFD-38970B1C7518}" type="slidenum">
              <a:rPr lang="en-IE" smtClean="0"/>
              <a:t>67</a:t>
            </a:fld>
            <a:endParaRPr lang="en-IE"/>
          </a:p>
        </p:txBody>
      </p:sp>
    </p:spTree>
    <p:extLst>
      <p:ext uri="{BB962C8B-B14F-4D97-AF65-F5344CB8AC3E}">
        <p14:creationId xmlns:p14="http://schemas.microsoft.com/office/powerpoint/2010/main" val="4226873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082D9E14-983F-322B-4365-B7646D36F45A}"/>
              </a:ext>
            </a:extLst>
          </p:cNvPr>
          <p:cNvSpPr>
            <a:spLocks noGrp="1"/>
          </p:cNvSpPr>
          <p:nvPr>
            <p:ph type="sldNum" sz="quarter" idx="5"/>
          </p:nvPr>
        </p:nvSpPr>
        <p:spPr/>
        <p:txBody>
          <a:bodyPr/>
          <a:lstStyle/>
          <a:p>
            <a:fld id="{3B4E0A79-C2A2-445B-BBFD-38970B1C7518}" type="slidenum">
              <a:rPr lang="en-IE" smtClean="0"/>
              <a:t>68</a:t>
            </a:fld>
            <a:endParaRPr lang="en-IE"/>
          </a:p>
        </p:txBody>
      </p:sp>
    </p:spTree>
    <p:extLst>
      <p:ext uri="{BB962C8B-B14F-4D97-AF65-F5344CB8AC3E}">
        <p14:creationId xmlns:p14="http://schemas.microsoft.com/office/powerpoint/2010/main" val="2851583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4773534A-D8F8-B3E5-4D71-64E8097DEC20}"/>
              </a:ext>
            </a:extLst>
          </p:cNvPr>
          <p:cNvSpPr>
            <a:spLocks noGrp="1"/>
          </p:cNvSpPr>
          <p:nvPr>
            <p:ph type="sldNum" sz="quarter" idx="5"/>
          </p:nvPr>
        </p:nvSpPr>
        <p:spPr/>
        <p:txBody>
          <a:bodyPr/>
          <a:lstStyle/>
          <a:p>
            <a:fld id="{3B4E0A79-C2A2-445B-BBFD-38970B1C7518}" type="slidenum">
              <a:rPr lang="en-IE" smtClean="0"/>
              <a:t>70</a:t>
            </a:fld>
            <a:endParaRPr lang="en-IE"/>
          </a:p>
        </p:txBody>
      </p:sp>
    </p:spTree>
    <p:extLst>
      <p:ext uri="{BB962C8B-B14F-4D97-AF65-F5344CB8AC3E}">
        <p14:creationId xmlns:p14="http://schemas.microsoft.com/office/powerpoint/2010/main" val="4197608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5EB090D2-1891-1CC0-D5A0-9B1E31811F26}"/>
              </a:ext>
            </a:extLst>
          </p:cNvPr>
          <p:cNvSpPr>
            <a:spLocks noGrp="1"/>
          </p:cNvSpPr>
          <p:nvPr>
            <p:ph type="sldNum" sz="quarter" idx="5"/>
          </p:nvPr>
        </p:nvSpPr>
        <p:spPr/>
        <p:txBody>
          <a:bodyPr/>
          <a:lstStyle/>
          <a:p>
            <a:fld id="{3B4E0A79-C2A2-445B-BBFD-38970B1C7518}" type="slidenum">
              <a:rPr lang="en-IE" smtClean="0"/>
              <a:t>71</a:t>
            </a:fld>
            <a:endParaRPr lang="en-IE"/>
          </a:p>
        </p:txBody>
      </p:sp>
    </p:spTree>
    <p:extLst>
      <p:ext uri="{BB962C8B-B14F-4D97-AF65-F5344CB8AC3E}">
        <p14:creationId xmlns:p14="http://schemas.microsoft.com/office/powerpoint/2010/main" val="2072722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5BEE82E5-AC62-F395-E6EF-AF5E7D3FD331}"/>
              </a:ext>
            </a:extLst>
          </p:cNvPr>
          <p:cNvSpPr>
            <a:spLocks noGrp="1"/>
          </p:cNvSpPr>
          <p:nvPr>
            <p:ph type="sldNum" sz="quarter" idx="5"/>
          </p:nvPr>
        </p:nvSpPr>
        <p:spPr/>
        <p:txBody>
          <a:bodyPr/>
          <a:lstStyle/>
          <a:p>
            <a:fld id="{3B4E0A79-C2A2-445B-BBFD-38970B1C7518}" type="slidenum">
              <a:rPr lang="en-IE" smtClean="0"/>
              <a:t>72</a:t>
            </a:fld>
            <a:endParaRPr lang="en-IE"/>
          </a:p>
        </p:txBody>
      </p:sp>
    </p:spTree>
    <p:extLst>
      <p:ext uri="{BB962C8B-B14F-4D97-AF65-F5344CB8AC3E}">
        <p14:creationId xmlns:p14="http://schemas.microsoft.com/office/powerpoint/2010/main" val="318802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EDE3CC6F-3C02-4418-BD25-B110D6393801}"/>
              </a:ext>
            </a:extLst>
          </p:cNvPr>
          <p:cNvSpPr>
            <a:spLocks noGrp="1"/>
          </p:cNvSpPr>
          <p:nvPr>
            <p:ph type="sldNum" sz="quarter" idx="5"/>
          </p:nvPr>
        </p:nvSpPr>
        <p:spPr/>
        <p:txBody>
          <a:bodyPr/>
          <a:lstStyle/>
          <a:p>
            <a:fld id="{3B4E0A79-C2A2-445B-BBFD-38970B1C7518}" type="slidenum">
              <a:rPr lang="en-IE" smtClean="0"/>
              <a:t>2</a:t>
            </a:fld>
            <a:endParaRPr lang="en-IE"/>
          </a:p>
        </p:txBody>
      </p:sp>
    </p:spTree>
    <p:extLst>
      <p:ext uri="{BB962C8B-B14F-4D97-AF65-F5344CB8AC3E}">
        <p14:creationId xmlns:p14="http://schemas.microsoft.com/office/powerpoint/2010/main" val="29173538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410DDA27-0285-B516-2F5A-77344A67A893}"/>
              </a:ext>
            </a:extLst>
          </p:cNvPr>
          <p:cNvSpPr>
            <a:spLocks noGrp="1"/>
          </p:cNvSpPr>
          <p:nvPr>
            <p:ph type="sldNum" sz="quarter" idx="5"/>
          </p:nvPr>
        </p:nvSpPr>
        <p:spPr/>
        <p:txBody>
          <a:bodyPr/>
          <a:lstStyle/>
          <a:p>
            <a:fld id="{3B4E0A79-C2A2-445B-BBFD-38970B1C7518}" type="slidenum">
              <a:rPr lang="en-IE" smtClean="0"/>
              <a:t>73</a:t>
            </a:fld>
            <a:endParaRPr lang="en-IE"/>
          </a:p>
        </p:txBody>
      </p:sp>
    </p:spTree>
    <p:extLst>
      <p:ext uri="{BB962C8B-B14F-4D97-AF65-F5344CB8AC3E}">
        <p14:creationId xmlns:p14="http://schemas.microsoft.com/office/powerpoint/2010/main" val="3016394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A654D5D5-8D1E-A5ED-E03D-9B31B776955A}"/>
              </a:ext>
            </a:extLst>
          </p:cNvPr>
          <p:cNvSpPr>
            <a:spLocks noGrp="1"/>
          </p:cNvSpPr>
          <p:nvPr>
            <p:ph type="sldNum" sz="quarter" idx="5"/>
          </p:nvPr>
        </p:nvSpPr>
        <p:spPr/>
        <p:txBody>
          <a:bodyPr/>
          <a:lstStyle/>
          <a:p>
            <a:fld id="{3B4E0A79-C2A2-445B-BBFD-38970B1C7518}" type="slidenum">
              <a:rPr lang="en-IE" smtClean="0"/>
              <a:t>75</a:t>
            </a:fld>
            <a:endParaRPr lang="en-IE"/>
          </a:p>
        </p:txBody>
      </p:sp>
    </p:spTree>
    <p:extLst>
      <p:ext uri="{BB962C8B-B14F-4D97-AF65-F5344CB8AC3E}">
        <p14:creationId xmlns:p14="http://schemas.microsoft.com/office/powerpoint/2010/main" val="30407726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D130CCFC-30E5-1C93-693F-9A9058179C48}"/>
              </a:ext>
            </a:extLst>
          </p:cNvPr>
          <p:cNvSpPr>
            <a:spLocks noGrp="1"/>
          </p:cNvSpPr>
          <p:nvPr>
            <p:ph type="sldNum" sz="quarter" idx="5"/>
          </p:nvPr>
        </p:nvSpPr>
        <p:spPr/>
        <p:txBody>
          <a:bodyPr/>
          <a:lstStyle/>
          <a:p>
            <a:fld id="{3B4E0A79-C2A2-445B-BBFD-38970B1C7518}" type="slidenum">
              <a:rPr lang="en-IE" smtClean="0"/>
              <a:t>76</a:t>
            </a:fld>
            <a:endParaRPr lang="en-IE"/>
          </a:p>
        </p:txBody>
      </p:sp>
    </p:spTree>
    <p:extLst>
      <p:ext uri="{BB962C8B-B14F-4D97-AF65-F5344CB8AC3E}">
        <p14:creationId xmlns:p14="http://schemas.microsoft.com/office/powerpoint/2010/main" val="1427757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A654D5D5-8D1E-A5ED-E03D-9B31B776955A}"/>
              </a:ext>
            </a:extLst>
          </p:cNvPr>
          <p:cNvSpPr>
            <a:spLocks noGrp="1"/>
          </p:cNvSpPr>
          <p:nvPr>
            <p:ph type="sldNum" sz="quarter" idx="5"/>
          </p:nvPr>
        </p:nvSpPr>
        <p:spPr/>
        <p:txBody>
          <a:bodyPr/>
          <a:lstStyle/>
          <a:p>
            <a:fld id="{3B4E0A79-C2A2-445B-BBFD-38970B1C7518}" type="slidenum">
              <a:rPr lang="en-IE" smtClean="0"/>
              <a:t>77</a:t>
            </a:fld>
            <a:endParaRPr lang="en-IE"/>
          </a:p>
        </p:txBody>
      </p:sp>
    </p:spTree>
    <p:extLst>
      <p:ext uri="{BB962C8B-B14F-4D97-AF65-F5344CB8AC3E}">
        <p14:creationId xmlns:p14="http://schemas.microsoft.com/office/powerpoint/2010/main" val="1154870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A654D5D5-8D1E-A5ED-E03D-9B31B776955A}"/>
              </a:ext>
            </a:extLst>
          </p:cNvPr>
          <p:cNvSpPr>
            <a:spLocks noGrp="1"/>
          </p:cNvSpPr>
          <p:nvPr>
            <p:ph type="sldNum" sz="quarter" idx="5"/>
          </p:nvPr>
        </p:nvSpPr>
        <p:spPr/>
        <p:txBody>
          <a:bodyPr/>
          <a:lstStyle/>
          <a:p>
            <a:fld id="{3B4E0A79-C2A2-445B-BBFD-38970B1C7518}" type="slidenum">
              <a:rPr lang="en-IE" smtClean="0"/>
              <a:t>78</a:t>
            </a:fld>
            <a:endParaRPr lang="en-IE"/>
          </a:p>
        </p:txBody>
      </p:sp>
    </p:spTree>
    <p:extLst>
      <p:ext uri="{BB962C8B-B14F-4D97-AF65-F5344CB8AC3E}">
        <p14:creationId xmlns:p14="http://schemas.microsoft.com/office/powerpoint/2010/main" val="21794289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CE7947A3-1EF9-1B01-A2CC-E9A0D7D41E99}"/>
              </a:ext>
            </a:extLst>
          </p:cNvPr>
          <p:cNvSpPr>
            <a:spLocks noGrp="1"/>
          </p:cNvSpPr>
          <p:nvPr>
            <p:ph type="sldNum" sz="quarter" idx="5"/>
          </p:nvPr>
        </p:nvSpPr>
        <p:spPr/>
        <p:txBody>
          <a:bodyPr/>
          <a:lstStyle/>
          <a:p>
            <a:fld id="{3B4E0A79-C2A2-445B-BBFD-38970B1C7518}" type="slidenum">
              <a:rPr lang="en-IE" smtClean="0"/>
              <a:t>89</a:t>
            </a:fld>
            <a:endParaRPr lang="en-IE"/>
          </a:p>
        </p:txBody>
      </p:sp>
    </p:spTree>
    <p:extLst>
      <p:ext uri="{BB962C8B-B14F-4D97-AF65-F5344CB8AC3E}">
        <p14:creationId xmlns:p14="http://schemas.microsoft.com/office/powerpoint/2010/main" val="1533718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077C28AF-D4CA-0443-60C6-CA1780FAA4EC}"/>
              </a:ext>
            </a:extLst>
          </p:cNvPr>
          <p:cNvSpPr>
            <a:spLocks noGrp="1"/>
          </p:cNvSpPr>
          <p:nvPr>
            <p:ph type="sldNum" sz="quarter" idx="5"/>
          </p:nvPr>
        </p:nvSpPr>
        <p:spPr/>
        <p:txBody>
          <a:bodyPr/>
          <a:lstStyle/>
          <a:p>
            <a:fld id="{3B4E0A79-C2A2-445B-BBFD-38970B1C7518}" type="slidenum">
              <a:rPr lang="en-IE" smtClean="0"/>
              <a:t>90</a:t>
            </a:fld>
            <a:endParaRPr lang="en-IE"/>
          </a:p>
        </p:txBody>
      </p:sp>
    </p:spTree>
    <p:extLst>
      <p:ext uri="{BB962C8B-B14F-4D97-AF65-F5344CB8AC3E}">
        <p14:creationId xmlns:p14="http://schemas.microsoft.com/office/powerpoint/2010/main" val="35848839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00D29943-5305-48A9-EDA5-B0F309325477}"/>
              </a:ext>
            </a:extLst>
          </p:cNvPr>
          <p:cNvSpPr>
            <a:spLocks noGrp="1"/>
          </p:cNvSpPr>
          <p:nvPr>
            <p:ph type="sldNum" sz="quarter" idx="5"/>
          </p:nvPr>
        </p:nvSpPr>
        <p:spPr/>
        <p:txBody>
          <a:bodyPr/>
          <a:lstStyle/>
          <a:p>
            <a:fld id="{3B4E0A79-C2A2-445B-BBFD-38970B1C7518}" type="slidenum">
              <a:rPr lang="en-IE" smtClean="0"/>
              <a:t>94</a:t>
            </a:fld>
            <a:endParaRPr lang="en-IE"/>
          </a:p>
        </p:txBody>
      </p:sp>
    </p:spTree>
    <p:extLst>
      <p:ext uri="{BB962C8B-B14F-4D97-AF65-F5344CB8AC3E}">
        <p14:creationId xmlns:p14="http://schemas.microsoft.com/office/powerpoint/2010/main" val="1430020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4F5E91E9-0D8D-6699-4D9E-EF308FC2C908}"/>
              </a:ext>
            </a:extLst>
          </p:cNvPr>
          <p:cNvSpPr>
            <a:spLocks noGrp="1"/>
          </p:cNvSpPr>
          <p:nvPr>
            <p:ph type="sldNum" sz="quarter" idx="5"/>
          </p:nvPr>
        </p:nvSpPr>
        <p:spPr/>
        <p:txBody>
          <a:bodyPr/>
          <a:lstStyle/>
          <a:p>
            <a:fld id="{3B4E0A79-C2A2-445B-BBFD-38970B1C7518}" type="slidenum">
              <a:rPr lang="en-IE" smtClean="0"/>
              <a:t>105</a:t>
            </a:fld>
            <a:endParaRPr lang="en-IE"/>
          </a:p>
        </p:txBody>
      </p:sp>
    </p:spTree>
    <p:extLst>
      <p:ext uri="{BB962C8B-B14F-4D97-AF65-F5344CB8AC3E}">
        <p14:creationId xmlns:p14="http://schemas.microsoft.com/office/powerpoint/2010/main" val="26854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8DC7422B-D245-20E1-0A16-34EE0734421D}"/>
              </a:ext>
            </a:extLst>
          </p:cNvPr>
          <p:cNvSpPr>
            <a:spLocks noGrp="1"/>
          </p:cNvSpPr>
          <p:nvPr>
            <p:ph type="sldNum" sz="quarter" idx="5"/>
          </p:nvPr>
        </p:nvSpPr>
        <p:spPr/>
        <p:txBody>
          <a:bodyPr/>
          <a:lstStyle/>
          <a:p>
            <a:fld id="{3B4E0A79-C2A2-445B-BBFD-38970B1C7518}" type="slidenum">
              <a:rPr lang="en-IE" smtClean="0"/>
              <a:t>106</a:t>
            </a:fld>
            <a:endParaRPr lang="en-IE"/>
          </a:p>
        </p:txBody>
      </p:sp>
    </p:spTree>
    <p:extLst>
      <p:ext uri="{BB962C8B-B14F-4D97-AF65-F5344CB8AC3E}">
        <p14:creationId xmlns:p14="http://schemas.microsoft.com/office/powerpoint/2010/main" val="4025599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FDFFAFD3-F2DE-D44B-4161-629DEB13C770}"/>
              </a:ext>
            </a:extLst>
          </p:cNvPr>
          <p:cNvSpPr>
            <a:spLocks noGrp="1"/>
          </p:cNvSpPr>
          <p:nvPr>
            <p:ph type="sldNum" sz="quarter" idx="5"/>
          </p:nvPr>
        </p:nvSpPr>
        <p:spPr/>
        <p:txBody>
          <a:bodyPr/>
          <a:lstStyle/>
          <a:p>
            <a:fld id="{3B4E0A79-C2A2-445B-BBFD-38970B1C7518}" type="slidenum">
              <a:rPr lang="en-IE" smtClean="0"/>
              <a:t>8</a:t>
            </a:fld>
            <a:endParaRPr lang="en-IE"/>
          </a:p>
        </p:txBody>
      </p:sp>
    </p:spTree>
    <p:extLst>
      <p:ext uri="{BB962C8B-B14F-4D97-AF65-F5344CB8AC3E}">
        <p14:creationId xmlns:p14="http://schemas.microsoft.com/office/powerpoint/2010/main" val="4032933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3AADA70D-5B1D-A350-D407-2BB430275EB8}"/>
              </a:ext>
            </a:extLst>
          </p:cNvPr>
          <p:cNvSpPr>
            <a:spLocks noGrp="1"/>
          </p:cNvSpPr>
          <p:nvPr>
            <p:ph type="sldNum" sz="quarter" idx="5"/>
          </p:nvPr>
        </p:nvSpPr>
        <p:spPr/>
        <p:txBody>
          <a:bodyPr/>
          <a:lstStyle/>
          <a:p>
            <a:fld id="{3B4E0A79-C2A2-445B-BBFD-38970B1C7518}" type="slidenum">
              <a:rPr lang="en-IE" smtClean="0"/>
              <a:t>107</a:t>
            </a:fld>
            <a:endParaRPr lang="en-IE"/>
          </a:p>
        </p:txBody>
      </p:sp>
    </p:spTree>
    <p:extLst>
      <p:ext uri="{BB962C8B-B14F-4D97-AF65-F5344CB8AC3E}">
        <p14:creationId xmlns:p14="http://schemas.microsoft.com/office/powerpoint/2010/main" val="31113496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35D59AD5-BA64-099B-B6FF-F73A80BA8C4F}"/>
              </a:ext>
            </a:extLst>
          </p:cNvPr>
          <p:cNvSpPr>
            <a:spLocks noGrp="1"/>
          </p:cNvSpPr>
          <p:nvPr>
            <p:ph type="sldNum" sz="quarter" idx="5"/>
          </p:nvPr>
        </p:nvSpPr>
        <p:spPr/>
        <p:txBody>
          <a:bodyPr/>
          <a:lstStyle/>
          <a:p>
            <a:fld id="{3B4E0A79-C2A2-445B-BBFD-38970B1C7518}" type="slidenum">
              <a:rPr lang="en-IE" smtClean="0"/>
              <a:t>108</a:t>
            </a:fld>
            <a:endParaRPr lang="en-IE"/>
          </a:p>
        </p:txBody>
      </p:sp>
    </p:spTree>
    <p:extLst>
      <p:ext uri="{BB962C8B-B14F-4D97-AF65-F5344CB8AC3E}">
        <p14:creationId xmlns:p14="http://schemas.microsoft.com/office/powerpoint/2010/main" val="3366506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7BDE6642-9A5C-7316-5185-21771F353749}"/>
              </a:ext>
            </a:extLst>
          </p:cNvPr>
          <p:cNvSpPr>
            <a:spLocks noGrp="1"/>
          </p:cNvSpPr>
          <p:nvPr>
            <p:ph type="sldNum" sz="quarter" idx="5"/>
          </p:nvPr>
        </p:nvSpPr>
        <p:spPr/>
        <p:txBody>
          <a:bodyPr/>
          <a:lstStyle/>
          <a:p>
            <a:fld id="{3B4E0A79-C2A2-445B-BBFD-38970B1C7518}" type="slidenum">
              <a:rPr lang="en-IE" smtClean="0"/>
              <a:t>109</a:t>
            </a:fld>
            <a:endParaRPr lang="en-IE"/>
          </a:p>
        </p:txBody>
      </p:sp>
    </p:spTree>
    <p:extLst>
      <p:ext uri="{BB962C8B-B14F-4D97-AF65-F5344CB8AC3E}">
        <p14:creationId xmlns:p14="http://schemas.microsoft.com/office/powerpoint/2010/main" val="31970405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CDD0345E-419E-58A0-993A-FDC629AEBB69}"/>
              </a:ext>
            </a:extLst>
          </p:cNvPr>
          <p:cNvSpPr>
            <a:spLocks noGrp="1"/>
          </p:cNvSpPr>
          <p:nvPr>
            <p:ph type="sldNum" sz="quarter" idx="5"/>
          </p:nvPr>
        </p:nvSpPr>
        <p:spPr/>
        <p:txBody>
          <a:bodyPr/>
          <a:lstStyle/>
          <a:p>
            <a:fld id="{3B4E0A79-C2A2-445B-BBFD-38970B1C7518}" type="slidenum">
              <a:rPr lang="en-IE" smtClean="0"/>
              <a:t>110</a:t>
            </a:fld>
            <a:endParaRPr lang="en-IE"/>
          </a:p>
        </p:txBody>
      </p:sp>
    </p:spTree>
    <p:extLst>
      <p:ext uri="{BB962C8B-B14F-4D97-AF65-F5344CB8AC3E}">
        <p14:creationId xmlns:p14="http://schemas.microsoft.com/office/powerpoint/2010/main" val="42660314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10249375-0C04-666C-3A57-FE6220DFA5FE}"/>
              </a:ext>
            </a:extLst>
          </p:cNvPr>
          <p:cNvSpPr>
            <a:spLocks noGrp="1"/>
          </p:cNvSpPr>
          <p:nvPr>
            <p:ph type="sldNum" sz="quarter" idx="5"/>
          </p:nvPr>
        </p:nvSpPr>
        <p:spPr/>
        <p:txBody>
          <a:bodyPr/>
          <a:lstStyle/>
          <a:p>
            <a:fld id="{3B4E0A79-C2A2-445B-BBFD-38970B1C7518}" type="slidenum">
              <a:rPr lang="en-IE" smtClean="0"/>
              <a:t>111</a:t>
            </a:fld>
            <a:endParaRPr lang="en-IE"/>
          </a:p>
        </p:txBody>
      </p:sp>
    </p:spTree>
    <p:extLst>
      <p:ext uri="{BB962C8B-B14F-4D97-AF65-F5344CB8AC3E}">
        <p14:creationId xmlns:p14="http://schemas.microsoft.com/office/powerpoint/2010/main" val="7039393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0DDDA765-F3E4-F1C3-608F-0DDB61F7BB72}"/>
              </a:ext>
            </a:extLst>
          </p:cNvPr>
          <p:cNvSpPr>
            <a:spLocks noGrp="1"/>
          </p:cNvSpPr>
          <p:nvPr>
            <p:ph type="sldNum" sz="quarter" idx="5"/>
          </p:nvPr>
        </p:nvSpPr>
        <p:spPr/>
        <p:txBody>
          <a:bodyPr/>
          <a:lstStyle/>
          <a:p>
            <a:fld id="{3B4E0A79-C2A2-445B-BBFD-38970B1C7518}" type="slidenum">
              <a:rPr lang="en-IE" smtClean="0"/>
              <a:t>112</a:t>
            </a:fld>
            <a:endParaRPr lang="en-IE"/>
          </a:p>
        </p:txBody>
      </p:sp>
    </p:spTree>
    <p:extLst>
      <p:ext uri="{BB962C8B-B14F-4D97-AF65-F5344CB8AC3E}">
        <p14:creationId xmlns:p14="http://schemas.microsoft.com/office/powerpoint/2010/main" val="23852716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2A529C08-92CB-5A51-BCAB-33BA20BC8669}"/>
              </a:ext>
            </a:extLst>
          </p:cNvPr>
          <p:cNvSpPr>
            <a:spLocks noGrp="1"/>
          </p:cNvSpPr>
          <p:nvPr>
            <p:ph type="sldNum" sz="quarter" idx="5"/>
          </p:nvPr>
        </p:nvSpPr>
        <p:spPr/>
        <p:txBody>
          <a:bodyPr/>
          <a:lstStyle/>
          <a:p>
            <a:fld id="{3B4E0A79-C2A2-445B-BBFD-38970B1C7518}" type="slidenum">
              <a:rPr lang="en-IE" smtClean="0"/>
              <a:t>113</a:t>
            </a:fld>
            <a:endParaRPr lang="en-IE"/>
          </a:p>
        </p:txBody>
      </p:sp>
    </p:spTree>
    <p:extLst>
      <p:ext uri="{BB962C8B-B14F-4D97-AF65-F5344CB8AC3E}">
        <p14:creationId xmlns:p14="http://schemas.microsoft.com/office/powerpoint/2010/main" val="19368447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BD6E2A6D-3EA7-0672-736A-9789CA5191C3}"/>
              </a:ext>
            </a:extLst>
          </p:cNvPr>
          <p:cNvSpPr>
            <a:spLocks noGrp="1"/>
          </p:cNvSpPr>
          <p:nvPr>
            <p:ph type="sldNum" sz="quarter" idx="5"/>
          </p:nvPr>
        </p:nvSpPr>
        <p:spPr/>
        <p:txBody>
          <a:bodyPr/>
          <a:lstStyle/>
          <a:p>
            <a:fld id="{3B4E0A79-C2A2-445B-BBFD-38970B1C7518}" type="slidenum">
              <a:rPr lang="en-IE" smtClean="0"/>
              <a:t>114</a:t>
            </a:fld>
            <a:endParaRPr lang="en-IE"/>
          </a:p>
        </p:txBody>
      </p:sp>
    </p:spTree>
    <p:extLst>
      <p:ext uri="{BB962C8B-B14F-4D97-AF65-F5344CB8AC3E}">
        <p14:creationId xmlns:p14="http://schemas.microsoft.com/office/powerpoint/2010/main" val="10882876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68134651-9088-2D67-0FB3-0EFC24601092}"/>
              </a:ext>
            </a:extLst>
          </p:cNvPr>
          <p:cNvSpPr>
            <a:spLocks noGrp="1"/>
          </p:cNvSpPr>
          <p:nvPr>
            <p:ph type="sldNum" sz="quarter" idx="5"/>
          </p:nvPr>
        </p:nvSpPr>
        <p:spPr/>
        <p:txBody>
          <a:bodyPr/>
          <a:lstStyle/>
          <a:p>
            <a:fld id="{3B4E0A79-C2A2-445B-BBFD-38970B1C7518}" type="slidenum">
              <a:rPr lang="en-IE" smtClean="0"/>
              <a:t>115</a:t>
            </a:fld>
            <a:endParaRPr lang="en-IE"/>
          </a:p>
        </p:txBody>
      </p:sp>
    </p:spTree>
    <p:extLst>
      <p:ext uri="{BB962C8B-B14F-4D97-AF65-F5344CB8AC3E}">
        <p14:creationId xmlns:p14="http://schemas.microsoft.com/office/powerpoint/2010/main" val="11421386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6" name="Slide Number Placeholder 5">
            <a:extLst>
              <a:ext uri="{FF2B5EF4-FFF2-40B4-BE49-F238E27FC236}">
                <a16:creationId xmlns:a16="http://schemas.microsoft.com/office/drawing/2014/main" id="{5C152A3F-1011-B184-E3BD-FC2487E08876}"/>
              </a:ext>
            </a:extLst>
          </p:cNvPr>
          <p:cNvSpPr>
            <a:spLocks noGrp="1"/>
          </p:cNvSpPr>
          <p:nvPr>
            <p:ph type="sldNum" sz="quarter" idx="5"/>
          </p:nvPr>
        </p:nvSpPr>
        <p:spPr/>
        <p:txBody>
          <a:bodyPr/>
          <a:lstStyle/>
          <a:p>
            <a:fld id="{3B4E0A79-C2A2-445B-BBFD-38970B1C7518}" type="slidenum">
              <a:rPr lang="en-IE" smtClean="0"/>
              <a:t>116</a:t>
            </a:fld>
            <a:endParaRPr lang="en-IE"/>
          </a:p>
        </p:txBody>
      </p:sp>
    </p:spTree>
    <p:extLst>
      <p:ext uri="{BB962C8B-B14F-4D97-AF65-F5344CB8AC3E}">
        <p14:creationId xmlns:p14="http://schemas.microsoft.com/office/powerpoint/2010/main" val="4046191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E0E7F616-23DD-C867-0566-D7CD5A38B297}"/>
              </a:ext>
            </a:extLst>
          </p:cNvPr>
          <p:cNvSpPr>
            <a:spLocks noGrp="1"/>
          </p:cNvSpPr>
          <p:nvPr>
            <p:ph type="sldNum" sz="quarter" idx="5"/>
          </p:nvPr>
        </p:nvSpPr>
        <p:spPr/>
        <p:txBody>
          <a:bodyPr/>
          <a:lstStyle/>
          <a:p>
            <a:fld id="{3B4E0A79-C2A2-445B-BBFD-38970B1C7518}" type="slidenum">
              <a:rPr lang="en-IE" smtClean="0"/>
              <a:t>24</a:t>
            </a:fld>
            <a:endParaRPr lang="en-IE"/>
          </a:p>
        </p:txBody>
      </p:sp>
    </p:spTree>
    <p:extLst>
      <p:ext uri="{BB962C8B-B14F-4D97-AF65-F5344CB8AC3E}">
        <p14:creationId xmlns:p14="http://schemas.microsoft.com/office/powerpoint/2010/main" val="2740980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C5A8190B-FA22-1BB3-930F-270AC4E39B50}"/>
              </a:ext>
            </a:extLst>
          </p:cNvPr>
          <p:cNvSpPr>
            <a:spLocks noGrp="1"/>
          </p:cNvSpPr>
          <p:nvPr>
            <p:ph type="sldNum" sz="quarter" idx="5"/>
          </p:nvPr>
        </p:nvSpPr>
        <p:spPr/>
        <p:txBody>
          <a:bodyPr/>
          <a:lstStyle/>
          <a:p>
            <a:fld id="{3B4E0A79-C2A2-445B-BBFD-38970B1C7518}" type="slidenum">
              <a:rPr lang="en-IE" smtClean="0"/>
              <a:t>25</a:t>
            </a:fld>
            <a:endParaRPr lang="en-IE"/>
          </a:p>
        </p:txBody>
      </p:sp>
    </p:spTree>
    <p:extLst>
      <p:ext uri="{BB962C8B-B14F-4D97-AF65-F5344CB8AC3E}">
        <p14:creationId xmlns:p14="http://schemas.microsoft.com/office/powerpoint/2010/main" val="1523735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4ACFB7DF-FCB1-54B4-CA1C-E27C29948D0D}"/>
              </a:ext>
            </a:extLst>
          </p:cNvPr>
          <p:cNvSpPr>
            <a:spLocks noGrp="1"/>
          </p:cNvSpPr>
          <p:nvPr>
            <p:ph type="sldNum" sz="quarter" idx="5"/>
          </p:nvPr>
        </p:nvSpPr>
        <p:spPr/>
        <p:txBody>
          <a:bodyPr/>
          <a:lstStyle/>
          <a:p>
            <a:fld id="{3B4E0A79-C2A2-445B-BBFD-38970B1C7518}" type="slidenum">
              <a:rPr lang="en-IE" smtClean="0"/>
              <a:t>26</a:t>
            </a:fld>
            <a:endParaRPr lang="en-IE"/>
          </a:p>
        </p:txBody>
      </p:sp>
    </p:spTree>
    <p:extLst>
      <p:ext uri="{BB962C8B-B14F-4D97-AF65-F5344CB8AC3E}">
        <p14:creationId xmlns:p14="http://schemas.microsoft.com/office/powerpoint/2010/main" val="3787616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078D5545-E916-E3DD-A576-6AE81FF8E3CE}"/>
              </a:ext>
            </a:extLst>
          </p:cNvPr>
          <p:cNvSpPr>
            <a:spLocks noGrp="1"/>
          </p:cNvSpPr>
          <p:nvPr>
            <p:ph type="sldNum" sz="quarter" idx="5"/>
          </p:nvPr>
        </p:nvSpPr>
        <p:spPr/>
        <p:txBody>
          <a:bodyPr/>
          <a:lstStyle/>
          <a:p>
            <a:fld id="{3B4E0A79-C2A2-445B-BBFD-38970B1C7518}" type="slidenum">
              <a:rPr lang="en-IE" smtClean="0"/>
              <a:t>27</a:t>
            </a:fld>
            <a:endParaRPr lang="en-IE"/>
          </a:p>
        </p:txBody>
      </p:sp>
    </p:spTree>
    <p:extLst>
      <p:ext uri="{BB962C8B-B14F-4D97-AF65-F5344CB8AC3E}">
        <p14:creationId xmlns:p14="http://schemas.microsoft.com/office/powerpoint/2010/main" val="1461358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136AE671-63B4-151C-931C-1F79456EE681}"/>
              </a:ext>
            </a:extLst>
          </p:cNvPr>
          <p:cNvSpPr>
            <a:spLocks noGrp="1"/>
          </p:cNvSpPr>
          <p:nvPr>
            <p:ph type="sldNum" sz="quarter" idx="5"/>
          </p:nvPr>
        </p:nvSpPr>
        <p:spPr/>
        <p:txBody>
          <a:bodyPr/>
          <a:lstStyle/>
          <a:p>
            <a:fld id="{3B4E0A79-C2A2-445B-BBFD-38970B1C7518}" type="slidenum">
              <a:rPr lang="en-IE" smtClean="0"/>
              <a:t>28</a:t>
            </a:fld>
            <a:endParaRPr lang="en-IE"/>
          </a:p>
        </p:txBody>
      </p:sp>
    </p:spTree>
    <p:extLst>
      <p:ext uri="{BB962C8B-B14F-4D97-AF65-F5344CB8AC3E}">
        <p14:creationId xmlns:p14="http://schemas.microsoft.com/office/powerpoint/2010/main" val="4054111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cs typeface="Calibri"/>
            </a:endParaRPr>
          </a:p>
        </p:txBody>
      </p:sp>
      <p:sp>
        <p:nvSpPr>
          <p:cNvPr id="6" name="Slide Number Placeholder 5">
            <a:extLst>
              <a:ext uri="{FF2B5EF4-FFF2-40B4-BE49-F238E27FC236}">
                <a16:creationId xmlns:a16="http://schemas.microsoft.com/office/drawing/2014/main" id="{F7E695D7-2C23-28D1-55D9-260C1F852A2A}"/>
              </a:ext>
            </a:extLst>
          </p:cNvPr>
          <p:cNvSpPr>
            <a:spLocks noGrp="1"/>
          </p:cNvSpPr>
          <p:nvPr>
            <p:ph type="sldNum" sz="quarter" idx="5"/>
          </p:nvPr>
        </p:nvSpPr>
        <p:spPr/>
        <p:txBody>
          <a:bodyPr/>
          <a:lstStyle/>
          <a:p>
            <a:fld id="{3B4E0A79-C2A2-445B-BBFD-38970B1C7518}" type="slidenum">
              <a:rPr lang="en-IE" smtClean="0"/>
              <a:t>29</a:t>
            </a:fld>
            <a:endParaRPr lang="en-IE"/>
          </a:p>
        </p:txBody>
      </p:sp>
    </p:spTree>
    <p:extLst>
      <p:ext uri="{BB962C8B-B14F-4D97-AF65-F5344CB8AC3E}">
        <p14:creationId xmlns:p14="http://schemas.microsoft.com/office/powerpoint/2010/main" val="3225763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1.xml"/><Relationship Id="rId7" Type="http://schemas.openxmlformats.org/officeDocument/2006/relationships/slide" Target="../slides/slide3.xml"/><Relationship Id="rId12" Type="http://schemas.openxmlformats.org/officeDocument/2006/relationships/slide" Target="../slides/slide66.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11" Type="http://schemas.openxmlformats.org/officeDocument/2006/relationships/slide" Target="../slides/slide100.xml"/><Relationship Id="rId5" Type="http://schemas.openxmlformats.org/officeDocument/2006/relationships/oleObject" Target="../embeddings/oleObject13.bin"/><Relationship Id="rId10" Type="http://schemas.openxmlformats.org/officeDocument/2006/relationships/slide" Target="../slides/slide7.xml"/><Relationship Id="rId4" Type="http://schemas.openxmlformats.org/officeDocument/2006/relationships/image" Target="../media/image10.png"/><Relationship Id="rId9" Type="http://schemas.openxmlformats.org/officeDocument/2006/relationships/slide" Target="../slides/slide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6.bin"/><Relationship Id="rId5" Type="http://schemas.microsoft.com/office/2007/relationships/hdphoto" Target="../media/hdphoto1.wdp"/><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20.bin"/><Relationship Id="rId5" Type="http://schemas.microsoft.com/office/2007/relationships/hdphoto" Target="../media/hdphoto3.wdp"/><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Main Cover ">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group of people in lab coats&#10;&#10;Description automatically generated">
            <a:extLst>
              <a:ext uri="{FF2B5EF4-FFF2-40B4-BE49-F238E27FC236}">
                <a16:creationId xmlns:a16="http://schemas.microsoft.com/office/drawing/2014/main" id="{86D655CE-5A70-BE0E-8D65-F54BF16671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
            <a:ext cx="12192000" cy="7389340"/>
          </a:xfrm>
          <a:prstGeom prst="rect">
            <a:avLst/>
          </a:prstGeom>
        </p:spPr>
      </p:pic>
      <p:graphicFrame>
        <p:nvGraphicFramePr>
          <p:cNvPr id="4" name="Object 3" hidden="1">
            <a:extLst>
              <a:ext uri="{FF2B5EF4-FFF2-40B4-BE49-F238E27FC236}">
                <a16:creationId xmlns:a16="http://schemas.microsoft.com/office/drawing/2014/main" id="{B5E9413C-5027-464D-808E-A243865EC0C9}"/>
              </a:ext>
            </a:extLst>
          </p:cNvPr>
          <p:cNvGraphicFramePr>
            <a:graphicFrameLocks noChangeAspect="1"/>
          </p:cNvGraphicFramePr>
          <p:nvPr userDrawn="1">
            <p:custDataLst>
              <p:tags r:id="rId1"/>
            </p:custDataLst>
            <p:extLst>
              <p:ext uri="{D42A27DB-BD31-4B8C-83A1-F6EECF244321}">
                <p14:modId xmlns:p14="http://schemas.microsoft.com/office/powerpoint/2010/main" val="402831478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B5E9413C-5027-464D-808E-A243865EC0C9}"/>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FF4AE5-DB33-4F65-A8DB-5E7745300C21}"/>
              </a:ext>
            </a:extLst>
          </p:cNvPr>
          <p:cNvSpPr/>
          <p:nvPr userDrawn="1">
            <p:custDataLst>
              <p:tags r:id="rId2"/>
            </p:custDataLst>
          </p:nvPr>
        </p:nvSpPr>
        <p:spPr bwMode="auto">
          <a:xfrm>
            <a:off x="0" y="0"/>
            <a:ext cx="158667" cy="15875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wrap="none" lIns="0" tIns="0" rIns="0" bIns="0" numCol="1" spcCol="0" rtlCol="0" anchor="ctr" anchorCtr="0">
            <a:noAutofit/>
          </a:bodyPr>
          <a:lstStyle/>
          <a:p>
            <a:pPr marL="0" lvl="0" indent="0" algn="ctr"/>
            <a:endParaRPr lang="en-US" sz="2999" b="0" i="0" baseline="0">
              <a:solidFill>
                <a:schemeClr val="tx2"/>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userDrawn="1">
            <p:ph type="ctrTitle"/>
          </p:nvPr>
        </p:nvSpPr>
        <p:spPr>
          <a:xfrm>
            <a:off x="775100" y="1954221"/>
            <a:ext cx="4326679" cy="627054"/>
          </a:xfrm>
        </p:spPr>
        <p:txBody>
          <a:bodyPr anchor="t"/>
          <a:lstStyle>
            <a:lvl1pPr>
              <a:defRPr sz="4400" b="0">
                <a:solidFill>
                  <a:srgbClr val="2E2E38"/>
                </a:solidFill>
                <a:latin typeface="EYInterstate Light" panose="02000506000000020004" pitchFamily="2" charset="0"/>
                <a:cs typeface="Arial" pitchFamily="34" charset="0"/>
              </a:defRPr>
            </a:lvl1pPr>
          </a:lstStyle>
          <a:p>
            <a:r>
              <a:rPr lang="en-US"/>
              <a:t>Click to edit</a:t>
            </a:r>
            <a:endParaRPr lang="en-GB"/>
          </a:p>
        </p:txBody>
      </p:sp>
      <p:sp>
        <p:nvSpPr>
          <p:cNvPr id="12" name="Subtitle 2"/>
          <p:cNvSpPr>
            <a:spLocks noGrp="1"/>
          </p:cNvSpPr>
          <p:nvPr userDrawn="1">
            <p:ph type="subTitle" idx="1"/>
          </p:nvPr>
        </p:nvSpPr>
        <p:spPr>
          <a:xfrm>
            <a:off x="775100" y="2743201"/>
            <a:ext cx="4326679" cy="1349282"/>
          </a:xfrm>
        </p:spPr>
        <p:txBody>
          <a:bodyPr/>
          <a:lstStyle>
            <a:lvl1pPr marL="0" indent="0" algn="l">
              <a:spcAft>
                <a:spcPts val="1199"/>
              </a:spcAft>
              <a:buNone/>
              <a:defRPr sz="2000">
                <a:solidFill>
                  <a:srgbClr val="2E2E38"/>
                </a:solidFill>
                <a:latin typeface="EYInterstate" panose="02000503020000020004" pitchFamily="2" charset="0"/>
                <a:cs typeface="Arial" pitchFamily="34" charset="0"/>
              </a:defRPr>
            </a:lvl1pPr>
            <a:lvl2pPr marL="0" indent="0" algn="l">
              <a:buNone/>
              <a:defRPr sz="1599" b="1">
                <a:solidFill>
                  <a:srgbClr val="000000"/>
                </a:solidFill>
                <a:latin typeface="EYInterstate" panose="02000503020000020004" pitchFamily="2" charset="0"/>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p>
        </p:txBody>
      </p:sp>
      <p:grpSp>
        <p:nvGrpSpPr>
          <p:cNvPr id="13" name="Group 4">
            <a:extLst>
              <a:ext uri="{FF2B5EF4-FFF2-40B4-BE49-F238E27FC236}">
                <a16:creationId xmlns:a16="http://schemas.microsoft.com/office/drawing/2014/main" id="{6DF86A81-5B79-4FAE-9CAE-C15B0B8A1634}"/>
              </a:ext>
            </a:extLst>
          </p:cNvPr>
          <p:cNvGrpSpPr>
            <a:grpSpLocks noChangeAspect="1"/>
          </p:cNvGrpSpPr>
          <p:nvPr userDrawn="1"/>
        </p:nvGrpSpPr>
        <p:grpSpPr bwMode="auto">
          <a:xfrm>
            <a:off x="10599649" y="5285049"/>
            <a:ext cx="990690" cy="1160083"/>
            <a:chOff x="6529" y="3125"/>
            <a:chExt cx="772" cy="904"/>
          </a:xfrm>
        </p:grpSpPr>
        <p:sp>
          <p:nvSpPr>
            <p:cNvPr id="14" name="Freeform 5">
              <a:extLst>
                <a:ext uri="{FF2B5EF4-FFF2-40B4-BE49-F238E27FC236}">
                  <a16:creationId xmlns:a16="http://schemas.microsoft.com/office/drawing/2014/main" id="{9CAF10AA-3509-4F97-B831-5697F1CB467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15" name="Freeform 6">
              <a:extLst>
                <a:ext uri="{FF2B5EF4-FFF2-40B4-BE49-F238E27FC236}">
                  <a16:creationId xmlns:a16="http://schemas.microsoft.com/office/drawing/2014/main" id="{49900E63-E15F-4BE0-AADB-EF73FB03290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145151688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4_Standard slide_no first level bullets">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7BA450A-9C0E-495D-A770-5A35C23CDF32}"/>
              </a:ext>
            </a:extLst>
          </p:cNvPr>
          <p:cNvPicPr>
            <a:picLocks noChangeAspect="1"/>
          </p:cNvPicPr>
          <p:nvPr userDrawn="1"/>
        </p:nvPicPr>
        <p:blipFill>
          <a:blip r:embed="rId4"/>
          <a:stretch>
            <a:fillRect/>
          </a:stretch>
        </p:blipFill>
        <p:spPr>
          <a:xfrm>
            <a:off x="1" y="0"/>
            <a:ext cx="12191999" cy="6858000"/>
          </a:xfrm>
          <a:prstGeom prst="rect">
            <a:avLst/>
          </a:prstGeom>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pic>
        <p:nvPicPr>
          <p:cNvPr id="22" name="Picture 21">
            <a:hlinkClick r:id="" action="ppaction://noaction"/>
            <a:extLst>
              <a:ext uri="{FF2B5EF4-FFF2-40B4-BE49-F238E27FC236}">
                <a16:creationId xmlns:a16="http://schemas.microsoft.com/office/drawing/2014/main" id="{EAC816A6-9B20-4E42-AA19-20E3709620EB}"/>
              </a:ext>
            </a:extLst>
          </p:cNvPr>
          <p:cNvPicPr>
            <a:picLocks/>
          </p:cNvPicPr>
          <p:nvPr userDrawn="1"/>
        </p:nvPicPr>
        <p:blipFill>
          <a:blip r:embed="rId7"/>
          <a:stretch>
            <a:fillRect/>
          </a:stretch>
        </p:blipFill>
        <p:spPr>
          <a:xfrm>
            <a:off x="785578" y="298248"/>
            <a:ext cx="215414" cy="188488"/>
          </a:xfrm>
          <a:prstGeom prst="rect">
            <a:avLst/>
          </a:prstGeom>
        </p:spPr>
      </p:pic>
      <p:sp>
        <p:nvSpPr>
          <p:cNvPr id="21" name="Arrow: Chevron 20">
            <a:hlinkClick r:id="" action="ppaction://hlinkshowjump?jump=nextslide"/>
            <a:extLst>
              <a:ext uri="{FF2B5EF4-FFF2-40B4-BE49-F238E27FC236}">
                <a16:creationId xmlns:a16="http://schemas.microsoft.com/office/drawing/2014/main" id="{9D1DBEFB-956F-4C00-85AF-AF56AE71E673}"/>
              </a:ext>
            </a:extLst>
          </p:cNvPr>
          <p:cNvSpPr/>
          <p:nvPr userDrawn="1"/>
        </p:nvSpPr>
        <p:spPr bwMode="auto">
          <a:xfrm>
            <a:off x="1029536"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3" name="Arrow: Chevron 22">
            <a:hlinkClick r:id="" action="ppaction://hlinkshowjump?jump=previousslide"/>
            <a:extLst>
              <a:ext uri="{FF2B5EF4-FFF2-40B4-BE49-F238E27FC236}">
                <a16:creationId xmlns:a16="http://schemas.microsoft.com/office/drawing/2014/main" id="{6E380914-883C-4CF6-AE17-0688CC86791F}"/>
              </a:ext>
            </a:extLst>
          </p:cNvPr>
          <p:cNvSpPr/>
          <p:nvPr userDrawn="1"/>
        </p:nvSpPr>
        <p:spPr bwMode="auto">
          <a:xfrm flipH="1">
            <a:off x="642167"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
        <p:nvSpPr>
          <p:cNvPr id="47" name="Rectangle 46">
            <a:hlinkClick r:id="" action="ppaction://noaction"/>
            <a:extLst>
              <a:ext uri="{FF2B5EF4-FFF2-40B4-BE49-F238E27FC236}">
                <a16:creationId xmlns:a16="http://schemas.microsoft.com/office/drawing/2014/main" id="{E4E61C2A-85F9-4ED0-BC6E-C5845F8A3E6A}"/>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48" name="Rectangle 47">
            <a:hlinkClick r:id="" action="ppaction://noaction"/>
            <a:extLst>
              <a:ext uri="{FF2B5EF4-FFF2-40B4-BE49-F238E27FC236}">
                <a16:creationId xmlns:a16="http://schemas.microsoft.com/office/drawing/2014/main" id="{3D8B3182-8573-44EC-9664-0204F0E5E94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49" name="Rectangle 48">
            <a:hlinkClick r:id="" action="ppaction://noaction"/>
            <a:extLst>
              <a:ext uri="{FF2B5EF4-FFF2-40B4-BE49-F238E27FC236}">
                <a16:creationId xmlns:a16="http://schemas.microsoft.com/office/drawing/2014/main" id="{575F06B4-3765-444B-93A8-9CBA54830AA3}"/>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50" name="Rectangle 49">
            <a:hlinkClick r:id="" action="ppaction://noaction"/>
            <a:extLst>
              <a:ext uri="{FF2B5EF4-FFF2-40B4-BE49-F238E27FC236}">
                <a16:creationId xmlns:a16="http://schemas.microsoft.com/office/drawing/2014/main" id="{B55A3DA1-03C0-49F9-9526-11B535DAE098}"/>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51" name="Rectangle 50">
            <a:hlinkClick r:id="" action="ppaction://noaction"/>
            <a:extLst>
              <a:ext uri="{FF2B5EF4-FFF2-40B4-BE49-F238E27FC236}">
                <a16:creationId xmlns:a16="http://schemas.microsoft.com/office/drawing/2014/main" id="{73C5952B-77EA-452C-A76B-BA5D806B27EB}"/>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28" name="Rectangle 27">
            <a:hlinkClick r:id="" action="ppaction://noaction"/>
            <a:extLst>
              <a:ext uri="{FF2B5EF4-FFF2-40B4-BE49-F238E27FC236}">
                <a16:creationId xmlns:a16="http://schemas.microsoft.com/office/drawing/2014/main" id="{9E757B6A-2320-4A6D-AC3F-8A8E24E391B7}"/>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29" name="Rectangle 28">
            <a:hlinkClick r:id="" action="ppaction://noaction"/>
            <a:extLst>
              <a:ext uri="{FF2B5EF4-FFF2-40B4-BE49-F238E27FC236}">
                <a16:creationId xmlns:a16="http://schemas.microsoft.com/office/drawing/2014/main" id="{6F8F8767-9997-4003-A8CA-A98BB1BFF0A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30" name="Rectangle 29">
            <a:hlinkClick r:id="" action="ppaction://noaction"/>
            <a:extLst>
              <a:ext uri="{FF2B5EF4-FFF2-40B4-BE49-F238E27FC236}">
                <a16:creationId xmlns:a16="http://schemas.microsoft.com/office/drawing/2014/main" id="{DEB7FBDC-9964-4070-9DD9-7EF68A6BD412}"/>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31" name="Rectangle 30">
            <a:hlinkClick r:id="" action="ppaction://noaction"/>
            <a:extLst>
              <a:ext uri="{FF2B5EF4-FFF2-40B4-BE49-F238E27FC236}">
                <a16:creationId xmlns:a16="http://schemas.microsoft.com/office/drawing/2014/main" id="{4C1F8B75-4E94-4E5F-9452-21DD1CF4AB8E}"/>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32" name="Rectangle 31">
            <a:hlinkClick r:id="" action="ppaction://noaction"/>
            <a:extLst>
              <a:ext uri="{FF2B5EF4-FFF2-40B4-BE49-F238E27FC236}">
                <a16:creationId xmlns:a16="http://schemas.microsoft.com/office/drawing/2014/main" id="{541E136F-402E-4F1B-BA02-BEF1D745C6D7}"/>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33" name="Rectangle 32">
            <a:hlinkClick r:id="" action="ppaction://noaction"/>
            <a:extLst>
              <a:ext uri="{FF2B5EF4-FFF2-40B4-BE49-F238E27FC236}">
                <a16:creationId xmlns:a16="http://schemas.microsoft.com/office/drawing/2014/main" id="{9576315D-6C15-4715-ABE5-C670ED6B8C3D}"/>
              </a:ext>
            </a:extLst>
          </p:cNvPr>
          <p:cNvSpPr/>
          <p:nvPr userDrawn="1"/>
        </p:nvSpPr>
        <p:spPr>
          <a:xfrm>
            <a:off x="9955724" y="342736"/>
            <a:ext cx="575641"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Appendix</a:t>
            </a:r>
          </a:p>
        </p:txBody>
      </p:sp>
    </p:spTree>
    <p:extLst>
      <p:ext uri="{BB962C8B-B14F-4D97-AF65-F5344CB8AC3E}">
        <p14:creationId xmlns:p14="http://schemas.microsoft.com/office/powerpoint/2010/main" val="43161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oilerplate">
    <p:spTree>
      <p:nvGrpSpPr>
        <p:cNvPr id="1" name=""/>
        <p:cNvGrpSpPr/>
        <p:nvPr/>
      </p:nvGrpSpPr>
      <p:grpSpPr>
        <a:xfrm>
          <a:off x="0" y="0"/>
          <a:ext cx="0" cy="0"/>
          <a:chOff x="0" y="0"/>
          <a:chExt cx="0" cy="0"/>
        </a:xfrm>
      </p:grpSpPr>
      <p:sp>
        <p:nvSpPr>
          <p:cNvPr id="5" name="TextBox 5">
            <a:extLst>
              <a:ext uri="{FF2B5EF4-FFF2-40B4-BE49-F238E27FC236}">
                <a16:creationId xmlns:a16="http://schemas.microsoft.com/office/drawing/2014/main" id="{62CE4C1F-DD64-40A3-B9E9-1AF8481A80FF}"/>
              </a:ext>
            </a:extLst>
          </p:cNvPr>
          <p:cNvSpPr txBox="1"/>
          <p:nvPr userDrawn="1"/>
        </p:nvSpPr>
        <p:spPr>
          <a:xfrm>
            <a:off x="521504" y="682345"/>
            <a:ext cx="3650538" cy="20892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US" sz="1088" b="1">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a:t>
            </a:r>
            <a:r>
              <a:rPr lang="en-US" sz="1088">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 Building a better working worl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exists to build a better working world, helping to create long-term value for clients, people and society and build trust in the capital markets.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nabled by data and technology, diverse EY teams in over 150 countries provide trust through assurance and help clients grow, transform and operate.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Working across assurance, consulting, law, strategy, tax and transactions, EY teams ask better questions to find new answers for the complex issues facing our world toda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
        <p:nvSpPr>
          <p:cNvPr id="7" name="TextBox 5">
            <a:extLst>
              <a:ext uri="{FF2B5EF4-FFF2-40B4-BE49-F238E27FC236}">
                <a16:creationId xmlns:a16="http://schemas.microsoft.com/office/drawing/2014/main" id="{5FAA95A4-6D56-4218-B13E-A5A3BD8426ED}"/>
              </a:ext>
            </a:extLst>
          </p:cNvPr>
          <p:cNvSpPr txBox="1"/>
          <p:nvPr userDrawn="1"/>
        </p:nvSpPr>
        <p:spPr>
          <a:xfrm>
            <a:off x="7995066" y="682345"/>
            <a:ext cx="3683132" cy="30558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sation, please visit 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 2022 Ernst &amp; Young. All Rights Reserved.</a:t>
            </a: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P_023118.pptx. Produced by Creative (Ireland). 11/2022. ED none. Images from Gett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The Irish firm Ernst &amp; Young is a member practice of Ernst &amp; Young Global Limited. It is authorised by the Institute of Chartered Accountants in Ireland to carry on investment business in the Republic of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rnst &amp; Young, Harcourt Centre, Harcourt Street, Dublin 2,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Information in this publication is intended to provide only a general outline of the subjects covered. It should neither be regarded as comprehensive nor sufficient for making decisions, nor should it be used in place of professional advice. Ernst &amp; Young accepts no responsibility for any loss arising from any action taken or not taken by anyone using this material.</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86809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10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6_Standard slide_no first level bullets">
    <p:bg>
      <p:bgPr>
        <a:solidFill>
          <a:schemeClr val="bg1"/>
        </a:solidFill>
        <a:effectLst/>
      </p:bgPr>
    </p:bg>
    <p:spTree>
      <p:nvGrpSpPr>
        <p:cNvPr id="1" name=""/>
        <p:cNvGrpSpPr/>
        <p:nvPr/>
      </p:nvGrpSpPr>
      <p:grpSpPr>
        <a:xfrm>
          <a:off x="0" y="0"/>
          <a:ext cx="0" cy="0"/>
          <a:chOff x="0" y="0"/>
          <a:chExt cx="0" cy="0"/>
        </a:xfrm>
      </p:grpSpPr>
      <p:pic>
        <p:nvPicPr>
          <p:cNvPr id="11" name="Picture 10" descr="A hand holding a tube with blood&#10;&#10;Description automatically generated">
            <a:extLst>
              <a:ext uri="{FF2B5EF4-FFF2-40B4-BE49-F238E27FC236}">
                <a16:creationId xmlns:a16="http://schemas.microsoft.com/office/drawing/2014/main" id="{B6764769-7EE9-0B2B-8B80-16DC34C8FE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8" name="Rectangle 7">
            <a:extLst>
              <a:ext uri="{FF2B5EF4-FFF2-40B4-BE49-F238E27FC236}">
                <a16:creationId xmlns:a16="http://schemas.microsoft.com/office/drawing/2014/main" id="{333229D2-E8A2-AE97-DBD0-D8900EE85B6A}"/>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tx1"/>
                </a:solidFill>
              </a:defRPr>
            </a:lvl1pPr>
            <a:lvl2pPr marL="0" indent="0">
              <a:spcBef>
                <a:spcPts val="0"/>
              </a:spcBef>
              <a:spcAft>
                <a:spcPts val="500"/>
              </a:spcAft>
              <a:buNone/>
              <a:defRPr sz="1400" b="0">
                <a:solidFill>
                  <a:schemeClr val="tx2"/>
                </a:solidFill>
              </a:defRPr>
            </a:lvl2pPr>
            <a:lvl3pPr marL="0" indent="0">
              <a:spcBef>
                <a:spcPts val="0"/>
              </a:spcBef>
              <a:spcAft>
                <a:spcPts val="500"/>
              </a:spcAft>
              <a:buNone/>
              <a:defRPr sz="1100" b="1">
                <a:solidFill>
                  <a:schemeClr val="tx1"/>
                </a:solidFill>
                <a:latin typeface="EYInterstate" panose="02000503020000020004" pitchFamily="2" charset="0"/>
              </a:defRPr>
            </a:lvl3pPr>
            <a:lvl4pPr marL="180885" indent="-180885">
              <a:spcBef>
                <a:spcPts val="0"/>
              </a:spcBef>
              <a:spcAft>
                <a:spcPts val="500"/>
              </a:spcAft>
              <a:buClr>
                <a:schemeClr val="tx2"/>
              </a:buClr>
              <a:buSzPct val="70000"/>
              <a:buFont typeface="Arial" panose="020B0604020202020204" pitchFamily="34" charset="0"/>
              <a:buChar char="►"/>
              <a:tabLst/>
              <a:defRPr sz="1000" b="0">
                <a:solidFill>
                  <a:schemeClr val="tx1"/>
                </a:solidFill>
              </a:defRPr>
            </a:lvl4pPr>
            <a:lvl5pPr marL="360183" indent="-185645">
              <a:spcBef>
                <a:spcPts val="0"/>
              </a:spcBef>
              <a:spcAft>
                <a:spcPts val="500"/>
              </a:spcAft>
              <a:buClr>
                <a:schemeClr val="tx2"/>
              </a:buClr>
              <a:buSzPct val="70000"/>
              <a:buFont typeface="Arial" panose="020B0604020202020204" pitchFamily="34" charset="0"/>
              <a:buChar char="►"/>
              <a:tabLst>
                <a:tab pos="1255085" algn="l"/>
              </a:tabLst>
              <a:defRPr sz="1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tx1"/>
                </a:solidFill>
              </a:defRPr>
            </a:lvl1pPr>
            <a:lvl2pPr marL="356437" indent="0">
              <a:buNone/>
              <a:defRPr/>
            </a:lvl2pPr>
          </a:lstStyle>
          <a:p>
            <a:pPr lvl="0"/>
            <a:r>
              <a:rPr lang="en-US"/>
              <a:t>Click to edit Master text styles</a:t>
            </a: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54" name="Group 4">
            <a:extLst>
              <a:ext uri="{FF2B5EF4-FFF2-40B4-BE49-F238E27FC236}">
                <a16:creationId xmlns:a16="http://schemas.microsoft.com/office/drawing/2014/main" id="{442CF107-8F6F-47BF-8C55-52BB8435E3D5}"/>
              </a:ext>
            </a:extLst>
          </p:cNvPr>
          <p:cNvGrpSpPr>
            <a:grpSpLocks noChangeAspect="1"/>
          </p:cNvGrpSpPr>
          <p:nvPr userDrawn="1"/>
        </p:nvGrpSpPr>
        <p:grpSpPr bwMode="auto">
          <a:xfrm>
            <a:off x="11287125" y="6251575"/>
            <a:ext cx="303213" cy="311150"/>
            <a:chOff x="7110" y="4004"/>
            <a:chExt cx="191" cy="196"/>
          </a:xfrm>
        </p:grpSpPr>
        <p:sp>
          <p:nvSpPr>
            <p:cNvPr id="55" name="Freeform 5">
              <a:extLst>
                <a:ext uri="{FF2B5EF4-FFF2-40B4-BE49-F238E27FC236}">
                  <a16:creationId xmlns:a16="http://schemas.microsoft.com/office/drawing/2014/main" id="{6E340510-3193-43ED-8935-48B5E21E11E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6" name="Freeform 6">
              <a:extLst>
                <a:ext uri="{FF2B5EF4-FFF2-40B4-BE49-F238E27FC236}">
                  <a16:creationId xmlns:a16="http://schemas.microsoft.com/office/drawing/2014/main" id="{3469AA48-5B85-43CB-9086-F6DA4F5CD3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7" name="Freeform 7">
              <a:extLst>
                <a:ext uri="{FF2B5EF4-FFF2-40B4-BE49-F238E27FC236}">
                  <a16:creationId xmlns:a16="http://schemas.microsoft.com/office/drawing/2014/main" id="{682361C7-3C58-423E-A0FB-CA96CD50B70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5682040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9_Standard slide_no first level bullets">
    <p:bg>
      <p:bgPr>
        <a:solidFill>
          <a:schemeClr val="bg1"/>
        </a:solidFill>
        <a:effectLst/>
      </p:bgPr>
    </p:bg>
    <p:spTree>
      <p:nvGrpSpPr>
        <p:cNvPr id="1" name=""/>
        <p:cNvGrpSpPr/>
        <p:nvPr/>
      </p:nvGrpSpPr>
      <p:grpSpPr>
        <a:xfrm>
          <a:off x="0" y="0"/>
          <a:ext cx="0" cy="0"/>
          <a:chOff x="0" y="0"/>
          <a:chExt cx="0" cy="0"/>
        </a:xfrm>
      </p:grpSpPr>
      <p:pic>
        <p:nvPicPr>
          <p:cNvPr id="3" name="Picture 2" descr="A hand holding a tube with blood&#10;&#10;Description automatically generated">
            <a:extLst>
              <a:ext uri="{FF2B5EF4-FFF2-40B4-BE49-F238E27FC236}">
                <a16:creationId xmlns:a16="http://schemas.microsoft.com/office/drawing/2014/main" id="{8F5C68FF-DC4D-14CF-C74B-B3A1DDC7E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1"/>
            <a:ext cx="12191999" cy="6858000"/>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1539611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3_Standard slide_no first level bullets">
    <p:bg>
      <p:bgPr>
        <a:solidFill>
          <a:schemeClr val="bg1"/>
        </a:solidFill>
        <a:effectLst/>
      </p:bgPr>
    </p:bg>
    <p:spTree>
      <p:nvGrpSpPr>
        <p:cNvPr id="1" name=""/>
        <p:cNvGrpSpPr/>
        <p:nvPr/>
      </p:nvGrpSpPr>
      <p:grpSpPr>
        <a:xfrm>
          <a:off x="0" y="0"/>
          <a:ext cx="0" cy="0"/>
          <a:chOff x="0" y="0"/>
          <a:chExt cx="0" cy="0"/>
        </a:xfrm>
      </p:grpSpPr>
      <p:pic>
        <p:nvPicPr>
          <p:cNvPr id="2" name="Picture 1" descr="A hand holding a tube with blood&#10;&#10;Description automatically generated">
            <a:extLst>
              <a:ext uri="{FF2B5EF4-FFF2-40B4-BE49-F238E27FC236}">
                <a16:creationId xmlns:a16="http://schemas.microsoft.com/office/drawing/2014/main" id="{32BA9F16-6B4D-D4B5-C025-14193EC195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pic>
        <p:nvPicPr>
          <p:cNvPr id="22" name="Picture 21">
            <a:hlinkClick r:id="" action="ppaction://noaction"/>
            <a:extLst>
              <a:ext uri="{FF2B5EF4-FFF2-40B4-BE49-F238E27FC236}">
                <a16:creationId xmlns:a16="http://schemas.microsoft.com/office/drawing/2014/main" id="{EAC816A6-9B20-4E42-AA19-20E3709620EB}"/>
              </a:ext>
            </a:extLst>
          </p:cNvPr>
          <p:cNvPicPr>
            <a:picLocks/>
          </p:cNvPicPr>
          <p:nvPr userDrawn="1"/>
        </p:nvPicPr>
        <p:blipFill>
          <a:blip r:embed="rId7"/>
          <a:stretch>
            <a:fillRect/>
          </a:stretch>
        </p:blipFill>
        <p:spPr>
          <a:xfrm>
            <a:off x="785578" y="298248"/>
            <a:ext cx="215414" cy="188488"/>
          </a:xfrm>
          <a:prstGeom prst="rect">
            <a:avLst/>
          </a:prstGeom>
        </p:spPr>
      </p:pic>
      <p:sp>
        <p:nvSpPr>
          <p:cNvPr id="21" name="Arrow: Chevron 20">
            <a:hlinkClick r:id="" action="ppaction://hlinkshowjump?jump=nextslide"/>
            <a:extLst>
              <a:ext uri="{FF2B5EF4-FFF2-40B4-BE49-F238E27FC236}">
                <a16:creationId xmlns:a16="http://schemas.microsoft.com/office/drawing/2014/main" id="{9D1DBEFB-956F-4C00-85AF-AF56AE71E673}"/>
              </a:ext>
            </a:extLst>
          </p:cNvPr>
          <p:cNvSpPr/>
          <p:nvPr userDrawn="1"/>
        </p:nvSpPr>
        <p:spPr bwMode="auto">
          <a:xfrm>
            <a:off x="1029536"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3" name="Arrow: Chevron 22">
            <a:hlinkClick r:id="" action="ppaction://hlinkshowjump?jump=previousslide"/>
            <a:extLst>
              <a:ext uri="{FF2B5EF4-FFF2-40B4-BE49-F238E27FC236}">
                <a16:creationId xmlns:a16="http://schemas.microsoft.com/office/drawing/2014/main" id="{6E380914-883C-4CF6-AE17-0688CC86791F}"/>
              </a:ext>
            </a:extLst>
          </p:cNvPr>
          <p:cNvSpPr/>
          <p:nvPr userDrawn="1"/>
        </p:nvSpPr>
        <p:spPr bwMode="auto">
          <a:xfrm flipH="1">
            <a:off x="642167"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
        <p:nvSpPr>
          <p:cNvPr id="47" name="Rectangle 46">
            <a:hlinkClick r:id="" action="ppaction://noaction"/>
            <a:extLst>
              <a:ext uri="{FF2B5EF4-FFF2-40B4-BE49-F238E27FC236}">
                <a16:creationId xmlns:a16="http://schemas.microsoft.com/office/drawing/2014/main" id="{E4E61C2A-85F9-4ED0-BC6E-C5845F8A3E6A}"/>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48" name="Rectangle 47">
            <a:hlinkClick r:id="" action="ppaction://noaction"/>
            <a:extLst>
              <a:ext uri="{FF2B5EF4-FFF2-40B4-BE49-F238E27FC236}">
                <a16:creationId xmlns:a16="http://schemas.microsoft.com/office/drawing/2014/main" id="{3D8B3182-8573-44EC-9664-0204F0E5E94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49" name="Rectangle 48">
            <a:hlinkClick r:id="" action="ppaction://noaction"/>
            <a:extLst>
              <a:ext uri="{FF2B5EF4-FFF2-40B4-BE49-F238E27FC236}">
                <a16:creationId xmlns:a16="http://schemas.microsoft.com/office/drawing/2014/main" id="{575F06B4-3765-444B-93A8-9CBA54830AA3}"/>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50" name="Rectangle 49">
            <a:hlinkClick r:id="" action="ppaction://noaction"/>
            <a:extLst>
              <a:ext uri="{FF2B5EF4-FFF2-40B4-BE49-F238E27FC236}">
                <a16:creationId xmlns:a16="http://schemas.microsoft.com/office/drawing/2014/main" id="{B55A3DA1-03C0-49F9-9526-11B535DAE098}"/>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51" name="Rectangle 50">
            <a:hlinkClick r:id="" action="ppaction://noaction"/>
            <a:extLst>
              <a:ext uri="{FF2B5EF4-FFF2-40B4-BE49-F238E27FC236}">
                <a16:creationId xmlns:a16="http://schemas.microsoft.com/office/drawing/2014/main" id="{73C5952B-77EA-452C-A76B-BA5D806B27EB}"/>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28" name="Rectangle 27">
            <a:hlinkClick r:id="" action="ppaction://noaction"/>
            <a:extLst>
              <a:ext uri="{FF2B5EF4-FFF2-40B4-BE49-F238E27FC236}">
                <a16:creationId xmlns:a16="http://schemas.microsoft.com/office/drawing/2014/main" id="{9E757B6A-2320-4A6D-AC3F-8A8E24E391B7}"/>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29" name="Rectangle 28">
            <a:hlinkClick r:id="" action="ppaction://noaction"/>
            <a:extLst>
              <a:ext uri="{FF2B5EF4-FFF2-40B4-BE49-F238E27FC236}">
                <a16:creationId xmlns:a16="http://schemas.microsoft.com/office/drawing/2014/main" id="{6F8F8767-9997-4003-A8CA-A98BB1BFF0A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30" name="Rectangle 29">
            <a:hlinkClick r:id="" action="ppaction://noaction"/>
            <a:extLst>
              <a:ext uri="{FF2B5EF4-FFF2-40B4-BE49-F238E27FC236}">
                <a16:creationId xmlns:a16="http://schemas.microsoft.com/office/drawing/2014/main" id="{DEB7FBDC-9964-4070-9DD9-7EF68A6BD412}"/>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31" name="Rectangle 30">
            <a:hlinkClick r:id="" action="ppaction://noaction"/>
            <a:extLst>
              <a:ext uri="{FF2B5EF4-FFF2-40B4-BE49-F238E27FC236}">
                <a16:creationId xmlns:a16="http://schemas.microsoft.com/office/drawing/2014/main" id="{4C1F8B75-4E94-4E5F-9452-21DD1CF4AB8E}"/>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32" name="Rectangle 31">
            <a:hlinkClick r:id="" action="ppaction://noaction"/>
            <a:extLst>
              <a:ext uri="{FF2B5EF4-FFF2-40B4-BE49-F238E27FC236}">
                <a16:creationId xmlns:a16="http://schemas.microsoft.com/office/drawing/2014/main" id="{541E136F-402E-4F1B-BA02-BEF1D745C6D7}"/>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33" name="Rectangle 32">
            <a:hlinkClick r:id="" action="ppaction://noaction"/>
            <a:extLst>
              <a:ext uri="{FF2B5EF4-FFF2-40B4-BE49-F238E27FC236}">
                <a16:creationId xmlns:a16="http://schemas.microsoft.com/office/drawing/2014/main" id="{9576315D-6C15-4715-ABE5-C670ED6B8C3D}"/>
              </a:ext>
            </a:extLst>
          </p:cNvPr>
          <p:cNvSpPr/>
          <p:nvPr userDrawn="1"/>
        </p:nvSpPr>
        <p:spPr>
          <a:xfrm>
            <a:off x="9955724" y="342736"/>
            <a:ext cx="575641"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Appendix</a:t>
            </a:r>
          </a:p>
        </p:txBody>
      </p:sp>
    </p:spTree>
    <p:extLst>
      <p:ext uri="{BB962C8B-B14F-4D97-AF65-F5344CB8AC3E}">
        <p14:creationId xmlns:p14="http://schemas.microsoft.com/office/powerpoint/2010/main" val="431619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2_Standard slide_no first level bullets">
    <p:bg>
      <p:bgPr>
        <a:solidFill>
          <a:schemeClr val="bg1"/>
        </a:solidFill>
        <a:effectLst/>
      </p:bgPr>
    </p:bg>
    <p:spTree>
      <p:nvGrpSpPr>
        <p:cNvPr id="1" name=""/>
        <p:cNvGrpSpPr/>
        <p:nvPr/>
      </p:nvGrpSpPr>
      <p:grpSpPr>
        <a:xfrm>
          <a:off x="0" y="0"/>
          <a:ext cx="0" cy="0"/>
          <a:chOff x="0" y="0"/>
          <a:chExt cx="0" cy="0"/>
        </a:xfrm>
      </p:grpSpPr>
      <p:pic>
        <p:nvPicPr>
          <p:cNvPr id="2" name="Picture 1" descr="A hand holding a tube with blood&#10;&#10;Description automatically generated">
            <a:extLst>
              <a:ext uri="{FF2B5EF4-FFF2-40B4-BE49-F238E27FC236}">
                <a16:creationId xmlns:a16="http://schemas.microsoft.com/office/drawing/2014/main" id="{EE3B5EB8-0271-A0A0-C92C-F8F1F77D1B4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pic>
        <p:nvPicPr>
          <p:cNvPr id="22" name="Picture 21">
            <a:hlinkClick r:id="rId7" action="ppaction://hlinksldjump"/>
            <a:extLst>
              <a:ext uri="{FF2B5EF4-FFF2-40B4-BE49-F238E27FC236}">
                <a16:creationId xmlns:a16="http://schemas.microsoft.com/office/drawing/2014/main" id="{EAC816A6-9B20-4E42-AA19-20E3709620EB}"/>
              </a:ext>
            </a:extLst>
          </p:cNvPr>
          <p:cNvPicPr>
            <a:picLocks/>
          </p:cNvPicPr>
          <p:nvPr userDrawn="1"/>
        </p:nvPicPr>
        <p:blipFill>
          <a:blip r:embed="rId8"/>
          <a:stretch>
            <a:fillRect/>
          </a:stretch>
        </p:blipFill>
        <p:spPr>
          <a:xfrm>
            <a:off x="785578" y="298248"/>
            <a:ext cx="215414" cy="188488"/>
          </a:xfrm>
          <a:prstGeom prst="rect">
            <a:avLst/>
          </a:prstGeom>
        </p:spPr>
      </p:pic>
      <p:sp>
        <p:nvSpPr>
          <p:cNvPr id="21" name="Arrow: Chevron 20">
            <a:hlinkClick r:id="" action="ppaction://hlinkshowjump?jump=nextslide"/>
            <a:extLst>
              <a:ext uri="{FF2B5EF4-FFF2-40B4-BE49-F238E27FC236}">
                <a16:creationId xmlns:a16="http://schemas.microsoft.com/office/drawing/2014/main" id="{9D1DBEFB-956F-4C00-85AF-AF56AE71E673}"/>
              </a:ext>
            </a:extLst>
          </p:cNvPr>
          <p:cNvSpPr/>
          <p:nvPr userDrawn="1"/>
        </p:nvSpPr>
        <p:spPr bwMode="auto">
          <a:xfrm>
            <a:off x="1029536"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3" name="Arrow: Chevron 22">
            <a:hlinkClick r:id="" action="ppaction://hlinkshowjump?jump=previousslide"/>
            <a:extLst>
              <a:ext uri="{FF2B5EF4-FFF2-40B4-BE49-F238E27FC236}">
                <a16:creationId xmlns:a16="http://schemas.microsoft.com/office/drawing/2014/main" id="{6E380914-883C-4CF6-AE17-0688CC86791F}"/>
              </a:ext>
            </a:extLst>
          </p:cNvPr>
          <p:cNvSpPr/>
          <p:nvPr userDrawn="1"/>
        </p:nvSpPr>
        <p:spPr bwMode="auto">
          <a:xfrm flipH="1">
            <a:off x="642167"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a:ln>
                <a:noFill/>
              </a:ln>
              <a:solidFill>
                <a:schemeClr val="tx1"/>
              </a:solidFill>
              <a:effectLst/>
              <a:latin typeface="+mn-lt"/>
            </a:endParaRPr>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
        <p:nvSpPr>
          <p:cNvPr id="47" name="Rectangle 46">
            <a:hlinkClick r:id="rId9" action="ppaction://hlinksldjump"/>
            <a:extLst>
              <a:ext uri="{FF2B5EF4-FFF2-40B4-BE49-F238E27FC236}">
                <a16:creationId xmlns:a16="http://schemas.microsoft.com/office/drawing/2014/main" id="{E4E61C2A-85F9-4ED0-BC6E-C5845F8A3E6A}"/>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48" name="Rectangle 47">
            <a:hlinkClick r:id="rId10" action="ppaction://hlinksldjump"/>
            <a:extLst>
              <a:ext uri="{FF2B5EF4-FFF2-40B4-BE49-F238E27FC236}">
                <a16:creationId xmlns:a16="http://schemas.microsoft.com/office/drawing/2014/main" id="{3D8B3182-8573-44EC-9664-0204F0E5E94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49" name="Rectangle 48">
            <a:hlinkClick r:id="rId11" action="ppaction://hlinksldjump"/>
            <a:extLst>
              <a:ext uri="{FF2B5EF4-FFF2-40B4-BE49-F238E27FC236}">
                <a16:creationId xmlns:a16="http://schemas.microsoft.com/office/drawing/2014/main" id="{575F06B4-3765-444B-93A8-9CBA54830AA3}"/>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50" name="Rectangle 49">
            <a:hlinkClick r:id="" action="ppaction://noaction"/>
            <a:extLst>
              <a:ext uri="{FF2B5EF4-FFF2-40B4-BE49-F238E27FC236}">
                <a16:creationId xmlns:a16="http://schemas.microsoft.com/office/drawing/2014/main" id="{B55A3DA1-03C0-49F9-9526-11B535DAE098}"/>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51" name="Rectangle 50">
            <a:hlinkClick r:id="" action="ppaction://noaction"/>
            <a:extLst>
              <a:ext uri="{FF2B5EF4-FFF2-40B4-BE49-F238E27FC236}">
                <a16:creationId xmlns:a16="http://schemas.microsoft.com/office/drawing/2014/main" id="{73C5952B-77EA-452C-A76B-BA5D806B27EB}"/>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28" name="Rectangle 27">
            <a:hlinkClick r:id="rId9" action="ppaction://hlinksldjump"/>
            <a:extLst>
              <a:ext uri="{FF2B5EF4-FFF2-40B4-BE49-F238E27FC236}">
                <a16:creationId xmlns:a16="http://schemas.microsoft.com/office/drawing/2014/main" id="{9E757B6A-2320-4A6D-AC3F-8A8E24E391B7}"/>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29" name="Rectangle 28">
            <a:hlinkClick r:id="rId10" action="ppaction://hlinksldjump"/>
            <a:extLst>
              <a:ext uri="{FF2B5EF4-FFF2-40B4-BE49-F238E27FC236}">
                <a16:creationId xmlns:a16="http://schemas.microsoft.com/office/drawing/2014/main" id="{6F8F8767-9997-4003-A8CA-A98BB1BFF0A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30" name="Rectangle 29">
            <a:hlinkClick r:id="rId11" action="ppaction://hlinksldjump"/>
            <a:extLst>
              <a:ext uri="{FF2B5EF4-FFF2-40B4-BE49-F238E27FC236}">
                <a16:creationId xmlns:a16="http://schemas.microsoft.com/office/drawing/2014/main" id="{DEB7FBDC-9964-4070-9DD9-7EF68A6BD412}"/>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31" name="Rectangle 30">
            <a:hlinkClick r:id="" action="ppaction://noaction"/>
            <a:extLst>
              <a:ext uri="{FF2B5EF4-FFF2-40B4-BE49-F238E27FC236}">
                <a16:creationId xmlns:a16="http://schemas.microsoft.com/office/drawing/2014/main" id="{4C1F8B75-4E94-4E5F-9452-21DD1CF4AB8E}"/>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32" name="Rectangle 31">
            <a:hlinkClick r:id="" action="ppaction://noaction"/>
            <a:extLst>
              <a:ext uri="{FF2B5EF4-FFF2-40B4-BE49-F238E27FC236}">
                <a16:creationId xmlns:a16="http://schemas.microsoft.com/office/drawing/2014/main" id="{541E136F-402E-4F1B-BA02-BEF1D745C6D7}"/>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33" name="Rectangle 32">
            <a:hlinkClick r:id="rId12" action="ppaction://hlinksldjump"/>
            <a:extLst>
              <a:ext uri="{FF2B5EF4-FFF2-40B4-BE49-F238E27FC236}">
                <a16:creationId xmlns:a16="http://schemas.microsoft.com/office/drawing/2014/main" id="{9576315D-6C15-4715-ABE5-C670ED6B8C3D}"/>
              </a:ext>
            </a:extLst>
          </p:cNvPr>
          <p:cNvSpPr/>
          <p:nvPr userDrawn="1"/>
        </p:nvSpPr>
        <p:spPr>
          <a:xfrm>
            <a:off x="9955724" y="342736"/>
            <a:ext cx="575641"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Appendix</a:t>
            </a:r>
          </a:p>
        </p:txBody>
      </p:sp>
    </p:spTree>
    <p:extLst>
      <p:ext uri="{BB962C8B-B14F-4D97-AF65-F5344CB8AC3E}">
        <p14:creationId xmlns:p14="http://schemas.microsoft.com/office/powerpoint/2010/main" val="43161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oilerplate">
    <p:bg>
      <p:bgPr>
        <a:solidFill>
          <a:schemeClr val="bg1"/>
        </a:solidFill>
        <a:effectLst/>
      </p:bgPr>
    </p:bg>
    <p:spTree>
      <p:nvGrpSpPr>
        <p:cNvPr id="1" name=""/>
        <p:cNvGrpSpPr/>
        <p:nvPr/>
      </p:nvGrpSpPr>
      <p:grpSpPr>
        <a:xfrm>
          <a:off x="0" y="0"/>
          <a:ext cx="0" cy="0"/>
          <a:chOff x="0" y="0"/>
          <a:chExt cx="0" cy="0"/>
        </a:xfrm>
      </p:grpSpPr>
      <p:sp>
        <p:nvSpPr>
          <p:cNvPr id="5" name="TextBox 5">
            <a:extLst>
              <a:ext uri="{FF2B5EF4-FFF2-40B4-BE49-F238E27FC236}">
                <a16:creationId xmlns:a16="http://schemas.microsoft.com/office/drawing/2014/main" id="{62CE4C1F-DD64-40A3-B9E9-1AF8481A80FF}"/>
              </a:ext>
            </a:extLst>
          </p:cNvPr>
          <p:cNvSpPr txBox="1"/>
          <p:nvPr userDrawn="1"/>
        </p:nvSpPr>
        <p:spPr>
          <a:xfrm>
            <a:off x="521504" y="682345"/>
            <a:ext cx="3650538" cy="20892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US" sz="1088" b="1">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a:t>
            </a:r>
            <a:r>
              <a:rPr lang="en-US" sz="1088">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 Building a better working worl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exists to build a better working world, helping to create long-term value for clients, people and society and build trust in the capital markets.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nabled by data and technology, diverse EY teams in over 150 countries provide trust through assurance and help clients grow, transform and operate.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Working across assurance, consulting, law, strategy, tax and transactions, EY teams ask better questions to find new answers for the complex issues facing our world toda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
        <p:nvSpPr>
          <p:cNvPr id="7" name="TextBox 5">
            <a:extLst>
              <a:ext uri="{FF2B5EF4-FFF2-40B4-BE49-F238E27FC236}">
                <a16:creationId xmlns:a16="http://schemas.microsoft.com/office/drawing/2014/main" id="{5FAA95A4-6D56-4218-B13E-A5A3BD8426ED}"/>
              </a:ext>
            </a:extLst>
          </p:cNvPr>
          <p:cNvSpPr txBox="1"/>
          <p:nvPr userDrawn="1"/>
        </p:nvSpPr>
        <p:spPr>
          <a:xfrm>
            <a:off x="7995066" y="682345"/>
            <a:ext cx="3683132" cy="30558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sation, please visit 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 2022 Ernst &amp; Young. All Rights Reserved.</a:t>
            </a: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P_023118.pptx. Produced by Creative (Ireland). 11/2022. ED none. Images from Gett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The Irish firm Ernst &amp; Young is a member practice of Ernst &amp; Young Global Limited. It is authorised by the Institute of Chartered Accountants in Ireland to carry on investment business in the Republic of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rnst &amp; Young, Harcourt Centre, Harcourt Street, Dublin 2,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Information in this publication is intended to provide only a general outline of the subjects covered. It should neither be regarded as comprehensive nor sufficient for making decisions, nor should it be used in place of professional advice. Ernst &amp; Young accepts no responsibility for any loss arising from any action taken or not taken by anyone using this material.</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86809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76725777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50954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Cover Letter">
    <p:spTree>
      <p:nvGrpSpPr>
        <p:cNvPr id="1" name=""/>
        <p:cNvGrpSpPr/>
        <p:nvPr/>
      </p:nvGrpSpPr>
      <p:grpSpPr>
        <a:xfrm>
          <a:off x="0" y="0"/>
          <a:ext cx="0" cy="0"/>
          <a:chOff x="0" y="0"/>
          <a:chExt cx="0" cy="0"/>
        </a:xfrm>
      </p:grpSpPr>
      <p:sp>
        <p:nvSpPr>
          <p:cNvPr id="55" name="Rectangle 54"/>
          <p:cNvSpPr/>
          <p:nvPr userDrawn="1"/>
        </p:nvSpPr>
        <p:spPr bwMode="auto">
          <a:xfrm>
            <a:off x="9826014" y="0"/>
            <a:ext cx="2365987" cy="68580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none" lIns="48950" tIns="48950" rIns="48950" bIns="48950" numCol="1" spcCol="0" rtlCol="0" fromWordArt="0" anchor="ctr" anchorCtr="0" forceAA="0" compatLnSpc="1">
            <a:prstTxWarp prst="textNoShape">
              <a:avLst/>
            </a:prstTxWarp>
            <a:noAutofit/>
          </a:bodyPr>
          <a:lstStyle/>
          <a:p>
            <a:pPr algn="ctr" defTabSz="902362" fontAlgn="base">
              <a:spcBef>
                <a:spcPct val="0"/>
              </a:spcBef>
              <a:spcAft>
                <a:spcPct val="0"/>
              </a:spcAft>
            </a:pPr>
            <a:endParaRPr lang="en-AU" sz="907">
              <a:solidFill>
                <a:srgbClr val="646464"/>
              </a:solidFill>
              <a:latin typeface="EYInterstate Light"/>
              <a:cs typeface="Arial" charset="0"/>
            </a:endParaRPr>
          </a:p>
        </p:txBody>
      </p:sp>
      <p:sp>
        <p:nvSpPr>
          <p:cNvPr id="7" name="TextBox 6">
            <a:extLst>
              <a:ext uri="{FF2B5EF4-FFF2-40B4-BE49-F238E27FC236}">
                <a16:creationId xmlns:a16="http://schemas.microsoft.com/office/drawing/2014/main" id="{A2DE81F2-2773-4AA3-949D-229F2100F9E8}"/>
              </a:ext>
            </a:extLst>
          </p:cNvPr>
          <p:cNvSpPr txBox="1"/>
          <p:nvPr userDrawn="1"/>
        </p:nvSpPr>
        <p:spPr>
          <a:xfrm>
            <a:off x="2155684" y="535624"/>
            <a:ext cx="1299562" cy="688522"/>
          </a:xfrm>
          <a:prstGeom prst="rect">
            <a:avLst/>
          </a:prstGeom>
          <a:noFill/>
        </p:spPr>
        <p:txBody>
          <a:bodyPr wrap="square" lIns="0" tIns="0" rIns="0" bIns="0" rtlCol="0">
            <a:spAutoFit/>
          </a:bodyPr>
          <a:lstStyle/>
          <a:p>
            <a:pPr>
              <a:lnSpc>
                <a:spcPct val="94000"/>
              </a:lnSpc>
            </a:pPr>
            <a:r>
              <a:rPr lang="en-IE" sz="680" kern="750" spc="-9">
                <a:solidFill>
                  <a:srgbClr val="747480"/>
                </a:solidFill>
                <a:latin typeface="EYInterstate Light" pitchFamily="2" charset="0"/>
              </a:rPr>
              <a:t>Ernst &amp; Young</a:t>
            </a:r>
          </a:p>
          <a:p>
            <a:pPr>
              <a:lnSpc>
                <a:spcPct val="94000"/>
              </a:lnSpc>
            </a:pPr>
            <a:r>
              <a:rPr lang="en-IE" sz="680" kern="750" spc="-9">
                <a:solidFill>
                  <a:srgbClr val="747480"/>
                </a:solidFill>
                <a:latin typeface="EYInterstate Light" pitchFamily="2" charset="0"/>
              </a:rPr>
              <a:t>Business Advisory Services</a:t>
            </a:r>
          </a:p>
          <a:p>
            <a:pPr>
              <a:lnSpc>
                <a:spcPct val="94000"/>
              </a:lnSpc>
            </a:pPr>
            <a:r>
              <a:rPr lang="en-IE" sz="680" kern="750" spc="-9">
                <a:solidFill>
                  <a:srgbClr val="747480"/>
                </a:solidFill>
                <a:latin typeface="EYInterstate Light" pitchFamily="2" charset="0"/>
              </a:rPr>
              <a:t>Harcourt Centre</a:t>
            </a:r>
          </a:p>
          <a:p>
            <a:pPr>
              <a:lnSpc>
                <a:spcPct val="94000"/>
              </a:lnSpc>
            </a:pPr>
            <a:r>
              <a:rPr lang="en-IE" sz="680" kern="750" spc="-9">
                <a:solidFill>
                  <a:srgbClr val="747480"/>
                </a:solidFill>
                <a:latin typeface="EYInterstate Light" pitchFamily="2" charset="0"/>
              </a:rPr>
              <a:t>Harcourt Street</a:t>
            </a:r>
          </a:p>
          <a:p>
            <a:pPr>
              <a:lnSpc>
                <a:spcPct val="94000"/>
              </a:lnSpc>
            </a:pPr>
            <a:r>
              <a:rPr lang="en-IE" sz="680" kern="750" spc="-9">
                <a:solidFill>
                  <a:srgbClr val="747480"/>
                </a:solidFill>
                <a:latin typeface="EYInterstate Light" pitchFamily="2" charset="0"/>
              </a:rPr>
              <a:t>Dublin 2</a:t>
            </a:r>
          </a:p>
          <a:p>
            <a:pPr>
              <a:lnSpc>
                <a:spcPct val="94000"/>
              </a:lnSpc>
            </a:pPr>
            <a:r>
              <a:rPr lang="en-IE" sz="680" kern="750" spc="-9">
                <a:solidFill>
                  <a:srgbClr val="747480"/>
                </a:solidFill>
                <a:latin typeface="EYInterstate Light" pitchFamily="2" charset="0"/>
              </a:rPr>
              <a:t>D02 YA40</a:t>
            </a:r>
          </a:p>
          <a:p>
            <a:pPr>
              <a:lnSpc>
                <a:spcPct val="94000"/>
              </a:lnSpc>
            </a:pPr>
            <a:r>
              <a:rPr lang="en-IE" sz="680" kern="750" spc="-9">
                <a:solidFill>
                  <a:srgbClr val="747480"/>
                </a:solidFill>
                <a:latin typeface="EYInterstate Light" pitchFamily="2" charset="0"/>
              </a:rPr>
              <a:t>Ireland</a:t>
            </a:r>
          </a:p>
        </p:txBody>
      </p:sp>
      <p:sp>
        <p:nvSpPr>
          <p:cNvPr id="8" name="TextBox 7">
            <a:extLst>
              <a:ext uri="{FF2B5EF4-FFF2-40B4-BE49-F238E27FC236}">
                <a16:creationId xmlns:a16="http://schemas.microsoft.com/office/drawing/2014/main" id="{4C145E83-BBC7-4CFB-9E86-889307B69726}"/>
              </a:ext>
            </a:extLst>
          </p:cNvPr>
          <p:cNvSpPr txBox="1"/>
          <p:nvPr userDrawn="1"/>
        </p:nvSpPr>
        <p:spPr>
          <a:xfrm>
            <a:off x="3455247" y="535623"/>
            <a:ext cx="1716100" cy="295081"/>
          </a:xfrm>
          <a:prstGeom prst="rect">
            <a:avLst/>
          </a:prstGeom>
          <a:noFill/>
        </p:spPr>
        <p:txBody>
          <a:bodyPr wrap="square" lIns="0" tIns="0" rIns="0" bIns="0" rtlCol="0">
            <a:spAutoFit/>
          </a:bodyPr>
          <a:lstStyle/>
          <a:p>
            <a:pPr>
              <a:lnSpc>
                <a:spcPct val="94000"/>
              </a:lnSpc>
            </a:pPr>
            <a:r>
              <a:rPr lang="pt-BR" sz="680" kern="750" spc="-9">
                <a:solidFill>
                  <a:srgbClr val="747480"/>
                </a:solidFill>
                <a:latin typeface="EYInterstate Light" pitchFamily="2" charset="0"/>
              </a:rPr>
              <a:t>Tel: + 353 1 475 0555</a:t>
            </a:r>
          </a:p>
          <a:p>
            <a:pPr>
              <a:lnSpc>
                <a:spcPct val="94000"/>
              </a:lnSpc>
            </a:pPr>
            <a:r>
              <a:rPr lang="pt-BR" sz="680" kern="750" spc="-9">
                <a:solidFill>
                  <a:srgbClr val="747480"/>
                </a:solidFill>
                <a:latin typeface="EYInterstate Light" pitchFamily="2" charset="0"/>
              </a:rPr>
              <a:t>Fax: + 353 1 475 0599</a:t>
            </a:r>
          </a:p>
          <a:p>
            <a:pPr>
              <a:lnSpc>
                <a:spcPct val="94000"/>
              </a:lnSpc>
            </a:pPr>
            <a:r>
              <a:rPr lang="pt-BR" sz="680" kern="750" spc="-9">
                <a:solidFill>
                  <a:srgbClr val="747480"/>
                </a:solidFill>
                <a:latin typeface="EYInterstate Light" pitchFamily="2" charset="0"/>
              </a:rPr>
              <a:t>ey.com</a:t>
            </a:r>
          </a:p>
        </p:txBody>
      </p:sp>
      <p:pic>
        <p:nvPicPr>
          <p:cNvPr id="9" name="Picture 8">
            <a:extLst>
              <a:ext uri="{FF2B5EF4-FFF2-40B4-BE49-F238E27FC236}">
                <a16:creationId xmlns:a16="http://schemas.microsoft.com/office/drawing/2014/main" id="{0C521DB5-7176-40C7-B2F5-FA8808D6E5EC}"/>
              </a:ext>
            </a:extLst>
          </p:cNvPr>
          <p:cNvPicPr>
            <a:picLocks noChangeAspect="1"/>
          </p:cNvPicPr>
          <p:nvPr userDrawn="1"/>
        </p:nvPicPr>
        <p:blipFill>
          <a:blip r:embed="rId2"/>
          <a:stretch>
            <a:fillRect/>
          </a:stretch>
        </p:blipFill>
        <p:spPr>
          <a:xfrm>
            <a:off x="678074" y="235642"/>
            <a:ext cx="707583" cy="840141"/>
          </a:xfrm>
          <a:prstGeom prst="rect">
            <a:avLst/>
          </a:prstGeom>
        </p:spPr>
      </p:pic>
      <p:sp>
        <p:nvSpPr>
          <p:cNvPr id="10" name="Rectangle 9">
            <a:extLst>
              <a:ext uri="{FF2B5EF4-FFF2-40B4-BE49-F238E27FC236}">
                <a16:creationId xmlns:a16="http://schemas.microsoft.com/office/drawing/2014/main" id="{CC56722B-518C-4F16-A5D7-A5E43A734D37}"/>
              </a:ext>
            </a:extLst>
          </p:cNvPr>
          <p:cNvSpPr/>
          <p:nvPr userDrawn="1"/>
        </p:nvSpPr>
        <p:spPr>
          <a:xfrm>
            <a:off x="684173" y="6169752"/>
            <a:ext cx="8658235" cy="293157"/>
          </a:xfrm>
          <a:prstGeom prst="rect">
            <a:avLst/>
          </a:prstGeom>
        </p:spPr>
        <p:txBody>
          <a:bodyPr wrap="square" lIns="0" tIns="0" rIns="0" bIns="0">
            <a:spAutoFit/>
          </a:bodyPr>
          <a:lstStyle/>
          <a:p>
            <a:pPr>
              <a:lnSpc>
                <a:spcPct val="100000"/>
              </a:lnSpc>
            </a:pPr>
            <a:r>
              <a:rPr lang="en-IE" sz="635" spc="-9">
                <a:solidFill>
                  <a:srgbClr val="747480"/>
                </a:solidFill>
                <a:latin typeface="EYInterstate Light" pitchFamily="2" charset="0"/>
              </a:rPr>
              <a:t>D Buckley, D Dennis, M Gageby, J Hannigan, S MacAllister, S MacSweeney, B McCarthy, D McSwiney, J Maher, A Meagher, M Moroney, I O’Brien, F O’Dea, E O’Reilly, M Rooney, C Ryan, P Traynor, A Walsh, R Walsh.</a:t>
            </a:r>
          </a:p>
          <a:p>
            <a:pPr>
              <a:lnSpc>
                <a:spcPct val="100000"/>
              </a:lnSpc>
            </a:pPr>
            <a:endParaRPr lang="en-IE" sz="635" spc="-9">
              <a:solidFill>
                <a:srgbClr val="747480"/>
              </a:solidFill>
              <a:latin typeface="EYInterstate Light" pitchFamily="2" charset="0"/>
            </a:endParaRPr>
          </a:p>
          <a:p>
            <a:pPr>
              <a:lnSpc>
                <a:spcPct val="100000"/>
              </a:lnSpc>
            </a:pPr>
            <a:r>
              <a:rPr lang="en-IE" sz="635" spc="-9">
                <a:solidFill>
                  <a:srgbClr val="747480"/>
                </a:solidFill>
                <a:latin typeface="EYInterstate Light" pitchFamily="2" charset="0"/>
              </a:rPr>
              <a:t>The Irish firm Ernst &amp; Young is a member practice of Ernst &amp; Young Global Limited. It is authorised by the Institute of Chartered Accountants in Ireland to carry on investment business in the Republic of Ireland.</a:t>
            </a:r>
          </a:p>
        </p:txBody>
      </p:sp>
    </p:spTree>
    <p:extLst>
      <p:ext uri="{BB962C8B-B14F-4D97-AF65-F5344CB8AC3E}">
        <p14:creationId xmlns:p14="http://schemas.microsoft.com/office/powerpoint/2010/main" val="34440518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923731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0972390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237661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rgbClr val="D6364F"/>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buClr>
                <a:srgbClr val="D6364F"/>
              </a:buClr>
              <a:defRPr/>
            </a:lvl1pPr>
            <a:lvl2pPr>
              <a:buClr>
                <a:srgbClr val="D6364F"/>
              </a:buClr>
              <a:defRPr/>
            </a:lvl2pPr>
            <a:lvl3pPr>
              <a:buClr>
                <a:srgbClr val="D6364F"/>
              </a:buClr>
              <a:defRPr/>
            </a:lvl3pPr>
            <a:lvl4pPr>
              <a:buClr>
                <a:srgbClr val="D6364F"/>
              </a:buClr>
              <a:defRPr/>
            </a:lvl4pPr>
            <a:lvl5pPr>
              <a:buClr>
                <a:srgbClr val="D6364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51862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rgbClr val="D6364F"/>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11085" y="1137921"/>
            <a:ext cx="10972800" cy="3404555"/>
          </a:xfrm>
          <a:prstGeom prst="rect">
            <a:avLst/>
          </a:prstGeom>
        </p:spPr>
        <p:txBody>
          <a:bodyPr vert="horz" lIns="0" tIns="0" rIns="0" bIns="0" rtlCol="0" anchor="t" anchorCtr="0">
            <a:noAutofit/>
          </a:bodyPr>
          <a:lstStyle>
            <a:lvl1pPr>
              <a:buClr>
                <a:srgbClr val="D6364F"/>
              </a:buClr>
              <a:defRPr/>
            </a:lvl1pPr>
            <a:lvl2pPr>
              <a:buClr>
                <a:srgbClr val="D6364F"/>
              </a:buClr>
              <a:defRPr/>
            </a:lvl2pPr>
            <a:lvl3pPr>
              <a:buClr>
                <a:srgbClr val="D6364F"/>
              </a:buClr>
              <a:defRPr/>
            </a:lvl3pPr>
            <a:lvl4pPr>
              <a:buClr>
                <a:srgbClr val="D6364F"/>
              </a:buClr>
              <a:defRPr/>
            </a:lvl4pPr>
            <a:lvl5pPr>
              <a:buClr>
                <a:srgbClr val="D6364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4">
            <a:extLst>
              <a:ext uri="{FF2B5EF4-FFF2-40B4-BE49-F238E27FC236}">
                <a16:creationId xmlns:a16="http://schemas.microsoft.com/office/drawing/2014/main" id="{83B7F5C9-5A37-4876-8776-73100BB31809}"/>
              </a:ext>
            </a:extLst>
          </p:cNvPr>
          <p:cNvGrpSpPr>
            <a:grpSpLocks noChangeAspect="1"/>
          </p:cNvGrpSpPr>
          <p:nvPr userDrawn="1"/>
        </p:nvGrpSpPr>
        <p:grpSpPr bwMode="auto">
          <a:xfrm>
            <a:off x="11276111" y="6311900"/>
            <a:ext cx="303055" cy="311150"/>
            <a:chOff x="7110" y="4004"/>
            <a:chExt cx="191" cy="196"/>
          </a:xfrm>
        </p:grpSpPr>
        <p:sp>
          <p:nvSpPr>
            <p:cNvPr id="13" name="Freeform 5">
              <a:extLst>
                <a:ext uri="{FF2B5EF4-FFF2-40B4-BE49-F238E27FC236}">
                  <a16:creationId xmlns:a16="http://schemas.microsoft.com/office/drawing/2014/main" id="{17756B7D-A5B8-4E54-9415-E28FF2E756B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sp>
          <p:nvSpPr>
            <p:cNvPr id="14" name="Freeform 6">
              <a:extLst>
                <a:ext uri="{FF2B5EF4-FFF2-40B4-BE49-F238E27FC236}">
                  <a16:creationId xmlns:a16="http://schemas.microsoft.com/office/drawing/2014/main" id="{7ACE6D3D-11B7-4F6B-86DC-26BD226D6AD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sp>
          <p:nvSpPr>
            <p:cNvPr id="15" name="Freeform 7">
              <a:extLst>
                <a:ext uri="{FF2B5EF4-FFF2-40B4-BE49-F238E27FC236}">
                  <a16:creationId xmlns:a16="http://schemas.microsoft.com/office/drawing/2014/main" id="{5C5AF59A-C106-4572-806F-F40E044CBE18}"/>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grpSp>
      <p:graphicFrame>
        <p:nvGraphicFramePr>
          <p:cNvPr id="4" name="Table 17">
            <a:extLst>
              <a:ext uri="{FF2B5EF4-FFF2-40B4-BE49-F238E27FC236}">
                <a16:creationId xmlns:a16="http://schemas.microsoft.com/office/drawing/2014/main" id="{9A92283F-5C0B-488D-B8FC-1B138BD9E86C}"/>
              </a:ext>
            </a:extLst>
          </p:cNvPr>
          <p:cNvGraphicFramePr>
            <a:graphicFrameLocks noGrp="1"/>
          </p:cNvGraphicFramePr>
          <p:nvPr userDrawn="1">
            <p:extLst>
              <p:ext uri="{D42A27DB-BD31-4B8C-83A1-F6EECF244321}">
                <p14:modId xmlns:p14="http://schemas.microsoft.com/office/powerpoint/2010/main" val="2853465340"/>
              </p:ext>
            </p:extLst>
          </p:nvPr>
        </p:nvGraphicFramePr>
        <p:xfrm>
          <a:off x="1222373" y="6326310"/>
          <a:ext cx="6539514" cy="531690"/>
        </p:xfrm>
        <a:graphic>
          <a:graphicData uri="http://schemas.openxmlformats.org/drawingml/2006/table">
            <a:tbl>
              <a:tblPr>
                <a:tableStyleId>{5C22544A-7EE6-4342-B048-85BDC9FD1C3A}</a:tableStyleId>
              </a:tblPr>
              <a:tblGrid>
                <a:gridCol w="1089919">
                  <a:extLst>
                    <a:ext uri="{9D8B030D-6E8A-4147-A177-3AD203B41FA5}">
                      <a16:colId xmlns:a16="http://schemas.microsoft.com/office/drawing/2014/main" val="3948956932"/>
                    </a:ext>
                  </a:extLst>
                </a:gridCol>
                <a:gridCol w="1089919">
                  <a:extLst>
                    <a:ext uri="{9D8B030D-6E8A-4147-A177-3AD203B41FA5}">
                      <a16:colId xmlns:a16="http://schemas.microsoft.com/office/drawing/2014/main" val="2423409415"/>
                    </a:ext>
                  </a:extLst>
                </a:gridCol>
                <a:gridCol w="1089919">
                  <a:extLst>
                    <a:ext uri="{9D8B030D-6E8A-4147-A177-3AD203B41FA5}">
                      <a16:colId xmlns:a16="http://schemas.microsoft.com/office/drawing/2014/main" val="3663843278"/>
                    </a:ext>
                  </a:extLst>
                </a:gridCol>
                <a:gridCol w="1089919">
                  <a:extLst>
                    <a:ext uri="{9D8B030D-6E8A-4147-A177-3AD203B41FA5}">
                      <a16:colId xmlns:a16="http://schemas.microsoft.com/office/drawing/2014/main" val="3294372620"/>
                    </a:ext>
                  </a:extLst>
                </a:gridCol>
                <a:gridCol w="1089919">
                  <a:extLst>
                    <a:ext uri="{9D8B030D-6E8A-4147-A177-3AD203B41FA5}">
                      <a16:colId xmlns:a16="http://schemas.microsoft.com/office/drawing/2014/main" val="3003271652"/>
                    </a:ext>
                  </a:extLst>
                </a:gridCol>
                <a:gridCol w="1089919">
                  <a:extLst>
                    <a:ext uri="{9D8B030D-6E8A-4147-A177-3AD203B41FA5}">
                      <a16:colId xmlns:a16="http://schemas.microsoft.com/office/drawing/2014/main" val="2090045742"/>
                    </a:ext>
                  </a:extLst>
                </a:gridCol>
              </a:tblGrid>
              <a:tr h="531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accent5"/>
                          </a:solidFill>
                          <a:effectLst/>
                          <a:uLnTx/>
                          <a:uFillTx/>
                          <a:latin typeface="Apercu"/>
                        </a:rPr>
                        <a:t>Executive </a:t>
                      </a:r>
                      <a:br>
                        <a:rPr kumimoji="0" lang="en-US" sz="1050" b="0" i="0" u="none" strike="noStrike" kern="1200" cap="none" spc="0" normalizeH="0" baseline="0" noProof="0">
                          <a:ln>
                            <a:noFill/>
                          </a:ln>
                          <a:solidFill>
                            <a:schemeClr val="accent5"/>
                          </a:solidFill>
                          <a:effectLst/>
                          <a:uLnTx/>
                          <a:uFillTx/>
                          <a:latin typeface="Apercu"/>
                        </a:rPr>
                      </a:br>
                      <a:r>
                        <a:rPr kumimoji="0" lang="en-US" sz="1050" b="0" i="0" u="none" strike="noStrike" kern="1200" cap="none" spc="0" normalizeH="0" baseline="0" noProof="0">
                          <a:ln>
                            <a:noFill/>
                          </a:ln>
                          <a:solidFill>
                            <a:schemeClr val="accent5"/>
                          </a:solidFill>
                          <a:effectLst/>
                          <a:uLnTx/>
                          <a:uFillTx/>
                          <a:latin typeface="Apercu"/>
                        </a:rPr>
                        <a:t>Summary</a:t>
                      </a: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accent5"/>
                          </a:solidFill>
                          <a:effectLst/>
                          <a:uLnTx/>
                          <a:uFillTx/>
                          <a:latin typeface="Apercu"/>
                        </a:rPr>
                        <a:t>Operating Model </a:t>
                      </a:r>
                      <a:br>
                        <a:rPr kumimoji="0" lang="en-US" sz="1050" b="0" i="0" u="none" strike="noStrike" kern="1200" cap="none" spc="0" normalizeH="0" baseline="0" noProof="0">
                          <a:ln>
                            <a:noFill/>
                          </a:ln>
                          <a:solidFill>
                            <a:schemeClr val="accent5"/>
                          </a:solidFill>
                          <a:effectLst/>
                          <a:uLnTx/>
                          <a:uFillTx/>
                          <a:latin typeface="Apercu"/>
                        </a:rPr>
                      </a:br>
                      <a:r>
                        <a:rPr kumimoji="0" lang="en-US" sz="1050" b="0" i="0" u="none" strike="noStrike" kern="1200" cap="none" spc="0" normalizeH="0" baseline="0" noProof="0">
                          <a:ln>
                            <a:noFill/>
                          </a:ln>
                          <a:solidFill>
                            <a:schemeClr val="accent5"/>
                          </a:solidFill>
                          <a:effectLst/>
                          <a:uLnTx/>
                          <a:uFillTx/>
                          <a:latin typeface="Apercu"/>
                        </a:rPr>
                        <a:t>&amp; Scope </a:t>
                      </a: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accent5"/>
                          </a:solidFill>
                          <a:effectLst/>
                          <a:uLnTx/>
                          <a:uFillTx/>
                          <a:latin typeface="Apercu"/>
                        </a:rPr>
                        <a:t>Transition </a:t>
                      </a:r>
                      <a:br>
                        <a:rPr kumimoji="0" lang="en-US" sz="1050" b="0" i="0" u="none" strike="noStrike" kern="1200" cap="none" spc="0" normalizeH="0" baseline="0" noProof="0">
                          <a:ln>
                            <a:noFill/>
                          </a:ln>
                          <a:solidFill>
                            <a:schemeClr val="accent5"/>
                          </a:solidFill>
                          <a:effectLst/>
                          <a:uLnTx/>
                          <a:uFillTx/>
                          <a:latin typeface="Apercu"/>
                        </a:rPr>
                      </a:br>
                      <a:r>
                        <a:rPr kumimoji="0" lang="en-US" sz="1050" b="0" i="0" u="none" strike="noStrike" kern="1200" cap="none" spc="0" normalizeH="0" baseline="0" noProof="0">
                          <a:ln>
                            <a:noFill/>
                          </a:ln>
                          <a:solidFill>
                            <a:schemeClr val="accent5"/>
                          </a:solidFill>
                          <a:effectLst/>
                          <a:uLnTx/>
                          <a:uFillTx/>
                          <a:latin typeface="Apercu"/>
                        </a:rPr>
                        <a:t>Approach</a:t>
                      </a: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ercu-Bold"/>
                        </a:rPr>
                        <a:t>Credentials</a:t>
                      </a:r>
                      <a:endParaRPr lang="en-US" sz="1050">
                        <a:solidFill>
                          <a:schemeClr val="tx1"/>
                        </a:solidFill>
                        <a:latin typeface="Apercu-Bold"/>
                      </a:endParaRP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en-US" sz="1050" b="0">
                          <a:solidFill>
                            <a:schemeClr val="accent5"/>
                          </a:solidFill>
                          <a:latin typeface="Apercu-Regular"/>
                        </a:rPr>
                        <a:t>Pricing</a:t>
                      </a:r>
                      <a:endParaRPr lang="en-US" sz="1050">
                        <a:solidFill>
                          <a:schemeClr val="accent5"/>
                        </a:solidFill>
                      </a:endParaRP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accent5"/>
                          </a:solidFill>
                          <a:effectLst/>
                          <a:uLnTx/>
                          <a:uFillTx/>
                          <a:latin typeface="Apercu"/>
                        </a:rPr>
                        <a:t>Thank </a:t>
                      </a:r>
                      <a:br>
                        <a:rPr kumimoji="0" lang="en-US" sz="1050" b="0" i="0" u="none" strike="noStrike" kern="1200" cap="none" spc="0" normalizeH="0" baseline="0" noProof="0">
                          <a:ln>
                            <a:noFill/>
                          </a:ln>
                          <a:solidFill>
                            <a:schemeClr val="accent5"/>
                          </a:solidFill>
                          <a:effectLst/>
                          <a:uLnTx/>
                          <a:uFillTx/>
                          <a:latin typeface="Apercu"/>
                        </a:rPr>
                      </a:br>
                      <a:r>
                        <a:rPr kumimoji="0" lang="en-US" sz="1050" b="0" i="0" u="none" strike="noStrike" kern="1200" cap="none" spc="0" normalizeH="0" baseline="0" noProof="0">
                          <a:ln>
                            <a:noFill/>
                          </a:ln>
                          <a:solidFill>
                            <a:schemeClr val="accent5"/>
                          </a:solidFill>
                          <a:effectLst/>
                          <a:uLnTx/>
                          <a:uFillTx/>
                          <a:latin typeface="Apercu"/>
                        </a:rPr>
                        <a:t>you!</a:t>
                      </a:r>
                    </a:p>
                  </a:txBody>
                  <a:tcPr marL="0" marR="0">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748348301"/>
                  </a:ext>
                </a:extLst>
              </a:tr>
            </a:tbl>
          </a:graphicData>
        </a:graphic>
      </p:graphicFrame>
      <p:pic>
        <p:nvPicPr>
          <p:cNvPr id="19" name="Picture 28" descr="https://chickfila.assetlocker.pica9.com/asset_locker/asset_thumbs/810018.jpg">
            <a:extLst>
              <a:ext uri="{FF2B5EF4-FFF2-40B4-BE49-F238E27FC236}">
                <a16:creationId xmlns:a16="http://schemas.microsoft.com/office/drawing/2014/main" id="{EBE73877-9D1C-4333-A8A0-51717E7B35D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510048" y="6371611"/>
            <a:ext cx="324463" cy="313811"/>
          </a:xfrm>
          <a:prstGeom prst="rect">
            <a:avLst/>
          </a:prstGeom>
          <a:noFill/>
          <a:extLst>
            <a:ext uri="{909E8E84-426E-40DD-AFC4-6F175D3DCCD1}">
              <a14:hiddenFill xmlns:a14="http://schemas.microsoft.com/office/drawing/2010/main">
                <a:solidFill>
                  <a:srgbClr val="FFFFFF"/>
                </a:solidFill>
              </a14:hiddenFill>
            </a:ext>
          </a:extLst>
        </p:spPr>
      </p:pic>
      <p:sp>
        <p:nvSpPr>
          <p:cNvPr id="22" name="L-Shape 21">
            <a:extLst>
              <a:ext uri="{FF2B5EF4-FFF2-40B4-BE49-F238E27FC236}">
                <a16:creationId xmlns:a16="http://schemas.microsoft.com/office/drawing/2014/main" id="{5C978C79-7BDE-45D6-ACF8-37F84BFF09E6}"/>
              </a:ext>
            </a:extLst>
          </p:cNvPr>
          <p:cNvSpPr/>
          <p:nvPr userDrawn="1"/>
        </p:nvSpPr>
        <p:spPr>
          <a:xfrm rot="2700000">
            <a:off x="8219321" y="6468172"/>
            <a:ext cx="128334" cy="128267"/>
          </a:xfrm>
          <a:prstGeom prst="corner">
            <a:avLst>
              <a:gd name="adj1" fmla="val 7767"/>
              <a:gd name="adj2" fmla="val 7281"/>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 name="Rectangle 23">
            <a:hlinkClick r:id="" action="ppaction://hlinkshowjump?jump=previousslide"/>
            <a:extLst>
              <a:ext uri="{FF2B5EF4-FFF2-40B4-BE49-F238E27FC236}">
                <a16:creationId xmlns:a16="http://schemas.microsoft.com/office/drawing/2014/main" id="{EAC73D5A-196E-4907-81FA-1A0A94FC5F1A}"/>
              </a:ext>
            </a:extLst>
          </p:cNvPr>
          <p:cNvSpPr/>
          <p:nvPr userDrawn="1"/>
        </p:nvSpPr>
        <p:spPr>
          <a:xfrm>
            <a:off x="8082752" y="6315643"/>
            <a:ext cx="253770"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3" name="L-Shape 22">
            <a:extLst>
              <a:ext uri="{FF2B5EF4-FFF2-40B4-BE49-F238E27FC236}">
                <a16:creationId xmlns:a16="http://schemas.microsoft.com/office/drawing/2014/main" id="{EF1D5FC3-4496-4001-9D3D-7E68C763EFB8}"/>
              </a:ext>
            </a:extLst>
          </p:cNvPr>
          <p:cNvSpPr/>
          <p:nvPr userDrawn="1"/>
        </p:nvSpPr>
        <p:spPr>
          <a:xfrm rot="13500000">
            <a:off x="8958499" y="6468172"/>
            <a:ext cx="128334" cy="128267"/>
          </a:xfrm>
          <a:prstGeom prst="corner">
            <a:avLst>
              <a:gd name="adj1" fmla="val 7767"/>
              <a:gd name="adj2" fmla="val 7281"/>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 name="Rectangle 24">
            <a:hlinkClick r:id="" action="ppaction://hlinkshowjump?jump=nextslide"/>
            <a:extLst>
              <a:ext uri="{FF2B5EF4-FFF2-40B4-BE49-F238E27FC236}">
                <a16:creationId xmlns:a16="http://schemas.microsoft.com/office/drawing/2014/main" id="{CD0BC677-D528-456A-8087-C7E7D9C1B3F9}"/>
              </a:ext>
            </a:extLst>
          </p:cNvPr>
          <p:cNvSpPr/>
          <p:nvPr userDrawn="1"/>
        </p:nvSpPr>
        <p:spPr>
          <a:xfrm>
            <a:off x="8931968" y="6315643"/>
            <a:ext cx="272095"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8" name="Rectangle 27">
            <a:hlinkClick r:id="rId3" action="ppaction://hlinksldjump"/>
            <a:extLst>
              <a:ext uri="{FF2B5EF4-FFF2-40B4-BE49-F238E27FC236}">
                <a16:creationId xmlns:a16="http://schemas.microsoft.com/office/drawing/2014/main" id="{00A5521E-D0F1-4294-A89F-F0925687F57F}"/>
              </a:ext>
            </a:extLst>
          </p:cNvPr>
          <p:cNvSpPr/>
          <p:nvPr userDrawn="1"/>
        </p:nvSpPr>
        <p:spPr>
          <a:xfrm>
            <a:off x="8477320" y="6315643"/>
            <a:ext cx="389899"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9" name="Footer Placeholder 4">
            <a:extLst>
              <a:ext uri="{FF2B5EF4-FFF2-40B4-BE49-F238E27FC236}">
                <a16:creationId xmlns:a16="http://schemas.microsoft.com/office/drawing/2014/main" id="{6C14FAFE-0A85-4AF5-AB0D-DBFD2DF567FE}"/>
              </a:ext>
            </a:extLst>
          </p:cNvPr>
          <p:cNvSpPr txBox="1">
            <a:spLocks/>
          </p:cNvSpPr>
          <p:nvPr userDrawn="1"/>
        </p:nvSpPr>
        <p:spPr>
          <a:xfrm>
            <a:off x="9285487" y="6301538"/>
            <a:ext cx="1664624" cy="563761"/>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600"/>
              </a:spcAft>
            </a:pPr>
            <a:r>
              <a:rPr lang="en-US" sz="800" b="1">
                <a:solidFill>
                  <a:srgbClr val="49545D"/>
                </a:solidFill>
                <a:latin typeface="Apercu-Bold"/>
              </a:rPr>
              <a:t>[CLIENT] </a:t>
            </a:r>
            <a:br>
              <a:rPr lang="en-US" sz="800" b="1">
                <a:solidFill>
                  <a:srgbClr val="49545D"/>
                </a:solidFill>
                <a:latin typeface="Apercu-Bold"/>
              </a:rPr>
            </a:br>
            <a:r>
              <a:rPr lang="en-US" sz="800" b="1">
                <a:solidFill>
                  <a:srgbClr val="49545D"/>
                </a:solidFill>
                <a:latin typeface="Apercu-Bold"/>
              </a:rPr>
              <a:t>ServiceNow Managed Services RFP</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800">
                <a:solidFill>
                  <a:srgbClr val="49545D"/>
                </a:solidFill>
                <a:latin typeface="Apercu"/>
              </a:rPr>
              <a:t>June 26, 2020 </a:t>
            </a:r>
          </a:p>
        </p:txBody>
      </p:sp>
    </p:spTree>
    <p:extLst>
      <p:ext uri="{BB962C8B-B14F-4D97-AF65-F5344CB8AC3E}">
        <p14:creationId xmlns:p14="http://schemas.microsoft.com/office/powerpoint/2010/main" val="29754448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Tree>
    <p:extLst>
      <p:ext uri="{BB962C8B-B14F-4D97-AF65-F5344CB8AC3E}">
        <p14:creationId xmlns:p14="http://schemas.microsoft.com/office/powerpoint/2010/main" val="12446739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Tree>
    <p:extLst>
      <p:ext uri="{BB962C8B-B14F-4D97-AF65-F5344CB8AC3E}">
        <p14:creationId xmlns:p14="http://schemas.microsoft.com/office/powerpoint/2010/main" val="2851575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Tree>
    <p:extLst>
      <p:ext uri="{BB962C8B-B14F-4D97-AF65-F5344CB8AC3E}">
        <p14:creationId xmlns:p14="http://schemas.microsoft.com/office/powerpoint/2010/main" val="2553739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Tree>
    <p:extLst>
      <p:ext uri="{BB962C8B-B14F-4D97-AF65-F5344CB8AC3E}">
        <p14:creationId xmlns:p14="http://schemas.microsoft.com/office/powerpoint/2010/main" val="38989346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Apercu-Regular"/>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5501302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6_Standard slide_no first level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bg1"/>
                </a:solidFill>
              </a:defRPr>
            </a:lvl1pPr>
            <a:lvl2pPr marL="356437" indent="0">
              <a:buNone/>
              <a:defRPr/>
            </a:lvl2pPr>
          </a:lstStyle>
          <a:p>
            <a:pPr lvl="0"/>
            <a:r>
              <a:rPr lang="en-US"/>
              <a:t>Click to edit Master text styles</a:t>
            </a: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bg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24" name="Group 4">
            <a:extLst>
              <a:ext uri="{FF2B5EF4-FFF2-40B4-BE49-F238E27FC236}">
                <a16:creationId xmlns:a16="http://schemas.microsoft.com/office/drawing/2014/main" id="{081A82D3-3365-4986-B4CE-934925E3B0BE}"/>
              </a:ext>
            </a:extLst>
          </p:cNvPr>
          <p:cNvGrpSpPr>
            <a:grpSpLocks noChangeAspect="1"/>
          </p:cNvGrpSpPr>
          <p:nvPr userDrawn="1"/>
        </p:nvGrpSpPr>
        <p:grpSpPr bwMode="auto">
          <a:xfrm>
            <a:off x="11287125" y="6251575"/>
            <a:ext cx="303213" cy="311150"/>
            <a:chOff x="7110" y="4004"/>
            <a:chExt cx="191" cy="196"/>
          </a:xfrm>
        </p:grpSpPr>
        <p:sp>
          <p:nvSpPr>
            <p:cNvPr id="25" name="Freeform 5">
              <a:extLst>
                <a:ext uri="{FF2B5EF4-FFF2-40B4-BE49-F238E27FC236}">
                  <a16:creationId xmlns:a16="http://schemas.microsoft.com/office/drawing/2014/main" id="{F8B1DD4B-9D15-488C-96A7-C1A7DAE0B6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Freeform 6">
              <a:extLst>
                <a:ext uri="{FF2B5EF4-FFF2-40B4-BE49-F238E27FC236}">
                  <a16:creationId xmlns:a16="http://schemas.microsoft.com/office/drawing/2014/main" id="{B77EBEFA-66B2-4908-8DA4-EC33AC663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7">
              <a:extLst>
                <a:ext uri="{FF2B5EF4-FFF2-40B4-BE49-F238E27FC236}">
                  <a16:creationId xmlns:a16="http://schemas.microsoft.com/office/drawing/2014/main" id="{E1DDC779-3234-4E74-98A3-5788281384F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8" name="Slide Number Placeholder 4">
            <a:extLst>
              <a:ext uri="{FF2B5EF4-FFF2-40B4-BE49-F238E27FC236}">
                <a16:creationId xmlns:a16="http://schemas.microsoft.com/office/drawing/2014/main" id="{370D70C9-82D8-1344-3AE2-648DF77BFA85}"/>
              </a:ext>
            </a:extLst>
          </p:cNvPr>
          <p:cNvSpPr txBox="1">
            <a:spLocks/>
          </p:cNvSpPr>
          <p:nvPr userDrawn="1"/>
        </p:nvSpPr>
        <p:spPr>
          <a:xfrm>
            <a:off x="762000" y="6500128"/>
            <a:ext cx="180000" cy="176400"/>
          </a:xfrm>
          <a:prstGeom prst="rect">
            <a:avLst/>
          </a:prstGeom>
        </p:spPr>
        <p:txBody>
          <a:bodyPr lIns="0" rIns="0"/>
          <a:lstStyle>
            <a:defPPr>
              <a:defRPr lang="en-US"/>
            </a:defPPr>
            <a:lvl1pPr marL="0" algn="ctr" defTabSz="913943"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IE" smtClean="0"/>
              <a:pPr/>
              <a:t>‹#›</a:t>
            </a:fld>
            <a:endParaRPr lang="en-IE"/>
          </a:p>
        </p:txBody>
      </p:sp>
      <p:pic>
        <p:nvPicPr>
          <p:cNvPr id="10" name="Picture 9" descr="A blue and white logo&#10;&#10;Description automatically generated">
            <a:extLst>
              <a:ext uri="{FF2B5EF4-FFF2-40B4-BE49-F238E27FC236}">
                <a16:creationId xmlns:a16="http://schemas.microsoft.com/office/drawing/2014/main" id="{8D23BE18-054F-079C-DFFB-78098F4262F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53458" y="6286556"/>
            <a:ext cx="1201905" cy="339538"/>
          </a:xfrm>
          <a:prstGeom prst="rect">
            <a:avLst/>
          </a:prstGeom>
        </p:spPr>
      </p:pic>
    </p:spTree>
    <p:extLst>
      <p:ext uri="{BB962C8B-B14F-4D97-AF65-F5344CB8AC3E}">
        <p14:creationId xmlns:p14="http://schemas.microsoft.com/office/powerpoint/2010/main" val="4267380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Apercu-Regular"/>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30295676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Apercu-Regular"/>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Apercu-Regular"/>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404601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Apercu-Regular"/>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Apercu-Regular"/>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919821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31219865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Tree>
    <p:extLst>
      <p:ext uri="{BB962C8B-B14F-4D97-AF65-F5344CB8AC3E}">
        <p14:creationId xmlns:p14="http://schemas.microsoft.com/office/powerpoint/2010/main" val="686942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184" y="6471244"/>
            <a:ext cx="1190638" cy="180000"/>
          </a:xfrm>
          <a:prstGeom prst="rect">
            <a:avLst/>
          </a:prstGeom>
        </p:spPr>
        <p:txBody>
          <a:bodyPr/>
          <a:lstStyle>
            <a:lvl1pPr>
              <a:defRPr>
                <a:solidFill>
                  <a:schemeClr val="tx1"/>
                </a:solidFill>
                <a:latin typeface="Apercu-Regular"/>
              </a:defRPr>
            </a:lvl1pPr>
          </a:lstStyle>
          <a:p>
            <a:endParaRPr lang="en-US"/>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7502" y="6471244"/>
            <a:ext cx="3084493" cy="180000"/>
          </a:xfrm>
          <a:prstGeom prst="rect">
            <a:avLst/>
          </a:prstGeom>
        </p:spPr>
        <p:txBody>
          <a:bodyPr/>
          <a:lstStyle>
            <a:lvl1pPr>
              <a:defRPr>
                <a:solidFill>
                  <a:schemeClr val="tx1"/>
                </a:solidFill>
                <a:latin typeface="Apercu-Regular"/>
              </a:defRPr>
            </a:lvl1pPr>
          </a:lstStyle>
          <a:p>
            <a:endParaRPr lang="en-IN"/>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6900" y="6471244"/>
            <a:ext cx="662721" cy="180000"/>
          </a:xfrm>
          <a:prstGeom prst="rect">
            <a:avLst/>
          </a:prstGeom>
        </p:spPr>
        <p:txBody>
          <a:bodyPr/>
          <a:lstStyle>
            <a:lvl1pPr>
              <a:defRPr>
                <a:solidFill>
                  <a:schemeClr val="tx1"/>
                </a:solidFill>
              </a:defRPr>
            </a:lvl1p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28089109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14363587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20012122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25025010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percu-Regular"/>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1771166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Main Cover ">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A577FA4A-4DF0-6B59-4468-550FB9A79C0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3501"/>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B5E9413C-5027-464D-808E-A243865EC0C9}"/>
              </a:ext>
            </a:extLst>
          </p:cNvPr>
          <p:cNvGraphicFramePr>
            <a:graphicFrameLocks noChangeAspect="1"/>
          </p:cNvGraphicFramePr>
          <p:nvPr userDrawn="1">
            <p:custDataLst>
              <p:tags r:id="rId1"/>
            </p:custDataLst>
            <p:extLst>
              <p:ext uri="{D42A27DB-BD31-4B8C-83A1-F6EECF244321}">
                <p14:modId xmlns:p14="http://schemas.microsoft.com/office/powerpoint/2010/main" val="402831478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B5E9413C-5027-464D-808E-A243865EC0C9}"/>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FF4AE5-DB33-4F65-A8DB-5E7745300C21}"/>
              </a:ext>
            </a:extLst>
          </p:cNvPr>
          <p:cNvSpPr/>
          <p:nvPr userDrawn="1">
            <p:custDataLst>
              <p:tags r:id="rId2"/>
            </p:custDataLst>
          </p:nvPr>
        </p:nvSpPr>
        <p:spPr bwMode="auto">
          <a:xfrm>
            <a:off x="0" y="0"/>
            <a:ext cx="158667" cy="15875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wrap="none" lIns="0" tIns="0" rIns="0" bIns="0" numCol="1" spcCol="0" rtlCol="0" anchor="ctr" anchorCtr="0">
            <a:noAutofit/>
          </a:bodyPr>
          <a:lstStyle/>
          <a:p>
            <a:pPr marL="0" lvl="0" indent="0" algn="ctr"/>
            <a:endParaRPr lang="en-US" sz="2999" b="0" i="0" baseline="0">
              <a:solidFill>
                <a:schemeClr val="tx2"/>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userDrawn="1">
            <p:ph type="ctrTitle"/>
          </p:nvPr>
        </p:nvSpPr>
        <p:spPr>
          <a:xfrm>
            <a:off x="775100" y="1954221"/>
            <a:ext cx="4326679" cy="627054"/>
          </a:xfrm>
        </p:spPr>
        <p:txBody>
          <a:bodyPr anchor="t"/>
          <a:lstStyle>
            <a:lvl1pPr>
              <a:defRPr sz="4400" b="0">
                <a:solidFill>
                  <a:srgbClr val="2E2E38"/>
                </a:solidFill>
                <a:latin typeface="EYInterstate Light" panose="02000506000000020004" pitchFamily="2" charset="0"/>
                <a:cs typeface="Arial" pitchFamily="34" charset="0"/>
              </a:defRPr>
            </a:lvl1pPr>
          </a:lstStyle>
          <a:p>
            <a:r>
              <a:rPr lang="en-US"/>
              <a:t>Click to edit</a:t>
            </a:r>
            <a:endParaRPr lang="en-GB"/>
          </a:p>
        </p:txBody>
      </p:sp>
      <p:sp>
        <p:nvSpPr>
          <p:cNvPr id="12" name="Subtitle 2"/>
          <p:cNvSpPr>
            <a:spLocks noGrp="1"/>
          </p:cNvSpPr>
          <p:nvPr userDrawn="1">
            <p:ph type="subTitle" idx="1"/>
          </p:nvPr>
        </p:nvSpPr>
        <p:spPr>
          <a:xfrm>
            <a:off x="775100" y="2743201"/>
            <a:ext cx="4326679" cy="1349282"/>
          </a:xfrm>
        </p:spPr>
        <p:txBody>
          <a:bodyPr/>
          <a:lstStyle>
            <a:lvl1pPr marL="0" indent="0" algn="l">
              <a:spcAft>
                <a:spcPts val="1199"/>
              </a:spcAft>
              <a:buNone/>
              <a:defRPr sz="2000">
                <a:solidFill>
                  <a:srgbClr val="2E2E38"/>
                </a:solidFill>
                <a:latin typeface="EYInterstate" panose="02000503020000020004" pitchFamily="2" charset="0"/>
                <a:cs typeface="Arial" pitchFamily="34" charset="0"/>
              </a:defRPr>
            </a:lvl1pPr>
            <a:lvl2pPr marL="0" indent="0" algn="l">
              <a:buNone/>
              <a:defRPr sz="1599" b="1">
                <a:solidFill>
                  <a:srgbClr val="000000"/>
                </a:solidFill>
                <a:latin typeface="EYInterstate" panose="02000503020000020004" pitchFamily="2" charset="0"/>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p>
        </p:txBody>
      </p:sp>
      <p:grpSp>
        <p:nvGrpSpPr>
          <p:cNvPr id="13" name="Group 4">
            <a:extLst>
              <a:ext uri="{FF2B5EF4-FFF2-40B4-BE49-F238E27FC236}">
                <a16:creationId xmlns:a16="http://schemas.microsoft.com/office/drawing/2014/main" id="{6DF86A81-5B79-4FAE-9CAE-C15B0B8A1634}"/>
              </a:ext>
            </a:extLst>
          </p:cNvPr>
          <p:cNvGrpSpPr>
            <a:grpSpLocks noChangeAspect="1"/>
          </p:cNvGrpSpPr>
          <p:nvPr userDrawn="1"/>
        </p:nvGrpSpPr>
        <p:grpSpPr bwMode="auto">
          <a:xfrm>
            <a:off x="10599649" y="5285049"/>
            <a:ext cx="990690" cy="1160083"/>
            <a:chOff x="6529" y="3125"/>
            <a:chExt cx="772" cy="904"/>
          </a:xfrm>
        </p:grpSpPr>
        <p:sp>
          <p:nvSpPr>
            <p:cNvPr id="14" name="Freeform 5">
              <a:extLst>
                <a:ext uri="{FF2B5EF4-FFF2-40B4-BE49-F238E27FC236}">
                  <a16:creationId xmlns:a16="http://schemas.microsoft.com/office/drawing/2014/main" id="{9CAF10AA-3509-4F97-B831-5697F1CB467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15" name="Freeform 6">
              <a:extLst>
                <a:ext uri="{FF2B5EF4-FFF2-40B4-BE49-F238E27FC236}">
                  <a16:creationId xmlns:a16="http://schemas.microsoft.com/office/drawing/2014/main" id="{49900E63-E15F-4BE0-AADB-EF73FB03290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145151688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21787166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1361917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129750243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407196967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2134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a:xfrm>
            <a:off x="1428184" y="6471244"/>
            <a:ext cx="1190638" cy="180000"/>
          </a:xfrm>
          <a:prstGeom prst="rect">
            <a:avLst/>
          </a:prstGeom>
        </p:spPr>
        <p:txBody>
          <a:bodyPr/>
          <a:lstStyle>
            <a:lvl1pPr>
              <a:defRPr>
                <a:latin typeface="Apercu-Regular"/>
              </a:defRPr>
            </a:lvl1pPr>
          </a:lstStyle>
          <a:p>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a:xfrm>
            <a:off x="3237502" y="6471244"/>
            <a:ext cx="3084493" cy="180000"/>
          </a:xfrm>
          <a:prstGeom prst="rect">
            <a:avLst/>
          </a:prstGeom>
        </p:spPr>
        <p:txBody>
          <a:bodyPr/>
          <a:lstStyle>
            <a:lvl1pPr>
              <a:defRPr>
                <a:latin typeface="Apercu-Regular"/>
              </a:defRPr>
            </a:lvl1pPr>
          </a:lstStyle>
          <a:p>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a:xfrm>
            <a:off x="616900" y="6471244"/>
            <a:ext cx="662721" cy="180000"/>
          </a:xfrm>
          <a:prstGeom prst="rect">
            <a:avLst/>
          </a:prstGeom>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Tree>
    <p:extLst>
      <p:ext uri="{BB962C8B-B14F-4D97-AF65-F5344CB8AC3E}">
        <p14:creationId xmlns:p14="http://schemas.microsoft.com/office/powerpoint/2010/main" val="14626699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3294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percu-Regular"/>
            </a:endParaRPr>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Apercu-Regular"/>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grpSp>
    </p:spTree>
    <p:extLst>
      <p:ext uri="{BB962C8B-B14F-4D97-AF65-F5344CB8AC3E}">
        <p14:creationId xmlns:p14="http://schemas.microsoft.com/office/powerpoint/2010/main" val="305837057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6297" y="476097"/>
            <a:ext cx="11046105" cy="590400"/>
          </a:xfrm>
        </p:spPr>
        <p:txBody>
          <a:bodyPr/>
          <a:lstStyle>
            <a:lvl1pPr>
              <a:defRPr sz="2399">
                <a:solidFill>
                  <a:schemeClr val="bg1"/>
                </a:solidFill>
              </a:defRPr>
            </a:lvl1pPr>
          </a:lstStyle>
          <a:p>
            <a:r>
              <a:rPr lang="en-US"/>
              <a:t>Standard slide</a:t>
            </a:r>
            <a:endParaRPr lang="en-GB"/>
          </a:p>
        </p:txBody>
      </p:sp>
      <p:sp>
        <p:nvSpPr>
          <p:cNvPr id="7" name="Date Placeholder 2">
            <a:extLst>
              <a:ext uri="{FF2B5EF4-FFF2-40B4-BE49-F238E27FC236}">
                <a16:creationId xmlns:a16="http://schemas.microsoft.com/office/drawing/2014/main" id="{7E32AAE6-A1D7-42CE-838D-AE84D2CE668C}"/>
              </a:ext>
            </a:extLst>
          </p:cNvPr>
          <p:cNvSpPr>
            <a:spLocks noGrp="1"/>
          </p:cNvSpPr>
          <p:nvPr>
            <p:ph type="dt" sz="half" idx="19"/>
          </p:nvPr>
        </p:nvSpPr>
        <p:spPr>
          <a:xfrm>
            <a:off x="3088074" y="6471244"/>
            <a:ext cx="1190638" cy="180000"/>
          </a:xfrm>
        </p:spPr>
        <p:txBody>
          <a:bodyPr/>
          <a:lstStyle>
            <a:lvl1pPr>
              <a:defRPr>
                <a:latin typeface="Apercu-Regular"/>
              </a:defRPr>
            </a:lvl1pPr>
          </a:lstStyle>
          <a:p>
            <a:endParaRPr lang="en-IN"/>
          </a:p>
        </p:txBody>
      </p:sp>
      <p:sp>
        <p:nvSpPr>
          <p:cNvPr id="3" name="Slide Number Placeholder 2">
            <a:extLst>
              <a:ext uri="{FF2B5EF4-FFF2-40B4-BE49-F238E27FC236}">
                <a16:creationId xmlns:a16="http://schemas.microsoft.com/office/drawing/2014/main" id="{E3A872DF-FF9E-4DD9-80AA-6212BBB76AA7}"/>
              </a:ext>
            </a:extLst>
          </p:cNvPr>
          <p:cNvSpPr>
            <a:spLocks noGrp="1"/>
          </p:cNvSpPr>
          <p:nvPr>
            <p:ph type="sldNum" sz="quarter" idx="20"/>
          </p:nvPr>
        </p:nvSpPr>
        <p:spPr/>
        <p:txBody>
          <a:bodyPr/>
          <a:lstStyle/>
          <a:p>
            <a:r>
              <a:rPr lang="en-IN">
                <a:latin typeface="Apercu-Regular"/>
              </a:rPr>
              <a:t>Page </a:t>
            </a:r>
            <a:fld id="{F1BC30E3-FFE5-4B91-AA19-87A149EBB9EE}" type="slidenum">
              <a:rPr smtClean="0">
                <a:latin typeface="Apercu-Regular"/>
              </a:rPr>
              <a:pPr/>
              <a:t>‹#›</a:t>
            </a:fld>
            <a:endParaRPr>
              <a:latin typeface="Apercu-Regular"/>
            </a:endParaRPr>
          </a:p>
        </p:txBody>
      </p:sp>
      <p:sp>
        <p:nvSpPr>
          <p:cNvPr id="6" name="Line 10">
            <a:extLst>
              <a:ext uri="{FF2B5EF4-FFF2-40B4-BE49-F238E27FC236}">
                <a16:creationId xmlns:a16="http://schemas.microsoft.com/office/drawing/2014/main" id="{07E26922-A33C-4191-8E2B-AF4AB14B5936}"/>
              </a:ext>
            </a:extLst>
          </p:cNvPr>
          <p:cNvSpPr>
            <a:spLocks noChangeShapeType="1"/>
          </p:cNvSpPr>
          <p:nvPr userDrawn="1"/>
        </p:nvSpPr>
        <p:spPr bwMode="auto">
          <a:xfrm>
            <a:off x="536296" y="1083445"/>
            <a:ext cx="110461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noProof="0">
              <a:solidFill>
                <a:schemeClr val="bg1"/>
              </a:solidFill>
              <a:latin typeface="Apercu-Regular"/>
            </a:endParaRPr>
          </a:p>
        </p:txBody>
      </p:sp>
    </p:spTree>
    <p:extLst>
      <p:ext uri="{BB962C8B-B14F-4D97-AF65-F5344CB8AC3E}">
        <p14:creationId xmlns:p14="http://schemas.microsoft.com/office/powerpoint/2010/main" val="20263422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only, no line">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22FC1EB3-2831-4D2A-AE94-DC872CC08811}"/>
              </a:ext>
            </a:extLst>
          </p:cNvPr>
          <p:cNvSpPr txBox="1">
            <a:spLocks/>
          </p:cNvSpPr>
          <p:nvPr userDrawn="1"/>
        </p:nvSpPr>
        <p:spPr>
          <a:xfrm>
            <a:off x="616902" y="6471244"/>
            <a:ext cx="662721"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a:solidFill>
                  <a:schemeClr val="bg1"/>
                </a:solidFill>
              </a:rPr>
              <a:t>Page </a:t>
            </a:r>
            <a:fld id="{F1BC30E3-FFE5-4B91-AA19-87A149EBB9EE}" type="slidenum">
              <a:rPr sz="800" smtClean="0">
                <a:solidFill>
                  <a:schemeClr val="bg1"/>
                </a:solidFill>
              </a:rPr>
              <a:pPr/>
              <a:t>‹#›</a:t>
            </a:fld>
            <a:endParaRPr sz="800">
              <a:solidFill>
                <a:schemeClr val="bg1"/>
              </a:solidFill>
            </a:endParaRPr>
          </a:p>
        </p:txBody>
      </p:sp>
      <p:grpSp>
        <p:nvGrpSpPr>
          <p:cNvPr id="14" name="Group 13">
            <a:extLst>
              <a:ext uri="{FF2B5EF4-FFF2-40B4-BE49-F238E27FC236}">
                <a16:creationId xmlns:a16="http://schemas.microsoft.com/office/drawing/2014/main" id="{F68129F7-BC85-4730-9977-8E84AC314DBB}"/>
              </a:ext>
            </a:extLst>
          </p:cNvPr>
          <p:cNvGrpSpPr/>
          <p:nvPr userDrawn="1"/>
        </p:nvGrpSpPr>
        <p:grpSpPr>
          <a:xfrm>
            <a:off x="11281251" y="6356351"/>
            <a:ext cx="303055" cy="311151"/>
            <a:chOff x="11287126" y="6356350"/>
            <a:chExt cx="303213" cy="311151"/>
          </a:xfrm>
        </p:grpSpPr>
        <p:sp>
          <p:nvSpPr>
            <p:cNvPr id="15" name="Freeform 5">
              <a:extLst>
                <a:ext uri="{FF2B5EF4-FFF2-40B4-BE49-F238E27FC236}">
                  <a16:creationId xmlns:a16="http://schemas.microsoft.com/office/drawing/2014/main" id="{371F2184-86D4-4D88-8E2A-A4684369D51C}"/>
                </a:ext>
              </a:extLst>
            </p:cNvPr>
            <p:cNvSpPr>
              <a:spLocks/>
            </p:cNvSpPr>
            <p:nvPr/>
          </p:nvSpPr>
          <p:spPr bwMode="auto">
            <a:xfrm>
              <a:off x="11287126" y="6356350"/>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IN" sz="1798"/>
            </a:p>
          </p:txBody>
        </p:sp>
        <p:sp>
          <p:nvSpPr>
            <p:cNvPr id="16" name="Freeform 6">
              <a:extLst>
                <a:ext uri="{FF2B5EF4-FFF2-40B4-BE49-F238E27FC236}">
                  <a16:creationId xmlns:a16="http://schemas.microsoft.com/office/drawing/2014/main" id="{806AABF6-0877-44FC-9EF8-78E1D598DEF0}"/>
                </a:ext>
              </a:extLst>
            </p:cNvPr>
            <p:cNvSpPr>
              <a:spLocks/>
            </p:cNvSpPr>
            <p:nvPr/>
          </p:nvSpPr>
          <p:spPr bwMode="auto">
            <a:xfrm>
              <a:off x="11288714" y="6513513"/>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p>
          </p:txBody>
        </p:sp>
        <p:sp>
          <p:nvSpPr>
            <p:cNvPr id="17" name="Freeform 7">
              <a:extLst>
                <a:ext uri="{FF2B5EF4-FFF2-40B4-BE49-F238E27FC236}">
                  <a16:creationId xmlns:a16="http://schemas.microsoft.com/office/drawing/2014/main" id="{CDED58B6-79D5-4FB7-B546-F894A6C8C827}"/>
                </a:ext>
              </a:extLst>
            </p:cNvPr>
            <p:cNvSpPr>
              <a:spLocks/>
            </p:cNvSpPr>
            <p:nvPr/>
          </p:nvSpPr>
          <p:spPr bwMode="auto">
            <a:xfrm>
              <a:off x="11391901" y="6513513"/>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3918241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Cover Letter">
    <p:spTree>
      <p:nvGrpSpPr>
        <p:cNvPr id="1" name=""/>
        <p:cNvGrpSpPr/>
        <p:nvPr/>
      </p:nvGrpSpPr>
      <p:grpSpPr>
        <a:xfrm>
          <a:off x="0" y="0"/>
          <a:ext cx="0" cy="0"/>
          <a:chOff x="0" y="0"/>
          <a:chExt cx="0" cy="0"/>
        </a:xfrm>
      </p:grpSpPr>
      <p:sp>
        <p:nvSpPr>
          <p:cNvPr id="55" name="Rectangle 54"/>
          <p:cNvSpPr/>
          <p:nvPr userDrawn="1"/>
        </p:nvSpPr>
        <p:spPr bwMode="auto">
          <a:xfrm>
            <a:off x="9826014" y="0"/>
            <a:ext cx="2365987" cy="68580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none" lIns="48950" tIns="48950" rIns="48950" bIns="48950" numCol="1" spcCol="0" rtlCol="0" fromWordArt="0" anchor="ctr" anchorCtr="0" forceAA="0" compatLnSpc="1">
            <a:prstTxWarp prst="textNoShape">
              <a:avLst/>
            </a:prstTxWarp>
            <a:noAutofit/>
          </a:bodyPr>
          <a:lstStyle/>
          <a:p>
            <a:pPr algn="ctr" defTabSz="902362" fontAlgn="base">
              <a:spcBef>
                <a:spcPct val="0"/>
              </a:spcBef>
              <a:spcAft>
                <a:spcPct val="0"/>
              </a:spcAft>
            </a:pPr>
            <a:endParaRPr lang="en-AU" sz="907">
              <a:solidFill>
                <a:srgbClr val="646464"/>
              </a:solidFill>
              <a:latin typeface="EYInterstate Light"/>
              <a:cs typeface="Arial" charset="0"/>
            </a:endParaRPr>
          </a:p>
        </p:txBody>
      </p:sp>
      <p:sp>
        <p:nvSpPr>
          <p:cNvPr id="7" name="TextBox 6">
            <a:extLst>
              <a:ext uri="{FF2B5EF4-FFF2-40B4-BE49-F238E27FC236}">
                <a16:creationId xmlns:a16="http://schemas.microsoft.com/office/drawing/2014/main" id="{A2DE81F2-2773-4AA3-949D-229F2100F9E8}"/>
              </a:ext>
            </a:extLst>
          </p:cNvPr>
          <p:cNvSpPr txBox="1"/>
          <p:nvPr userDrawn="1"/>
        </p:nvSpPr>
        <p:spPr>
          <a:xfrm>
            <a:off x="2155684" y="535624"/>
            <a:ext cx="1299562" cy="688522"/>
          </a:xfrm>
          <a:prstGeom prst="rect">
            <a:avLst/>
          </a:prstGeom>
          <a:noFill/>
        </p:spPr>
        <p:txBody>
          <a:bodyPr wrap="square" lIns="0" tIns="0" rIns="0" bIns="0" rtlCol="0">
            <a:spAutoFit/>
          </a:bodyPr>
          <a:lstStyle/>
          <a:p>
            <a:pPr>
              <a:lnSpc>
                <a:spcPct val="94000"/>
              </a:lnSpc>
            </a:pPr>
            <a:r>
              <a:rPr lang="en-IE" sz="680" kern="750" spc="-9">
                <a:solidFill>
                  <a:srgbClr val="747480"/>
                </a:solidFill>
                <a:latin typeface="EYInterstate Light" pitchFamily="2" charset="0"/>
              </a:rPr>
              <a:t>Ernst &amp; Young</a:t>
            </a:r>
          </a:p>
          <a:p>
            <a:pPr>
              <a:lnSpc>
                <a:spcPct val="94000"/>
              </a:lnSpc>
            </a:pPr>
            <a:r>
              <a:rPr lang="en-IE" sz="680" kern="750" spc="-9">
                <a:solidFill>
                  <a:srgbClr val="747480"/>
                </a:solidFill>
                <a:latin typeface="EYInterstate Light" pitchFamily="2" charset="0"/>
              </a:rPr>
              <a:t>Business Advisory Services</a:t>
            </a:r>
          </a:p>
          <a:p>
            <a:pPr>
              <a:lnSpc>
                <a:spcPct val="94000"/>
              </a:lnSpc>
            </a:pPr>
            <a:r>
              <a:rPr lang="en-IE" sz="680" kern="750" spc="-9">
                <a:solidFill>
                  <a:srgbClr val="747480"/>
                </a:solidFill>
                <a:latin typeface="EYInterstate Light" pitchFamily="2" charset="0"/>
              </a:rPr>
              <a:t>Harcourt Centre</a:t>
            </a:r>
          </a:p>
          <a:p>
            <a:pPr>
              <a:lnSpc>
                <a:spcPct val="94000"/>
              </a:lnSpc>
            </a:pPr>
            <a:r>
              <a:rPr lang="en-IE" sz="680" kern="750" spc="-9">
                <a:solidFill>
                  <a:srgbClr val="747480"/>
                </a:solidFill>
                <a:latin typeface="EYInterstate Light" pitchFamily="2" charset="0"/>
              </a:rPr>
              <a:t>Harcourt Street</a:t>
            </a:r>
          </a:p>
          <a:p>
            <a:pPr>
              <a:lnSpc>
                <a:spcPct val="94000"/>
              </a:lnSpc>
            </a:pPr>
            <a:r>
              <a:rPr lang="en-IE" sz="680" kern="750" spc="-9">
                <a:solidFill>
                  <a:srgbClr val="747480"/>
                </a:solidFill>
                <a:latin typeface="EYInterstate Light" pitchFamily="2" charset="0"/>
              </a:rPr>
              <a:t>Dublin 2</a:t>
            </a:r>
          </a:p>
          <a:p>
            <a:pPr>
              <a:lnSpc>
                <a:spcPct val="94000"/>
              </a:lnSpc>
            </a:pPr>
            <a:r>
              <a:rPr lang="en-IE" sz="680" kern="750" spc="-9">
                <a:solidFill>
                  <a:srgbClr val="747480"/>
                </a:solidFill>
                <a:latin typeface="EYInterstate Light" pitchFamily="2" charset="0"/>
              </a:rPr>
              <a:t>D02 YA40</a:t>
            </a:r>
          </a:p>
          <a:p>
            <a:pPr>
              <a:lnSpc>
                <a:spcPct val="94000"/>
              </a:lnSpc>
            </a:pPr>
            <a:r>
              <a:rPr lang="en-IE" sz="680" kern="750" spc="-9">
                <a:solidFill>
                  <a:srgbClr val="747480"/>
                </a:solidFill>
                <a:latin typeface="EYInterstate Light" pitchFamily="2" charset="0"/>
              </a:rPr>
              <a:t>Ireland</a:t>
            </a:r>
          </a:p>
        </p:txBody>
      </p:sp>
      <p:sp>
        <p:nvSpPr>
          <p:cNvPr id="8" name="TextBox 7">
            <a:extLst>
              <a:ext uri="{FF2B5EF4-FFF2-40B4-BE49-F238E27FC236}">
                <a16:creationId xmlns:a16="http://schemas.microsoft.com/office/drawing/2014/main" id="{4C145E83-BBC7-4CFB-9E86-889307B69726}"/>
              </a:ext>
            </a:extLst>
          </p:cNvPr>
          <p:cNvSpPr txBox="1"/>
          <p:nvPr userDrawn="1"/>
        </p:nvSpPr>
        <p:spPr>
          <a:xfrm>
            <a:off x="3455247" y="535623"/>
            <a:ext cx="1716100" cy="295081"/>
          </a:xfrm>
          <a:prstGeom prst="rect">
            <a:avLst/>
          </a:prstGeom>
          <a:noFill/>
        </p:spPr>
        <p:txBody>
          <a:bodyPr wrap="square" lIns="0" tIns="0" rIns="0" bIns="0" rtlCol="0">
            <a:spAutoFit/>
          </a:bodyPr>
          <a:lstStyle/>
          <a:p>
            <a:pPr>
              <a:lnSpc>
                <a:spcPct val="94000"/>
              </a:lnSpc>
            </a:pPr>
            <a:r>
              <a:rPr lang="pt-BR" sz="680" kern="750" spc="-9">
                <a:solidFill>
                  <a:srgbClr val="747480"/>
                </a:solidFill>
                <a:latin typeface="EYInterstate Light" pitchFamily="2" charset="0"/>
              </a:rPr>
              <a:t>Tel: + 353 1 475 0555</a:t>
            </a:r>
          </a:p>
          <a:p>
            <a:pPr>
              <a:lnSpc>
                <a:spcPct val="94000"/>
              </a:lnSpc>
            </a:pPr>
            <a:r>
              <a:rPr lang="pt-BR" sz="680" kern="750" spc="-9">
                <a:solidFill>
                  <a:srgbClr val="747480"/>
                </a:solidFill>
                <a:latin typeface="EYInterstate Light" pitchFamily="2" charset="0"/>
              </a:rPr>
              <a:t>Fax: + 353 1 475 0599</a:t>
            </a:r>
          </a:p>
          <a:p>
            <a:pPr>
              <a:lnSpc>
                <a:spcPct val="94000"/>
              </a:lnSpc>
            </a:pPr>
            <a:r>
              <a:rPr lang="pt-BR" sz="680" kern="750" spc="-9">
                <a:solidFill>
                  <a:srgbClr val="747480"/>
                </a:solidFill>
                <a:latin typeface="EYInterstate Light" pitchFamily="2" charset="0"/>
              </a:rPr>
              <a:t>ey.com</a:t>
            </a:r>
          </a:p>
        </p:txBody>
      </p:sp>
      <p:pic>
        <p:nvPicPr>
          <p:cNvPr id="9" name="Picture 8">
            <a:extLst>
              <a:ext uri="{FF2B5EF4-FFF2-40B4-BE49-F238E27FC236}">
                <a16:creationId xmlns:a16="http://schemas.microsoft.com/office/drawing/2014/main" id="{0C521DB5-7176-40C7-B2F5-FA8808D6E5EC}"/>
              </a:ext>
            </a:extLst>
          </p:cNvPr>
          <p:cNvPicPr>
            <a:picLocks noChangeAspect="1"/>
          </p:cNvPicPr>
          <p:nvPr userDrawn="1"/>
        </p:nvPicPr>
        <p:blipFill>
          <a:blip r:embed="rId2"/>
          <a:stretch>
            <a:fillRect/>
          </a:stretch>
        </p:blipFill>
        <p:spPr>
          <a:xfrm>
            <a:off x="678074" y="235642"/>
            <a:ext cx="707583" cy="840141"/>
          </a:xfrm>
          <a:prstGeom prst="rect">
            <a:avLst/>
          </a:prstGeom>
        </p:spPr>
      </p:pic>
      <p:sp>
        <p:nvSpPr>
          <p:cNvPr id="10" name="Rectangle 9">
            <a:extLst>
              <a:ext uri="{FF2B5EF4-FFF2-40B4-BE49-F238E27FC236}">
                <a16:creationId xmlns:a16="http://schemas.microsoft.com/office/drawing/2014/main" id="{CC56722B-518C-4F16-A5D7-A5E43A734D37}"/>
              </a:ext>
            </a:extLst>
          </p:cNvPr>
          <p:cNvSpPr/>
          <p:nvPr userDrawn="1"/>
        </p:nvSpPr>
        <p:spPr>
          <a:xfrm>
            <a:off x="684173" y="6169752"/>
            <a:ext cx="8658235" cy="293157"/>
          </a:xfrm>
          <a:prstGeom prst="rect">
            <a:avLst/>
          </a:prstGeom>
        </p:spPr>
        <p:txBody>
          <a:bodyPr wrap="square" lIns="0" tIns="0" rIns="0" bIns="0">
            <a:spAutoFit/>
          </a:bodyPr>
          <a:lstStyle/>
          <a:p>
            <a:pPr>
              <a:lnSpc>
                <a:spcPct val="100000"/>
              </a:lnSpc>
            </a:pPr>
            <a:r>
              <a:rPr lang="en-IE" sz="635" spc="-9">
                <a:solidFill>
                  <a:srgbClr val="747480"/>
                </a:solidFill>
                <a:latin typeface="EYInterstate Light" pitchFamily="2" charset="0"/>
              </a:rPr>
              <a:t>D Buckley, D Dennis, M Gageby, J Hannigan, S MacAllister, S MacSweeney, B McCarthy, D McSwiney, J Maher, A Meagher, M Moroney, I O’Brien, F O’Dea, E O’Reilly, M Rooney, C Ryan, P Traynor, A Walsh, R Walsh.</a:t>
            </a:r>
          </a:p>
          <a:p>
            <a:pPr>
              <a:lnSpc>
                <a:spcPct val="100000"/>
              </a:lnSpc>
            </a:pPr>
            <a:endParaRPr lang="en-IE" sz="635" spc="-9">
              <a:solidFill>
                <a:srgbClr val="747480"/>
              </a:solidFill>
              <a:latin typeface="EYInterstate Light" pitchFamily="2" charset="0"/>
            </a:endParaRPr>
          </a:p>
          <a:p>
            <a:pPr>
              <a:lnSpc>
                <a:spcPct val="100000"/>
              </a:lnSpc>
            </a:pPr>
            <a:r>
              <a:rPr lang="en-IE" sz="635" spc="-9">
                <a:solidFill>
                  <a:srgbClr val="747480"/>
                </a:solidFill>
                <a:latin typeface="EYInterstate Light" pitchFamily="2" charset="0"/>
              </a:rPr>
              <a:t>The Irish firm Ernst &amp; Young is a member practice of Ernst &amp; Young Global Limited. It is authorised by the Institute of Chartered Accountants in Ireland to carry on investment business in the Republic of Ireland.</a:t>
            </a:r>
          </a:p>
        </p:txBody>
      </p:sp>
    </p:spTree>
    <p:extLst>
      <p:ext uri="{BB962C8B-B14F-4D97-AF65-F5344CB8AC3E}">
        <p14:creationId xmlns:p14="http://schemas.microsoft.com/office/powerpoint/2010/main" val="34440518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Main Cover ">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A577FA4A-4DF0-6B59-4468-550FB9A79C0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3501"/>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B5E9413C-5027-464D-808E-A243865EC0C9}"/>
              </a:ext>
            </a:extLst>
          </p:cNvPr>
          <p:cNvGraphicFramePr>
            <a:graphicFrameLocks noChangeAspect="1"/>
          </p:cNvGraphicFramePr>
          <p:nvPr userDrawn="1">
            <p:custDataLst>
              <p:tags r:id="rId1"/>
            </p:custDataLst>
            <p:extLst>
              <p:ext uri="{D42A27DB-BD31-4B8C-83A1-F6EECF244321}">
                <p14:modId xmlns:p14="http://schemas.microsoft.com/office/powerpoint/2010/main" val="402831478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B5E9413C-5027-464D-808E-A243865EC0C9}"/>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FF4AE5-DB33-4F65-A8DB-5E7745300C21}"/>
              </a:ext>
            </a:extLst>
          </p:cNvPr>
          <p:cNvSpPr/>
          <p:nvPr userDrawn="1">
            <p:custDataLst>
              <p:tags r:id="rId2"/>
            </p:custDataLst>
          </p:nvPr>
        </p:nvSpPr>
        <p:spPr bwMode="auto">
          <a:xfrm>
            <a:off x="0" y="0"/>
            <a:ext cx="158667" cy="15875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wrap="none" lIns="0" tIns="0" rIns="0" bIns="0" numCol="1" spcCol="0" rtlCol="0" anchor="ctr" anchorCtr="0">
            <a:noAutofit/>
          </a:bodyPr>
          <a:lstStyle/>
          <a:p>
            <a:pPr marL="0" lvl="0" indent="0" algn="ctr"/>
            <a:endParaRPr lang="en-US" sz="2999" b="0" i="0" baseline="0">
              <a:solidFill>
                <a:schemeClr val="tx2"/>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userDrawn="1">
            <p:ph type="ctrTitle"/>
          </p:nvPr>
        </p:nvSpPr>
        <p:spPr>
          <a:xfrm>
            <a:off x="775100" y="1954221"/>
            <a:ext cx="4326679" cy="627054"/>
          </a:xfrm>
        </p:spPr>
        <p:txBody>
          <a:bodyPr anchor="t"/>
          <a:lstStyle>
            <a:lvl1pPr>
              <a:defRPr sz="4400" b="0">
                <a:solidFill>
                  <a:srgbClr val="2E2E38"/>
                </a:solidFill>
                <a:latin typeface="EYInterstate Light" panose="02000506000000020004" pitchFamily="2" charset="0"/>
                <a:cs typeface="Arial" pitchFamily="34" charset="0"/>
              </a:defRPr>
            </a:lvl1pPr>
          </a:lstStyle>
          <a:p>
            <a:r>
              <a:rPr lang="en-US"/>
              <a:t>Click to edit</a:t>
            </a:r>
            <a:endParaRPr lang="en-GB"/>
          </a:p>
        </p:txBody>
      </p:sp>
      <p:sp>
        <p:nvSpPr>
          <p:cNvPr id="12" name="Subtitle 2"/>
          <p:cNvSpPr>
            <a:spLocks noGrp="1"/>
          </p:cNvSpPr>
          <p:nvPr userDrawn="1">
            <p:ph type="subTitle" idx="1"/>
          </p:nvPr>
        </p:nvSpPr>
        <p:spPr>
          <a:xfrm>
            <a:off x="775100" y="2743201"/>
            <a:ext cx="4326679" cy="1349282"/>
          </a:xfrm>
        </p:spPr>
        <p:txBody>
          <a:bodyPr/>
          <a:lstStyle>
            <a:lvl1pPr marL="0" indent="0" algn="l">
              <a:spcAft>
                <a:spcPts val="1199"/>
              </a:spcAft>
              <a:buNone/>
              <a:defRPr sz="2000">
                <a:solidFill>
                  <a:srgbClr val="2E2E38"/>
                </a:solidFill>
                <a:latin typeface="EYInterstate" panose="02000503020000020004" pitchFamily="2" charset="0"/>
                <a:cs typeface="Arial" pitchFamily="34" charset="0"/>
              </a:defRPr>
            </a:lvl1pPr>
            <a:lvl2pPr marL="0" indent="0" algn="l">
              <a:buNone/>
              <a:defRPr sz="1599" b="1">
                <a:solidFill>
                  <a:srgbClr val="000000"/>
                </a:solidFill>
                <a:latin typeface="EYInterstate" panose="02000503020000020004" pitchFamily="2" charset="0"/>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p>
        </p:txBody>
      </p:sp>
      <p:grpSp>
        <p:nvGrpSpPr>
          <p:cNvPr id="13" name="Group 4">
            <a:extLst>
              <a:ext uri="{FF2B5EF4-FFF2-40B4-BE49-F238E27FC236}">
                <a16:creationId xmlns:a16="http://schemas.microsoft.com/office/drawing/2014/main" id="{6DF86A81-5B79-4FAE-9CAE-C15B0B8A1634}"/>
              </a:ext>
            </a:extLst>
          </p:cNvPr>
          <p:cNvGrpSpPr>
            <a:grpSpLocks noChangeAspect="1"/>
          </p:cNvGrpSpPr>
          <p:nvPr userDrawn="1"/>
        </p:nvGrpSpPr>
        <p:grpSpPr bwMode="auto">
          <a:xfrm>
            <a:off x="10599649" y="5285049"/>
            <a:ext cx="990690" cy="1160083"/>
            <a:chOff x="6529" y="3125"/>
            <a:chExt cx="772" cy="904"/>
          </a:xfrm>
        </p:grpSpPr>
        <p:sp>
          <p:nvSpPr>
            <p:cNvPr id="14" name="Freeform 5">
              <a:extLst>
                <a:ext uri="{FF2B5EF4-FFF2-40B4-BE49-F238E27FC236}">
                  <a16:creationId xmlns:a16="http://schemas.microsoft.com/office/drawing/2014/main" id="{9CAF10AA-3509-4F97-B831-5697F1CB467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15" name="Freeform 6">
              <a:extLst>
                <a:ext uri="{FF2B5EF4-FFF2-40B4-BE49-F238E27FC236}">
                  <a16:creationId xmlns:a16="http://schemas.microsoft.com/office/drawing/2014/main" id="{49900E63-E15F-4BE0-AADB-EF73FB03290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337722212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Cover Letter">
    <p:spTree>
      <p:nvGrpSpPr>
        <p:cNvPr id="1" name=""/>
        <p:cNvGrpSpPr/>
        <p:nvPr/>
      </p:nvGrpSpPr>
      <p:grpSpPr>
        <a:xfrm>
          <a:off x="0" y="0"/>
          <a:ext cx="0" cy="0"/>
          <a:chOff x="0" y="0"/>
          <a:chExt cx="0" cy="0"/>
        </a:xfrm>
      </p:grpSpPr>
      <p:sp>
        <p:nvSpPr>
          <p:cNvPr id="55" name="Rectangle 54"/>
          <p:cNvSpPr/>
          <p:nvPr userDrawn="1"/>
        </p:nvSpPr>
        <p:spPr bwMode="auto">
          <a:xfrm>
            <a:off x="9826014" y="0"/>
            <a:ext cx="2365987" cy="68580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none" lIns="48950" tIns="48950" rIns="48950" bIns="48950" numCol="1" spcCol="0" rtlCol="0" fromWordArt="0" anchor="ctr" anchorCtr="0" forceAA="0" compatLnSpc="1">
            <a:prstTxWarp prst="textNoShape">
              <a:avLst/>
            </a:prstTxWarp>
            <a:noAutofit/>
          </a:bodyPr>
          <a:lstStyle/>
          <a:p>
            <a:pPr algn="ctr" defTabSz="902362" fontAlgn="base">
              <a:spcBef>
                <a:spcPct val="0"/>
              </a:spcBef>
              <a:spcAft>
                <a:spcPct val="0"/>
              </a:spcAft>
            </a:pPr>
            <a:endParaRPr lang="en-AU" sz="907">
              <a:solidFill>
                <a:srgbClr val="646464"/>
              </a:solidFill>
              <a:latin typeface="EYInterstate Light"/>
              <a:cs typeface="Arial" charset="0"/>
            </a:endParaRPr>
          </a:p>
        </p:txBody>
      </p:sp>
      <p:sp>
        <p:nvSpPr>
          <p:cNvPr id="7" name="TextBox 6">
            <a:extLst>
              <a:ext uri="{FF2B5EF4-FFF2-40B4-BE49-F238E27FC236}">
                <a16:creationId xmlns:a16="http://schemas.microsoft.com/office/drawing/2014/main" id="{A2DE81F2-2773-4AA3-949D-229F2100F9E8}"/>
              </a:ext>
            </a:extLst>
          </p:cNvPr>
          <p:cNvSpPr txBox="1"/>
          <p:nvPr userDrawn="1"/>
        </p:nvSpPr>
        <p:spPr>
          <a:xfrm>
            <a:off x="2155684" y="535624"/>
            <a:ext cx="1299562" cy="688522"/>
          </a:xfrm>
          <a:prstGeom prst="rect">
            <a:avLst/>
          </a:prstGeom>
          <a:noFill/>
        </p:spPr>
        <p:txBody>
          <a:bodyPr wrap="square" lIns="0" tIns="0" rIns="0" bIns="0" rtlCol="0">
            <a:spAutoFit/>
          </a:bodyPr>
          <a:lstStyle/>
          <a:p>
            <a:pPr>
              <a:lnSpc>
                <a:spcPct val="94000"/>
              </a:lnSpc>
            </a:pPr>
            <a:r>
              <a:rPr lang="en-IE" sz="680" kern="750" spc="-9">
                <a:solidFill>
                  <a:srgbClr val="747480"/>
                </a:solidFill>
                <a:latin typeface="EYInterstate Light" pitchFamily="2" charset="0"/>
              </a:rPr>
              <a:t>Ernst &amp; Young</a:t>
            </a:r>
          </a:p>
          <a:p>
            <a:pPr>
              <a:lnSpc>
                <a:spcPct val="94000"/>
              </a:lnSpc>
            </a:pPr>
            <a:r>
              <a:rPr lang="en-IE" sz="680" kern="750" spc="-9">
                <a:solidFill>
                  <a:srgbClr val="747480"/>
                </a:solidFill>
                <a:latin typeface="EYInterstate Light" pitchFamily="2" charset="0"/>
              </a:rPr>
              <a:t>Business Advisory Services</a:t>
            </a:r>
          </a:p>
          <a:p>
            <a:pPr>
              <a:lnSpc>
                <a:spcPct val="94000"/>
              </a:lnSpc>
            </a:pPr>
            <a:r>
              <a:rPr lang="en-IE" sz="680" kern="750" spc="-9">
                <a:solidFill>
                  <a:srgbClr val="747480"/>
                </a:solidFill>
                <a:latin typeface="EYInterstate Light" pitchFamily="2" charset="0"/>
              </a:rPr>
              <a:t>Harcourt Centre</a:t>
            </a:r>
          </a:p>
          <a:p>
            <a:pPr>
              <a:lnSpc>
                <a:spcPct val="94000"/>
              </a:lnSpc>
            </a:pPr>
            <a:r>
              <a:rPr lang="en-IE" sz="680" kern="750" spc="-9">
                <a:solidFill>
                  <a:srgbClr val="747480"/>
                </a:solidFill>
                <a:latin typeface="EYInterstate Light" pitchFamily="2" charset="0"/>
              </a:rPr>
              <a:t>Harcourt Street</a:t>
            </a:r>
          </a:p>
          <a:p>
            <a:pPr>
              <a:lnSpc>
                <a:spcPct val="94000"/>
              </a:lnSpc>
            </a:pPr>
            <a:r>
              <a:rPr lang="en-IE" sz="680" kern="750" spc="-9">
                <a:solidFill>
                  <a:srgbClr val="747480"/>
                </a:solidFill>
                <a:latin typeface="EYInterstate Light" pitchFamily="2" charset="0"/>
              </a:rPr>
              <a:t>Dublin 2</a:t>
            </a:r>
          </a:p>
          <a:p>
            <a:pPr>
              <a:lnSpc>
                <a:spcPct val="94000"/>
              </a:lnSpc>
            </a:pPr>
            <a:r>
              <a:rPr lang="en-IE" sz="680" kern="750" spc="-9">
                <a:solidFill>
                  <a:srgbClr val="747480"/>
                </a:solidFill>
                <a:latin typeface="EYInterstate Light" pitchFamily="2" charset="0"/>
              </a:rPr>
              <a:t>D02 YA40</a:t>
            </a:r>
          </a:p>
          <a:p>
            <a:pPr>
              <a:lnSpc>
                <a:spcPct val="94000"/>
              </a:lnSpc>
            </a:pPr>
            <a:r>
              <a:rPr lang="en-IE" sz="680" kern="750" spc="-9">
                <a:solidFill>
                  <a:srgbClr val="747480"/>
                </a:solidFill>
                <a:latin typeface="EYInterstate Light" pitchFamily="2" charset="0"/>
              </a:rPr>
              <a:t>Ireland</a:t>
            </a:r>
          </a:p>
        </p:txBody>
      </p:sp>
      <p:sp>
        <p:nvSpPr>
          <p:cNvPr id="8" name="TextBox 7">
            <a:extLst>
              <a:ext uri="{FF2B5EF4-FFF2-40B4-BE49-F238E27FC236}">
                <a16:creationId xmlns:a16="http://schemas.microsoft.com/office/drawing/2014/main" id="{4C145E83-BBC7-4CFB-9E86-889307B69726}"/>
              </a:ext>
            </a:extLst>
          </p:cNvPr>
          <p:cNvSpPr txBox="1"/>
          <p:nvPr userDrawn="1"/>
        </p:nvSpPr>
        <p:spPr>
          <a:xfrm>
            <a:off x="3455247" y="535623"/>
            <a:ext cx="1716100" cy="295081"/>
          </a:xfrm>
          <a:prstGeom prst="rect">
            <a:avLst/>
          </a:prstGeom>
          <a:noFill/>
        </p:spPr>
        <p:txBody>
          <a:bodyPr wrap="square" lIns="0" tIns="0" rIns="0" bIns="0" rtlCol="0">
            <a:spAutoFit/>
          </a:bodyPr>
          <a:lstStyle/>
          <a:p>
            <a:pPr>
              <a:lnSpc>
                <a:spcPct val="94000"/>
              </a:lnSpc>
            </a:pPr>
            <a:r>
              <a:rPr lang="pt-BR" sz="680" kern="750" spc="-9">
                <a:solidFill>
                  <a:srgbClr val="747480"/>
                </a:solidFill>
                <a:latin typeface="EYInterstate Light" pitchFamily="2" charset="0"/>
              </a:rPr>
              <a:t>Tel: + 353 1 475 0555</a:t>
            </a:r>
          </a:p>
          <a:p>
            <a:pPr>
              <a:lnSpc>
                <a:spcPct val="94000"/>
              </a:lnSpc>
            </a:pPr>
            <a:r>
              <a:rPr lang="pt-BR" sz="680" kern="750" spc="-9">
                <a:solidFill>
                  <a:srgbClr val="747480"/>
                </a:solidFill>
                <a:latin typeface="EYInterstate Light" pitchFamily="2" charset="0"/>
              </a:rPr>
              <a:t>Fax: + 353 1 475 0599</a:t>
            </a:r>
          </a:p>
          <a:p>
            <a:pPr>
              <a:lnSpc>
                <a:spcPct val="94000"/>
              </a:lnSpc>
            </a:pPr>
            <a:r>
              <a:rPr lang="pt-BR" sz="680" kern="750" spc="-9">
                <a:solidFill>
                  <a:srgbClr val="747480"/>
                </a:solidFill>
                <a:latin typeface="EYInterstate Light" pitchFamily="2" charset="0"/>
              </a:rPr>
              <a:t>ey.com</a:t>
            </a:r>
          </a:p>
        </p:txBody>
      </p:sp>
      <p:pic>
        <p:nvPicPr>
          <p:cNvPr id="9" name="Picture 8">
            <a:extLst>
              <a:ext uri="{FF2B5EF4-FFF2-40B4-BE49-F238E27FC236}">
                <a16:creationId xmlns:a16="http://schemas.microsoft.com/office/drawing/2014/main" id="{0C521DB5-7176-40C7-B2F5-FA8808D6E5EC}"/>
              </a:ext>
            </a:extLst>
          </p:cNvPr>
          <p:cNvPicPr>
            <a:picLocks noChangeAspect="1"/>
          </p:cNvPicPr>
          <p:nvPr userDrawn="1"/>
        </p:nvPicPr>
        <p:blipFill>
          <a:blip r:embed="rId2"/>
          <a:stretch>
            <a:fillRect/>
          </a:stretch>
        </p:blipFill>
        <p:spPr>
          <a:xfrm>
            <a:off x="678074" y="235642"/>
            <a:ext cx="707583" cy="840141"/>
          </a:xfrm>
          <a:prstGeom prst="rect">
            <a:avLst/>
          </a:prstGeom>
        </p:spPr>
      </p:pic>
      <p:sp>
        <p:nvSpPr>
          <p:cNvPr id="10" name="Rectangle 9">
            <a:extLst>
              <a:ext uri="{FF2B5EF4-FFF2-40B4-BE49-F238E27FC236}">
                <a16:creationId xmlns:a16="http://schemas.microsoft.com/office/drawing/2014/main" id="{CC56722B-518C-4F16-A5D7-A5E43A734D37}"/>
              </a:ext>
            </a:extLst>
          </p:cNvPr>
          <p:cNvSpPr/>
          <p:nvPr userDrawn="1"/>
        </p:nvSpPr>
        <p:spPr>
          <a:xfrm>
            <a:off x="684173" y="6169752"/>
            <a:ext cx="8658235" cy="293157"/>
          </a:xfrm>
          <a:prstGeom prst="rect">
            <a:avLst/>
          </a:prstGeom>
        </p:spPr>
        <p:txBody>
          <a:bodyPr wrap="square" lIns="0" tIns="0" rIns="0" bIns="0">
            <a:spAutoFit/>
          </a:bodyPr>
          <a:lstStyle/>
          <a:p>
            <a:pPr>
              <a:lnSpc>
                <a:spcPct val="100000"/>
              </a:lnSpc>
            </a:pPr>
            <a:r>
              <a:rPr lang="en-IE" sz="635" spc="-9">
                <a:solidFill>
                  <a:srgbClr val="747480"/>
                </a:solidFill>
                <a:latin typeface="EYInterstate Light" pitchFamily="2" charset="0"/>
              </a:rPr>
              <a:t>D Buckley, D Dennis, M Gageby, J Hannigan, S MacAllister, S MacSweeney, B McCarthy, D McSwiney, J Maher, A Meagher, M Moroney, I O’Brien, F O’Dea, E O’Reilly, M Rooney, C Ryan, P Traynor, A Walsh, R Walsh.</a:t>
            </a:r>
          </a:p>
          <a:p>
            <a:pPr>
              <a:lnSpc>
                <a:spcPct val="100000"/>
              </a:lnSpc>
            </a:pPr>
            <a:endParaRPr lang="en-IE" sz="635" spc="-9">
              <a:solidFill>
                <a:srgbClr val="747480"/>
              </a:solidFill>
              <a:latin typeface="EYInterstate Light" pitchFamily="2" charset="0"/>
            </a:endParaRPr>
          </a:p>
          <a:p>
            <a:pPr>
              <a:lnSpc>
                <a:spcPct val="100000"/>
              </a:lnSpc>
            </a:pPr>
            <a:r>
              <a:rPr lang="en-IE" sz="635" spc="-9">
                <a:solidFill>
                  <a:srgbClr val="747480"/>
                </a:solidFill>
                <a:latin typeface="EYInterstate Light" pitchFamily="2" charset="0"/>
              </a:rPr>
              <a:t>The Irish firm Ernst &amp; Young is a member practice of Ernst &amp; Young Global Limited. It is authorised by the Institute of Chartered Accountants in Ireland to carry on investment business in the Republic of Ireland.</a:t>
            </a:r>
          </a:p>
        </p:txBody>
      </p:sp>
    </p:spTree>
    <p:extLst>
      <p:ext uri="{BB962C8B-B14F-4D97-AF65-F5344CB8AC3E}">
        <p14:creationId xmlns:p14="http://schemas.microsoft.com/office/powerpoint/2010/main" val="25659180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0_Standard slide_no first level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bg1"/>
                </a:solidFill>
              </a:defRPr>
            </a:lvl1pPr>
            <a:lvl2pPr marL="356437" indent="0">
              <a:buNone/>
              <a:defRPr/>
            </a:lvl2pPr>
          </a:lstStyle>
          <a:p>
            <a:pPr lvl="0"/>
            <a:r>
              <a:rPr lang="en-US"/>
              <a:t>Click to edit Master text styles</a:t>
            </a:r>
          </a:p>
        </p:txBody>
      </p:sp>
      <p:sp>
        <p:nvSpPr>
          <p:cNvPr id="2" name="Footer Placeholder 1">
            <a:extLst>
              <a:ext uri="{FF2B5EF4-FFF2-40B4-BE49-F238E27FC236}">
                <a16:creationId xmlns:a16="http://schemas.microsoft.com/office/drawing/2014/main" id="{651D3810-9D1F-4C24-8D6F-C80E3C796C55}"/>
              </a:ext>
            </a:extLst>
          </p:cNvPr>
          <p:cNvSpPr>
            <a:spLocks noGrp="1"/>
          </p:cNvSpPr>
          <p:nvPr>
            <p:ph type="ftr" sz="quarter" idx="11"/>
          </p:nvPr>
        </p:nvSpPr>
        <p:spPr>
          <a:xfrm>
            <a:off x="893400" y="6344128"/>
            <a:ext cx="3132000" cy="180000"/>
          </a:xfrm>
        </p:spPr>
        <p:txBody>
          <a:bodyPr/>
          <a:lstStyle>
            <a:lvl1pPr algn="l">
              <a:defRPr>
                <a:solidFill>
                  <a:schemeClr val="bg1"/>
                </a:solidFill>
              </a:defRPr>
            </a:lvl1pPr>
          </a:lstStyle>
          <a:p>
            <a:r>
              <a:rPr lang="en-IE"/>
              <a:t>Strategic Capital Investment System | EY Proposal</a:t>
            </a:r>
            <a:endParaRPr lang="en-IN"/>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bg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24" name="Group 4">
            <a:extLst>
              <a:ext uri="{FF2B5EF4-FFF2-40B4-BE49-F238E27FC236}">
                <a16:creationId xmlns:a16="http://schemas.microsoft.com/office/drawing/2014/main" id="{081A82D3-3365-4986-B4CE-934925E3B0BE}"/>
              </a:ext>
            </a:extLst>
          </p:cNvPr>
          <p:cNvGrpSpPr>
            <a:grpSpLocks noChangeAspect="1"/>
          </p:cNvGrpSpPr>
          <p:nvPr userDrawn="1"/>
        </p:nvGrpSpPr>
        <p:grpSpPr bwMode="auto">
          <a:xfrm>
            <a:off x="11287125" y="6251575"/>
            <a:ext cx="303213" cy="311150"/>
            <a:chOff x="7110" y="4004"/>
            <a:chExt cx="191" cy="196"/>
          </a:xfrm>
        </p:grpSpPr>
        <p:sp>
          <p:nvSpPr>
            <p:cNvPr id="25" name="Freeform 5">
              <a:extLst>
                <a:ext uri="{FF2B5EF4-FFF2-40B4-BE49-F238E27FC236}">
                  <a16:creationId xmlns:a16="http://schemas.microsoft.com/office/drawing/2014/main" id="{F8B1DD4B-9D15-488C-96A7-C1A7DAE0B6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Freeform 6">
              <a:extLst>
                <a:ext uri="{FF2B5EF4-FFF2-40B4-BE49-F238E27FC236}">
                  <a16:creationId xmlns:a16="http://schemas.microsoft.com/office/drawing/2014/main" id="{B77EBEFA-66B2-4908-8DA4-EC33AC663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7">
              <a:extLst>
                <a:ext uri="{FF2B5EF4-FFF2-40B4-BE49-F238E27FC236}">
                  <a16:creationId xmlns:a16="http://schemas.microsoft.com/office/drawing/2014/main" id="{E1DDC779-3234-4E74-98A3-5788281384F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8" name="Slide Number Placeholder 4">
            <a:extLst>
              <a:ext uri="{FF2B5EF4-FFF2-40B4-BE49-F238E27FC236}">
                <a16:creationId xmlns:a16="http://schemas.microsoft.com/office/drawing/2014/main" id="{370D70C9-82D8-1344-3AE2-648DF77BFA85}"/>
              </a:ext>
            </a:extLst>
          </p:cNvPr>
          <p:cNvSpPr txBox="1">
            <a:spLocks/>
          </p:cNvSpPr>
          <p:nvPr userDrawn="1"/>
        </p:nvSpPr>
        <p:spPr>
          <a:xfrm>
            <a:off x="762000" y="6500128"/>
            <a:ext cx="180000" cy="176400"/>
          </a:xfrm>
          <a:prstGeom prst="rect">
            <a:avLst/>
          </a:prstGeom>
        </p:spPr>
        <p:txBody>
          <a:bodyPr lIns="0" rIns="0"/>
          <a:lstStyle>
            <a:defPPr>
              <a:defRPr lang="en-US"/>
            </a:defPPr>
            <a:lvl1pPr marL="0" algn="ctr" defTabSz="913943"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IE" smtClean="0"/>
              <a:pPr/>
              <a:t>‹#›</a:t>
            </a:fld>
            <a:endParaRPr lang="en-IE"/>
          </a:p>
        </p:txBody>
      </p:sp>
    </p:spTree>
    <p:extLst>
      <p:ext uri="{BB962C8B-B14F-4D97-AF65-F5344CB8AC3E}">
        <p14:creationId xmlns:p14="http://schemas.microsoft.com/office/powerpoint/2010/main" val="22822171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_Standard slide_no first level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5400000"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bg1"/>
                </a:solidFill>
              </a:defRPr>
            </a:lvl1pPr>
            <a:lvl2pPr marL="356437" indent="0">
              <a:buNone/>
              <a:defRPr/>
            </a:lvl2pPr>
          </a:lstStyle>
          <a:p>
            <a:pPr lvl="0"/>
            <a:r>
              <a:rPr lang="en-US"/>
              <a:t>Click to edit Master text styles</a:t>
            </a:r>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991E0CE4-A567-4977-AE4C-B84D8B0380AD}"/>
              </a:ext>
            </a:extLst>
          </p:cNvPr>
          <p:cNvSpPr>
            <a:spLocks noGrp="1"/>
          </p:cNvSpPr>
          <p:nvPr>
            <p:ph idx="13"/>
          </p:nvPr>
        </p:nvSpPr>
        <p:spPr>
          <a:xfrm>
            <a:off x="6183988" y="1453691"/>
            <a:ext cx="5400000"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4" name="Group 4">
            <a:extLst>
              <a:ext uri="{FF2B5EF4-FFF2-40B4-BE49-F238E27FC236}">
                <a16:creationId xmlns:a16="http://schemas.microsoft.com/office/drawing/2014/main" id="{D3AE2619-AF92-478C-A304-5E0B1215D66F}"/>
              </a:ext>
            </a:extLst>
          </p:cNvPr>
          <p:cNvGrpSpPr>
            <a:grpSpLocks noChangeAspect="1"/>
          </p:cNvGrpSpPr>
          <p:nvPr userDrawn="1"/>
        </p:nvGrpSpPr>
        <p:grpSpPr bwMode="auto">
          <a:xfrm>
            <a:off x="11287125" y="6251575"/>
            <a:ext cx="303213" cy="311150"/>
            <a:chOff x="7110" y="4004"/>
            <a:chExt cx="191" cy="196"/>
          </a:xfrm>
        </p:grpSpPr>
        <p:sp>
          <p:nvSpPr>
            <p:cNvPr id="25" name="Freeform 5">
              <a:extLst>
                <a:ext uri="{FF2B5EF4-FFF2-40B4-BE49-F238E27FC236}">
                  <a16:creationId xmlns:a16="http://schemas.microsoft.com/office/drawing/2014/main" id="{A54333DD-E07B-4AC5-921F-E0DF5AF78E3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Freeform 6">
              <a:extLst>
                <a:ext uri="{FF2B5EF4-FFF2-40B4-BE49-F238E27FC236}">
                  <a16:creationId xmlns:a16="http://schemas.microsoft.com/office/drawing/2014/main" id="{80429E5B-9D07-446F-938A-6A92F1E9901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7">
              <a:extLst>
                <a:ext uri="{FF2B5EF4-FFF2-40B4-BE49-F238E27FC236}">
                  <a16:creationId xmlns:a16="http://schemas.microsoft.com/office/drawing/2014/main" id="{CF167647-73D4-4BE7-B632-3054C715127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645858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6_Standard slide_no first level bullets">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tx1"/>
                </a:solidFill>
              </a:defRPr>
            </a:lvl1pPr>
            <a:lvl2pPr marL="0" indent="0">
              <a:spcBef>
                <a:spcPts val="0"/>
              </a:spcBef>
              <a:spcAft>
                <a:spcPts val="500"/>
              </a:spcAft>
              <a:buNone/>
              <a:defRPr sz="1400" b="0">
                <a:solidFill>
                  <a:schemeClr val="tx2"/>
                </a:solidFill>
              </a:defRPr>
            </a:lvl2pPr>
            <a:lvl3pPr marL="0" indent="0">
              <a:spcBef>
                <a:spcPts val="0"/>
              </a:spcBef>
              <a:spcAft>
                <a:spcPts val="500"/>
              </a:spcAft>
              <a:buNone/>
              <a:defRPr sz="1100" b="1">
                <a:solidFill>
                  <a:schemeClr val="tx1"/>
                </a:solidFill>
                <a:latin typeface="EYInterstate" panose="02000503020000020004" pitchFamily="2" charset="0"/>
              </a:defRPr>
            </a:lvl3pPr>
            <a:lvl4pPr marL="180885" indent="-180885">
              <a:spcBef>
                <a:spcPts val="0"/>
              </a:spcBef>
              <a:spcAft>
                <a:spcPts val="500"/>
              </a:spcAft>
              <a:buClr>
                <a:schemeClr val="tx2"/>
              </a:buClr>
              <a:buSzPct val="70000"/>
              <a:buFont typeface="Arial" panose="020B0604020202020204" pitchFamily="34" charset="0"/>
              <a:buChar char="►"/>
              <a:tabLst/>
              <a:defRPr sz="1000" b="0">
                <a:solidFill>
                  <a:schemeClr val="tx1"/>
                </a:solidFill>
              </a:defRPr>
            </a:lvl4pPr>
            <a:lvl5pPr marL="360183" indent="-185645">
              <a:spcBef>
                <a:spcPts val="0"/>
              </a:spcBef>
              <a:spcAft>
                <a:spcPts val="500"/>
              </a:spcAft>
              <a:buClr>
                <a:schemeClr val="tx2"/>
              </a:buClr>
              <a:buSzPct val="70000"/>
              <a:buFont typeface="Arial" panose="020B0604020202020204" pitchFamily="34" charset="0"/>
              <a:buChar char="►"/>
              <a:tabLst>
                <a:tab pos="1255085" algn="l"/>
              </a:tabLst>
              <a:defRPr sz="1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 name="Picture 4">
            <a:extLst>
              <a:ext uri="{FF2B5EF4-FFF2-40B4-BE49-F238E27FC236}">
                <a16:creationId xmlns:a16="http://schemas.microsoft.com/office/drawing/2014/main" id="{3CF6946E-BC1F-909D-4466-E5764F1578B8}"/>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23646"/>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tx1"/>
                </a:solidFill>
              </a:defRPr>
            </a:lvl1pPr>
            <a:lvl2pPr marL="356437" indent="0">
              <a:buNone/>
              <a:defRPr/>
            </a:lvl2pPr>
          </a:lstStyle>
          <a:p>
            <a:pPr lvl="0"/>
            <a:r>
              <a:rPr lang="en-US"/>
              <a:t>Click to edit Master text styles</a:t>
            </a: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33229D2-E8A2-AE97-DBD0-D8900EE85B6A}"/>
              </a:ext>
            </a:extLst>
          </p:cNvPr>
          <p:cNvSpPr>
            <a:spLocks/>
          </p:cNvSpPr>
          <p:nvPr userDrawn="1"/>
        </p:nvSpPr>
        <p:spPr>
          <a:xfrm>
            <a:off x="1" y="1"/>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54" name="Group 4">
            <a:extLst>
              <a:ext uri="{FF2B5EF4-FFF2-40B4-BE49-F238E27FC236}">
                <a16:creationId xmlns:a16="http://schemas.microsoft.com/office/drawing/2014/main" id="{442CF107-8F6F-47BF-8C55-52BB8435E3D5}"/>
              </a:ext>
            </a:extLst>
          </p:cNvPr>
          <p:cNvGrpSpPr>
            <a:grpSpLocks noChangeAspect="1"/>
          </p:cNvGrpSpPr>
          <p:nvPr userDrawn="1"/>
        </p:nvGrpSpPr>
        <p:grpSpPr bwMode="auto">
          <a:xfrm>
            <a:off x="11287125" y="6251575"/>
            <a:ext cx="303213" cy="311150"/>
            <a:chOff x="7110" y="4004"/>
            <a:chExt cx="191" cy="196"/>
          </a:xfrm>
        </p:grpSpPr>
        <p:sp>
          <p:nvSpPr>
            <p:cNvPr id="55" name="Freeform 5">
              <a:extLst>
                <a:ext uri="{FF2B5EF4-FFF2-40B4-BE49-F238E27FC236}">
                  <a16:creationId xmlns:a16="http://schemas.microsoft.com/office/drawing/2014/main" id="{6E340510-3193-43ED-8935-48B5E21E11E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6" name="Freeform 6">
              <a:extLst>
                <a:ext uri="{FF2B5EF4-FFF2-40B4-BE49-F238E27FC236}">
                  <a16:creationId xmlns:a16="http://schemas.microsoft.com/office/drawing/2014/main" id="{3469AA48-5B85-43CB-9086-F6DA4F5CD3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7" name="Freeform 7">
              <a:extLst>
                <a:ext uri="{FF2B5EF4-FFF2-40B4-BE49-F238E27FC236}">
                  <a16:creationId xmlns:a16="http://schemas.microsoft.com/office/drawing/2014/main" id="{682361C7-3C58-423E-A0FB-CA96CD50B70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2087922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_Standard slide_no first level bullets">
    <p:bg>
      <p:bgPr>
        <a:solidFill>
          <a:schemeClr val="bg1"/>
        </a:solidFill>
        <a:effectLst/>
      </p:bgPr>
    </p:bg>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A0567DB5-A177-45A2-5642-4786BB878348}"/>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1"/>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5395556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_Standard slide_no first level bullets">
    <p:bg>
      <p:bgPr>
        <a:solidFill>
          <a:schemeClr val="bg1"/>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7BA450A-9C0E-495D-A770-5A35C23CDF32}"/>
              </a:ext>
            </a:extLst>
          </p:cNvPr>
          <p:cNvPicPr>
            <a:picLocks noChangeAspect="1"/>
          </p:cNvPicPr>
          <p:nvPr userDrawn="1"/>
        </p:nvPicPr>
        <p:blipFill>
          <a:blip r:embed="rId4"/>
          <a:stretch>
            <a:fillRect/>
          </a:stretch>
        </p:blipFill>
        <p:spPr>
          <a:xfrm>
            <a:off x="1" y="0"/>
            <a:ext cx="12191999" cy="6858000"/>
          </a:xfrm>
          <a:prstGeom prst="rect">
            <a:avLst/>
          </a:prstGeom>
        </p:spPr>
      </p:pic>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pic>
        <p:nvPicPr>
          <p:cNvPr id="22" name="Picture 21">
            <a:hlinkClick r:id="" action="ppaction://noaction"/>
            <a:extLst>
              <a:ext uri="{FF2B5EF4-FFF2-40B4-BE49-F238E27FC236}">
                <a16:creationId xmlns:a16="http://schemas.microsoft.com/office/drawing/2014/main" id="{EAC816A6-9B20-4E42-AA19-20E3709620EB}"/>
              </a:ext>
            </a:extLst>
          </p:cNvPr>
          <p:cNvPicPr>
            <a:picLocks/>
          </p:cNvPicPr>
          <p:nvPr userDrawn="1"/>
        </p:nvPicPr>
        <p:blipFill>
          <a:blip r:embed="rId7"/>
          <a:stretch>
            <a:fillRect/>
          </a:stretch>
        </p:blipFill>
        <p:spPr>
          <a:xfrm>
            <a:off x="785578" y="298248"/>
            <a:ext cx="215414" cy="188488"/>
          </a:xfrm>
          <a:prstGeom prst="rect">
            <a:avLst/>
          </a:prstGeom>
        </p:spPr>
      </p:pic>
      <p:sp>
        <p:nvSpPr>
          <p:cNvPr id="21" name="Arrow: Chevron 20">
            <a:hlinkClick r:id="" action="ppaction://hlinkshowjump?jump=nextslide"/>
            <a:extLst>
              <a:ext uri="{FF2B5EF4-FFF2-40B4-BE49-F238E27FC236}">
                <a16:creationId xmlns:a16="http://schemas.microsoft.com/office/drawing/2014/main" id="{9D1DBEFB-956F-4C00-85AF-AF56AE71E673}"/>
              </a:ext>
            </a:extLst>
          </p:cNvPr>
          <p:cNvSpPr/>
          <p:nvPr userDrawn="1"/>
        </p:nvSpPr>
        <p:spPr bwMode="auto">
          <a:xfrm>
            <a:off x="1029536"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err="1">
              <a:ln>
                <a:noFill/>
              </a:ln>
              <a:solidFill>
                <a:schemeClr val="tx1"/>
              </a:solidFill>
              <a:effectLst/>
              <a:latin typeface="+mn-lt"/>
            </a:endParaRPr>
          </a:p>
        </p:txBody>
      </p:sp>
      <p:sp>
        <p:nvSpPr>
          <p:cNvPr id="23" name="Arrow: Chevron 22">
            <a:hlinkClick r:id="" action="ppaction://hlinkshowjump?jump=previousslide"/>
            <a:extLst>
              <a:ext uri="{FF2B5EF4-FFF2-40B4-BE49-F238E27FC236}">
                <a16:creationId xmlns:a16="http://schemas.microsoft.com/office/drawing/2014/main" id="{6E380914-883C-4CF6-AE17-0688CC86791F}"/>
              </a:ext>
            </a:extLst>
          </p:cNvPr>
          <p:cNvSpPr/>
          <p:nvPr userDrawn="1"/>
        </p:nvSpPr>
        <p:spPr bwMode="auto">
          <a:xfrm flipH="1">
            <a:off x="642167" y="306736"/>
            <a:ext cx="72000" cy="180000"/>
          </a:xfrm>
          <a:prstGeom prst="chevron">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IE" sz="900" b="0" i="0" u="none" strike="noStrike" cap="none" normalizeH="0" baseline="0" err="1">
              <a:ln>
                <a:noFill/>
              </a:ln>
              <a:solidFill>
                <a:schemeClr val="tx1"/>
              </a:solidFill>
              <a:effectLst/>
              <a:latin typeface="+mn-lt"/>
            </a:endParaRPr>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
        <p:nvSpPr>
          <p:cNvPr id="47" name="Rectangle 46">
            <a:hlinkClick r:id="" action="ppaction://noaction"/>
            <a:extLst>
              <a:ext uri="{FF2B5EF4-FFF2-40B4-BE49-F238E27FC236}">
                <a16:creationId xmlns:a16="http://schemas.microsoft.com/office/drawing/2014/main" id="{E4E61C2A-85F9-4ED0-BC6E-C5845F8A3E6A}"/>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48" name="Rectangle 47">
            <a:hlinkClick r:id="" action="ppaction://noaction"/>
            <a:extLst>
              <a:ext uri="{FF2B5EF4-FFF2-40B4-BE49-F238E27FC236}">
                <a16:creationId xmlns:a16="http://schemas.microsoft.com/office/drawing/2014/main" id="{3D8B3182-8573-44EC-9664-0204F0E5E94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49" name="Rectangle 48">
            <a:hlinkClick r:id="" action="ppaction://noaction"/>
            <a:extLst>
              <a:ext uri="{FF2B5EF4-FFF2-40B4-BE49-F238E27FC236}">
                <a16:creationId xmlns:a16="http://schemas.microsoft.com/office/drawing/2014/main" id="{575F06B4-3765-444B-93A8-9CBA54830AA3}"/>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50" name="Rectangle 49">
            <a:hlinkClick r:id="" action="ppaction://noaction"/>
            <a:extLst>
              <a:ext uri="{FF2B5EF4-FFF2-40B4-BE49-F238E27FC236}">
                <a16:creationId xmlns:a16="http://schemas.microsoft.com/office/drawing/2014/main" id="{B55A3DA1-03C0-49F9-9526-11B535DAE098}"/>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51" name="Rectangle 50">
            <a:hlinkClick r:id="" action="ppaction://noaction"/>
            <a:extLst>
              <a:ext uri="{FF2B5EF4-FFF2-40B4-BE49-F238E27FC236}">
                <a16:creationId xmlns:a16="http://schemas.microsoft.com/office/drawing/2014/main" id="{73C5952B-77EA-452C-A76B-BA5D806B27EB}"/>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28" name="Rectangle 27">
            <a:hlinkClick r:id="" action="ppaction://noaction"/>
            <a:extLst>
              <a:ext uri="{FF2B5EF4-FFF2-40B4-BE49-F238E27FC236}">
                <a16:creationId xmlns:a16="http://schemas.microsoft.com/office/drawing/2014/main" id="{9E757B6A-2320-4A6D-AC3F-8A8E24E391B7}"/>
              </a:ext>
            </a:extLst>
          </p:cNvPr>
          <p:cNvSpPr/>
          <p:nvPr userDrawn="1"/>
        </p:nvSpPr>
        <p:spPr>
          <a:xfrm>
            <a:off x="4994018" y="342736"/>
            <a:ext cx="10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Executive summary</a:t>
            </a:r>
          </a:p>
        </p:txBody>
      </p:sp>
      <p:sp>
        <p:nvSpPr>
          <p:cNvPr id="29" name="Rectangle 28">
            <a:hlinkClick r:id="" action="ppaction://noaction"/>
            <a:extLst>
              <a:ext uri="{FF2B5EF4-FFF2-40B4-BE49-F238E27FC236}">
                <a16:creationId xmlns:a16="http://schemas.microsoft.com/office/drawing/2014/main" id="{6F8F8767-9997-4003-A8CA-A98BB1BFF0A5}"/>
              </a:ext>
            </a:extLst>
          </p:cNvPr>
          <p:cNvSpPr/>
          <p:nvPr userDrawn="1"/>
        </p:nvSpPr>
        <p:spPr>
          <a:xfrm>
            <a:off x="6080406" y="342736"/>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Proposal contacts</a:t>
            </a:r>
          </a:p>
        </p:txBody>
      </p:sp>
      <p:sp>
        <p:nvSpPr>
          <p:cNvPr id="30" name="Rectangle 29">
            <a:hlinkClick r:id="" action="ppaction://noaction"/>
            <a:extLst>
              <a:ext uri="{FF2B5EF4-FFF2-40B4-BE49-F238E27FC236}">
                <a16:creationId xmlns:a16="http://schemas.microsoft.com/office/drawing/2014/main" id="{DEB7FBDC-9964-4070-9DD9-7EF68A6BD412}"/>
              </a:ext>
            </a:extLst>
          </p:cNvPr>
          <p:cNvSpPr/>
          <p:nvPr userDrawn="1"/>
        </p:nvSpPr>
        <p:spPr>
          <a:xfrm>
            <a:off x="7094794" y="342736"/>
            <a:ext cx="75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1 - Design</a:t>
            </a:r>
          </a:p>
        </p:txBody>
      </p:sp>
      <p:sp>
        <p:nvSpPr>
          <p:cNvPr id="31" name="Rectangle 30">
            <a:hlinkClick r:id="" action="ppaction://noaction"/>
            <a:extLst>
              <a:ext uri="{FF2B5EF4-FFF2-40B4-BE49-F238E27FC236}">
                <a16:creationId xmlns:a16="http://schemas.microsoft.com/office/drawing/2014/main" id="{4C1F8B75-4E94-4E5F-9452-21DD1CF4AB8E}"/>
              </a:ext>
            </a:extLst>
          </p:cNvPr>
          <p:cNvSpPr/>
          <p:nvPr userDrawn="1"/>
        </p:nvSpPr>
        <p:spPr>
          <a:xfrm>
            <a:off x="7929182" y="342736"/>
            <a:ext cx="115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2 - Implementation</a:t>
            </a:r>
          </a:p>
        </p:txBody>
      </p:sp>
      <p:sp>
        <p:nvSpPr>
          <p:cNvPr id="32" name="Rectangle 31">
            <a:hlinkClick r:id="" action="ppaction://noaction"/>
            <a:extLst>
              <a:ext uri="{FF2B5EF4-FFF2-40B4-BE49-F238E27FC236}">
                <a16:creationId xmlns:a16="http://schemas.microsoft.com/office/drawing/2014/main" id="{541E136F-402E-4F1B-BA02-BEF1D745C6D7}"/>
              </a:ext>
            </a:extLst>
          </p:cNvPr>
          <p:cNvSpPr/>
          <p:nvPr userDrawn="1"/>
        </p:nvSpPr>
        <p:spPr>
          <a:xfrm>
            <a:off x="9159570" y="342736"/>
            <a:ext cx="792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Lot 3 - DOCs</a:t>
            </a:r>
          </a:p>
        </p:txBody>
      </p:sp>
      <p:sp>
        <p:nvSpPr>
          <p:cNvPr id="33" name="Rectangle 32">
            <a:hlinkClick r:id="" action="ppaction://noaction"/>
            <a:extLst>
              <a:ext uri="{FF2B5EF4-FFF2-40B4-BE49-F238E27FC236}">
                <a16:creationId xmlns:a16="http://schemas.microsoft.com/office/drawing/2014/main" id="{9576315D-6C15-4715-ABE5-C670ED6B8C3D}"/>
              </a:ext>
            </a:extLst>
          </p:cNvPr>
          <p:cNvSpPr/>
          <p:nvPr userDrawn="1"/>
        </p:nvSpPr>
        <p:spPr>
          <a:xfrm>
            <a:off x="9955724" y="342736"/>
            <a:ext cx="575641"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sv-SE" sz="800" b="0">
                <a:solidFill>
                  <a:schemeClr val="tx1">
                    <a:lumMod val="85000"/>
                  </a:schemeClr>
                </a:solidFill>
                <a:latin typeface="EYInterstate" panose="02000503020000020004" pitchFamily="2" charset="0"/>
              </a:rPr>
              <a:t>Appendix</a:t>
            </a:r>
          </a:p>
        </p:txBody>
      </p:sp>
    </p:spTree>
    <p:extLst>
      <p:ext uri="{BB962C8B-B14F-4D97-AF65-F5344CB8AC3E}">
        <p14:creationId xmlns:p14="http://schemas.microsoft.com/office/powerpoint/2010/main" val="819728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Boilerplate">
    <p:bg>
      <p:bgPr>
        <a:solidFill>
          <a:schemeClr val="bg1"/>
        </a:solidFill>
        <a:effectLst/>
      </p:bgPr>
    </p:bg>
    <p:spTree>
      <p:nvGrpSpPr>
        <p:cNvPr id="1" name=""/>
        <p:cNvGrpSpPr/>
        <p:nvPr/>
      </p:nvGrpSpPr>
      <p:grpSpPr>
        <a:xfrm>
          <a:off x="0" y="0"/>
          <a:ext cx="0" cy="0"/>
          <a:chOff x="0" y="0"/>
          <a:chExt cx="0" cy="0"/>
        </a:xfrm>
      </p:grpSpPr>
      <p:sp>
        <p:nvSpPr>
          <p:cNvPr id="5" name="TextBox 5">
            <a:extLst>
              <a:ext uri="{FF2B5EF4-FFF2-40B4-BE49-F238E27FC236}">
                <a16:creationId xmlns:a16="http://schemas.microsoft.com/office/drawing/2014/main" id="{62CE4C1F-DD64-40A3-B9E9-1AF8481A80FF}"/>
              </a:ext>
            </a:extLst>
          </p:cNvPr>
          <p:cNvSpPr txBox="1"/>
          <p:nvPr userDrawn="1"/>
        </p:nvSpPr>
        <p:spPr>
          <a:xfrm>
            <a:off x="521504" y="682345"/>
            <a:ext cx="3650538" cy="20892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US" sz="1088" b="1">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a:t>
            </a:r>
            <a:r>
              <a:rPr lang="en-US" sz="1088">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 Building a better working worl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exists to build a better working world, helping to create long-term value for clients, people and society and build trust in the capital markets.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nabled by data and technology, diverse EY teams in over 150 countries provide trust through assurance and help clients grow, transform and operate. </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US"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Working across assurance, consulting, law, strategy, tax and transactions, EY teams ask better questions to find new answers for the complex issues facing our world toda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
        <p:nvSpPr>
          <p:cNvPr id="7" name="TextBox 5">
            <a:extLst>
              <a:ext uri="{FF2B5EF4-FFF2-40B4-BE49-F238E27FC236}">
                <a16:creationId xmlns:a16="http://schemas.microsoft.com/office/drawing/2014/main" id="{5FAA95A4-6D56-4218-B13E-A5A3BD8426ED}"/>
              </a:ext>
            </a:extLst>
          </p:cNvPr>
          <p:cNvSpPr txBox="1"/>
          <p:nvPr userDrawn="1"/>
        </p:nvSpPr>
        <p:spPr>
          <a:xfrm>
            <a:off x="7995066" y="682345"/>
            <a:ext cx="3683132" cy="3055870"/>
          </a:xfrm>
          <a:prstGeom prst="rect">
            <a:avLst/>
          </a:prstGeom>
          <a:noFill/>
        </p:spPr>
        <p:txBody>
          <a:bodyPr wrap="square" lIns="0" tIns="0" rIns="0" bIns="0" rtlCol="0" anchor="t">
            <a:noAutofit/>
          </a:bodyPr>
          <a:lstStyle>
            <a:defPPr>
              <a:defRPr lang="en-GB"/>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sation, please visit 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 2022 Ernst &amp; Young. All Rights Reserved.</a:t>
            </a: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P_023118.pptx. Produced by Creative (Ireland). 11/2022. ED none. Images from Getty.</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The Irish firm Ernst &amp; Young is a member practice of Ernst &amp; Young Global Limited. It is authorised by the Institute of Chartered Accountants in Ireland to carry on investment business in the Republic of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Ernst &amp; Young, Harcourt Centre, Harcourt Street, Dublin 2, Ireland.</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725">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rPr>
              <a:t>Information in this publication is intended to provide only a general outline of the subjects covered. It should neither be regarded as comprehensive nor sufficient for making decisions, nor should it be used in place of professional advice. Ernst &amp; Young accepts no responsibility for any loss arising from any action taken or not taken by anyone using this material.</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p>
            <a:pPr>
              <a:lnSpc>
                <a:spcPct val="100000"/>
              </a:lnSpc>
              <a:spcAft>
                <a:spcPts val="453"/>
              </a:spcAft>
            </a:pPr>
            <a:r>
              <a:rPr lang="en-IN" sz="997">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com</a:t>
            </a:r>
            <a:endParaRPr lang="en-IE" sz="1088">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97067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5_Standard slide_no first level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bg1"/>
                </a:solidFill>
              </a:defRPr>
            </a:lvl1pPr>
            <a:lvl2pPr marL="356437" indent="0">
              <a:buNone/>
              <a:defRPr/>
            </a:lvl2pPr>
          </a:lstStyle>
          <a:p>
            <a:pPr lvl="0"/>
            <a:r>
              <a:rPr lang="en-US"/>
              <a:t>Click to edit Master text styles</a:t>
            </a: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bg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24" name="Group 4">
            <a:extLst>
              <a:ext uri="{FF2B5EF4-FFF2-40B4-BE49-F238E27FC236}">
                <a16:creationId xmlns:a16="http://schemas.microsoft.com/office/drawing/2014/main" id="{081A82D3-3365-4986-B4CE-934925E3B0BE}"/>
              </a:ext>
            </a:extLst>
          </p:cNvPr>
          <p:cNvGrpSpPr>
            <a:grpSpLocks noChangeAspect="1"/>
          </p:cNvGrpSpPr>
          <p:nvPr userDrawn="1"/>
        </p:nvGrpSpPr>
        <p:grpSpPr bwMode="auto">
          <a:xfrm>
            <a:off x="11287125" y="6251575"/>
            <a:ext cx="303213" cy="311150"/>
            <a:chOff x="7110" y="4004"/>
            <a:chExt cx="191" cy="196"/>
          </a:xfrm>
        </p:grpSpPr>
        <p:sp>
          <p:nvSpPr>
            <p:cNvPr id="25" name="Freeform 5">
              <a:extLst>
                <a:ext uri="{FF2B5EF4-FFF2-40B4-BE49-F238E27FC236}">
                  <a16:creationId xmlns:a16="http://schemas.microsoft.com/office/drawing/2014/main" id="{F8B1DD4B-9D15-488C-96A7-C1A7DAE0B6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Freeform 6">
              <a:extLst>
                <a:ext uri="{FF2B5EF4-FFF2-40B4-BE49-F238E27FC236}">
                  <a16:creationId xmlns:a16="http://schemas.microsoft.com/office/drawing/2014/main" id="{B77EBEFA-66B2-4908-8DA4-EC33AC663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7">
              <a:extLst>
                <a:ext uri="{FF2B5EF4-FFF2-40B4-BE49-F238E27FC236}">
                  <a16:creationId xmlns:a16="http://schemas.microsoft.com/office/drawing/2014/main" id="{E1DDC779-3234-4E74-98A3-5788281384F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8" name="Slide Number Placeholder 4">
            <a:extLst>
              <a:ext uri="{FF2B5EF4-FFF2-40B4-BE49-F238E27FC236}">
                <a16:creationId xmlns:a16="http://schemas.microsoft.com/office/drawing/2014/main" id="{370D70C9-82D8-1344-3AE2-648DF77BFA85}"/>
              </a:ext>
            </a:extLst>
          </p:cNvPr>
          <p:cNvSpPr txBox="1">
            <a:spLocks/>
          </p:cNvSpPr>
          <p:nvPr userDrawn="1"/>
        </p:nvSpPr>
        <p:spPr>
          <a:xfrm>
            <a:off x="762000" y="6500128"/>
            <a:ext cx="180000" cy="176400"/>
          </a:xfrm>
          <a:prstGeom prst="rect">
            <a:avLst/>
          </a:prstGeom>
        </p:spPr>
        <p:txBody>
          <a:bodyPr lIns="0" rIns="0"/>
          <a:lstStyle>
            <a:defPPr>
              <a:defRPr lang="en-US"/>
            </a:defPPr>
            <a:lvl1pPr marL="0" algn="ctr" defTabSz="913943" rtl="0" eaLnBrk="1" latinLnBrk="0" hangingPunct="1">
              <a:defRPr lang="en-GB" sz="800" kern="120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IE" smtClean="0"/>
              <a:pPr/>
              <a:t>‹#›</a:t>
            </a:fld>
            <a:endParaRPr lang="en-IE"/>
          </a:p>
        </p:txBody>
      </p:sp>
      <p:pic>
        <p:nvPicPr>
          <p:cNvPr id="11" name="Picture 10" descr="A blue and white logo&#10;&#10;Description automatically generated">
            <a:extLst>
              <a:ext uri="{FF2B5EF4-FFF2-40B4-BE49-F238E27FC236}">
                <a16:creationId xmlns:a16="http://schemas.microsoft.com/office/drawing/2014/main" id="{8E314834-94BC-B559-2B36-C3A70F9405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53458" y="6286556"/>
            <a:ext cx="1201905" cy="339538"/>
          </a:xfrm>
          <a:prstGeom prst="rect">
            <a:avLst/>
          </a:prstGeom>
        </p:spPr>
      </p:pic>
    </p:spTree>
    <p:extLst>
      <p:ext uri="{BB962C8B-B14F-4D97-AF65-F5344CB8AC3E}">
        <p14:creationId xmlns:p14="http://schemas.microsoft.com/office/powerpoint/2010/main" val="4267380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1_Standard slide_no first level 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5400000"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bg1"/>
                </a:solidFill>
              </a:defRPr>
            </a:lvl1pPr>
            <a:lvl2pPr marL="356437" indent="0">
              <a:buNone/>
              <a:defRPr/>
            </a:lvl2pPr>
          </a:lstStyle>
          <a:p>
            <a:pPr lvl="0"/>
            <a:r>
              <a:rPr lang="en-US"/>
              <a:t>Click to edit Master text styles</a:t>
            </a:r>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991E0CE4-A567-4977-AE4C-B84D8B0380AD}"/>
              </a:ext>
            </a:extLst>
          </p:cNvPr>
          <p:cNvSpPr>
            <a:spLocks noGrp="1"/>
          </p:cNvSpPr>
          <p:nvPr>
            <p:ph idx="13"/>
          </p:nvPr>
        </p:nvSpPr>
        <p:spPr>
          <a:xfrm>
            <a:off x="6183988" y="1453691"/>
            <a:ext cx="5400000" cy="4608000"/>
          </a:xfrm>
        </p:spPr>
        <p:txBody>
          <a:bodyPr/>
          <a:lstStyle>
            <a:lvl1pPr marL="0" indent="0">
              <a:spcBef>
                <a:spcPts val="0"/>
              </a:spcBef>
              <a:spcAft>
                <a:spcPts val="500"/>
              </a:spcAft>
              <a:buNone/>
              <a:defRPr sz="1000" b="0">
                <a:solidFill>
                  <a:schemeClr val="bg1"/>
                </a:solidFill>
              </a:defRPr>
            </a:lvl1pPr>
            <a:lvl2pPr marL="0" indent="0">
              <a:spcBef>
                <a:spcPts val="0"/>
              </a:spcBef>
              <a:spcAft>
                <a:spcPts val="500"/>
              </a:spcAft>
              <a:buNone/>
              <a:defRPr sz="1400" b="0">
                <a:solidFill>
                  <a:schemeClr val="bg1"/>
                </a:solidFill>
              </a:defRPr>
            </a:lvl2pPr>
            <a:lvl3pPr marL="0" indent="0">
              <a:spcBef>
                <a:spcPts val="0"/>
              </a:spcBef>
              <a:spcAft>
                <a:spcPts val="500"/>
              </a:spcAft>
              <a:buNone/>
              <a:defRPr sz="1100" b="1">
                <a:solidFill>
                  <a:schemeClr val="bg1"/>
                </a:solidFill>
                <a:latin typeface="EYInterstate" panose="02000503020000020004" pitchFamily="2" charset="0"/>
              </a:defRPr>
            </a:lvl3pPr>
            <a:lvl4pPr marL="180885" indent="-180885">
              <a:spcBef>
                <a:spcPts val="0"/>
              </a:spcBef>
              <a:spcAft>
                <a:spcPts val="500"/>
              </a:spcAft>
              <a:buClrTx/>
              <a:buSzPct val="70000"/>
              <a:buFont typeface="Arial" panose="020B0604020202020204" pitchFamily="34" charset="0"/>
              <a:buChar char="►"/>
              <a:tabLst/>
              <a:defRPr sz="1000" b="0">
                <a:solidFill>
                  <a:schemeClr val="bg1"/>
                </a:solidFill>
              </a:defRPr>
            </a:lvl4pPr>
            <a:lvl5pPr marL="360183" indent="-185645">
              <a:spcBef>
                <a:spcPts val="0"/>
              </a:spcBef>
              <a:spcAft>
                <a:spcPts val="500"/>
              </a:spcAft>
              <a:buClrTx/>
              <a:buSzPct val="70000"/>
              <a:buFont typeface="Arial" panose="020B0604020202020204" pitchFamily="34" charset="0"/>
              <a:buChar char="►"/>
              <a:tabLst>
                <a:tab pos="1255085" algn="l"/>
              </a:tabLst>
              <a:defRPr sz="1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4" name="Group 4">
            <a:extLst>
              <a:ext uri="{FF2B5EF4-FFF2-40B4-BE49-F238E27FC236}">
                <a16:creationId xmlns:a16="http://schemas.microsoft.com/office/drawing/2014/main" id="{D3AE2619-AF92-478C-A304-5E0B1215D66F}"/>
              </a:ext>
            </a:extLst>
          </p:cNvPr>
          <p:cNvGrpSpPr>
            <a:grpSpLocks noChangeAspect="1"/>
          </p:cNvGrpSpPr>
          <p:nvPr userDrawn="1"/>
        </p:nvGrpSpPr>
        <p:grpSpPr bwMode="auto">
          <a:xfrm>
            <a:off x="11287125" y="6251575"/>
            <a:ext cx="303213" cy="311150"/>
            <a:chOff x="7110" y="4004"/>
            <a:chExt cx="191" cy="196"/>
          </a:xfrm>
        </p:grpSpPr>
        <p:sp>
          <p:nvSpPr>
            <p:cNvPr id="25" name="Freeform 5">
              <a:extLst>
                <a:ext uri="{FF2B5EF4-FFF2-40B4-BE49-F238E27FC236}">
                  <a16:creationId xmlns:a16="http://schemas.microsoft.com/office/drawing/2014/main" id="{A54333DD-E07B-4AC5-921F-E0DF5AF78E3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Freeform 6">
              <a:extLst>
                <a:ext uri="{FF2B5EF4-FFF2-40B4-BE49-F238E27FC236}">
                  <a16:creationId xmlns:a16="http://schemas.microsoft.com/office/drawing/2014/main" id="{80429E5B-9D07-446F-938A-6A92F1E9901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7">
              <a:extLst>
                <a:ext uri="{FF2B5EF4-FFF2-40B4-BE49-F238E27FC236}">
                  <a16:creationId xmlns:a16="http://schemas.microsoft.com/office/drawing/2014/main" id="{CF167647-73D4-4BE7-B632-3054C715127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pic>
        <p:nvPicPr>
          <p:cNvPr id="2" name="Picture 1" descr="A blue and white logo&#10;&#10;Description automatically generated">
            <a:extLst>
              <a:ext uri="{FF2B5EF4-FFF2-40B4-BE49-F238E27FC236}">
                <a16:creationId xmlns:a16="http://schemas.microsoft.com/office/drawing/2014/main" id="{A108C3BF-57EC-114F-7A17-D8E24E0D9DE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53458" y="6286556"/>
            <a:ext cx="1201905" cy="339538"/>
          </a:xfrm>
          <a:prstGeom prst="rect">
            <a:avLst/>
          </a:prstGeom>
        </p:spPr>
      </p:pic>
    </p:spTree>
    <p:extLst>
      <p:ext uri="{BB962C8B-B14F-4D97-AF65-F5344CB8AC3E}">
        <p14:creationId xmlns:p14="http://schemas.microsoft.com/office/powerpoint/2010/main" val="24215178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7_Standard slide_no first level bullets">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F151285E-BDC9-4211-B53F-93E38B1DDB1C}"/>
              </a:ext>
            </a:extLst>
          </p:cNvPr>
          <p:cNvSpPr>
            <a:spLocks noGrp="1"/>
          </p:cNvSpPr>
          <p:nvPr>
            <p:ph idx="1"/>
          </p:nvPr>
        </p:nvSpPr>
        <p:spPr>
          <a:xfrm>
            <a:off x="609601" y="1453691"/>
            <a:ext cx="10974284" cy="4608000"/>
          </a:xfrm>
        </p:spPr>
        <p:txBody>
          <a:bodyPr/>
          <a:lstStyle>
            <a:lvl1pPr marL="0" indent="0">
              <a:spcBef>
                <a:spcPts val="0"/>
              </a:spcBef>
              <a:spcAft>
                <a:spcPts val="500"/>
              </a:spcAft>
              <a:buNone/>
              <a:defRPr sz="1000" b="0">
                <a:solidFill>
                  <a:schemeClr val="tx1"/>
                </a:solidFill>
              </a:defRPr>
            </a:lvl1pPr>
            <a:lvl2pPr marL="0" indent="0">
              <a:spcBef>
                <a:spcPts val="0"/>
              </a:spcBef>
              <a:spcAft>
                <a:spcPts val="500"/>
              </a:spcAft>
              <a:buNone/>
              <a:defRPr sz="1400" b="0">
                <a:solidFill>
                  <a:schemeClr val="tx2"/>
                </a:solidFill>
              </a:defRPr>
            </a:lvl2pPr>
            <a:lvl3pPr marL="0" indent="0">
              <a:spcBef>
                <a:spcPts val="0"/>
              </a:spcBef>
              <a:spcAft>
                <a:spcPts val="500"/>
              </a:spcAft>
              <a:buNone/>
              <a:defRPr sz="1100" b="1">
                <a:solidFill>
                  <a:schemeClr val="tx1"/>
                </a:solidFill>
                <a:latin typeface="EYInterstate" panose="02000503020000020004" pitchFamily="2" charset="0"/>
              </a:defRPr>
            </a:lvl3pPr>
            <a:lvl4pPr marL="180885" indent="-180885">
              <a:spcBef>
                <a:spcPts val="0"/>
              </a:spcBef>
              <a:spcAft>
                <a:spcPts val="500"/>
              </a:spcAft>
              <a:buClr>
                <a:schemeClr val="tx2"/>
              </a:buClr>
              <a:buSzPct val="70000"/>
              <a:buFont typeface="Arial" panose="020B0604020202020204" pitchFamily="34" charset="0"/>
              <a:buChar char="►"/>
              <a:tabLst/>
              <a:defRPr sz="1000" b="0">
                <a:solidFill>
                  <a:schemeClr val="tx1"/>
                </a:solidFill>
              </a:defRPr>
            </a:lvl4pPr>
            <a:lvl5pPr marL="360183" indent="-185645">
              <a:spcBef>
                <a:spcPts val="0"/>
              </a:spcBef>
              <a:spcAft>
                <a:spcPts val="500"/>
              </a:spcAft>
              <a:buClr>
                <a:schemeClr val="tx2"/>
              </a:buClr>
              <a:buSzPct val="70000"/>
              <a:buFont typeface="Arial" panose="020B0604020202020204" pitchFamily="34" charset="0"/>
              <a:buChar char="►"/>
              <a:tabLst>
                <a:tab pos="1255085" algn="l"/>
              </a:tabLst>
              <a:defRPr sz="10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ext Placeholder 2">
            <a:extLst>
              <a:ext uri="{FF2B5EF4-FFF2-40B4-BE49-F238E27FC236}">
                <a16:creationId xmlns:a16="http://schemas.microsoft.com/office/drawing/2014/main" id="{64AFC666-9084-4779-BA50-46DBAFEF26A0}"/>
              </a:ext>
            </a:extLst>
          </p:cNvPr>
          <p:cNvSpPr>
            <a:spLocks noGrp="1"/>
          </p:cNvSpPr>
          <p:nvPr>
            <p:ph type="body" sz="quarter" idx="10"/>
          </p:nvPr>
        </p:nvSpPr>
        <p:spPr>
          <a:xfrm>
            <a:off x="609600" y="647271"/>
            <a:ext cx="10974388" cy="523983"/>
          </a:xfrm>
        </p:spPr>
        <p:txBody>
          <a:bodyPr anchor="b"/>
          <a:lstStyle>
            <a:lvl1pPr marL="0" indent="0">
              <a:buNone/>
              <a:defRPr sz="2400">
                <a:solidFill>
                  <a:schemeClr val="tx1"/>
                </a:solidFill>
              </a:defRPr>
            </a:lvl1pPr>
            <a:lvl2pPr marL="356437" indent="0">
              <a:buNone/>
              <a:defRPr/>
            </a:lvl2pPr>
          </a:lstStyle>
          <a:p>
            <a:pPr lvl="0"/>
            <a:r>
              <a:rPr lang="en-US"/>
              <a:t>Click to edit Master text styles</a:t>
            </a: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cxnSp>
        <p:nvCxnSpPr>
          <p:cNvPr id="9" name="Straight Connector 8">
            <a:extLst>
              <a:ext uri="{FF2B5EF4-FFF2-40B4-BE49-F238E27FC236}">
                <a16:creationId xmlns:a16="http://schemas.microsoft.com/office/drawing/2014/main" id="{3AF7F343-4E68-4F69-8EC4-2572B56D5A42}"/>
              </a:ext>
            </a:extLst>
          </p:cNvPr>
          <p:cNvCxnSpPr/>
          <p:nvPr userDrawn="1"/>
        </p:nvCxnSpPr>
        <p:spPr>
          <a:xfrm>
            <a:off x="609600" y="1284270"/>
            <a:ext cx="720000"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33229D2-E8A2-AE97-DBD0-D8900EE85B6A}"/>
              </a:ext>
            </a:extLst>
          </p:cNvPr>
          <p:cNvSpPr>
            <a:spLocks/>
          </p:cNvSpPr>
          <p:nvPr userDrawn="1"/>
        </p:nvSpPr>
        <p:spPr>
          <a:xfrm>
            <a:off x="1"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54" name="Group 4">
            <a:extLst>
              <a:ext uri="{FF2B5EF4-FFF2-40B4-BE49-F238E27FC236}">
                <a16:creationId xmlns:a16="http://schemas.microsoft.com/office/drawing/2014/main" id="{442CF107-8F6F-47BF-8C55-52BB8435E3D5}"/>
              </a:ext>
            </a:extLst>
          </p:cNvPr>
          <p:cNvGrpSpPr>
            <a:grpSpLocks noChangeAspect="1"/>
          </p:cNvGrpSpPr>
          <p:nvPr userDrawn="1"/>
        </p:nvGrpSpPr>
        <p:grpSpPr bwMode="auto">
          <a:xfrm>
            <a:off x="11287125" y="6251575"/>
            <a:ext cx="303213" cy="311150"/>
            <a:chOff x="7110" y="4004"/>
            <a:chExt cx="191" cy="196"/>
          </a:xfrm>
        </p:grpSpPr>
        <p:sp>
          <p:nvSpPr>
            <p:cNvPr id="55" name="Freeform 5">
              <a:extLst>
                <a:ext uri="{FF2B5EF4-FFF2-40B4-BE49-F238E27FC236}">
                  <a16:creationId xmlns:a16="http://schemas.microsoft.com/office/drawing/2014/main" id="{6E340510-3193-43ED-8935-48B5E21E11E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6" name="Freeform 6">
              <a:extLst>
                <a:ext uri="{FF2B5EF4-FFF2-40B4-BE49-F238E27FC236}">
                  <a16:creationId xmlns:a16="http://schemas.microsoft.com/office/drawing/2014/main" id="{3469AA48-5B85-43CB-9086-F6DA4F5CD3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57" name="Freeform 7">
              <a:extLst>
                <a:ext uri="{FF2B5EF4-FFF2-40B4-BE49-F238E27FC236}">
                  <a16:creationId xmlns:a16="http://schemas.microsoft.com/office/drawing/2014/main" id="{682361C7-3C58-423E-A0FB-CA96CD50B70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568204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_Standard slide_no first level bullets">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66F2E7BD-E26C-4C11-9061-EDDEF250F475}"/>
              </a:ext>
            </a:extLst>
          </p:cNvPr>
          <p:cNvSpPr>
            <a:spLocks/>
          </p:cNvSpPr>
          <p:nvPr userDrawn="1"/>
        </p:nvSpPr>
        <p:spPr>
          <a:xfrm>
            <a:off x="0" y="0"/>
            <a:ext cx="12191999" cy="6857999"/>
          </a:xfrm>
          <a:prstGeom prst="rect">
            <a:avLst/>
          </a:prstGeom>
          <a:gradFill flip="none" rotWithShape="1">
            <a:gsLst>
              <a:gs pos="1000">
                <a:schemeClr val="bg2">
                  <a:alpha val="73000"/>
                </a:schemeClr>
              </a:gs>
              <a:gs pos="56000">
                <a:schemeClr val="bg1">
                  <a:alpha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E" sz="1199" b="0" i="0" u="none" strike="noStrike" kern="1200" cap="none" spc="0" normalizeH="0" baseline="0" noProof="0">
              <a:ln>
                <a:noFill/>
              </a:ln>
              <a:solidFill>
                <a:srgbClr val="FFFFFF"/>
              </a:solidFill>
              <a:effectLst/>
              <a:uLnTx/>
              <a:uFillTx/>
              <a:latin typeface="EYInterstate Light"/>
              <a:ea typeface="+mn-ea"/>
              <a:cs typeface="+mn-cs"/>
            </a:endParaRPr>
          </a:p>
        </p:txBody>
      </p:sp>
      <p:graphicFrame>
        <p:nvGraphicFramePr>
          <p:cNvPr id="6" name="Object 5" hidden="1">
            <a:extLst>
              <a:ext uri="{FF2B5EF4-FFF2-40B4-BE49-F238E27FC236}">
                <a16:creationId xmlns:a16="http://schemas.microsoft.com/office/drawing/2014/main" id="{F9E9FAA0-39D5-4F7A-8053-C42422D37800}"/>
              </a:ext>
            </a:extLst>
          </p:cNvPr>
          <p:cNvGraphicFramePr>
            <a:graphicFrameLocks noChangeAspect="1"/>
          </p:cNvGraphicFramePr>
          <p:nvPr userDrawn="1">
            <p:custDataLst>
              <p:tags r:id="rId1"/>
            </p:custDataLst>
            <p:extLst>
              <p:ext uri="{D42A27DB-BD31-4B8C-83A1-F6EECF244321}">
                <p14:modId xmlns:p14="http://schemas.microsoft.com/office/powerpoint/2010/main" val="35970765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F9E9FAA0-39D5-4F7A-8053-C42422D378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074209-5AFF-40D0-B040-512CA3C9B81D}"/>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9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Slide Number Placeholder 4">
            <a:extLst>
              <a:ext uri="{FF2B5EF4-FFF2-40B4-BE49-F238E27FC236}">
                <a16:creationId xmlns:a16="http://schemas.microsoft.com/office/drawing/2014/main" id="{12234D66-6BF3-4FB3-8D04-B68951D6BF27}"/>
              </a:ext>
            </a:extLst>
          </p:cNvPr>
          <p:cNvSpPr>
            <a:spLocks noGrp="1"/>
          </p:cNvSpPr>
          <p:nvPr>
            <p:ph type="sldNum" sz="quarter" idx="12"/>
          </p:nvPr>
        </p:nvSpPr>
        <p:spPr>
          <a:xfrm>
            <a:off x="609600" y="6347728"/>
            <a:ext cx="180000" cy="176400"/>
          </a:xfrm>
        </p:spPr>
        <p:txBody>
          <a:bodyPr/>
          <a:lstStyle>
            <a:lvl1pPr algn="ctr">
              <a:defRPr>
                <a:solidFill>
                  <a:schemeClr val="tx1"/>
                </a:solidFill>
              </a:defRPr>
            </a:lvl1pPr>
          </a:lstStyle>
          <a:p>
            <a:fld id="{F1BC30E3-FFE5-4B91-AA19-87A149EBB9EE}" type="slidenum">
              <a:rPr lang="en-IE" smtClean="0"/>
              <a:pPr/>
              <a:t>‹#›</a:t>
            </a:fld>
            <a:endParaRPr lang="en-IE"/>
          </a:p>
        </p:txBody>
      </p:sp>
      <p:sp>
        <p:nvSpPr>
          <p:cNvPr id="24" name="Content Placeholder 2">
            <a:extLst>
              <a:ext uri="{FF2B5EF4-FFF2-40B4-BE49-F238E27FC236}">
                <a16:creationId xmlns:a16="http://schemas.microsoft.com/office/drawing/2014/main" id="{7FD1E6CA-CDC7-439E-851C-424D99EE0C8B}"/>
              </a:ext>
            </a:extLst>
          </p:cNvPr>
          <p:cNvSpPr>
            <a:spLocks noGrp="1"/>
          </p:cNvSpPr>
          <p:nvPr>
            <p:ph idx="1"/>
          </p:nvPr>
        </p:nvSpPr>
        <p:spPr>
          <a:xfrm>
            <a:off x="609601" y="2210160"/>
            <a:ext cx="5486399" cy="676788"/>
          </a:xfrm>
        </p:spPr>
        <p:txBody>
          <a:bodyPr/>
          <a:lstStyle>
            <a:lvl1pPr marL="0" indent="0">
              <a:buNone/>
              <a:defRPr sz="4400" b="0">
                <a:solidFill>
                  <a:schemeClr val="tx1"/>
                </a:solidFill>
              </a:defRPr>
            </a:lvl1pPr>
            <a:lvl2pPr marL="0" indent="0">
              <a:buNone/>
              <a:defRPr sz="1600" b="0">
                <a:solidFill>
                  <a:schemeClr val="tx2"/>
                </a:solidFill>
              </a:defRPr>
            </a:lvl2pPr>
            <a:lvl3pPr marL="0" indent="0">
              <a:buNone/>
              <a:defRPr sz="1200" b="1">
                <a:solidFill>
                  <a:schemeClr val="tx1"/>
                </a:solidFill>
                <a:latin typeface="EYInterstate" panose="02000503020000020004" pitchFamily="2" charset="0"/>
              </a:defRPr>
            </a:lvl3pPr>
            <a:lvl4pPr marL="180885" indent="-180885">
              <a:tabLst/>
              <a:defRPr sz="1100" b="0">
                <a:solidFill>
                  <a:schemeClr val="tx1"/>
                </a:solidFill>
              </a:defRPr>
            </a:lvl4pPr>
            <a:lvl5pPr marL="360183" indent="-185645">
              <a:tabLst>
                <a:tab pos="1255085" algn="l"/>
              </a:tabLst>
              <a:defRPr sz="1100" b="0">
                <a:solidFill>
                  <a:schemeClr val="tx1"/>
                </a:solidFill>
              </a:defRPr>
            </a:lvl5pPr>
          </a:lstStyle>
          <a:p>
            <a:pPr lvl="0"/>
            <a:r>
              <a:rPr lang="en-US"/>
              <a:t>Click to edit</a:t>
            </a:r>
          </a:p>
        </p:txBody>
      </p:sp>
      <p:sp>
        <p:nvSpPr>
          <p:cNvPr id="25" name="Text Placeholder 2">
            <a:extLst>
              <a:ext uri="{FF2B5EF4-FFF2-40B4-BE49-F238E27FC236}">
                <a16:creationId xmlns:a16="http://schemas.microsoft.com/office/drawing/2014/main" id="{F4AE00F5-64EA-4C2F-986B-07667FC0208A}"/>
              </a:ext>
            </a:extLst>
          </p:cNvPr>
          <p:cNvSpPr>
            <a:spLocks noGrp="1"/>
          </p:cNvSpPr>
          <p:nvPr>
            <p:ph type="body" sz="quarter" idx="10" hasCustomPrompt="1"/>
          </p:nvPr>
        </p:nvSpPr>
        <p:spPr>
          <a:xfrm>
            <a:off x="609600" y="1063599"/>
            <a:ext cx="1404135" cy="1080000"/>
          </a:xfrm>
        </p:spPr>
        <p:txBody>
          <a:bodyPr anchor="b"/>
          <a:lstStyle>
            <a:lvl1pPr marL="0" indent="0">
              <a:buNone/>
              <a:defRPr sz="7200">
                <a:solidFill>
                  <a:schemeClr val="tx2"/>
                </a:solidFill>
              </a:defRPr>
            </a:lvl1pPr>
            <a:lvl2pPr marL="356437" indent="0">
              <a:buNone/>
              <a:defRPr/>
            </a:lvl2pPr>
          </a:lstStyle>
          <a:p>
            <a:pPr lvl="0"/>
            <a:r>
              <a:rPr lang="en-US"/>
              <a:t>#</a:t>
            </a:r>
          </a:p>
        </p:txBody>
      </p:sp>
      <p:grpSp>
        <p:nvGrpSpPr>
          <p:cNvPr id="39" name="Group 4">
            <a:extLst>
              <a:ext uri="{FF2B5EF4-FFF2-40B4-BE49-F238E27FC236}">
                <a16:creationId xmlns:a16="http://schemas.microsoft.com/office/drawing/2014/main" id="{348FE4A7-EECF-403E-BF6A-ADBD46520F0D}"/>
              </a:ext>
            </a:extLst>
          </p:cNvPr>
          <p:cNvGrpSpPr>
            <a:grpSpLocks noChangeAspect="1"/>
          </p:cNvGrpSpPr>
          <p:nvPr userDrawn="1"/>
        </p:nvGrpSpPr>
        <p:grpSpPr bwMode="auto">
          <a:xfrm>
            <a:off x="11287125" y="6251575"/>
            <a:ext cx="303213" cy="311150"/>
            <a:chOff x="7110" y="4004"/>
            <a:chExt cx="191" cy="196"/>
          </a:xfrm>
        </p:grpSpPr>
        <p:sp>
          <p:nvSpPr>
            <p:cNvPr id="40" name="Freeform 5">
              <a:extLst>
                <a:ext uri="{FF2B5EF4-FFF2-40B4-BE49-F238E27FC236}">
                  <a16:creationId xmlns:a16="http://schemas.microsoft.com/office/drawing/2014/main" id="{4B71DE27-5691-4B4D-AEE4-F2159078E83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1" name="Freeform 6">
              <a:extLst>
                <a:ext uri="{FF2B5EF4-FFF2-40B4-BE49-F238E27FC236}">
                  <a16:creationId xmlns:a16="http://schemas.microsoft.com/office/drawing/2014/main" id="{1CC8C77C-453E-49E7-A9F0-D21C846B26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42" name="Freeform 7">
              <a:extLst>
                <a:ext uri="{FF2B5EF4-FFF2-40B4-BE49-F238E27FC236}">
                  <a16:creationId xmlns:a16="http://schemas.microsoft.com/office/drawing/2014/main" id="{0D380F00-892B-4580-9C21-3730BC89BDE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1539611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20.xml"/><Relationship Id="rId7" Type="http://schemas.openxmlformats.org/officeDocument/2006/relationships/tags" Target="../tags/tag2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2.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 Target="../slides/slide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4.xml"/><Relationship Id="rId1" Type="http://schemas.openxmlformats.org/officeDocument/2006/relationships/slideLayout" Target="../slideLayouts/slideLayout49.xml"/><Relationship Id="rId4" Type="http://schemas.openxmlformats.org/officeDocument/2006/relationships/image" Target="../media/image1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oleObject" Target="../embeddings/oleObject15.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30.xml"/><Relationship Id="rId5" Type="http://schemas.openxmlformats.org/officeDocument/2006/relationships/slideLayout" Target="../slideLayouts/slideLayout54.xml"/><Relationship Id="rId10" Type="http://schemas.openxmlformats.org/officeDocument/2006/relationships/tags" Target="../tags/tag29.xml"/><Relationship Id="rId4" Type="http://schemas.openxmlformats.org/officeDocument/2006/relationships/slideLayout" Target="../slideLayouts/slideLayout53.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70933-53D7-47AC-B9E1-77DC14535E76}"/>
              </a:ext>
            </a:extLst>
          </p:cNvPr>
          <p:cNvGraphicFramePr>
            <a:graphicFrameLocks noChangeAspect="1"/>
          </p:cNvGraphicFramePr>
          <p:nvPr userDrawn="1">
            <p:custDataLst>
              <p:tags r:id="rId19"/>
            </p:custDataLst>
            <p:extLst>
              <p:ext uri="{D42A27DB-BD31-4B8C-83A1-F6EECF244321}">
                <p14:modId xmlns:p14="http://schemas.microsoft.com/office/powerpoint/2010/main" val="36663504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498" imgH="499" progId="TCLayout.ActiveDocument.1">
                  <p:embed/>
                </p:oleObj>
              </mc:Choice>
              <mc:Fallback>
                <p:oleObj name="think-cell Slide" r:id="rId21" imgW="498" imgH="499" progId="TCLayout.ActiveDocument.1">
                  <p:embed/>
                  <p:pic>
                    <p:nvPicPr>
                      <p:cNvPr id="5" name="Object 4" hidden="1">
                        <a:extLst>
                          <a:ext uri="{FF2B5EF4-FFF2-40B4-BE49-F238E27FC236}">
                            <a16:creationId xmlns:a16="http://schemas.microsoft.com/office/drawing/2014/main" id="{61470933-53D7-47AC-B9E1-77DC14535E7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8D5F8-50F2-4136-887D-EF08782155A5}"/>
              </a:ext>
            </a:extLst>
          </p:cNvPr>
          <p:cNvSpPr/>
          <p:nvPr userDrawn="1">
            <p:custDataLst>
              <p:tags r:id="rId20"/>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1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861901"/>
            <a:ext cx="10972800" cy="590880"/>
          </a:xfrm>
          <a:prstGeom prst="rect">
            <a:avLst/>
          </a:prstGeom>
        </p:spPr>
        <p:txBody>
          <a:bodyPr vert="horz" lIns="0" tIns="0" rIns="0" bIns="0" rtlCol="0" anchor="b" anchorCtr="0">
            <a:noAutofit/>
          </a:bodyPr>
          <a:lstStyle/>
          <a:p>
            <a:pPr marL="0" lvl="0"/>
            <a:r>
              <a:rPr lang="en-US"/>
              <a:t>Click to edit Master title style</a:t>
            </a:r>
            <a:endParaRPr lang="en-GB"/>
          </a:p>
        </p:txBody>
      </p:sp>
      <p:sp>
        <p:nvSpPr>
          <p:cNvPr id="3" name="Text Placeholder 2"/>
          <p:cNvSpPr>
            <a:spLocks noGrp="1"/>
          </p:cNvSpPr>
          <p:nvPr>
            <p:ph type="body" idx="1"/>
          </p:nvPr>
        </p:nvSpPr>
        <p:spPr>
          <a:xfrm>
            <a:off x="609601" y="1699071"/>
            <a:ext cx="10972800" cy="4393754"/>
          </a:xfrm>
          <a:prstGeom prst="rect">
            <a:avLst/>
          </a:prstGeom>
        </p:spPr>
        <p:txBody>
          <a:bodyPr vert="horz" lIns="0" tIns="0" rIns="0" bIns="0" rtlCol="0" anchor="t" anchorCtr="0">
            <a:noAutofit/>
          </a:bodyPr>
          <a:lstStyle/>
          <a:p>
            <a:pPr marL="0" lvl="0" indent="0">
              <a:buNone/>
            </a:pPr>
            <a:r>
              <a:rPr lang="en-US"/>
              <a:t>Click to edit Master text styles</a:t>
            </a:r>
          </a:p>
          <a:p>
            <a:pPr marL="0" lvl="1" indent="0">
              <a:buNone/>
            </a:pPr>
            <a:r>
              <a:rPr lang="en-US"/>
              <a:t>Second level</a:t>
            </a:r>
          </a:p>
          <a:p>
            <a:pPr marL="0" lvl="2" indent="0">
              <a:buNone/>
            </a:pPr>
            <a:r>
              <a:rPr lang="en-US"/>
              <a:t>Third level</a:t>
            </a:r>
          </a:p>
          <a:p>
            <a:pPr marL="180885" lvl="3" indent="-180885">
              <a:tabLst/>
            </a:pPr>
            <a:r>
              <a:rPr lang="en-US"/>
              <a:t>Fourth level</a:t>
            </a:r>
          </a:p>
          <a:p>
            <a:pPr marL="360183" lvl="4" indent="-185645">
              <a:tabLst>
                <a:tab pos="1255085" algn="l"/>
              </a:tabLst>
            </a:pPr>
            <a:r>
              <a:rPr lang="en-US"/>
              <a:t>Fifth level</a:t>
            </a:r>
            <a:endParaRPr lang="en-GB"/>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919680" y="6471244"/>
            <a:ext cx="662721" cy="180000"/>
          </a:xfrm>
          <a:prstGeom prst="rect">
            <a:avLst/>
          </a:prstGeom>
        </p:spPr>
        <p:txBody>
          <a:bodyPr lIns="0" rIns="0"/>
          <a:lstStyle>
            <a:lvl1pPr marL="0" algn="r"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fld id="{F1BC30E3-FFE5-4B91-AA19-87A149EBB9EE}" type="slidenum">
              <a:rPr smtClean="0"/>
              <a:pPr/>
              <a:t>‹#›</a:t>
            </a:fld>
            <a:endParaRPr/>
          </a:p>
        </p:txBody>
      </p:sp>
    </p:spTree>
    <p:extLst>
      <p:ext uri="{BB962C8B-B14F-4D97-AF65-F5344CB8AC3E}">
        <p14:creationId xmlns:p14="http://schemas.microsoft.com/office/powerpoint/2010/main" val="3845511995"/>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3797" r:id="rId4"/>
    <p:sldLayoutId id="2147483860" r:id="rId5"/>
    <p:sldLayoutId id="2147483858" r:id="rId6"/>
    <p:sldLayoutId id="2147483859" r:id="rId7"/>
    <p:sldLayoutId id="2147484245" r:id="rId8"/>
    <p:sldLayoutId id="2147484246" r:id="rId9"/>
    <p:sldLayoutId id="2147484247" r:id="rId10"/>
    <p:sldLayoutId id="2147484248" r:id="rId11"/>
    <p:sldLayoutId id="2147483935" r:id="rId12"/>
    <p:sldLayoutId id="2147483854" r:id="rId13"/>
    <p:sldLayoutId id="2147483857" r:id="rId14"/>
    <p:sldLayoutId id="2147484249" r:id="rId15"/>
    <p:sldLayoutId id="2147483861" r:id="rId16"/>
    <p:sldLayoutId id="2147483851" r:id="rId17"/>
  </p:sldLayoutIdLst>
  <p:hf sldNum="0" hdr="0" ftr="0" dt="0"/>
  <p:txStyles>
    <p:titleStyle>
      <a:lvl1pPr algn="l" defTabSz="913943" rtl="0" eaLnBrk="1" latinLnBrk="0" hangingPunct="1">
        <a:lnSpc>
          <a:spcPct val="85000"/>
        </a:lnSpc>
        <a:spcBef>
          <a:spcPct val="0"/>
        </a:spcBef>
        <a:buNone/>
        <a:defRPr lang="en-GB" sz="3198" b="0" kern="1200" dirty="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000" kern="1200" dirty="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400" b="0" kern="1200" dirty="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
          <p15:clr>
            <a:srgbClr val="F26B43"/>
          </p15:clr>
        </p15:guide>
        <p15:guide id="2" orient="horz" pos="709">
          <p15:clr>
            <a:srgbClr val="F26B43"/>
          </p15:clr>
        </p15:guide>
        <p15:guide id="3" pos="7312">
          <p15:clr>
            <a:srgbClr val="F26B43"/>
          </p15:clr>
        </p15:guide>
        <p15:guide id="4"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379976-C4D8-4D86-93FC-EE53C28545BA}"/>
              </a:ext>
            </a:extLst>
          </p:cNvPr>
          <p:cNvGraphicFramePr>
            <a:graphicFrameLocks noChangeAspect="1"/>
          </p:cNvGraphicFramePr>
          <p:nvPr userDrawn="1">
            <p:custDataLst>
              <p:tags r:id="rId7"/>
            </p:custDataLst>
            <p:extLst>
              <p:ext uri="{D42A27DB-BD31-4B8C-83A1-F6EECF244321}">
                <p14:modId xmlns:p14="http://schemas.microsoft.com/office/powerpoint/2010/main" val="421002507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8379976-C4D8-4D86-93FC-EE53C28545BA}"/>
                          </a:ext>
                        </a:extLst>
                      </p:cNvPr>
                      <p:cNvPicPr/>
                      <p:nvPr/>
                    </p:nvPicPr>
                    <p:blipFill>
                      <a:blip r:embed="rId9"/>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277923" y="6467475"/>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a:t>Page </a:t>
            </a:r>
            <a:fld id="{D5B76411-544C-4F9A-8EDE-9EEB2BD21F95}" type="slidenum">
              <a:rPr lang="en-IN" sz="800" smtClean="0"/>
              <a:t>‹#›</a:t>
            </a:fld>
            <a:endParaRPr sz="800"/>
          </a:p>
        </p:txBody>
      </p:sp>
    </p:spTree>
    <p:extLst>
      <p:ext uri="{BB962C8B-B14F-4D97-AF65-F5344CB8AC3E}">
        <p14:creationId xmlns:p14="http://schemas.microsoft.com/office/powerpoint/2010/main" val="1586323379"/>
      </p:ext>
    </p:extLst>
  </p:cSld>
  <p:clrMap bg1="lt1" tx1="dk1" bg2="lt2" tx2="dk2" accent1="accent1" accent2="accent2" accent3="accent3" accent4="accent4" accent5="accent5" accent6="accent6" hlink="hlink" folHlink="folHlink"/>
  <p:sldLayoutIdLst>
    <p:sldLayoutId id="2147483863" r:id="rId1"/>
    <p:sldLayoutId id="2147483864" r:id="rId2"/>
    <p:sldLayoutId id="2147484250" r:id="rId3"/>
    <p:sldLayoutId id="2147483945" r:id="rId4"/>
    <p:sldLayoutId id="2147483870" r:id="rId5"/>
  </p:sldLayoutIdLst>
  <p:hf sldNum="0" hdr="0" ftr="0" dt="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305">
          <p15:clr>
            <a:srgbClr val="F26B43"/>
          </p15:clr>
        </p15:guide>
        <p15:guide id="5" orient="horz" pos="716">
          <p15:clr>
            <a:srgbClr val="F26B43"/>
          </p15:clr>
        </p15:guide>
        <p15:guide id="6" orient="horz" pos="558">
          <p15:clr>
            <a:srgbClr val="F26B43"/>
          </p15:clr>
        </p15:guide>
        <p15:guide id="7" orient="horz" pos="3840">
          <p15:clr>
            <a:srgbClr val="F26B43"/>
          </p15:clr>
        </p15:guide>
        <p15:guide id="8" orient="horz"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896B155-5DF5-43B5-B21F-AD564AD0CACE}"/>
              </a:ext>
            </a:extLst>
          </p:cNvPr>
          <p:cNvGrpSpPr/>
          <p:nvPr userDrawn="1"/>
        </p:nvGrpSpPr>
        <p:grpSpPr>
          <a:xfrm>
            <a:off x="8463332" y="6315643"/>
            <a:ext cx="379491" cy="373624"/>
            <a:chOff x="-4013201" y="1423988"/>
            <a:chExt cx="3975101" cy="3911600"/>
          </a:xfrm>
          <a:solidFill>
            <a:schemeClr val="accent5"/>
          </a:solidFill>
        </p:grpSpPr>
        <p:sp>
          <p:nvSpPr>
            <p:cNvPr id="17" name="Oval 5">
              <a:extLst>
                <a:ext uri="{FF2B5EF4-FFF2-40B4-BE49-F238E27FC236}">
                  <a16:creationId xmlns:a16="http://schemas.microsoft.com/office/drawing/2014/main" id="{F10D1D65-4D72-4785-B272-8F9BF27C50F7}"/>
                </a:ext>
              </a:extLst>
            </p:cNvPr>
            <p:cNvSpPr>
              <a:spLocks noChangeArrowheads="1"/>
            </p:cNvSpPr>
            <p:nvPr/>
          </p:nvSpPr>
          <p:spPr bwMode="auto">
            <a:xfrm>
              <a:off x="-866775" y="30241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 name="Oval 6">
              <a:extLst>
                <a:ext uri="{FF2B5EF4-FFF2-40B4-BE49-F238E27FC236}">
                  <a16:creationId xmlns:a16="http://schemas.microsoft.com/office/drawing/2014/main" id="{951A8CF4-CCAF-48CD-BD92-5DA7A2B2CAD5}"/>
                </a:ext>
              </a:extLst>
            </p:cNvPr>
            <p:cNvSpPr>
              <a:spLocks noChangeArrowheads="1"/>
            </p:cNvSpPr>
            <p:nvPr/>
          </p:nvSpPr>
          <p:spPr bwMode="auto">
            <a:xfrm>
              <a:off x="-666750"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 name="Oval 7">
              <a:extLst>
                <a:ext uri="{FF2B5EF4-FFF2-40B4-BE49-F238E27FC236}">
                  <a16:creationId xmlns:a16="http://schemas.microsoft.com/office/drawing/2014/main" id="{5CE04747-8DA4-4528-8407-0A308A638663}"/>
                </a:ext>
              </a:extLst>
            </p:cNvPr>
            <p:cNvSpPr>
              <a:spLocks noChangeArrowheads="1"/>
            </p:cNvSpPr>
            <p:nvPr/>
          </p:nvSpPr>
          <p:spPr bwMode="auto">
            <a:xfrm>
              <a:off x="-1066800"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 name="Oval 8">
              <a:extLst>
                <a:ext uri="{FF2B5EF4-FFF2-40B4-BE49-F238E27FC236}">
                  <a16:creationId xmlns:a16="http://schemas.microsoft.com/office/drawing/2014/main" id="{6255D772-16FE-455D-A8D3-AF588E1EF808}"/>
                </a:ext>
              </a:extLst>
            </p:cNvPr>
            <p:cNvSpPr>
              <a:spLocks noChangeArrowheads="1"/>
            </p:cNvSpPr>
            <p:nvPr/>
          </p:nvSpPr>
          <p:spPr bwMode="auto">
            <a:xfrm>
              <a:off x="-1066800"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 name="Oval 9">
              <a:extLst>
                <a:ext uri="{FF2B5EF4-FFF2-40B4-BE49-F238E27FC236}">
                  <a16:creationId xmlns:a16="http://schemas.microsoft.com/office/drawing/2014/main" id="{94A53483-3F6B-4D37-9B10-27BB25E3E139}"/>
                </a:ext>
              </a:extLst>
            </p:cNvPr>
            <p:cNvSpPr>
              <a:spLocks noChangeArrowheads="1"/>
            </p:cNvSpPr>
            <p:nvPr/>
          </p:nvSpPr>
          <p:spPr bwMode="auto">
            <a:xfrm>
              <a:off x="-866775" y="38290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 name="Oval 10">
              <a:extLst>
                <a:ext uri="{FF2B5EF4-FFF2-40B4-BE49-F238E27FC236}">
                  <a16:creationId xmlns:a16="http://schemas.microsoft.com/office/drawing/2014/main" id="{0210A7A2-66AA-4928-BF86-27807953F52E}"/>
                </a:ext>
              </a:extLst>
            </p:cNvPr>
            <p:cNvSpPr>
              <a:spLocks noChangeArrowheads="1"/>
            </p:cNvSpPr>
            <p:nvPr/>
          </p:nvSpPr>
          <p:spPr bwMode="auto">
            <a:xfrm>
              <a:off x="-1066800" y="40322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 name="Oval 11">
              <a:extLst>
                <a:ext uri="{FF2B5EF4-FFF2-40B4-BE49-F238E27FC236}">
                  <a16:creationId xmlns:a16="http://schemas.microsoft.com/office/drawing/2014/main" id="{5B97A058-99CB-4532-A266-082AB7A313C8}"/>
                </a:ext>
              </a:extLst>
            </p:cNvPr>
            <p:cNvSpPr>
              <a:spLocks noChangeArrowheads="1"/>
            </p:cNvSpPr>
            <p:nvPr/>
          </p:nvSpPr>
          <p:spPr bwMode="auto">
            <a:xfrm>
              <a:off x="-1066800" y="3629025"/>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 name="Freeform 12">
              <a:extLst>
                <a:ext uri="{FF2B5EF4-FFF2-40B4-BE49-F238E27FC236}">
                  <a16:creationId xmlns:a16="http://schemas.microsoft.com/office/drawing/2014/main" id="{4D2920BC-AF1C-4699-808C-0D1A244EF04E}"/>
                </a:ext>
              </a:extLst>
            </p:cNvPr>
            <p:cNvSpPr>
              <a:spLocks/>
            </p:cNvSpPr>
            <p:nvPr/>
          </p:nvSpPr>
          <p:spPr bwMode="auto">
            <a:xfrm>
              <a:off x="-866775" y="3427413"/>
              <a:ext cx="120650" cy="120650"/>
            </a:xfrm>
            <a:custGeom>
              <a:avLst/>
              <a:gdLst>
                <a:gd name="T0" fmla="*/ 28 w 56"/>
                <a:gd name="T1" fmla="*/ 56 h 56"/>
                <a:gd name="T2" fmla="*/ 56 w 56"/>
                <a:gd name="T3" fmla="*/ 28 h 56"/>
                <a:gd name="T4" fmla="*/ 56 w 56"/>
                <a:gd name="T5" fmla="*/ 28 h 56"/>
                <a:gd name="T6" fmla="*/ 56 w 56"/>
                <a:gd name="T7" fmla="*/ 28 h 56"/>
                <a:gd name="T8" fmla="*/ 28 w 56"/>
                <a:gd name="T9" fmla="*/ 0 h 56"/>
                <a:gd name="T10" fmla="*/ 0 w 56"/>
                <a:gd name="T11" fmla="*/ 28 h 56"/>
                <a:gd name="T12" fmla="*/ 0 w 56"/>
                <a:gd name="T13" fmla="*/ 28 h 56"/>
                <a:gd name="T14" fmla="*/ 0 w 56"/>
                <a:gd name="T15" fmla="*/ 28 h 56"/>
                <a:gd name="T16" fmla="*/ 28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28" y="56"/>
                  </a:moveTo>
                  <a:cubicBezTo>
                    <a:pt x="43" y="56"/>
                    <a:pt x="56" y="43"/>
                    <a:pt x="56" y="28"/>
                  </a:cubicBezTo>
                  <a:cubicBezTo>
                    <a:pt x="56" y="28"/>
                    <a:pt x="56" y="28"/>
                    <a:pt x="56" y="28"/>
                  </a:cubicBezTo>
                  <a:cubicBezTo>
                    <a:pt x="56" y="28"/>
                    <a:pt x="56" y="28"/>
                    <a:pt x="56" y="28"/>
                  </a:cubicBezTo>
                  <a:cubicBezTo>
                    <a:pt x="56" y="12"/>
                    <a:pt x="43" y="0"/>
                    <a:pt x="28" y="0"/>
                  </a:cubicBezTo>
                  <a:cubicBezTo>
                    <a:pt x="12" y="0"/>
                    <a:pt x="0" y="12"/>
                    <a:pt x="0" y="28"/>
                  </a:cubicBezTo>
                  <a:cubicBezTo>
                    <a:pt x="0" y="28"/>
                    <a:pt x="0" y="28"/>
                    <a:pt x="0" y="28"/>
                  </a:cubicBezTo>
                  <a:cubicBezTo>
                    <a:pt x="0" y="28"/>
                    <a:pt x="0" y="28"/>
                    <a:pt x="0" y="28"/>
                  </a:cubicBezTo>
                  <a:cubicBezTo>
                    <a:pt x="0" y="43"/>
                    <a:pt x="12"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5" name="Oval 13">
              <a:extLst>
                <a:ext uri="{FF2B5EF4-FFF2-40B4-BE49-F238E27FC236}">
                  <a16:creationId xmlns:a16="http://schemas.microsoft.com/office/drawing/2014/main" id="{0DE5803C-0033-4CA6-9BB5-6D3DF1B06F5F}"/>
                </a:ext>
              </a:extLst>
            </p:cNvPr>
            <p:cNvSpPr>
              <a:spLocks noChangeArrowheads="1"/>
            </p:cNvSpPr>
            <p:nvPr/>
          </p:nvSpPr>
          <p:spPr bwMode="auto">
            <a:xfrm>
              <a:off x="-866775" y="46339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6" name="Oval 14">
              <a:extLst>
                <a:ext uri="{FF2B5EF4-FFF2-40B4-BE49-F238E27FC236}">
                  <a16:creationId xmlns:a16="http://schemas.microsoft.com/office/drawing/2014/main" id="{9DF8FB73-47A3-4BB2-A66A-DF2E06A504CC}"/>
                </a:ext>
              </a:extLst>
            </p:cNvPr>
            <p:cNvSpPr>
              <a:spLocks noChangeArrowheads="1"/>
            </p:cNvSpPr>
            <p:nvPr/>
          </p:nvSpPr>
          <p:spPr bwMode="auto">
            <a:xfrm>
              <a:off x="-1066800" y="4837113"/>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7" name="Oval 15">
              <a:extLst>
                <a:ext uri="{FF2B5EF4-FFF2-40B4-BE49-F238E27FC236}">
                  <a16:creationId xmlns:a16="http://schemas.microsoft.com/office/drawing/2014/main" id="{12FCF912-1723-4A4A-82C1-8B92D117932A}"/>
                </a:ext>
              </a:extLst>
            </p:cNvPr>
            <p:cNvSpPr>
              <a:spLocks noChangeArrowheads="1"/>
            </p:cNvSpPr>
            <p:nvPr/>
          </p:nvSpPr>
          <p:spPr bwMode="auto">
            <a:xfrm>
              <a:off x="-1066800" y="44338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8" name="Freeform 16">
              <a:extLst>
                <a:ext uri="{FF2B5EF4-FFF2-40B4-BE49-F238E27FC236}">
                  <a16:creationId xmlns:a16="http://schemas.microsoft.com/office/drawing/2014/main" id="{3CDA33A0-EB9F-440B-98EE-342142D864D0}"/>
                </a:ext>
              </a:extLst>
            </p:cNvPr>
            <p:cNvSpPr>
              <a:spLocks/>
            </p:cNvSpPr>
            <p:nvPr/>
          </p:nvSpPr>
          <p:spPr bwMode="auto">
            <a:xfrm>
              <a:off x="-866775" y="4232275"/>
              <a:ext cx="120650" cy="122238"/>
            </a:xfrm>
            <a:custGeom>
              <a:avLst/>
              <a:gdLst>
                <a:gd name="T0" fmla="*/ 28 w 56"/>
                <a:gd name="T1" fmla="*/ 56 h 56"/>
                <a:gd name="T2" fmla="*/ 56 w 56"/>
                <a:gd name="T3" fmla="*/ 28 h 56"/>
                <a:gd name="T4" fmla="*/ 56 w 56"/>
                <a:gd name="T5" fmla="*/ 28 h 56"/>
                <a:gd name="T6" fmla="*/ 56 w 56"/>
                <a:gd name="T7" fmla="*/ 28 h 56"/>
                <a:gd name="T8" fmla="*/ 28 w 56"/>
                <a:gd name="T9" fmla="*/ 0 h 56"/>
                <a:gd name="T10" fmla="*/ 0 w 56"/>
                <a:gd name="T11" fmla="*/ 28 h 56"/>
                <a:gd name="T12" fmla="*/ 0 w 56"/>
                <a:gd name="T13" fmla="*/ 28 h 56"/>
                <a:gd name="T14" fmla="*/ 0 w 56"/>
                <a:gd name="T15" fmla="*/ 28 h 56"/>
                <a:gd name="T16" fmla="*/ 28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28" y="56"/>
                  </a:moveTo>
                  <a:cubicBezTo>
                    <a:pt x="43" y="56"/>
                    <a:pt x="56" y="43"/>
                    <a:pt x="56" y="28"/>
                  </a:cubicBezTo>
                  <a:cubicBezTo>
                    <a:pt x="56" y="28"/>
                    <a:pt x="56" y="28"/>
                    <a:pt x="56" y="28"/>
                  </a:cubicBezTo>
                  <a:cubicBezTo>
                    <a:pt x="56" y="28"/>
                    <a:pt x="56" y="28"/>
                    <a:pt x="56" y="28"/>
                  </a:cubicBezTo>
                  <a:cubicBezTo>
                    <a:pt x="56" y="12"/>
                    <a:pt x="43" y="0"/>
                    <a:pt x="28" y="0"/>
                  </a:cubicBezTo>
                  <a:cubicBezTo>
                    <a:pt x="12" y="0"/>
                    <a:pt x="0" y="12"/>
                    <a:pt x="0" y="28"/>
                  </a:cubicBezTo>
                  <a:cubicBezTo>
                    <a:pt x="0" y="28"/>
                    <a:pt x="0" y="28"/>
                    <a:pt x="0" y="28"/>
                  </a:cubicBezTo>
                  <a:cubicBezTo>
                    <a:pt x="0" y="28"/>
                    <a:pt x="0" y="28"/>
                    <a:pt x="0" y="28"/>
                  </a:cubicBezTo>
                  <a:cubicBezTo>
                    <a:pt x="0" y="43"/>
                    <a:pt x="12"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9" name="Oval 17">
              <a:extLst>
                <a:ext uri="{FF2B5EF4-FFF2-40B4-BE49-F238E27FC236}">
                  <a16:creationId xmlns:a16="http://schemas.microsoft.com/office/drawing/2014/main" id="{CAEBA08E-2047-4E19-BD97-6E50CDF295D8}"/>
                </a:ext>
              </a:extLst>
            </p:cNvPr>
            <p:cNvSpPr>
              <a:spLocks noChangeArrowheads="1"/>
            </p:cNvSpPr>
            <p:nvPr/>
          </p:nvSpPr>
          <p:spPr bwMode="auto">
            <a:xfrm>
              <a:off x="-1670050" y="2219325"/>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0" name="Oval 18">
              <a:extLst>
                <a:ext uri="{FF2B5EF4-FFF2-40B4-BE49-F238E27FC236}">
                  <a16:creationId xmlns:a16="http://schemas.microsoft.com/office/drawing/2014/main" id="{0A6E0081-19B3-49D1-930E-5A45A68D9592}"/>
                </a:ext>
              </a:extLst>
            </p:cNvPr>
            <p:cNvSpPr>
              <a:spLocks noChangeArrowheads="1"/>
            </p:cNvSpPr>
            <p:nvPr/>
          </p:nvSpPr>
          <p:spPr bwMode="auto">
            <a:xfrm>
              <a:off x="-1470025" y="24193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1" name="Oval 19">
              <a:extLst>
                <a:ext uri="{FF2B5EF4-FFF2-40B4-BE49-F238E27FC236}">
                  <a16:creationId xmlns:a16="http://schemas.microsoft.com/office/drawing/2014/main" id="{B0088EB4-0625-4321-B7C3-EF1FE7D02EEF}"/>
                </a:ext>
              </a:extLst>
            </p:cNvPr>
            <p:cNvSpPr>
              <a:spLocks noChangeArrowheads="1"/>
            </p:cNvSpPr>
            <p:nvPr/>
          </p:nvSpPr>
          <p:spPr bwMode="auto">
            <a:xfrm>
              <a:off x="-1873250" y="24193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2" name="Oval 20">
              <a:extLst>
                <a:ext uri="{FF2B5EF4-FFF2-40B4-BE49-F238E27FC236}">
                  <a16:creationId xmlns:a16="http://schemas.microsoft.com/office/drawing/2014/main" id="{F8434225-80FE-42B0-BE98-9FF16AB4FCD8}"/>
                </a:ext>
              </a:extLst>
            </p:cNvPr>
            <p:cNvSpPr>
              <a:spLocks noChangeArrowheads="1"/>
            </p:cNvSpPr>
            <p:nvPr/>
          </p:nvSpPr>
          <p:spPr bwMode="auto">
            <a:xfrm>
              <a:off x="-1873250" y="2017713"/>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3" name="Oval 21">
              <a:extLst>
                <a:ext uri="{FF2B5EF4-FFF2-40B4-BE49-F238E27FC236}">
                  <a16:creationId xmlns:a16="http://schemas.microsoft.com/office/drawing/2014/main" id="{B594C56A-C719-46B4-9874-C0A51FB838FB}"/>
                </a:ext>
              </a:extLst>
            </p:cNvPr>
            <p:cNvSpPr>
              <a:spLocks noChangeArrowheads="1"/>
            </p:cNvSpPr>
            <p:nvPr/>
          </p:nvSpPr>
          <p:spPr bwMode="auto">
            <a:xfrm>
              <a:off x="-1670050" y="30241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4" name="Freeform 22">
              <a:extLst>
                <a:ext uri="{FF2B5EF4-FFF2-40B4-BE49-F238E27FC236}">
                  <a16:creationId xmlns:a16="http://schemas.microsoft.com/office/drawing/2014/main" id="{26EA4E77-A65C-4DA1-ABE4-0B4BE89777A9}"/>
                </a:ext>
              </a:extLst>
            </p:cNvPr>
            <p:cNvSpPr>
              <a:spLocks/>
            </p:cNvSpPr>
            <p:nvPr/>
          </p:nvSpPr>
          <p:spPr bwMode="auto">
            <a:xfrm>
              <a:off x="-1270000" y="3024188"/>
              <a:ext cx="120650" cy="120650"/>
            </a:xfrm>
            <a:custGeom>
              <a:avLst/>
              <a:gdLst>
                <a:gd name="T0" fmla="*/ 5 w 56"/>
                <a:gd name="T1" fmla="*/ 44 h 56"/>
                <a:gd name="T2" fmla="*/ 23 w 56"/>
                <a:gd name="T3" fmla="*/ 55 h 56"/>
                <a:gd name="T4" fmla="*/ 28 w 56"/>
                <a:gd name="T5" fmla="*/ 56 h 56"/>
                <a:gd name="T6" fmla="*/ 56 w 56"/>
                <a:gd name="T7" fmla="*/ 28 h 56"/>
                <a:gd name="T8" fmla="*/ 28 w 56"/>
                <a:gd name="T9" fmla="*/ 0 h 56"/>
                <a:gd name="T10" fmla="*/ 23 w 56"/>
                <a:gd name="T11" fmla="*/ 1 h 56"/>
                <a:gd name="T12" fmla="*/ 5 w 56"/>
                <a:gd name="T13" fmla="*/ 12 h 56"/>
                <a:gd name="T14" fmla="*/ 0 w 56"/>
                <a:gd name="T15" fmla="*/ 28 h 56"/>
                <a:gd name="T16" fmla="*/ 5 w 56"/>
                <a:gd name="T17"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5" y="44"/>
                  </a:moveTo>
                  <a:cubicBezTo>
                    <a:pt x="9" y="50"/>
                    <a:pt x="15" y="54"/>
                    <a:pt x="23" y="55"/>
                  </a:cubicBezTo>
                  <a:cubicBezTo>
                    <a:pt x="24" y="56"/>
                    <a:pt x="26" y="56"/>
                    <a:pt x="28" y="56"/>
                  </a:cubicBezTo>
                  <a:cubicBezTo>
                    <a:pt x="44" y="56"/>
                    <a:pt x="56" y="44"/>
                    <a:pt x="56" y="28"/>
                  </a:cubicBezTo>
                  <a:cubicBezTo>
                    <a:pt x="56" y="13"/>
                    <a:pt x="44" y="0"/>
                    <a:pt x="28" y="0"/>
                  </a:cubicBezTo>
                  <a:cubicBezTo>
                    <a:pt x="26" y="0"/>
                    <a:pt x="24" y="0"/>
                    <a:pt x="23" y="1"/>
                  </a:cubicBezTo>
                  <a:cubicBezTo>
                    <a:pt x="15" y="2"/>
                    <a:pt x="9" y="6"/>
                    <a:pt x="5" y="12"/>
                  </a:cubicBezTo>
                  <a:cubicBezTo>
                    <a:pt x="2" y="17"/>
                    <a:pt x="0" y="22"/>
                    <a:pt x="0" y="28"/>
                  </a:cubicBezTo>
                  <a:cubicBezTo>
                    <a:pt x="0" y="34"/>
                    <a:pt x="2" y="39"/>
                    <a:pt x="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5" name="Oval 23">
              <a:extLst>
                <a:ext uri="{FF2B5EF4-FFF2-40B4-BE49-F238E27FC236}">
                  <a16:creationId xmlns:a16="http://schemas.microsoft.com/office/drawing/2014/main" id="{675030E2-734A-4569-A103-382FF022736E}"/>
                </a:ext>
              </a:extLst>
            </p:cNvPr>
            <p:cNvSpPr>
              <a:spLocks noChangeArrowheads="1"/>
            </p:cNvSpPr>
            <p:nvPr/>
          </p:nvSpPr>
          <p:spPr bwMode="auto">
            <a:xfrm>
              <a:off x="-1470025"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6" name="Oval 24">
              <a:extLst>
                <a:ext uri="{FF2B5EF4-FFF2-40B4-BE49-F238E27FC236}">
                  <a16:creationId xmlns:a16="http://schemas.microsoft.com/office/drawing/2014/main" id="{8E2380A0-23E5-4323-B494-06A80DB0EA02}"/>
                </a:ext>
              </a:extLst>
            </p:cNvPr>
            <p:cNvSpPr>
              <a:spLocks noChangeArrowheads="1"/>
            </p:cNvSpPr>
            <p:nvPr/>
          </p:nvSpPr>
          <p:spPr bwMode="auto">
            <a:xfrm>
              <a:off x="-1470025"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7" name="Oval 25">
              <a:extLst>
                <a:ext uri="{FF2B5EF4-FFF2-40B4-BE49-F238E27FC236}">
                  <a16:creationId xmlns:a16="http://schemas.microsoft.com/office/drawing/2014/main" id="{4A7592C4-C5CE-4CBA-895E-8AEDCA3D75B1}"/>
                </a:ext>
              </a:extLst>
            </p:cNvPr>
            <p:cNvSpPr>
              <a:spLocks noChangeArrowheads="1"/>
            </p:cNvSpPr>
            <p:nvPr/>
          </p:nvSpPr>
          <p:spPr bwMode="auto">
            <a:xfrm>
              <a:off x="-1873250"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8" name="Freeform 26">
              <a:extLst>
                <a:ext uri="{FF2B5EF4-FFF2-40B4-BE49-F238E27FC236}">
                  <a16:creationId xmlns:a16="http://schemas.microsoft.com/office/drawing/2014/main" id="{1B3CD06E-1F12-495A-85E2-9D3005C761EE}"/>
                </a:ext>
              </a:extLst>
            </p:cNvPr>
            <p:cNvSpPr>
              <a:spLocks/>
            </p:cNvSpPr>
            <p:nvPr/>
          </p:nvSpPr>
          <p:spPr bwMode="auto">
            <a:xfrm>
              <a:off x="-1670050" y="2622550"/>
              <a:ext cx="120650" cy="119063"/>
            </a:xfrm>
            <a:custGeom>
              <a:avLst/>
              <a:gdLst>
                <a:gd name="T0" fmla="*/ 28 w 56"/>
                <a:gd name="T1" fmla="*/ 55 h 55"/>
                <a:gd name="T2" fmla="*/ 56 w 56"/>
                <a:gd name="T3" fmla="*/ 28 h 55"/>
                <a:gd name="T4" fmla="*/ 56 w 56"/>
                <a:gd name="T5" fmla="*/ 27 h 55"/>
                <a:gd name="T6" fmla="*/ 56 w 56"/>
                <a:gd name="T7" fmla="*/ 27 h 55"/>
                <a:gd name="T8" fmla="*/ 28 w 56"/>
                <a:gd name="T9" fmla="*/ 0 h 55"/>
                <a:gd name="T10" fmla="*/ 0 w 56"/>
                <a:gd name="T11" fmla="*/ 27 h 55"/>
                <a:gd name="T12" fmla="*/ 0 w 56"/>
                <a:gd name="T13" fmla="*/ 27 h 55"/>
                <a:gd name="T14" fmla="*/ 0 w 56"/>
                <a:gd name="T15" fmla="*/ 28 h 55"/>
                <a:gd name="T16" fmla="*/ 28 w 56"/>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28" y="55"/>
                  </a:moveTo>
                  <a:cubicBezTo>
                    <a:pt x="43" y="55"/>
                    <a:pt x="56" y="43"/>
                    <a:pt x="56" y="28"/>
                  </a:cubicBezTo>
                  <a:cubicBezTo>
                    <a:pt x="56" y="27"/>
                    <a:pt x="56" y="27"/>
                    <a:pt x="56" y="27"/>
                  </a:cubicBezTo>
                  <a:cubicBezTo>
                    <a:pt x="56" y="27"/>
                    <a:pt x="56" y="27"/>
                    <a:pt x="56" y="27"/>
                  </a:cubicBezTo>
                  <a:cubicBezTo>
                    <a:pt x="56" y="12"/>
                    <a:pt x="43" y="0"/>
                    <a:pt x="28" y="0"/>
                  </a:cubicBezTo>
                  <a:cubicBezTo>
                    <a:pt x="12" y="0"/>
                    <a:pt x="0" y="12"/>
                    <a:pt x="0" y="27"/>
                  </a:cubicBezTo>
                  <a:cubicBezTo>
                    <a:pt x="0" y="27"/>
                    <a:pt x="0" y="27"/>
                    <a:pt x="0" y="27"/>
                  </a:cubicBezTo>
                  <a:cubicBezTo>
                    <a:pt x="0" y="27"/>
                    <a:pt x="0" y="27"/>
                    <a:pt x="0" y="28"/>
                  </a:cubicBezTo>
                  <a:cubicBezTo>
                    <a:pt x="0" y="43"/>
                    <a:pt x="12" y="55"/>
                    <a:pt x="2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9" name="Freeform 27">
              <a:extLst>
                <a:ext uri="{FF2B5EF4-FFF2-40B4-BE49-F238E27FC236}">
                  <a16:creationId xmlns:a16="http://schemas.microsoft.com/office/drawing/2014/main" id="{6DAD4515-FF69-414B-A3B3-20C76D99CC7E}"/>
                </a:ext>
              </a:extLst>
            </p:cNvPr>
            <p:cNvSpPr>
              <a:spLocks/>
            </p:cNvSpPr>
            <p:nvPr/>
          </p:nvSpPr>
          <p:spPr bwMode="auto">
            <a:xfrm>
              <a:off x="-1270000" y="2622550"/>
              <a:ext cx="120650" cy="119063"/>
            </a:xfrm>
            <a:custGeom>
              <a:avLst/>
              <a:gdLst>
                <a:gd name="T0" fmla="*/ 5 w 56"/>
                <a:gd name="T1" fmla="*/ 43 h 55"/>
                <a:gd name="T2" fmla="*/ 23 w 56"/>
                <a:gd name="T3" fmla="*/ 55 h 55"/>
                <a:gd name="T4" fmla="*/ 28 w 56"/>
                <a:gd name="T5" fmla="*/ 55 h 55"/>
                <a:gd name="T6" fmla="*/ 56 w 56"/>
                <a:gd name="T7" fmla="*/ 28 h 55"/>
                <a:gd name="T8" fmla="*/ 56 w 56"/>
                <a:gd name="T9" fmla="*/ 27 h 55"/>
                <a:gd name="T10" fmla="*/ 56 w 56"/>
                <a:gd name="T11" fmla="*/ 27 h 55"/>
                <a:gd name="T12" fmla="*/ 28 w 56"/>
                <a:gd name="T13" fmla="*/ 0 h 55"/>
                <a:gd name="T14" fmla="*/ 23 w 56"/>
                <a:gd name="T15" fmla="*/ 0 h 55"/>
                <a:gd name="T16" fmla="*/ 5 w 56"/>
                <a:gd name="T17" fmla="*/ 12 h 55"/>
                <a:gd name="T18" fmla="*/ 0 w 56"/>
                <a:gd name="T19" fmla="*/ 27 h 55"/>
                <a:gd name="T20" fmla="*/ 0 w 56"/>
                <a:gd name="T21" fmla="*/ 27 h 55"/>
                <a:gd name="T22" fmla="*/ 0 w 56"/>
                <a:gd name="T23" fmla="*/ 28 h 55"/>
                <a:gd name="T24" fmla="*/ 5 w 56"/>
                <a:gd name="T2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5" y="43"/>
                  </a:moveTo>
                  <a:cubicBezTo>
                    <a:pt x="9" y="49"/>
                    <a:pt x="15" y="53"/>
                    <a:pt x="23" y="55"/>
                  </a:cubicBezTo>
                  <a:cubicBezTo>
                    <a:pt x="24" y="55"/>
                    <a:pt x="26" y="55"/>
                    <a:pt x="28" y="55"/>
                  </a:cubicBezTo>
                  <a:cubicBezTo>
                    <a:pt x="44" y="55"/>
                    <a:pt x="56" y="43"/>
                    <a:pt x="56" y="28"/>
                  </a:cubicBezTo>
                  <a:cubicBezTo>
                    <a:pt x="56" y="27"/>
                    <a:pt x="56" y="27"/>
                    <a:pt x="56" y="27"/>
                  </a:cubicBezTo>
                  <a:cubicBezTo>
                    <a:pt x="56" y="27"/>
                    <a:pt x="56" y="27"/>
                    <a:pt x="56" y="27"/>
                  </a:cubicBezTo>
                  <a:cubicBezTo>
                    <a:pt x="56" y="12"/>
                    <a:pt x="44" y="0"/>
                    <a:pt x="28" y="0"/>
                  </a:cubicBezTo>
                  <a:cubicBezTo>
                    <a:pt x="26" y="0"/>
                    <a:pt x="24" y="0"/>
                    <a:pt x="23" y="0"/>
                  </a:cubicBezTo>
                  <a:cubicBezTo>
                    <a:pt x="15" y="2"/>
                    <a:pt x="9" y="6"/>
                    <a:pt x="5" y="12"/>
                  </a:cubicBezTo>
                  <a:cubicBezTo>
                    <a:pt x="2" y="16"/>
                    <a:pt x="0" y="22"/>
                    <a:pt x="0" y="27"/>
                  </a:cubicBezTo>
                  <a:cubicBezTo>
                    <a:pt x="0" y="27"/>
                    <a:pt x="0" y="27"/>
                    <a:pt x="0" y="27"/>
                  </a:cubicBezTo>
                  <a:cubicBezTo>
                    <a:pt x="0" y="27"/>
                    <a:pt x="0" y="27"/>
                    <a:pt x="0" y="28"/>
                  </a:cubicBezTo>
                  <a:cubicBezTo>
                    <a:pt x="0" y="33"/>
                    <a:pt x="2" y="39"/>
                    <a:pt x="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0" name="Freeform 28">
              <a:extLst>
                <a:ext uri="{FF2B5EF4-FFF2-40B4-BE49-F238E27FC236}">
                  <a16:creationId xmlns:a16="http://schemas.microsoft.com/office/drawing/2014/main" id="{D9FC46F3-F561-4F91-A6D2-373B02F4EAC1}"/>
                </a:ext>
              </a:extLst>
            </p:cNvPr>
            <p:cNvSpPr>
              <a:spLocks/>
            </p:cNvSpPr>
            <p:nvPr/>
          </p:nvSpPr>
          <p:spPr bwMode="auto">
            <a:xfrm>
              <a:off x="-1270000" y="3829050"/>
              <a:ext cx="120650" cy="120650"/>
            </a:xfrm>
            <a:custGeom>
              <a:avLst/>
              <a:gdLst>
                <a:gd name="T0" fmla="*/ 5 w 56"/>
                <a:gd name="T1" fmla="*/ 44 h 56"/>
                <a:gd name="T2" fmla="*/ 23 w 56"/>
                <a:gd name="T3" fmla="*/ 56 h 56"/>
                <a:gd name="T4" fmla="*/ 28 w 56"/>
                <a:gd name="T5" fmla="*/ 56 h 56"/>
                <a:gd name="T6" fmla="*/ 56 w 56"/>
                <a:gd name="T7" fmla="*/ 28 h 56"/>
                <a:gd name="T8" fmla="*/ 28 w 56"/>
                <a:gd name="T9" fmla="*/ 0 h 56"/>
                <a:gd name="T10" fmla="*/ 23 w 56"/>
                <a:gd name="T11" fmla="*/ 1 h 56"/>
                <a:gd name="T12" fmla="*/ 5 w 56"/>
                <a:gd name="T13" fmla="*/ 13 h 56"/>
                <a:gd name="T14" fmla="*/ 0 w 56"/>
                <a:gd name="T15" fmla="*/ 28 h 56"/>
                <a:gd name="T16" fmla="*/ 5 w 56"/>
                <a:gd name="T17"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5" y="44"/>
                  </a:moveTo>
                  <a:cubicBezTo>
                    <a:pt x="9" y="50"/>
                    <a:pt x="15" y="54"/>
                    <a:pt x="23" y="56"/>
                  </a:cubicBezTo>
                  <a:cubicBezTo>
                    <a:pt x="24" y="56"/>
                    <a:pt x="26" y="56"/>
                    <a:pt x="28" y="56"/>
                  </a:cubicBezTo>
                  <a:cubicBezTo>
                    <a:pt x="44" y="56"/>
                    <a:pt x="56" y="44"/>
                    <a:pt x="56" y="28"/>
                  </a:cubicBezTo>
                  <a:cubicBezTo>
                    <a:pt x="56" y="13"/>
                    <a:pt x="44" y="0"/>
                    <a:pt x="28" y="0"/>
                  </a:cubicBezTo>
                  <a:cubicBezTo>
                    <a:pt x="26" y="0"/>
                    <a:pt x="24" y="0"/>
                    <a:pt x="23" y="1"/>
                  </a:cubicBezTo>
                  <a:cubicBezTo>
                    <a:pt x="15" y="2"/>
                    <a:pt x="9" y="7"/>
                    <a:pt x="5" y="13"/>
                  </a:cubicBezTo>
                  <a:cubicBezTo>
                    <a:pt x="2" y="17"/>
                    <a:pt x="0" y="22"/>
                    <a:pt x="0" y="28"/>
                  </a:cubicBezTo>
                  <a:cubicBezTo>
                    <a:pt x="0" y="34"/>
                    <a:pt x="2" y="39"/>
                    <a:pt x="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1" name="Freeform 29">
              <a:extLst>
                <a:ext uri="{FF2B5EF4-FFF2-40B4-BE49-F238E27FC236}">
                  <a16:creationId xmlns:a16="http://schemas.microsoft.com/office/drawing/2014/main" id="{5B6C9038-CD07-437B-9FD3-520EB0543460}"/>
                </a:ext>
              </a:extLst>
            </p:cNvPr>
            <p:cNvSpPr>
              <a:spLocks/>
            </p:cNvSpPr>
            <p:nvPr/>
          </p:nvSpPr>
          <p:spPr bwMode="auto">
            <a:xfrm>
              <a:off x="-1270000" y="3427413"/>
              <a:ext cx="120650" cy="120650"/>
            </a:xfrm>
            <a:custGeom>
              <a:avLst/>
              <a:gdLst>
                <a:gd name="T0" fmla="*/ 5 w 56"/>
                <a:gd name="T1" fmla="*/ 43 h 56"/>
                <a:gd name="T2" fmla="*/ 23 w 56"/>
                <a:gd name="T3" fmla="*/ 55 h 56"/>
                <a:gd name="T4" fmla="*/ 28 w 56"/>
                <a:gd name="T5" fmla="*/ 56 h 56"/>
                <a:gd name="T6" fmla="*/ 56 w 56"/>
                <a:gd name="T7" fmla="*/ 28 h 56"/>
                <a:gd name="T8" fmla="*/ 56 w 56"/>
                <a:gd name="T9" fmla="*/ 28 h 56"/>
                <a:gd name="T10" fmla="*/ 56 w 56"/>
                <a:gd name="T11" fmla="*/ 28 h 56"/>
                <a:gd name="T12" fmla="*/ 28 w 56"/>
                <a:gd name="T13" fmla="*/ 0 h 56"/>
                <a:gd name="T14" fmla="*/ 23 w 56"/>
                <a:gd name="T15" fmla="*/ 0 h 56"/>
                <a:gd name="T16" fmla="*/ 5 w 56"/>
                <a:gd name="T17" fmla="*/ 12 h 56"/>
                <a:gd name="T18" fmla="*/ 0 w 56"/>
                <a:gd name="T19" fmla="*/ 28 h 56"/>
                <a:gd name="T20" fmla="*/ 0 w 56"/>
                <a:gd name="T21" fmla="*/ 28 h 56"/>
                <a:gd name="T22" fmla="*/ 0 w 56"/>
                <a:gd name="T23" fmla="*/ 28 h 56"/>
                <a:gd name="T24" fmla="*/ 5 w 56"/>
                <a:gd name="T25"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5" y="43"/>
                  </a:moveTo>
                  <a:cubicBezTo>
                    <a:pt x="9" y="49"/>
                    <a:pt x="15" y="54"/>
                    <a:pt x="23" y="55"/>
                  </a:cubicBezTo>
                  <a:cubicBezTo>
                    <a:pt x="24" y="55"/>
                    <a:pt x="26" y="56"/>
                    <a:pt x="28" y="56"/>
                  </a:cubicBezTo>
                  <a:cubicBezTo>
                    <a:pt x="44" y="56"/>
                    <a:pt x="56" y="43"/>
                    <a:pt x="56" y="28"/>
                  </a:cubicBezTo>
                  <a:cubicBezTo>
                    <a:pt x="56" y="28"/>
                    <a:pt x="56" y="28"/>
                    <a:pt x="56" y="28"/>
                  </a:cubicBezTo>
                  <a:cubicBezTo>
                    <a:pt x="56" y="28"/>
                    <a:pt x="56" y="28"/>
                    <a:pt x="56" y="28"/>
                  </a:cubicBezTo>
                  <a:cubicBezTo>
                    <a:pt x="56" y="12"/>
                    <a:pt x="44" y="0"/>
                    <a:pt x="28" y="0"/>
                  </a:cubicBezTo>
                  <a:cubicBezTo>
                    <a:pt x="26" y="0"/>
                    <a:pt x="24" y="0"/>
                    <a:pt x="23" y="0"/>
                  </a:cubicBezTo>
                  <a:cubicBezTo>
                    <a:pt x="15" y="2"/>
                    <a:pt x="9" y="6"/>
                    <a:pt x="5" y="12"/>
                  </a:cubicBezTo>
                  <a:cubicBezTo>
                    <a:pt x="2" y="16"/>
                    <a:pt x="0" y="22"/>
                    <a:pt x="0" y="28"/>
                  </a:cubicBezTo>
                  <a:cubicBezTo>
                    <a:pt x="0" y="28"/>
                    <a:pt x="0" y="28"/>
                    <a:pt x="0" y="28"/>
                  </a:cubicBezTo>
                  <a:cubicBezTo>
                    <a:pt x="0" y="28"/>
                    <a:pt x="0" y="28"/>
                    <a:pt x="0" y="28"/>
                  </a:cubicBezTo>
                  <a:cubicBezTo>
                    <a:pt x="0" y="33"/>
                    <a:pt x="2" y="39"/>
                    <a:pt x="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2" name="Freeform 30">
              <a:extLst>
                <a:ext uri="{FF2B5EF4-FFF2-40B4-BE49-F238E27FC236}">
                  <a16:creationId xmlns:a16="http://schemas.microsoft.com/office/drawing/2014/main" id="{6A2C618A-1F1D-4363-93C7-8004246DE288}"/>
                </a:ext>
              </a:extLst>
            </p:cNvPr>
            <p:cNvSpPr>
              <a:spLocks/>
            </p:cNvSpPr>
            <p:nvPr/>
          </p:nvSpPr>
          <p:spPr bwMode="auto">
            <a:xfrm>
              <a:off x="-1270000" y="4633913"/>
              <a:ext cx="120650" cy="122238"/>
            </a:xfrm>
            <a:custGeom>
              <a:avLst/>
              <a:gdLst>
                <a:gd name="T0" fmla="*/ 5 w 56"/>
                <a:gd name="T1" fmla="*/ 44 h 56"/>
                <a:gd name="T2" fmla="*/ 23 w 56"/>
                <a:gd name="T3" fmla="*/ 56 h 56"/>
                <a:gd name="T4" fmla="*/ 28 w 56"/>
                <a:gd name="T5" fmla="*/ 56 h 56"/>
                <a:gd name="T6" fmla="*/ 56 w 56"/>
                <a:gd name="T7" fmla="*/ 28 h 56"/>
                <a:gd name="T8" fmla="*/ 28 w 56"/>
                <a:gd name="T9" fmla="*/ 0 h 56"/>
                <a:gd name="T10" fmla="*/ 23 w 56"/>
                <a:gd name="T11" fmla="*/ 1 h 56"/>
                <a:gd name="T12" fmla="*/ 5 w 56"/>
                <a:gd name="T13" fmla="*/ 13 h 56"/>
                <a:gd name="T14" fmla="*/ 0 w 56"/>
                <a:gd name="T15" fmla="*/ 28 h 56"/>
                <a:gd name="T16" fmla="*/ 5 w 56"/>
                <a:gd name="T17"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5" y="44"/>
                  </a:moveTo>
                  <a:cubicBezTo>
                    <a:pt x="9" y="50"/>
                    <a:pt x="15" y="54"/>
                    <a:pt x="23" y="56"/>
                  </a:cubicBezTo>
                  <a:cubicBezTo>
                    <a:pt x="24" y="56"/>
                    <a:pt x="26" y="56"/>
                    <a:pt x="28" y="56"/>
                  </a:cubicBezTo>
                  <a:cubicBezTo>
                    <a:pt x="44" y="56"/>
                    <a:pt x="56" y="44"/>
                    <a:pt x="56" y="28"/>
                  </a:cubicBezTo>
                  <a:cubicBezTo>
                    <a:pt x="56" y="13"/>
                    <a:pt x="44" y="0"/>
                    <a:pt x="28" y="0"/>
                  </a:cubicBezTo>
                  <a:cubicBezTo>
                    <a:pt x="26" y="0"/>
                    <a:pt x="24" y="1"/>
                    <a:pt x="23" y="1"/>
                  </a:cubicBezTo>
                  <a:cubicBezTo>
                    <a:pt x="15" y="2"/>
                    <a:pt x="9" y="7"/>
                    <a:pt x="5" y="13"/>
                  </a:cubicBezTo>
                  <a:cubicBezTo>
                    <a:pt x="2" y="17"/>
                    <a:pt x="0" y="23"/>
                    <a:pt x="0" y="28"/>
                  </a:cubicBezTo>
                  <a:cubicBezTo>
                    <a:pt x="0" y="34"/>
                    <a:pt x="2" y="40"/>
                    <a:pt x="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3" name="Freeform 31">
              <a:extLst>
                <a:ext uri="{FF2B5EF4-FFF2-40B4-BE49-F238E27FC236}">
                  <a16:creationId xmlns:a16="http://schemas.microsoft.com/office/drawing/2014/main" id="{186F2520-BAF3-4081-8CDE-AB2FA278D2E6}"/>
                </a:ext>
              </a:extLst>
            </p:cNvPr>
            <p:cNvSpPr>
              <a:spLocks/>
            </p:cNvSpPr>
            <p:nvPr/>
          </p:nvSpPr>
          <p:spPr bwMode="auto">
            <a:xfrm>
              <a:off x="-1270000" y="4232275"/>
              <a:ext cx="120650" cy="122238"/>
            </a:xfrm>
            <a:custGeom>
              <a:avLst/>
              <a:gdLst>
                <a:gd name="T0" fmla="*/ 5 w 56"/>
                <a:gd name="T1" fmla="*/ 43 h 56"/>
                <a:gd name="T2" fmla="*/ 23 w 56"/>
                <a:gd name="T3" fmla="*/ 55 h 56"/>
                <a:gd name="T4" fmla="*/ 28 w 56"/>
                <a:gd name="T5" fmla="*/ 56 h 56"/>
                <a:gd name="T6" fmla="*/ 56 w 56"/>
                <a:gd name="T7" fmla="*/ 28 h 56"/>
                <a:gd name="T8" fmla="*/ 56 w 56"/>
                <a:gd name="T9" fmla="*/ 28 h 56"/>
                <a:gd name="T10" fmla="*/ 56 w 56"/>
                <a:gd name="T11" fmla="*/ 28 h 56"/>
                <a:gd name="T12" fmla="*/ 28 w 56"/>
                <a:gd name="T13" fmla="*/ 0 h 56"/>
                <a:gd name="T14" fmla="*/ 23 w 56"/>
                <a:gd name="T15" fmla="*/ 0 h 56"/>
                <a:gd name="T16" fmla="*/ 5 w 56"/>
                <a:gd name="T17" fmla="*/ 12 h 56"/>
                <a:gd name="T18" fmla="*/ 0 w 56"/>
                <a:gd name="T19" fmla="*/ 28 h 56"/>
                <a:gd name="T20" fmla="*/ 0 w 56"/>
                <a:gd name="T21" fmla="*/ 28 h 56"/>
                <a:gd name="T22" fmla="*/ 0 w 56"/>
                <a:gd name="T23" fmla="*/ 28 h 56"/>
                <a:gd name="T24" fmla="*/ 5 w 56"/>
                <a:gd name="T25"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5" y="43"/>
                  </a:moveTo>
                  <a:cubicBezTo>
                    <a:pt x="9" y="49"/>
                    <a:pt x="15" y="54"/>
                    <a:pt x="23" y="55"/>
                  </a:cubicBezTo>
                  <a:cubicBezTo>
                    <a:pt x="24" y="56"/>
                    <a:pt x="26" y="56"/>
                    <a:pt x="28" y="56"/>
                  </a:cubicBezTo>
                  <a:cubicBezTo>
                    <a:pt x="44" y="56"/>
                    <a:pt x="56" y="43"/>
                    <a:pt x="56" y="28"/>
                  </a:cubicBezTo>
                  <a:cubicBezTo>
                    <a:pt x="56" y="28"/>
                    <a:pt x="56" y="28"/>
                    <a:pt x="56" y="28"/>
                  </a:cubicBezTo>
                  <a:cubicBezTo>
                    <a:pt x="56" y="28"/>
                    <a:pt x="56" y="28"/>
                    <a:pt x="56" y="28"/>
                  </a:cubicBezTo>
                  <a:cubicBezTo>
                    <a:pt x="56" y="12"/>
                    <a:pt x="44" y="0"/>
                    <a:pt x="28" y="0"/>
                  </a:cubicBezTo>
                  <a:cubicBezTo>
                    <a:pt x="26" y="0"/>
                    <a:pt x="24" y="0"/>
                    <a:pt x="23" y="0"/>
                  </a:cubicBezTo>
                  <a:cubicBezTo>
                    <a:pt x="15" y="2"/>
                    <a:pt x="9" y="6"/>
                    <a:pt x="5" y="12"/>
                  </a:cubicBezTo>
                  <a:cubicBezTo>
                    <a:pt x="2" y="17"/>
                    <a:pt x="0" y="22"/>
                    <a:pt x="0" y="28"/>
                  </a:cubicBezTo>
                  <a:cubicBezTo>
                    <a:pt x="0" y="28"/>
                    <a:pt x="0" y="28"/>
                    <a:pt x="0" y="28"/>
                  </a:cubicBezTo>
                  <a:cubicBezTo>
                    <a:pt x="0" y="28"/>
                    <a:pt x="0" y="28"/>
                    <a:pt x="0" y="28"/>
                  </a:cubicBezTo>
                  <a:cubicBezTo>
                    <a:pt x="0" y="34"/>
                    <a:pt x="2" y="39"/>
                    <a:pt x="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4" name="Oval 32">
              <a:extLst>
                <a:ext uri="{FF2B5EF4-FFF2-40B4-BE49-F238E27FC236}">
                  <a16:creationId xmlns:a16="http://schemas.microsoft.com/office/drawing/2014/main" id="{0C75045F-B4FC-4885-BFAC-FF47A054DE7F}"/>
                </a:ext>
              </a:extLst>
            </p:cNvPr>
            <p:cNvSpPr>
              <a:spLocks noChangeArrowheads="1"/>
            </p:cNvSpPr>
            <p:nvPr/>
          </p:nvSpPr>
          <p:spPr bwMode="auto">
            <a:xfrm>
              <a:off x="-2473325" y="2219325"/>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5" name="Freeform 33">
              <a:extLst>
                <a:ext uri="{FF2B5EF4-FFF2-40B4-BE49-F238E27FC236}">
                  <a16:creationId xmlns:a16="http://schemas.microsoft.com/office/drawing/2014/main" id="{D89F32D9-5241-4E85-ADD5-78FC7050F166}"/>
                </a:ext>
              </a:extLst>
            </p:cNvPr>
            <p:cNvSpPr>
              <a:spLocks/>
            </p:cNvSpPr>
            <p:nvPr/>
          </p:nvSpPr>
          <p:spPr bwMode="auto">
            <a:xfrm>
              <a:off x="-2073275" y="2219325"/>
              <a:ext cx="120650" cy="120650"/>
            </a:xfrm>
            <a:custGeom>
              <a:avLst/>
              <a:gdLst>
                <a:gd name="T0" fmla="*/ 1 w 56"/>
                <a:gd name="T1" fmla="*/ 34 h 56"/>
                <a:gd name="T2" fmla="*/ 5 w 56"/>
                <a:gd name="T3" fmla="*/ 44 h 56"/>
                <a:gd name="T4" fmla="*/ 28 w 56"/>
                <a:gd name="T5" fmla="*/ 56 h 56"/>
                <a:gd name="T6" fmla="*/ 56 w 56"/>
                <a:gd name="T7" fmla="*/ 28 h 56"/>
                <a:gd name="T8" fmla="*/ 28 w 56"/>
                <a:gd name="T9" fmla="*/ 0 h 56"/>
                <a:gd name="T10" fmla="*/ 5 w 56"/>
                <a:gd name="T11" fmla="*/ 12 h 56"/>
                <a:gd name="T12" fmla="*/ 1 w 56"/>
                <a:gd name="T13" fmla="*/ 22 h 56"/>
                <a:gd name="T14" fmla="*/ 0 w 56"/>
                <a:gd name="T15" fmla="*/ 28 h 56"/>
                <a:gd name="T16" fmla="*/ 1 w 56"/>
                <a:gd name="T17"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1" y="34"/>
                  </a:moveTo>
                  <a:cubicBezTo>
                    <a:pt x="1" y="37"/>
                    <a:pt x="3" y="41"/>
                    <a:pt x="5" y="44"/>
                  </a:cubicBezTo>
                  <a:cubicBezTo>
                    <a:pt x="10" y="51"/>
                    <a:pt x="18" y="56"/>
                    <a:pt x="28" y="56"/>
                  </a:cubicBezTo>
                  <a:cubicBezTo>
                    <a:pt x="44" y="56"/>
                    <a:pt x="56" y="43"/>
                    <a:pt x="56" y="28"/>
                  </a:cubicBezTo>
                  <a:cubicBezTo>
                    <a:pt x="56" y="12"/>
                    <a:pt x="44" y="0"/>
                    <a:pt x="28" y="0"/>
                  </a:cubicBezTo>
                  <a:cubicBezTo>
                    <a:pt x="18" y="0"/>
                    <a:pt x="10" y="5"/>
                    <a:pt x="5" y="12"/>
                  </a:cubicBezTo>
                  <a:cubicBezTo>
                    <a:pt x="3" y="15"/>
                    <a:pt x="1" y="19"/>
                    <a:pt x="1" y="22"/>
                  </a:cubicBezTo>
                  <a:cubicBezTo>
                    <a:pt x="0" y="24"/>
                    <a:pt x="0" y="26"/>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6" name="Oval 34">
              <a:extLst>
                <a:ext uri="{FF2B5EF4-FFF2-40B4-BE49-F238E27FC236}">
                  <a16:creationId xmlns:a16="http://schemas.microsoft.com/office/drawing/2014/main" id="{DF7D7AE1-C61F-4328-A670-CF79D78E6803}"/>
                </a:ext>
              </a:extLst>
            </p:cNvPr>
            <p:cNvSpPr>
              <a:spLocks noChangeArrowheads="1"/>
            </p:cNvSpPr>
            <p:nvPr/>
          </p:nvSpPr>
          <p:spPr bwMode="auto">
            <a:xfrm>
              <a:off x="-2273300" y="24193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7" name="Oval 35">
              <a:extLst>
                <a:ext uri="{FF2B5EF4-FFF2-40B4-BE49-F238E27FC236}">
                  <a16:creationId xmlns:a16="http://schemas.microsoft.com/office/drawing/2014/main" id="{AEB8238D-9567-4448-8F09-3C915D95F09F}"/>
                </a:ext>
              </a:extLst>
            </p:cNvPr>
            <p:cNvSpPr>
              <a:spLocks noChangeArrowheads="1"/>
            </p:cNvSpPr>
            <p:nvPr/>
          </p:nvSpPr>
          <p:spPr bwMode="auto">
            <a:xfrm>
              <a:off x="-2676525" y="24193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8" name="Oval 36">
              <a:extLst>
                <a:ext uri="{FF2B5EF4-FFF2-40B4-BE49-F238E27FC236}">
                  <a16:creationId xmlns:a16="http://schemas.microsoft.com/office/drawing/2014/main" id="{5534393E-BF54-40E5-B887-DC4EA2078467}"/>
                </a:ext>
              </a:extLst>
            </p:cNvPr>
            <p:cNvSpPr>
              <a:spLocks noChangeArrowheads="1"/>
            </p:cNvSpPr>
            <p:nvPr/>
          </p:nvSpPr>
          <p:spPr bwMode="auto">
            <a:xfrm>
              <a:off x="-2273300" y="2017713"/>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9" name="Freeform 37">
              <a:extLst>
                <a:ext uri="{FF2B5EF4-FFF2-40B4-BE49-F238E27FC236}">
                  <a16:creationId xmlns:a16="http://schemas.microsoft.com/office/drawing/2014/main" id="{F8DDBB2B-2EDA-4060-A4A7-14C4C9912FF3}"/>
                </a:ext>
              </a:extLst>
            </p:cNvPr>
            <p:cNvSpPr>
              <a:spLocks/>
            </p:cNvSpPr>
            <p:nvPr/>
          </p:nvSpPr>
          <p:spPr bwMode="auto">
            <a:xfrm>
              <a:off x="-2073275" y="1814513"/>
              <a:ext cx="120650" cy="122238"/>
            </a:xfrm>
            <a:custGeom>
              <a:avLst/>
              <a:gdLst>
                <a:gd name="T0" fmla="*/ 1 w 56"/>
                <a:gd name="T1" fmla="*/ 34 h 56"/>
                <a:gd name="T2" fmla="*/ 5 w 56"/>
                <a:gd name="T3" fmla="*/ 44 h 56"/>
                <a:gd name="T4" fmla="*/ 28 w 56"/>
                <a:gd name="T5" fmla="*/ 56 h 56"/>
                <a:gd name="T6" fmla="*/ 56 w 56"/>
                <a:gd name="T7" fmla="*/ 28 h 56"/>
                <a:gd name="T8" fmla="*/ 56 w 56"/>
                <a:gd name="T9" fmla="*/ 28 h 56"/>
                <a:gd name="T10" fmla="*/ 56 w 56"/>
                <a:gd name="T11" fmla="*/ 28 h 56"/>
                <a:gd name="T12" fmla="*/ 28 w 56"/>
                <a:gd name="T13" fmla="*/ 0 h 56"/>
                <a:gd name="T14" fmla="*/ 5 w 56"/>
                <a:gd name="T15" fmla="*/ 13 h 56"/>
                <a:gd name="T16" fmla="*/ 1 w 56"/>
                <a:gd name="T17" fmla="*/ 23 h 56"/>
                <a:gd name="T18" fmla="*/ 0 w 56"/>
                <a:gd name="T19" fmla="*/ 28 h 56"/>
                <a:gd name="T20" fmla="*/ 0 w 56"/>
                <a:gd name="T21" fmla="*/ 28 h 56"/>
                <a:gd name="T22" fmla="*/ 0 w 56"/>
                <a:gd name="T23" fmla="*/ 28 h 56"/>
                <a:gd name="T24" fmla="*/ 1 w 56"/>
                <a:gd name="T25"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1" y="34"/>
                  </a:moveTo>
                  <a:cubicBezTo>
                    <a:pt x="1" y="38"/>
                    <a:pt x="3" y="41"/>
                    <a:pt x="5" y="44"/>
                  </a:cubicBezTo>
                  <a:cubicBezTo>
                    <a:pt x="10" y="51"/>
                    <a:pt x="18" y="56"/>
                    <a:pt x="28" y="56"/>
                  </a:cubicBezTo>
                  <a:cubicBezTo>
                    <a:pt x="44" y="56"/>
                    <a:pt x="56" y="44"/>
                    <a:pt x="56" y="28"/>
                  </a:cubicBezTo>
                  <a:cubicBezTo>
                    <a:pt x="56" y="28"/>
                    <a:pt x="56" y="28"/>
                    <a:pt x="56" y="28"/>
                  </a:cubicBezTo>
                  <a:cubicBezTo>
                    <a:pt x="56" y="28"/>
                    <a:pt x="56" y="28"/>
                    <a:pt x="56" y="28"/>
                  </a:cubicBezTo>
                  <a:cubicBezTo>
                    <a:pt x="56" y="13"/>
                    <a:pt x="44" y="0"/>
                    <a:pt x="28" y="0"/>
                  </a:cubicBezTo>
                  <a:cubicBezTo>
                    <a:pt x="18" y="0"/>
                    <a:pt x="10" y="5"/>
                    <a:pt x="5" y="13"/>
                  </a:cubicBezTo>
                  <a:cubicBezTo>
                    <a:pt x="3" y="16"/>
                    <a:pt x="1" y="19"/>
                    <a:pt x="1" y="23"/>
                  </a:cubicBezTo>
                  <a:cubicBezTo>
                    <a:pt x="0" y="25"/>
                    <a:pt x="0" y="26"/>
                    <a:pt x="0" y="28"/>
                  </a:cubicBezTo>
                  <a:cubicBezTo>
                    <a:pt x="0" y="28"/>
                    <a:pt x="0" y="28"/>
                    <a:pt x="0" y="28"/>
                  </a:cubicBezTo>
                  <a:cubicBezTo>
                    <a:pt x="0" y="28"/>
                    <a:pt x="0" y="28"/>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0" name="Oval 38">
              <a:extLst>
                <a:ext uri="{FF2B5EF4-FFF2-40B4-BE49-F238E27FC236}">
                  <a16:creationId xmlns:a16="http://schemas.microsoft.com/office/drawing/2014/main" id="{BA28B658-C9EC-4B62-9996-99ABE5A60916}"/>
                </a:ext>
              </a:extLst>
            </p:cNvPr>
            <p:cNvSpPr>
              <a:spLocks noChangeArrowheads="1"/>
            </p:cNvSpPr>
            <p:nvPr/>
          </p:nvSpPr>
          <p:spPr bwMode="auto">
            <a:xfrm>
              <a:off x="-2473325" y="30241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1" name="Freeform 39">
              <a:extLst>
                <a:ext uri="{FF2B5EF4-FFF2-40B4-BE49-F238E27FC236}">
                  <a16:creationId xmlns:a16="http://schemas.microsoft.com/office/drawing/2014/main" id="{1730C240-0598-43A4-B610-D5C4DD49F3A0}"/>
                </a:ext>
              </a:extLst>
            </p:cNvPr>
            <p:cNvSpPr>
              <a:spLocks/>
            </p:cNvSpPr>
            <p:nvPr/>
          </p:nvSpPr>
          <p:spPr bwMode="auto">
            <a:xfrm>
              <a:off x="-2073275" y="3024188"/>
              <a:ext cx="120650" cy="120650"/>
            </a:xfrm>
            <a:custGeom>
              <a:avLst/>
              <a:gdLst>
                <a:gd name="T0" fmla="*/ 1 w 56"/>
                <a:gd name="T1" fmla="*/ 34 h 56"/>
                <a:gd name="T2" fmla="*/ 5 w 56"/>
                <a:gd name="T3" fmla="*/ 44 h 56"/>
                <a:gd name="T4" fmla="*/ 28 w 56"/>
                <a:gd name="T5" fmla="*/ 56 h 56"/>
                <a:gd name="T6" fmla="*/ 56 w 56"/>
                <a:gd name="T7" fmla="*/ 28 h 56"/>
                <a:gd name="T8" fmla="*/ 28 w 56"/>
                <a:gd name="T9" fmla="*/ 0 h 56"/>
                <a:gd name="T10" fmla="*/ 5 w 56"/>
                <a:gd name="T11" fmla="*/ 12 h 56"/>
                <a:gd name="T12" fmla="*/ 1 w 56"/>
                <a:gd name="T13" fmla="*/ 22 h 56"/>
                <a:gd name="T14" fmla="*/ 0 w 56"/>
                <a:gd name="T15" fmla="*/ 28 h 56"/>
                <a:gd name="T16" fmla="*/ 1 w 56"/>
                <a:gd name="T17"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1" y="34"/>
                  </a:moveTo>
                  <a:cubicBezTo>
                    <a:pt x="1" y="37"/>
                    <a:pt x="3" y="41"/>
                    <a:pt x="5" y="44"/>
                  </a:cubicBezTo>
                  <a:cubicBezTo>
                    <a:pt x="10" y="51"/>
                    <a:pt x="18" y="56"/>
                    <a:pt x="28" y="56"/>
                  </a:cubicBezTo>
                  <a:cubicBezTo>
                    <a:pt x="44" y="56"/>
                    <a:pt x="56" y="44"/>
                    <a:pt x="56" y="28"/>
                  </a:cubicBezTo>
                  <a:cubicBezTo>
                    <a:pt x="56" y="13"/>
                    <a:pt x="44" y="0"/>
                    <a:pt x="28" y="0"/>
                  </a:cubicBezTo>
                  <a:cubicBezTo>
                    <a:pt x="18" y="0"/>
                    <a:pt x="10" y="5"/>
                    <a:pt x="5" y="12"/>
                  </a:cubicBezTo>
                  <a:cubicBezTo>
                    <a:pt x="3" y="15"/>
                    <a:pt x="1" y="19"/>
                    <a:pt x="1" y="22"/>
                  </a:cubicBezTo>
                  <a:cubicBezTo>
                    <a:pt x="0" y="24"/>
                    <a:pt x="0" y="26"/>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2" name="Oval 40">
              <a:extLst>
                <a:ext uri="{FF2B5EF4-FFF2-40B4-BE49-F238E27FC236}">
                  <a16:creationId xmlns:a16="http://schemas.microsoft.com/office/drawing/2014/main" id="{64C1A663-BC5E-4C56-8E5B-033C759E3D16}"/>
                </a:ext>
              </a:extLst>
            </p:cNvPr>
            <p:cNvSpPr>
              <a:spLocks noChangeArrowheads="1"/>
            </p:cNvSpPr>
            <p:nvPr/>
          </p:nvSpPr>
          <p:spPr bwMode="auto">
            <a:xfrm>
              <a:off x="-2676525"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3" name="Oval 41">
              <a:extLst>
                <a:ext uri="{FF2B5EF4-FFF2-40B4-BE49-F238E27FC236}">
                  <a16:creationId xmlns:a16="http://schemas.microsoft.com/office/drawing/2014/main" id="{D4D58757-FE42-43EE-BB47-34850AB60AF7}"/>
                </a:ext>
              </a:extLst>
            </p:cNvPr>
            <p:cNvSpPr>
              <a:spLocks noChangeArrowheads="1"/>
            </p:cNvSpPr>
            <p:nvPr/>
          </p:nvSpPr>
          <p:spPr bwMode="auto">
            <a:xfrm>
              <a:off x="-2273300"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4" name="Oval 42">
              <a:extLst>
                <a:ext uri="{FF2B5EF4-FFF2-40B4-BE49-F238E27FC236}">
                  <a16:creationId xmlns:a16="http://schemas.microsoft.com/office/drawing/2014/main" id="{E7C207D7-C2D6-4AB9-8C95-513117F5C92D}"/>
                </a:ext>
              </a:extLst>
            </p:cNvPr>
            <p:cNvSpPr>
              <a:spLocks noChangeArrowheads="1"/>
            </p:cNvSpPr>
            <p:nvPr/>
          </p:nvSpPr>
          <p:spPr bwMode="auto">
            <a:xfrm>
              <a:off x="-2676525"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5" name="Freeform 43">
              <a:extLst>
                <a:ext uri="{FF2B5EF4-FFF2-40B4-BE49-F238E27FC236}">
                  <a16:creationId xmlns:a16="http://schemas.microsoft.com/office/drawing/2014/main" id="{C877CF1F-5296-4B94-8A2D-27753AD77E40}"/>
                </a:ext>
              </a:extLst>
            </p:cNvPr>
            <p:cNvSpPr>
              <a:spLocks/>
            </p:cNvSpPr>
            <p:nvPr/>
          </p:nvSpPr>
          <p:spPr bwMode="auto">
            <a:xfrm>
              <a:off x="-2473325" y="2622550"/>
              <a:ext cx="120650" cy="119063"/>
            </a:xfrm>
            <a:custGeom>
              <a:avLst/>
              <a:gdLst>
                <a:gd name="T0" fmla="*/ 28 w 56"/>
                <a:gd name="T1" fmla="*/ 55 h 55"/>
                <a:gd name="T2" fmla="*/ 56 w 56"/>
                <a:gd name="T3" fmla="*/ 28 h 55"/>
                <a:gd name="T4" fmla="*/ 56 w 56"/>
                <a:gd name="T5" fmla="*/ 27 h 55"/>
                <a:gd name="T6" fmla="*/ 56 w 56"/>
                <a:gd name="T7" fmla="*/ 27 h 55"/>
                <a:gd name="T8" fmla="*/ 28 w 56"/>
                <a:gd name="T9" fmla="*/ 0 h 55"/>
                <a:gd name="T10" fmla="*/ 0 w 56"/>
                <a:gd name="T11" fmla="*/ 27 h 55"/>
                <a:gd name="T12" fmla="*/ 0 w 56"/>
                <a:gd name="T13" fmla="*/ 27 h 55"/>
                <a:gd name="T14" fmla="*/ 0 w 56"/>
                <a:gd name="T15" fmla="*/ 28 h 55"/>
                <a:gd name="T16" fmla="*/ 28 w 56"/>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28" y="55"/>
                  </a:moveTo>
                  <a:cubicBezTo>
                    <a:pt x="43" y="55"/>
                    <a:pt x="56" y="43"/>
                    <a:pt x="56" y="28"/>
                  </a:cubicBezTo>
                  <a:cubicBezTo>
                    <a:pt x="56" y="27"/>
                    <a:pt x="56" y="27"/>
                    <a:pt x="56" y="27"/>
                  </a:cubicBezTo>
                  <a:cubicBezTo>
                    <a:pt x="56" y="27"/>
                    <a:pt x="56" y="27"/>
                    <a:pt x="56" y="27"/>
                  </a:cubicBezTo>
                  <a:cubicBezTo>
                    <a:pt x="56" y="12"/>
                    <a:pt x="43" y="0"/>
                    <a:pt x="28" y="0"/>
                  </a:cubicBezTo>
                  <a:cubicBezTo>
                    <a:pt x="12" y="0"/>
                    <a:pt x="0" y="12"/>
                    <a:pt x="0" y="27"/>
                  </a:cubicBezTo>
                  <a:cubicBezTo>
                    <a:pt x="0" y="27"/>
                    <a:pt x="0" y="27"/>
                    <a:pt x="0" y="27"/>
                  </a:cubicBezTo>
                  <a:cubicBezTo>
                    <a:pt x="0" y="27"/>
                    <a:pt x="0" y="27"/>
                    <a:pt x="0" y="28"/>
                  </a:cubicBezTo>
                  <a:cubicBezTo>
                    <a:pt x="0" y="43"/>
                    <a:pt x="12" y="55"/>
                    <a:pt x="2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6" name="Freeform 44">
              <a:extLst>
                <a:ext uri="{FF2B5EF4-FFF2-40B4-BE49-F238E27FC236}">
                  <a16:creationId xmlns:a16="http://schemas.microsoft.com/office/drawing/2014/main" id="{17FEB815-9604-4D0B-BABB-80B298983E77}"/>
                </a:ext>
              </a:extLst>
            </p:cNvPr>
            <p:cNvSpPr>
              <a:spLocks/>
            </p:cNvSpPr>
            <p:nvPr/>
          </p:nvSpPr>
          <p:spPr bwMode="auto">
            <a:xfrm>
              <a:off x="-2073275" y="2622550"/>
              <a:ext cx="120650" cy="119063"/>
            </a:xfrm>
            <a:custGeom>
              <a:avLst/>
              <a:gdLst>
                <a:gd name="T0" fmla="*/ 1 w 56"/>
                <a:gd name="T1" fmla="*/ 33 h 55"/>
                <a:gd name="T2" fmla="*/ 5 w 56"/>
                <a:gd name="T3" fmla="*/ 43 h 55"/>
                <a:gd name="T4" fmla="*/ 28 w 56"/>
                <a:gd name="T5" fmla="*/ 55 h 55"/>
                <a:gd name="T6" fmla="*/ 56 w 56"/>
                <a:gd name="T7" fmla="*/ 28 h 55"/>
                <a:gd name="T8" fmla="*/ 56 w 56"/>
                <a:gd name="T9" fmla="*/ 27 h 55"/>
                <a:gd name="T10" fmla="*/ 56 w 56"/>
                <a:gd name="T11" fmla="*/ 27 h 55"/>
                <a:gd name="T12" fmla="*/ 28 w 56"/>
                <a:gd name="T13" fmla="*/ 0 h 55"/>
                <a:gd name="T14" fmla="*/ 5 w 56"/>
                <a:gd name="T15" fmla="*/ 12 h 55"/>
                <a:gd name="T16" fmla="*/ 1 w 56"/>
                <a:gd name="T17" fmla="*/ 22 h 55"/>
                <a:gd name="T18" fmla="*/ 0 w 56"/>
                <a:gd name="T19" fmla="*/ 27 h 55"/>
                <a:gd name="T20" fmla="*/ 0 w 56"/>
                <a:gd name="T21" fmla="*/ 27 h 55"/>
                <a:gd name="T22" fmla="*/ 0 w 56"/>
                <a:gd name="T23" fmla="*/ 28 h 55"/>
                <a:gd name="T24" fmla="*/ 1 w 56"/>
                <a:gd name="T25"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1" y="33"/>
                  </a:moveTo>
                  <a:cubicBezTo>
                    <a:pt x="1" y="37"/>
                    <a:pt x="3" y="40"/>
                    <a:pt x="5" y="43"/>
                  </a:cubicBezTo>
                  <a:cubicBezTo>
                    <a:pt x="10" y="51"/>
                    <a:pt x="18" y="55"/>
                    <a:pt x="28" y="55"/>
                  </a:cubicBezTo>
                  <a:cubicBezTo>
                    <a:pt x="44" y="55"/>
                    <a:pt x="56" y="43"/>
                    <a:pt x="56" y="28"/>
                  </a:cubicBezTo>
                  <a:cubicBezTo>
                    <a:pt x="56" y="27"/>
                    <a:pt x="56" y="27"/>
                    <a:pt x="56" y="27"/>
                  </a:cubicBezTo>
                  <a:cubicBezTo>
                    <a:pt x="56" y="27"/>
                    <a:pt x="56" y="27"/>
                    <a:pt x="56" y="27"/>
                  </a:cubicBezTo>
                  <a:cubicBezTo>
                    <a:pt x="56" y="12"/>
                    <a:pt x="44" y="0"/>
                    <a:pt x="28" y="0"/>
                  </a:cubicBezTo>
                  <a:cubicBezTo>
                    <a:pt x="18" y="0"/>
                    <a:pt x="10" y="4"/>
                    <a:pt x="5" y="12"/>
                  </a:cubicBezTo>
                  <a:cubicBezTo>
                    <a:pt x="3" y="15"/>
                    <a:pt x="1" y="18"/>
                    <a:pt x="1" y="22"/>
                  </a:cubicBezTo>
                  <a:cubicBezTo>
                    <a:pt x="0" y="24"/>
                    <a:pt x="0" y="26"/>
                    <a:pt x="0" y="27"/>
                  </a:cubicBezTo>
                  <a:cubicBezTo>
                    <a:pt x="0" y="27"/>
                    <a:pt x="0" y="27"/>
                    <a:pt x="0" y="27"/>
                  </a:cubicBezTo>
                  <a:cubicBezTo>
                    <a:pt x="0" y="27"/>
                    <a:pt x="0" y="27"/>
                    <a:pt x="0" y="28"/>
                  </a:cubicBezTo>
                  <a:cubicBezTo>
                    <a:pt x="0" y="29"/>
                    <a:pt x="0" y="31"/>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7" name="Oval 45">
              <a:extLst>
                <a:ext uri="{FF2B5EF4-FFF2-40B4-BE49-F238E27FC236}">
                  <a16:creationId xmlns:a16="http://schemas.microsoft.com/office/drawing/2014/main" id="{C5C6EBA6-7D46-47EC-935D-20C925CCB105}"/>
                </a:ext>
              </a:extLst>
            </p:cNvPr>
            <p:cNvSpPr>
              <a:spLocks noChangeArrowheads="1"/>
            </p:cNvSpPr>
            <p:nvPr/>
          </p:nvSpPr>
          <p:spPr bwMode="auto">
            <a:xfrm>
              <a:off x="-3279775" y="30241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8" name="Freeform 46">
              <a:extLst>
                <a:ext uri="{FF2B5EF4-FFF2-40B4-BE49-F238E27FC236}">
                  <a16:creationId xmlns:a16="http://schemas.microsoft.com/office/drawing/2014/main" id="{FECA0BE0-C3D7-4BEC-99F2-A860D62F64CA}"/>
                </a:ext>
              </a:extLst>
            </p:cNvPr>
            <p:cNvSpPr>
              <a:spLocks/>
            </p:cNvSpPr>
            <p:nvPr/>
          </p:nvSpPr>
          <p:spPr bwMode="auto">
            <a:xfrm>
              <a:off x="-2876550" y="3024188"/>
              <a:ext cx="120650" cy="120650"/>
            </a:xfrm>
            <a:custGeom>
              <a:avLst/>
              <a:gdLst>
                <a:gd name="T0" fmla="*/ 1 w 56"/>
                <a:gd name="T1" fmla="*/ 34 h 56"/>
                <a:gd name="T2" fmla="*/ 5 w 56"/>
                <a:gd name="T3" fmla="*/ 44 h 56"/>
                <a:gd name="T4" fmla="*/ 28 w 56"/>
                <a:gd name="T5" fmla="*/ 56 h 56"/>
                <a:gd name="T6" fmla="*/ 56 w 56"/>
                <a:gd name="T7" fmla="*/ 28 h 56"/>
                <a:gd name="T8" fmla="*/ 28 w 56"/>
                <a:gd name="T9" fmla="*/ 0 h 56"/>
                <a:gd name="T10" fmla="*/ 5 w 56"/>
                <a:gd name="T11" fmla="*/ 12 h 56"/>
                <a:gd name="T12" fmla="*/ 1 w 56"/>
                <a:gd name="T13" fmla="*/ 22 h 56"/>
                <a:gd name="T14" fmla="*/ 0 w 56"/>
                <a:gd name="T15" fmla="*/ 28 h 56"/>
                <a:gd name="T16" fmla="*/ 1 w 56"/>
                <a:gd name="T17"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1" y="34"/>
                  </a:moveTo>
                  <a:cubicBezTo>
                    <a:pt x="1" y="37"/>
                    <a:pt x="3" y="41"/>
                    <a:pt x="5" y="44"/>
                  </a:cubicBezTo>
                  <a:cubicBezTo>
                    <a:pt x="10" y="51"/>
                    <a:pt x="18" y="56"/>
                    <a:pt x="28" y="56"/>
                  </a:cubicBezTo>
                  <a:cubicBezTo>
                    <a:pt x="43" y="56"/>
                    <a:pt x="56" y="44"/>
                    <a:pt x="56" y="28"/>
                  </a:cubicBezTo>
                  <a:cubicBezTo>
                    <a:pt x="56" y="13"/>
                    <a:pt x="43" y="0"/>
                    <a:pt x="28" y="0"/>
                  </a:cubicBezTo>
                  <a:cubicBezTo>
                    <a:pt x="18" y="0"/>
                    <a:pt x="10" y="5"/>
                    <a:pt x="5" y="12"/>
                  </a:cubicBezTo>
                  <a:cubicBezTo>
                    <a:pt x="3" y="15"/>
                    <a:pt x="1" y="19"/>
                    <a:pt x="1" y="22"/>
                  </a:cubicBezTo>
                  <a:cubicBezTo>
                    <a:pt x="0" y="24"/>
                    <a:pt x="0" y="26"/>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9" name="Oval 47">
              <a:extLst>
                <a:ext uri="{FF2B5EF4-FFF2-40B4-BE49-F238E27FC236}">
                  <a16:creationId xmlns:a16="http://schemas.microsoft.com/office/drawing/2014/main" id="{A9B6DFAE-CE41-4021-88F8-324432F686CA}"/>
                </a:ext>
              </a:extLst>
            </p:cNvPr>
            <p:cNvSpPr>
              <a:spLocks noChangeArrowheads="1"/>
            </p:cNvSpPr>
            <p:nvPr/>
          </p:nvSpPr>
          <p:spPr bwMode="auto">
            <a:xfrm>
              <a:off x="-3076575"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0" name="Oval 48">
              <a:extLst>
                <a:ext uri="{FF2B5EF4-FFF2-40B4-BE49-F238E27FC236}">
                  <a16:creationId xmlns:a16="http://schemas.microsoft.com/office/drawing/2014/main" id="{E631B895-00A3-489A-A8BD-E82037BB9A74}"/>
                </a:ext>
              </a:extLst>
            </p:cNvPr>
            <p:cNvSpPr>
              <a:spLocks noChangeArrowheads="1"/>
            </p:cNvSpPr>
            <p:nvPr/>
          </p:nvSpPr>
          <p:spPr bwMode="auto">
            <a:xfrm>
              <a:off x="-3479800" y="32242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1" name="Oval 49">
              <a:extLst>
                <a:ext uri="{FF2B5EF4-FFF2-40B4-BE49-F238E27FC236}">
                  <a16:creationId xmlns:a16="http://schemas.microsoft.com/office/drawing/2014/main" id="{31D539E6-3DFA-4A01-8987-7D22B69D5B80}"/>
                </a:ext>
              </a:extLst>
            </p:cNvPr>
            <p:cNvSpPr>
              <a:spLocks noChangeArrowheads="1"/>
            </p:cNvSpPr>
            <p:nvPr/>
          </p:nvSpPr>
          <p:spPr bwMode="auto">
            <a:xfrm>
              <a:off x="-3076575" y="2822575"/>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2" name="Freeform 50">
              <a:extLst>
                <a:ext uri="{FF2B5EF4-FFF2-40B4-BE49-F238E27FC236}">
                  <a16:creationId xmlns:a16="http://schemas.microsoft.com/office/drawing/2014/main" id="{E33B8CCA-5A92-4971-9E5E-D212302DEFFA}"/>
                </a:ext>
              </a:extLst>
            </p:cNvPr>
            <p:cNvSpPr>
              <a:spLocks/>
            </p:cNvSpPr>
            <p:nvPr/>
          </p:nvSpPr>
          <p:spPr bwMode="auto">
            <a:xfrm>
              <a:off x="-2876550" y="2622550"/>
              <a:ext cx="120650" cy="119063"/>
            </a:xfrm>
            <a:custGeom>
              <a:avLst/>
              <a:gdLst>
                <a:gd name="T0" fmla="*/ 1 w 56"/>
                <a:gd name="T1" fmla="*/ 33 h 55"/>
                <a:gd name="T2" fmla="*/ 5 w 56"/>
                <a:gd name="T3" fmla="*/ 43 h 55"/>
                <a:gd name="T4" fmla="*/ 28 w 56"/>
                <a:gd name="T5" fmla="*/ 55 h 55"/>
                <a:gd name="T6" fmla="*/ 56 w 56"/>
                <a:gd name="T7" fmla="*/ 28 h 55"/>
                <a:gd name="T8" fmla="*/ 56 w 56"/>
                <a:gd name="T9" fmla="*/ 27 h 55"/>
                <a:gd name="T10" fmla="*/ 56 w 56"/>
                <a:gd name="T11" fmla="*/ 27 h 55"/>
                <a:gd name="T12" fmla="*/ 28 w 56"/>
                <a:gd name="T13" fmla="*/ 0 h 55"/>
                <a:gd name="T14" fmla="*/ 5 w 56"/>
                <a:gd name="T15" fmla="*/ 12 h 55"/>
                <a:gd name="T16" fmla="*/ 1 w 56"/>
                <a:gd name="T17" fmla="*/ 22 h 55"/>
                <a:gd name="T18" fmla="*/ 0 w 56"/>
                <a:gd name="T19" fmla="*/ 27 h 55"/>
                <a:gd name="T20" fmla="*/ 0 w 56"/>
                <a:gd name="T21" fmla="*/ 27 h 55"/>
                <a:gd name="T22" fmla="*/ 0 w 56"/>
                <a:gd name="T23" fmla="*/ 28 h 55"/>
                <a:gd name="T24" fmla="*/ 1 w 56"/>
                <a:gd name="T25"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1" y="33"/>
                  </a:moveTo>
                  <a:cubicBezTo>
                    <a:pt x="1" y="37"/>
                    <a:pt x="3" y="40"/>
                    <a:pt x="5" y="43"/>
                  </a:cubicBezTo>
                  <a:cubicBezTo>
                    <a:pt x="10" y="51"/>
                    <a:pt x="18" y="55"/>
                    <a:pt x="28" y="55"/>
                  </a:cubicBezTo>
                  <a:cubicBezTo>
                    <a:pt x="43" y="55"/>
                    <a:pt x="56" y="43"/>
                    <a:pt x="56" y="28"/>
                  </a:cubicBezTo>
                  <a:cubicBezTo>
                    <a:pt x="56" y="27"/>
                    <a:pt x="56" y="27"/>
                    <a:pt x="56" y="27"/>
                  </a:cubicBezTo>
                  <a:cubicBezTo>
                    <a:pt x="56" y="27"/>
                    <a:pt x="56" y="27"/>
                    <a:pt x="56" y="27"/>
                  </a:cubicBezTo>
                  <a:cubicBezTo>
                    <a:pt x="56" y="12"/>
                    <a:pt x="43" y="0"/>
                    <a:pt x="28" y="0"/>
                  </a:cubicBezTo>
                  <a:cubicBezTo>
                    <a:pt x="18" y="0"/>
                    <a:pt x="10" y="4"/>
                    <a:pt x="5" y="12"/>
                  </a:cubicBezTo>
                  <a:cubicBezTo>
                    <a:pt x="3" y="15"/>
                    <a:pt x="1" y="18"/>
                    <a:pt x="1" y="22"/>
                  </a:cubicBezTo>
                  <a:cubicBezTo>
                    <a:pt x="0" y="24"/>
                    <a:pt x="0" y="26"/>
                    <a:pt x="0" y="27"/>
                  </a:cubicBezTo>
                  <a:cubicBezTo>
                    <a:pt x="0" y="27"/>
                    <a:pt x="0" y="27"/>
                    <a:pt x="0" y="27"/>
                  </a:cubicBezTo>
                  <a:cubicBezTo>
                    <a:pt x="0" y="27"/>
                    <a:pt x="0" y="27"/>
                    <a:pt x="0" y="28"/>
                  </a:cubicBezTo>
                  <a:cubicBezTo>
                    <a:pt x="0" y="29"/>
                    <a:pt x="0" y="31"/>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3" name="Oval 51">
              <a:extLst>
                <a:ext uri="{FF2B5EF4-FFF2-40B4-BE49-F238E27FC236}">
                  <a16:creationId xmlns:a16="http://schemas.microsoft.com/office/drawing/2014/main" id="{539DF8FC-4361-4607-8552-8671AE8355CE}"/>
                </a:ext>
              </a:extLst>
            </p:cNvPr>
            <p:cNvSpPr>
              <a:spLocks noChangeArrowheads="1"/>
            </p:cNvSpPr>
            <p:nvPr/>
          </p:nvSpPr>
          <p:spPr bwMode="auto">
            <a:xfrm>
              <a:off x="-3279775" y="38290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4" name="Freeform 52">
              <a:extLst>
                <a:ext uri="{FF2B5EF4-FFF2-40B4-BE49-F238E27FC236}">
                  <a16:creationId xmlns:a16="http://schemas.microsoft.com/office/drawing/2014/main" id="{BFCDC98E-AE76-4D01-A070-E35D0245182B}"/>
                </a:ext>
              </a:extLst>
            </p:cNvPr>
            <p:cNvSpPr>
              <a:spLocks/>
            </p:cNvSpPr>
            <p:nvPr/>
          </p:nvSpPr>
          <p:spPr bwMode="auto">
            <a:xfrm>
              <a:off x="-2876550" y="3829050"/>
              <a:ext cx="120650" cy="120650"/>
            </a:xfrm>
            <a:custGeom>
              <a:avLst/>
              <a:gdLst>
                <a:gd name="T0" fmla="*/ 1 w 56"/>
                <a:gd name="T1" fmla="*/ 34 h 56"/>
                <a:gd name="T2" fmla="*/ 5 w 56"/>
                <a:gd name="T3" fmla="*/ 44 h 56"/>
                <a:gd name="T4" fmla="*/ 28 w 56"/>
                <a:gd name="T5" fmla="*/ 56 h 56"/>
                <a:gd name="T6" fmla="*/ 56 w 56"/>
                <a:gd name="T7" fmla="*/ 28 h 56"/>
                <a:gd name="T8" fmla="*/ 28 w 56"/>
                <a:gd name="T9" fmla="*/ 0 h 56"/>
                <a:gd name="T10" fmla="*/ 5 w 56"/>
                <a:gd name="T11" fmla="*/ 13 h 56"/>
                <a:gd name="T12" fmla="*/ 1 w 56"/>
                <a:gd name="T13" fmla="*/ 23 h 56"/>
                <a:gd name="T14" fmla="*/ 0 w 56"/>
                <a:gd name="T15" fmla="*/ 28 h 56"/>
                <a:gd name="T16" fmla="*/ 1 w 56"/>
                <a:gd name="T17"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1" y="34"/>
                  </a:moveTo>
                  <a:cubicBezTo>
                    <a:pt x="1" y="38"/>
                    <a:pt x="3" y="41"/>
                    <a:pt x="5" y="44"/>
                  </a:cubicBezTo>
                  <a:cubicBezTo>
                    <a:pt x="10" y="51"/>
                    <a:pt x="18" y="56"/>
                    <a:pt x="28" y="56"/>
                  </a:cubicBezTo>
                  <a:cubicBezTo>
                    <a:pt x="43" y="56"/>
                    <a:pt x="56" y="44"/>
                    <a:pt x="56" y="28"/>
                  </a:cubicBezTo>
                  <a:cubicBezTo>
                    <a:pt x="56" y="13"/>
                    <a:pt x="43" y="0"/>
                    <a:pt x="28" y="0"/>
                  </a:cubicBezTo>
                  <a:cubicBezTo>
                    <a:pt x="18" y="0"/>
                    <a:pt x="10" y="5"/>
                    <a:pt x="5" y="13"/>
                  </a:cubicBezTo>
                  <a:cubicBezTo>
                    <a:pt x="3" y="16"/>
                    <a:pt x="1" y="19"/>
                    <a:pt x="1" y="23"/>
                  </a:cubicBezTo>
                  <a:cubicBezTo>
                    <a:pt x="0" y="24"/>
                    <a:pt x="0" y="26"/>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5" name="Oval 53">
              <a:extLst>
                <a:ext uri="{FF2B5EF4-FFF2-40B4-BE49-F238E27FC236}">
                  <a16:creationId xmlns:a16="http://schemas.microsoft.com/office/drawing/2014/main" id="{7C00287D-7E45-4670-B4E1-54DCBE389233}"/>
                </a:ext>
              </a:extLst>
            </p:cNvPr>
            <p:cNvSpPr>
              <a:spLocks noChangeArrowheads="1"/>
            </p:cNvSpPr>
            <p:nvPr/>
          </p:nvSpPr>
          <p:spPr bwMode="auto">
            <a:xfrm>
              <a:off x="-3076575" y="4032250"/>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6" name="Oval 54">
              <a:extLst>
                <a:ext uri="{FF2B5EF4-FFF2-40B4-BE49-F238E27FC236}">
                  <a16:creationId xmlns:a16="http://schemas.microsoft.com/office/drawing/2014/main" id="{A2A35D25-5F22-4E3A-BA53-CC43575EBAF9}"/>
                </a:ext>
              </a:extLst>
            </p:cNvPr>
            <p:cNvSpPr>
              <a:spLocks noChangeArrowheads="1"/>
            </p:cNvSpPr>
            <p:nvPr/>
          </p:nvSpPr>
          <p:spPr bwMode="auto">
            <a:xfrm>
              <a:off x="-3076575" y="3629025"/>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7" name="Freeform 55">
              <a:extLst>
                <a:ext uri="{FF2B5EF4-FFF2-40B4-BE49-F238E27FC236}">
                  <a16:creationId xmlns:a16="http://schemas.microsoft.com/office/drawing/2014/main" id="{9FCE935D-5B20-4C44-A0F9-9B3D20A7906F}"/>
                </a:ext>
              </a:extLst>
            </p:cNvPr>
            <p:cNvSpPr>
              <a:spLocks/>
            </p:cNvSpPr>
            <p:nvPr/>
          </p:nvSpPr>
          <p:spPr bwMode="auto">
            <a:xfrm>
              <a:off x="-3279775" y="3427413"/>
              <a:ext cx="120650" cy="120650"/>
            </a:xfrm>
            <a:custGeom>
              <a:avLst/>
              <a:gdLst>
                <a:gd name="T0" fmla="*/ 28 w 56"/>
                <a:gd name="T1" fmla="*/ 56 h 56"/>
                <a:gd name="T2" fmla="*/ 56 w 56"/>
                <a:gd name="T3" fmla="*/ 28 h 56"/>
                <a:gd name="T4" fmla="*/ 56 w 56"/>
                <a:gd name="T5" fmla="*/ 28 h 56"/>
                <a:gd name="T6" fmla="*/ 56 w 56"/>
                <a:gd name="T7" fmla="*/ 28 h 56"/>
                <a:gd name="T8" fmla="*/ 28 w 56"/>
                <a:gd name="T9" fmla="*/ 0 h 56"/>
                <a:gd name="T10" fmla="*/ 0 w 56"/>
                <a:gd name="T11" fmla="*/ 28 h 56"/>
                <a:gd name="T12" fmla="*/ 0 w 56"/>
                <a:gd name="T13" fmla="*/ 28 h 56"/>
                <a:gd name="T14" fmla="*/ 0 w 56"/>
                <a:gd name="T15" fmla="*/ 28 h 56"/>
                <a:gd name="T16" fmla="*/ 28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28" y="56"/>
                  </a:moveTo>
                  <a:cubicBezTo>
                    <a:pt x="44" y="56"/>
                    <a:pt x="56" y="43"/>
                    <a:pt x="56" y="28"/>
                  </a:cubicBezTo>
                  <a:cubicBezTo>
                    <a:pt x="56" y="28"/>
                    <a:pt x="56" y="28"/>
                    <a:pt x="56" y="28"/>
                  </a:cubicBezTo>
                  <a:cubicBezTo>
                    <a:pt x="56" y="28"/>
                    <a:pt x="56" y="28"/>
                    <a:pt x="56" y="28"/>
                  </a:cubicBezTo>
                  <a:cubicBezTo>
                    <a:pt x="56" y="12"/>
                    <a:pt x="44" y="0"/>
                    <a:pt x="28" y="0"/>
                  </a:cubicBezTo>
                  <a:cubicBezTo>
                    <a:pt x="13" y="0"/>
                    <a:pt x="0" y="12"/>
                    <a:pt x="0" y="28"/>
                  </a:cubicBezTo>
                  <a:cubicBezTo>
                    <a:pt x="0" y="28"/>
                    <a:pt x="0" y="28"/>
                    <a:pt x="0" y="28"/>
                  </a:cubicBezTo>
                  <a:cubicBezTo>
                    <a:pt x="0" y="28"/>
                    <a:pt x="0" y="28"/>
                    <a:pt x="0" y="28"/>
                  </a:cubicBezTo>
                  <a:cubicBezTo>
                    <a:pt x="0" y="43"/>
                    <a:pt x="13"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8" name="Freeform 56">
              <a:extLst>
                <a:ext uri="{FF2B5EF4-FFF2-40B4-BE49-F238E27FC236}">
                  <a16:creationId xmlns:a16="http://schemas.microsoft.com/office/drawing/2014/main" id="{4C680847-6606-4D84-84DC-F4DD24DCDED8}"/>
                </a:ext>
              </a:extLst>
            </p:cNvPr>
            <p:cNvSpPr>
              <a:spLocks/>
            </p:cNvSpPr>
            <p:nvPr/>
          </p:nvSpPr>
          <p:spPr bwMode="auto">
            <a:xfrm>
              <a:off x="-2876550" y="3427413"/>
              <a:ext cx="120650" cy="120650"/>
            </a:xfrm>
            <a:custGeom>
              <a:avLst/>
              <a:gdLst>
                <a:gd name="T0" fmla="*/ 1 w 56"/>
                <a:gd name="T1" fmla="*/ 33 h 56"/>
                <a:gd name="T2" fmla="*/ 5 w 56"/>
                <a:gd name="T3" fmla="*/ 43 h 56"/>
                <a:gd name="T4" fmla="*/ 28 w 56"/>
                <a:gd name="T5" fmla="*/ 56 h 56"/>
                <a:gd name="T6" fmla="*/ 56 w 56"/>
                <a:gd name="T7" fmla="*/ 28 h 56"/>
                <a:gd name="T8" fmla="*/ 56 w 56"/>
                <a:gd name="T9" fmla="*/ 28 h 56"/>
                <a:gd name="T10" fmla="*/ 56 w 56"/>
                <a:gd name="T11" fmla="*/ 28 h 56"/>
                <a:gd name="T12" fmla="*/ 28 w 56"/>
                <a:gd name="T13" fmla="*/ 0 h 56"/>
                <a:gd name="T14" fmla="*/ 5 w 56"/>
                <a:gd name="T15" fmla="*/ 12 h 56"/>
                <a:gd name="T16" fmla="*/ 1 w 56"/>
                <a:gd name="T17" fmla="*/ 22 h 56"/>
                <a:gd name="T18" fmla="*/ 0 w 56"/>
                <a:gd name="T19" fmla="*/ 28 h 56"/>
                <a:gd name="T20" fmla="*/ 0 w 56"/>
                <a:gd name="T21" fmla="*/ 28 h 56"/>
                <a:gd name="T22" fmla="*/ 0 w 56"/>
                <a:gd name="T23" fmla="*/ 28 h 56"/>
                <a:gd name="T24" fmla="*/ 1 w 56"/>
                <a:gd name="T25"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1" y="33"/>
                  </a:moveTo>
                  <a:cubicBezTo>
                    <a:pt x="1" y="37"/>
                    <a:pt x="3" y="40"/>
                    <a:pt x="5" y="43"/>
                  </a:cubicBezTo>
                  <a:cubicBezTo>
                    <a:pt x="10" y="51"/>
                    <a:pt x="18" y="56"/>
                    <a:pt x="28" y="56"/>
                  </a:cubicBezTo>
                  <a:cubicBezTo>
                    <a:pt x="43" y="56"/>
                    <a:pt x="56" y="43"/>
                    <a:pt x="56" y="28"/>
                  </a:cubicBezTo>
                  <a:cubicBezTo>
                    <a:pt x="56" y="28"/>
                    <a:pt x="56" y="28"/>
                    <a:pt x="56" y="28"/>
                  </a:cubicBezTo>
                  <a:cubicBezTo>
                    <a:pt x="56" y="28"/>
                    <a:pt x="56" y="28"/>
                    <a:pt x="56" y="28"/>
                  </a:cubicBezTo>
                  <a:cubicBezTo>
                    <a:pt x="56" y="12"/>
                    <a:pt x="43" y="0"/>
                    <a:pt x="28" y="0"/>
                  </a:cubicBezTo>
                  <a:cubicBezTo>
                    <a:pt x="18" y="0"/>
                    <a:pt x="10" y="5"/>
                    <a:pt x="5" y="12"/>
                  </a:cubicBezTo>
                  <a:cubicBezTo>
                    <a:pt x="3" y="15"/>
                    <a:pt x="1" y="18"/>
                    <a:pt x="1" y="22"/>
                  </a:cubicBezTo>
                  <a:cubicBezTo>
                    <a:pt x="0" y="24"/>
                    <a:pt x="0" y="26"/>
                    <a:pt x="0" y="28"/>
                  </a:cubicBezTo>
                  <a:cubicBezTo>
                    <a:pt x="0" y="28"/>
                    <a:pt x="0" y="28"/>
                    <a:pt x="0" y="28"/>
                  </a:cubicBezTo>
                  <a:cubicBezTo>
                    <a:pt x="0" y="28"/>
                    <a:pt x="0" y="28"/>
                    <a:pt x="0" y="28"/>
                  </a:cubicBezTo>
                  <a:cubicBezTo>
                    <a:pt x="0" y="30"/>
                    <a:pt x="0" y="31"/>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9" name="Oval 57">
              <a:extLst>
                <a:ext uri="{FF2B5EF4-FFF2-40B4-BE49-F238E27FC236}">
                  <a16:creationId xmlns:a16="http://schemas.microsoft.com/office/drawing/2014/main" id="{6F73F1EB-E240-4DA1-A584-CCE9BFC1D186}"/>
                </a:ext>
              </a:extLst>
            </p:cNvPr>
            <p:cNvSpPr>
              <a:spLocks noChangeArrowheads="1"/>
            </p:cNvSpPr>
            <p:nvPr/>
          </p:nvSpPr>
          <p:spPr bwMode="auto">
            <a:xfrm>
              <a:off x="-3279775" y="46339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0" name="Freeform 58">
              <a:extLst>
                <a:ext uri="{FF2B5EF4-FFF2-40B4-BE49-F238E27FC236}">
                  <a16:creationId xmlns:a16="http://schemas.microsoft.com/office/drawing/2014/main" id="{BA48D10F-2A51-4A81-9415-2CD48AF08115}"/>
                </a:ext>
              </a:extLst>
            </p:cNvPr>
            <p:cNvSpPr>
              <a:spLocks/>
            </p:cNvSpPr>
            <p:nvPr/>
          </p:nvSpPr>
          <p:spPr bwMode="auto">
            <a:xfrm>
              <a:off x="-2876550" y="4633913"/>
              <a:ext cx="120650" cy="122238"/>
            </a:xfrm>
            <a:custGeom>
              <a:avLst/>
              <a:gdLst>
                <a:gd name="T0" fmla="*/ 1 w 56"/>
                <a:gd name="T1" fmla="*/ 34 h 56"/>
                <a:gd name="T2" fmla="*/ 5 w 56"/>
                <a:gd name="T3" fmla="*/ 44 h 56"/>
                <a:gd name="T4" fmla="*/ 28 w 56"/>
                <a:gd name="T5" fmla="*/ 56 h 56"/>
                <a:gd name="T6" fmla="*/ 56 w 56"/>
                <a:gd name="T7" fmla="*/ 28 h 56"/>
                <a:gd name="T8" fmla="*/ 28 w 56"/>
                <a:gd name="T9" fmla="*/ 0 h 56"/>
                <a:gd name="T10" fmla="*/ 5 w 56"/>
                <a:gd name="T11" fmla="*/ 13 h 56"/>
                <a:gd name="T12" fmla="*/ 1 w 56"/>
                <a:gd name="T13" fmla="*/ 23 h 56"/>
                <a:gd name="T14" fmla="*/ 0 w 56"/>
                <a:gd name="T15" fmla="*/ 28 h 56"/>
                <a:gd name="T16" fmla="*/ 1 w 56"/>
                <a:gd name="T17"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1" y="34"/>
                  </a:moveTo>
                  <a:cubicBezTo>
                    <a:pt x="1" y="38"/>
                    <a:pt x="3" y="41"/>
                    <a:pt x="5" y="44"/>
                  </a:cubicBezTo>
                  <a:cubicBezTo>
                    <a:pt x="10" y="51"/>
                    <a:pt x="18" y="56"/>
                    <a:pt x="28" y="56"/>
                  </a:cubicBezTo>
                  <a:cubicBezTo>
                    <a:pt x="43" y="56"/>
                    <a:pt x="56" y="44"/>
                    <a:pt x="56" y="28"/>
                  </a:cubicBezTo>
                  <a:cubicBezTo>
                    <a:pt x="56" y="13"/>
                    <a:pt x="43" y="0"/>
                    <a:pt x="28" y="0"/>
                  </a:cubicBezTo>
                  <a:cubicBezTo>
                    <a:pt x="18" y="0"/>
                    <a:pt x="10" y="5"/>
                    <a:pt x="5" y="13"/>
                  </a:cubicBezTo>
                  <a:cubicBezTo>
                    <a:pt x="3" y="16"/>
                    <a:pt x="1" y="19"/>
                    <a:pt x="1" y="23"/>
                  </a:cubicBezTo>
                  <a:cubicBezTo>
                    <a:pt x="0" y="25"/>
                    <a:pt x="0" y="26"/>
                    <a:pt x="0" y="28"/>
                  </a:cubicBezTo>
                  <a:cubicBezTo>
                    <a:pt x="0" y="30"/>
                    <a:pt x="0" y="32"/>
                    <a:pt x="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1" name="Oval 59">
              <a:extLst>
                <a:ext uri="{FF2B5EF4-FFF2-40B4-BE49-F238E27FC236}">
                  <a16:creationId xmlns:a16="http://schemas.microsoft.com/office/drawing/2014/main" id="{5F0A6458-4D9E-4938-B21D-2CD9D4003A35}"/>
                </a:ext>
              </a:extLst>
            </p:cNvPr>
            <p:cNvSpPr>
              <a:spLocks noChangeArrowheads="1"/>
            </p:cNvSpPr>
            <p:nvPr/>
          </p:nvSpPr>
          <p:spPr bwMode="auto">
            <a:xfrm>
              <a:off x="-3076575" y="4837113"/>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2" name="Oval 60">
              <a:extLst>
                <a:ext uri="{FF2B5EF4-FFF2-40B4-BE49-F238E27FC236}">
                  <a16:creationId xmlns:a16="http://schemas.microsoft.com/office/drawing/2014/main" id="{666C11A7-3011-4A36-A792-4B440F38C207}"/>
                </a:ext>
              </a:extLst>
            </p:cNvPr>
            <p:cNvSpPr>
              <a:spLocks noChangeArrowheads="1"/>
            </p:cNvSpPr>
            <p:nvPr/>
          </p:nvSpPr>
          <p:spPr bwMode="auto">
            <a:xfrm>
              <a:off x="-3076575" y="44338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3" name="Freeform 61">
              <a:extLst>
                <a:ext uri="{FF2B5EF4-FFF2-40B4-BE49-F238E27FC236}">
                  <a16:creationId xmlns:a16="http://schemas.microsoft.com/office/drawing/2014/main" id="{C581B49A-758B-4FC1-B373-B177312676A2}"/>
                </a:ext>
              </a:extLst>
            </p:cNvPr>
            <p:cNvSpPr>
              <a:spLocks/>
            </p:cNvSpPr>
            <p:nvPr/>
          </p:nvSpPr>
          <p:spPr bwMode="auto">
            <a:xfrm>
              <a:off x="-3279775" y="4232275"/>
              <a:ext cx="120650" cy="122238"/>
            </a:xfrm>
            <a:custGeom>
              <a:avLst/>
              <a:gdLst>
                <a:gd name="T0" fmla="*/ 28 w 56"/>
                <a:gd name="T1" fmla="*/ 56 h 56"/>
                <a:gd name="T2" fmla="*/ 56 w 56"/>
                <a:gd name="T3" fmla="*/ 28 h 56"/>
                <a:gd name="T4" fmla="*/ 56 w 56"/>
                <a:gd name="T5" fmla="*/ 28 h 56"/>
                <a:gd name="T6" fmla="*/ 56 w 56"/>
                <a:gd name="T7" fmla="*/ 28 h 56"/>
                <a:gd name="T8" fmla="*/ 28 w 56"/>
                <a:gd name="T9" fmla="*/ 0 h 56"/>
                <a:gd name="T10" fmla="*/ 0 w 56"/>
                <a:gd name="T11" fmla="*/ 28 h 56"/>
                <a:gd name="T12" fmla="*/ 0 w 56"/>
                <a:gd name="T13" fmla="*/ 28 h 56"/>
                <a:gd name="T14" fmla="*/ 0 w 56"/>
                <a:gd name="T15" fmla="*/ 28 h 56"/>
                <a:gd name="T16" fmla="*/ 28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28" y="56"/>
                  </a:moveTo>
                  <a:cubicBezTo>
                    <a:pt x="44" y="56"/>
                    <a:pt x="56" y="43"/>
                    <a:pt x="56" y="28"/>
                  </a:cubicBezTo>
                  <a:cubicBezTo>
                    <a:pt x="56" y="28"/>
                    <a:pt x="56" y="28"/>
                    <a:pt x="56" y="28"/>
                  </a:cubicBezTo>
                  <a:cubicBezTo>
                    <a:pt x="56" y="28"/>
                    <a:pt x="56" y="28"/>
                    <a:pt x="56" y="28"/>
                  </a:cubicBezTo>
                  <a:cubicBezTo>
                    <a:pt x="56" y="12"/>
                    <a:pt x="44" y="0"/>
                    <a:pt x="28" y="0"/>
                  </a:cubicBezTo>
                  <a:cubicBezTo>
                    <a:pt x="13" y="0"/>
                    <a:pt x="0" y="12"/>
                    <a:pt x="0" y="28"/>
                  </a:cubicBezTo>
                  <a:cubicBezTo>
                    <a:pt x="0" y="28"/>
                    <a:pt x="0" y="28"/>
                    <a:pt x="0" y="28"/>
                  </a:cubicBezTo>
                  <a:cubicBezTo>
                    <a:pt x="0" y="28"/>
                    <a:pt x="0" y="28"/>
                    <a:pt x="0" y="28"/>
                  </a:cubicBezTo>
                  <a:cubicBezTo>
                    <a:pt x="0" y="43"/>
                    <a:pt x="13"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4" name="Freeform 62">
              <a:extLst>
                <a:ext uri="{FF2B5EF4-FFF2-40B4-BE49-F238E27FC236}">
                  <a16:creationId xmlns:a16="http://schemas.microsoft.com/office/drawing/2014/main" id="{752C60BB-4D4C-472A-8881-754585110132}"/>
                </a:ext>
              </a:extLst>
            </p:cNvPr>
            <p:cNvSpPr>
              <a:spLocks/>
            </p:cNvSpPr>
            <p:nvPr/>
          </p:nvSpPr>
          <p:spPr bwMode="auto">
            <a:xfrm>
              <a:off x="-2876550" y="4232275"/>
              <a:ext cx="120650" cy="122238"/>
            </a:xfrm>
            <a:custGeom>
              <a:avLst/>
              <a:gdLst>
                <a:gd name="T0" fmla="*/ 1 w 56"/>
                <a:gd name="T1" fmla="*/ 33 h 56"/>
                <a:gd name="T2" fmla="*/ 5 w 56"/>
                <a:gd name="T3" fmla="*/ 43 h 56"/>
                <a:gd name="T4" fmla="*/ 28 w 56"/>
                <a:gd name="T5" fmla="*/ 56 h 56"/>
                <a:gd name="T6" fmla="*/ 56 w 56"/>
                <a:gd name="T7" fmla="*/ 28 h 56"/>
                <a:gd name="T8" fmla="*/ 56 w 56"/>
                <a:gd name="T9" fmla="*/ 28 h 56"/>
                <a:gd name="T10" fmla="*/ 56 w 56"/>
                <a:gd name="T11" fmla="*/ 28 h 56"/>
                <a:gd name="T12" fmla="*/ 28 w 56"/>
                <a:gd name="T13" fmla="*/ 0 h 56"/>
                <a:gd name="T14" fmla="*/ 5 w 56"/>
                <a:gd name="T15" fmla="*/ 12 h 56"/>
                <a:gd name="T16" fmla="*/ 1 w 56"/>
                <a:gd name="T17" fmla="*/ 22 h 56"/>
                <a:gd name="T18" fmla="*/ 0 w 56"/>
                <a:gd name="T19" fmla="*/ 28 h 56"/>
                <a:gd name="T20" fmla="*/ 0 w 56"/>
                <a:gd name="T21" fmla="*/ 28 h 56"/>
                <a:gd name="T22" fmla="*/ 0 w 56"/>
                <a:gd name="T23" fmla="*/ 28 h 56"/>
                <a:gd name="T24" fmla="*/ 1 w 56"/>
                <a:gd name="T25"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1" y="33"/>
                  </a:moveTo>
                  <a:cubicBezTo>
                    <a:pt x="1" y="37"/>
                    <a:pt x="3" y="40"/>
                    <a:pt x="5" y="43"/>
                  </a:cubicBezTo>
                  <a:cubicBezTo>
                    <a:pt x="10" y="51"/>
                    <a:pt x="18" y="56"/>
                    <a:pt x="28" y="56"/>
                  </a:cubicBezTo>
                  <a:cubicBezTo>
                    <a:pt x="43" y="56"/>
                    <a:pt x="56" y="43"/>
                    <a:pt x="56" y="28"/>
                  </a:cubicBezTo>
                  <a:cubicBezTo>
                    <a:pt x="56" y="28"/>
                    <a:pt x="56" y="28"/>
                    <a:pt x="56" y="28"/>
                  </a:cubicBezTo>
                  <a:cubicBezTo>
                    <a:pt x="56" y="28"/>
                    <a:pt x="56" y="28"/>
                    <a:pt x="56" y="28"/>
                  </a:cubicBezTo>
                  <a:cubicBezTo>
                    <a:pt x="56" y="12"/>
                    <a:pt x="43" y="0"/>
                    <a:pt x="28" y="0"/>
                  </a:cubicBezTo>
                  <a:cubicBezTo>
                    <a:pt x="18" y="0"/>
                    <a:pt x="10" y="5"/>
                    <a:pt x="5" y="12"/>
                  </a:cubicBezTo>
                  <a:cubicBezTo>
                    <a:pt x="3" y="15"/>
                    <a:pt x="1" y="19"/>
                    <a:pt x="1" y="22"/>
                  </a:cubicBezTo>
                  <a:cubicBezTo>
                    <a:pt x="0" y="24"/>
                    <a:pt x="0" y="26"/>
                    <a:pt x="0" y="28"/>
                  </a:cubicBezTo>
                  <a:cubicBezTo>
                    <a:pt x="0" y="28"/>
                    <a:pt x="0" y="28"/>
                    <a:pt x="0" y="28"/>
                  </a:cubicBezTo>
                  <a:cubicBezTo>
                    <a:pt x="0" y="28"/>
                    <a:pt x="0" y="28"/>
                    <a:pt x="0" y="28"/>
                  </a:cubicBezTo>
                  <a:cubicBezTo>
                    <a:pt x="0" y="30"/>
                    <a:pt x="0" y="32"/>
                    <a:pt x="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5" name="Freeform 63">
              <a:extLst>
                <a:ext uri="{FF2B5EF4-FFF2-40B4-BE49-F238E27FC236}">
                  <a16:creationId xmlns:a16="http://schemas.microsoft.com/office/drawing/2014/main" id="{81C66AC9-00E6-40F7-841C-64F1B480444C}"/>
                </a:ext>
              </a:extLst>
            </p:cNvPr>
            <p:cNvSpPr>
              <a:spLocks/>
            </p:cNvSpPr>
            <p:nvPr/>
          </p:nvSpPr>
          <p:spPr bwMode="auto">
            <a:xfrm>
              <a:off x="-4013201" y="1423988"/>
              <a:ext cx="3975101" cy="2006600"/>
            </a:xfrm>
            <a:custGeom>
              <a:avLst/>
              <a:gdLst>
                <a:gd name="T0" fmla="*/ 1826 w 1846"/>
                <a:gd name="T1" fmla="*/ 838 h 929"/>
                <a:gd name="T2" fmla="*/ 966 w 1846"/>
                <a:gd name="T3" fmla="*/ 14 h 929"/>
                <a:gd name="T4" fmla="*/ 931 w 1846"/>
                <a:gd name="T5" fmla="*/ 0 h 929"/>
                <a:gd name="T6" fmla="*/ 915 w 1846"/>
                <a:gd name="T7" fmla="*/ 0 h 929"/>
                <a:gd name="T8" fmla="*/ 880 w 1846"/>
                <a:gd name="T9" fmla="*/ 14 h 929"/>
                <a:gd name="T10" fmla="*/ 20 w 1846"/>
                <a:gd name="T11" fmla="*/ 838 h 929"/>
                <a:gd name="T12" fmla="*/ 19 w 1846"/>
                <a:gd name="T13" fmla="*/ 909 h 929"/>
                <a:gd name="T14" fmla="*/ 90 w 1846"/>
                <a:gd name="T15" fmla="*/ 910 h 929"/>
                <a:gd name="T16" fmla="*/ 923 w 1846"/>
                <a:gd name="T17" fmla="*/ 112 h 929"/>
                <a:gd name="T18" fmla="*/ 1756 w 1846"/>
                <a:gd name="T19" fmla="*/ 910 h 929"/>
                <a:gd name="T20" fmla="*/ 1791 w 1846"/>
                <a:gd name="T21" fmla="*/ 924 h 929"/>
                <a:gd name="T22" fmla="*/ 1827 w 1846"/>
                <a:gd name="T23" fmla="*/ 909 h 929"/>
                <a:gd name="T24" fmla="*/ 1826 w 1846"/>
                <a:gd name="T25" fmla="*/ 8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6" h="929">
                  <a:moveTo>
                    <a:pt x="1826" y="838"/>
                  </a:moveTo>
                  <a:cubicBezTo>
                    <a:pt x="966" y="14"/>
                    <a:pt x="966" y="14"/>
                    <a:pt x="966" y="14"/>
                  </a:cubicBezTo>
                  <a:cubicBezTo>
                    <a:pt x="956" y="5"/>
                    <a:pt x="944" y="0"/>
                    <a:pt x="931" y="0"/>
                  </a:cubicBezTo>
                  <a:cubicBezTo>
                    <a:pt x="915" y="0"/>
                    <a:pt x="915" y="0"/>
                    <a:pt x="915" y="0"/>
                  </a:cubicBezTo>
                  <a:cubicBezTo>
                    <a:pt x="902" y="0"/>
                    <a:pt x="890" y="5"/>
                    <a:pt x="880" y="14"/>
                  </a:cubicBezTo>
                  <a:cubicBezTo>
                    <a:pt x="20" y="838"/>
                    <a:pt x="20" y="838"/>
                    <a:pt x="20" y="838"/>
                  </a:cubicBezTo>
                  <a:cubicBezTo>
                    <a:pt x="0" y="857"/>
                    <a:pt x="0" y="889"/>
                    <a:pt x="19" y="909"/>
                  </a:cubicBezTo>
                  <a:cubicBezTo>
                    <a:pt x="38" y="929"/>
                    <a:pt x="70" y="929"/>
                    <a:pt x="90" y="910"/>
                  </a:cubicBezTo>
                  <a:cubicBezTo>
                    <a:pt x="923" y="112"/>
                    <a:pt x="923" y="112"/>
                    <a:pt x="923" y="112"/>
                  </a:cubicBezTo>
                  <a:cubicBezTo>
                    <a:pt x="1756" y="910"/>
                    <a:pt x="1756" y="910"/>
                    <a:pt x="1756" y="910"/>
                  </a:cubicBezTo>
                  <a:cubicBezTo>
                    <a:pt x="1766" y="919"/>
                    <a:pt x="1779" y="924"/>
                    <a:pt x="1791" y="924"/>
                  </a:cubicBezTo>
                  <a:cubicBezTo>
                    <a:pt x="1804" y="924"/>
                    <a:pt x="1817" y="919"/>
                    <a:pt x="1827" y="909"/>
                  </a:cubicBezTo>
                  <a:cubicBezTo>
                    <a:pt x="1846" y="889"/>
                    <a:pt x="1846" y="857"/>
                    <a:pt x="1826" y="8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6" name="Freeform 64">
              <a:extLst>
                <a:ext uri="{FF2B5EF4-FFF2-40B4-BE49-F238E27FC236}">
                  <a16:creationId xmlns:a16="http://schemas.microsoft.com/office/drawing/2014/main" id="{48734935-1411-49B8-85CF-AD9E16D19718}"/>
                </a:ext>
              </a:extLst>
            </p:cNvPr>
            <p:cNvSpPr>
              <a:spLocks/>
            </p:cNvSpPr>
            <p:nvPr/>
          </p:nvSpPr>
          <p:spPr bwMode="auto">
            <a:xfrm>
              <a:off x="-3606800" y="3224213"/>
              <a:ext cx="3213100" cy="2111375"/>
            </a:xfrm>
            <a:custGeom>
              <a:avLst/>
              <a:gdLst>
                <a:gd name="T0" fmla="*/ 1392 w 1492"/>
                <a:gd name="T1" fmla="*/ 124 h 978"/>
                <a:gd name="T2" fmla="*/ 1365 w 1492"/>
                <a:gd name="T3" fmla="*/ 215 h 978"/>
                <a:gd name="T4" fmla="*/ 1392 w 1492"/>
                <a:gd name="T5" fmla="*/ 374 h 978"/>
                <a:gd name="T6" fmla="*/ 1392 w 1492"/>
                <a:gd name="T7" fmla="*/ 429 h 978"/>
                <a:gd name="T8" fmla="*/ 1365 w 1492"/>
                <a:gd name="T9" fmla="*/ 588 h 978"/>
                <a:gd name="T10" fmla="*/ 1392 w 1492"/>
                <a:gd name="T11" fmla="*/ 747 h 978"/>
                <a:gd name="T12" fmla="*/ 1392 w 1492"/>
                <a:gd name="T13" fmla="*/ 803 h 978"/>
                <a:gd name="T14" fmla="*/ 1326 w 1492"/>
                <a:gd name="T15" fmla="*/ 878 h 978"/>
                <a:gd name="T16" fmla="*/ 1328 w 1492"/>
                <a:gd name="T17" fmla="*/ 868 h 978"/>
                <a:gd name="T18" fmla="*/ 1300 w 1492"/>
                <a:gd name="T19" fmla="*/ 840 h 978"/>
                <a:gd name="T20" fmla="*/ 1272 w 1492"/>
                <a:gd name="T21" fmla="*/ 868 h 978"/>
                <a:gd name="T22" fmla="*/ 1274 w 1492"/>
                <a:gd name="T23" fmla="*/ 878 h 978"/>
                <a:gd name="T24" fmla="*/ 1141 w 1492"/>
                <a:gd name="T25" fmla="*/ 868 h 978"/>
                <a:gd name="T26" fmla="*/ 1141 w 1492"/>
                <a:gd name="T27" fmla="*/ 868 h 978"/>
                <a:gd name="T28" fmla="*/ 1108 w 1492"/>
                <a:gd name="T29" fmla="*/ 841 h 978"/>
                <a:gd name="T30" fmla="*/ 1085 w 1492"/>
                <a:gd name="T31" fmla="*/ 868 h 978"/>
                <a:gd name="T32" fmla="*/ 1085 w 1492"/>
                <a:gd name="T33" fmla="*/ 868 h 978"/>
                <a:gd name="T34" fmla="*/ 1030 w 1492"/>
                <a:gd name="T35" fmla="*/ 878 h 978"/>
                <a:gd name="T36" fmla="*/ 1048 w 1492"/>
                <a:gd name="T37" fmla="*/ 775 h 978"/>
                <a:gd name="T38" fmla="*/ 1030 w 1492"/>
                <a:gd name="T39" fmla="*/ 614 h 978"/>
                <a:gd name="T40" fmla="*/ 1030 w 1492"/>
                <a:gd name="T41" fmla="*/ 562 h 978"/>
                <a:gd name="T42" fmla="*/ 1048 w 1492"/>
                <a:gd name="T43" fmla="*/ 402 h 978"/>
                <a:gd name="T44" fmla="*/ 1030 w 1492"/>
                <a:gd name="T45" fmla="*/ 241 h 978"/>
                <a:gd name="T46" fmla="*/ 1030 w 1492"/>
                <a:gd name="T47" fmla="*/ 189 h 978"/>
                <a:gd name="T48" fmla="*/ 980 w 1492"/>
                <a:gd name="T49" fmla="*/ 50 h 978"/>
                <a:gd name="T50" fmla="*/ 861 w 1492"/>
                <a:gd name="T51" fmla="*/ 28 h 978"/>
                <a:gd name="T52" fmla="*/ 805 w 1492"/>
                <a:gd name="T53" fmla="*/ 28 h 978"/>
                <a:gd name="T54" fmla="*/ 665 w 1492"/>
                <a:gd name="T55" fmla="*/ 50 h 978"/>
                <a:gd name="T56" fmla="*/ 647 w 1492"/>
                <a:gd name="T57" fmla="*/ 0 h 978"/>
                <a:gd name="T58" fmla="*/ 629 w 1492"/>
                <a:gd name="T59" fmla="*/ 50 h 978"/>
                <a:gd name="T60" fmla="*/ 462 w 1492"/>
                <a:gd name="T61" fmla="*/ 100 h 978"/>
                <a:gd name="T62" fmla="*/ 460 w 1492"/>
                <a:gd name="T63" fmla="*/ 187 h 978"/>
                <a:gd name="T64" fmla="*/ 460 w 1492"/>
                <a:gd name="T65" fmla="*/ 243 h 978"/>
                <a:gd name="T66" fmla="*/ 462 w 1492"/>
                <a:gd name="T67" fmla="*/ 374 h 978"/>
                <a:gd name="T68" fmla="*/ 432 w 1492"/>
                <a:gd name="T69" fmla="*/ 402 h 978"/>
                <a:gd name="T70" fmla="*/ 462 w 1492"/>
                <a:gd name="T71" fmla="*/ 429 h 978"/>
                <a:gd name="T72" fmla="*/ 460 w 1492"/>
                <a:gd name="T73" fmla="*/ 560 h 978"/>
                <a:gd name="T74" fmla="*/ 460 w 1492"/>
                <a:gd name="T75" fmla="*/ 616 h 978"/>
                <a:gd name="T76" fmla="*/ 462 w 1492"/>
                <a:gd name="T77" fmla="*/ 747 h 978"/>
                <a:gd name="T78" fmla="*/ 432 w 1492"/>
                <a:gd name="T79" fmla="*/ 775 h 978"/>
                <a:gd name="T80" fmla="*/ 462 w 1492"/>
                <a:gd name="T81" fmla="*/ 803 h 978"/>
                <a:gd name="T82" fmla="*/ 393 w 1492"/>
                <a:gd name="T83" fmla="*/ 878 h 978"/>
                <a:gd name="T84" fmla="*/ 395 w 1492"/>
                <a:gd name="T85" fmla="*/ 868 h 978"/>
                <a:gd name="T86" fmla="*/ 367 w 1492"/>
                <a:gd name="T87" fmla="*/ 840 h 978"/>
                <a:gd name="T88" fmla="*/ 340 w 1492"/>
                <a:gd name="T89" fmla="*/ 862 h 978"/>
                <a:gd name="T90" fmla="*/ 339 w 1492"/>
                <a:gd name="T91" fmla="*/ 868 h 978"/>
                <a:gd name="T92" fmla="*/ 340 w 1492"/>
                <a:gd name="T93" fmla="*/ 874 h 978"/>
                <a:gd name="T94" fmla="*/ 207 w 1492"/>
                <a:gd name="T95" fmla="*/ 878 h 978"/>
                <a:gd name="T96" fmla="*/ 208 w 1492"/>
                <a:gd name="T97" fmla="*/ 868 h 978"/>
                <a:gd name="T98" fmla="*/ 180 w 1492"/>
                <a:gd name="T99" fmla="*/ 840 h 978"/>
                <a:gd name="T100" fmla="*/ 152 w 1492"/>
                <a:gd name="T101" fmla="*/ 868 h 978"/>
                <a:gd name="T102" fmla="*/ 154 w 1492"/>
                <a:gd name="T103" fmla="*/ 878 h 978"/>
                <a:gd name="T104" fmla="*/ 100 w 1492"/>
                <a:gd name="T105" fmla="*/ 124 h 978"/>
                <a:gd name="T106" fmla="*/ 0 w 1492"/>
                <a:gd name="T107" fmla="*/ 124 h 978"/>
                <a:gd name="T108" fmla="*/ 50 w 1492"/>
                <a:gd name="T109" fmla="*/ 978 h 978"/>
                <a:gd name="T110" fmla="*/ 562 w 1492"/>
                <a:gd name="T111" fmla="*/ 928 h 978"/>
                <a:gd name="T112" fmla="*/ 930 w 1492"/>
                <a:gd name="T113" fmla="*/ 150 h 978"/>
                <a:gd name="T114" fmla="*/ 927 w 1492"/>
                <a:gd name="T115" fmla="*/ 840 h 978"/>
                <a:gd name="T116" fmla="*/ 927 w 1492"/>
                <a:gd name="T117" fmla="*/ 896 h 978"/>
                <a:gd name="T118" fmla="*/ 930 w 1492"/>
                <a:gd name="T119" fmla="*/ 896 h 978"/>
                <a:gd name="T120" fmla="*/ 980 w 1492"/>
                <a:gd name="T121" fmla="*/ 978 h 978"/>
                <a:gd name="T122" fmla="*/ 1492 w 1492"/>
                <a:gd name="T123" fmla="*/ 928 h 978"/>
                <a:gd name="T124" fmla="*/ 1442 w 1492"/>
                <a:gd name="T125" fmla="*/ 74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2" h="978">
                  <a:moveTo>
                    <a:pt x="1442" y="74"/>
                  </a:moveTo>
                  <a:cubicBezTo>
                    <a:pt x="1414" y="74"/>
                    <a:pt x="1392" y="96"/>
                    <a:pt x="1392" y="124"/>
                  </a:cubicBezTo>
                  <a:cubicBezTo>
                    <a:pt x="1392" y="187"/>
                    <a:pt x="1392" y="187"/>
                    <a:pt x="1392" y="187"/>
                  </a:cubicBezTo>
                  <a:cubicBezTo>
                    <a:pt x="1377" y="188"/>
                    <a:pt x="1365" y="200"/>
                    <a:pt x="1365" y="215"/>
                  </a:cubicBezTo>
                  <a:cubicBezTo>
                    <a:pt x="1365" y="230"/>
                    <a:pt x="1377" y="242"/>
                    <a:pt x="1392" y="243"/>
                  </a:cubicBezTo>
                  <a:cubicBezTo>
                    <a:pt x="1392" y="374"/>
                    <a:pt x="1392" y="374"/>
                    <a:pt x="1392" y="374"/>
                  </a:cubicBezTo>
                  <a:cubicBezTo>
                    <a:pt x="1377" y="374"/>
                    <a:pt x="1365" y="386"/>
                    <a:pt x="1365" y="402"/>
                  </a:cubicBezTo>
                  <a:cubicBezTo>
                    <a:pt x="1365" y="417"/>
                    <a:pt x="1377" y="429"/>
                    <a:pt x="1392" y="429"/>
                  </a:cubicBezTo>
                  <a:cubicBezTo>
                    <a:pt x="1392" y="560"/>
                    <a:pt x="1392" y="560"/>
                    <a:pt x="1392" y="560"/>
                  </a:cubicBezTo>
                  <a:cubicBezTo>
                    <a:pt x="1377" y="561"/>
                    <a:pt x="1365" y="573"/>
                    <a:pt x="1365" y="588"/>
                  </a:cubicBezTo>
                  <a:cubicBezTo>
                    <a:pt x="1365" y="603"/>
                    <a:pt x="1377" y="615"/>
                    <a:pt x="1392" y="616"/>
                  </a:cubicBezTo>
                  <a:cubicBezTo>
                    <a:pt x="1392" y="747"/>
                    <a:pt x="1392" y="747"/>
                    <a:pt x="1392" y="747"/>
                  </a:cubicBezTo>
                  <a:cubicBezTo>
                    <a:pt x="1377" y="747"/>
                    <a:pt x="1365" y="760"/>
                    <a:pt x="1365" y="775"/>
                  </a:cubicBezTo>
                  <a:cubicBezTo>
                    <a:pt x="1365" y="790"/>
                    <a:pt x="1377" y="802"/>
                    <a:pt x="1392" y="803"/>
                  </a:cubicBezTo>
                  <a:cubicBezTo>
                    <a:pt x="1392" y="878"/>
                    <a:pt x="1392" y="878"/>
                    <a:pt x="1392" y="878"/>
                  </a:cubicBezTo>
                  <a:cubicBezTo>
                    <a:pt x="1326" y="878"/>
                    <a:pt x="1326" y="878"/>
                    <a:pt x="1326" y="878"/>
                  </a:cubicBezTo>
                  <a:cubicBezTo>
                    <a:pt x="1327" y="875"/>
                    <a:pt x="1328" y="872"/>
                    <a:pt x="1328" y="868"/>
                  </a:cubicBezTo>
                  <a:cubicBezTo>
                    <a:pt x="1328" y="868"/>
                    <a:pt x="1328" y="868"/>
                    <a:pt x="1328" y="868"/>
                  </a:cubicBezTo>
                  <a:cubicBezTo>
                    <a:pt x="1328" y="868"/>
                    <a:pt x="1328" y="868"/>
                    <a:pt x="1328" y="868"/>
                  </a:cubicBezTo>
                  <a:cubicBezTo>
                    <a:pt x="1328" y="853"/>
                    <a:pt x="1315" y="840"/>
                    <a:pt x="1300" y="840"/>
                  </a:cubicBezTo>
                  <a:cubicBezTo>
                    <a:pt x="1284" y="840"/>
                    <a:pt x="1272" y="853"/>
                    <a:pt x="1272" y="868"/>
                  </a:cubicBezTo>
                  <a:cubicBezTo>
                    <a:pt x="1272" y="868"/>
                    <a:pt x="1272" y="868"/>
                    <a:pt x="1272" y="868"/>
                  </a:cubicBezTo>
                  <a:cubicBezTo>
                    <a:pt x="1272" y="868"/>
                    <a:pt x="1272" y="868"/>
                    <a:pt x="1272" y="868"/>
                  </a:cubicBezTo>
                  <a:cubicBezTo>
                    <a:pt x="1272" y="872"/>
                    <a:pt x="1273" y="875"/>
                    <a:pt x="1274" y="878"/>
                  </a:cubicBezTo>
                  <a:cubicBezTo>
                    <a:pt x="1139" y="878"/>
                    <a:pt x="1139" y="878"/>
                    <a:pt x="1139" y="878"/>
                  </a:cubicBezTo>
                  <a:cubicBezTo>
                    <a:pt x="1141" y="875"/>
                    <a:pt x="1141" y="872"/>
                    <a:pt x="1141" y="868"/>
                  </a:cubicBezTo>
                  <a:cubicBezTo>
                    <a:pt x="1141" y="868"/>
                    <a:pt x="1141" y="868"/>
                    <a:pt x="1141" y="868"/>
                  </a:cubicBezTo>
                  <a:cubicBezTo>
                    <a:pt x="1141" y="868"/>
                    <a:pt x="1141" y="868"/>
                    <a:pt x="1141" y="868"/>
                  </a:cubicBezTo>
                  <a:cubicBezTo>
                    <a:pt x="1141" y="853"/>
                    <a:pt x="1129" y="840"/>
                    <a:pt x="1113" y="840"/>
                  </a:cubicBezTo>
                  <a:cubicBezTo>
                    <a:pt x="1111" y="840"/>
                    <a:pt x="1109" y="840"/>
                    <a:pt x="1108" y="841"/>
                  </a:cubicBezTo>
                  <a:cubicBezTo>
                    <a:pt x="1100" y="842"/>
                    <a:pt x="1094" y="846"/>
                    <a:pt x="1090" y="852"/>
                  </a:cubicBezTo>
                  <a:cubicBezTo>
                    <a:pt x="1087" y="857"/>
                    <a:pt x="1085" y="862"/>
                    <a:pt x="1085" y="868"/>
                  </a:cubicBezTo>
                  <a:cubicBezTo>
                    <a:pt x="1085" y="868"/>
                    <a:pt x="1085" y="868"/>
                    <a:pt x="1085" y="868"/>
                  </a:cubicBezTo>
                  <a:cubicBezTo>
                    <a:pt x="1085" y="868"/>
                    <a:pt x="1085" y="868"/>
                    <a:pt x="1085" y="868"/>
                  </a:cubicBezTo>
                  <a:cubicBezTo>
                    <a:pt x="1085" y="872"/>
                    <a:pt x="1086" y="875"/>
                    <a:pt x="1087" y="878"/>
                  </a:cubicBezTo>
                  <a:cubicBezTo>
                    <a:pt x="1030" y="878"/>
                    <a:pt x="1030" y="878"/>
                    <a:pt x="1030" y="878"/>
                  </a:cubicBezTo>
                  <a:cubicBezTo>
                    <a:pt x="1030" y="801"/>
                    <a:pt x="1030" y="801"/>
                    <a:pt x="1030" y="801"/>
                  </a:cubicBezTo>
                  <a:cubicBezTo>
                    <a:pt x="1040" y="797"/>
                    <a:pt x="1048" y="787"/>
                    <a:pt x="1048" y="775"/>
                  </a:cubicBezTo>
                  <a:cubicBezTo>
                    <a:pt x="1048" y="763"/>
                    <a:pt x="1040" y="752"/>
                    <a:pt x="1030" y="748"/>
                  </a:cubicBezTo>
                  <a:cubicBezTo>
                    <a:pt x="1030" y="614"/>
                    <a:pt x="1030" y="614"/>
                    <a:pt x="1030" y="614"/>
                  </a:cubicBezTo>
                  <a:cubicBezTo>
                    <a:pt x="1040" y="610"/>
                    <a:pt x="1048" y="600"/>
                    <a:pt x="1048" y="588"/>
                  </a:cubicBezTo>
                  <a:cubicBezTo>
                    <a:pt x="1048" y="576"/>
                    <a:pt x="1040" y="566"/>
                    <a:pt x="1030" y="562"/>
                  </a:cubicBezTo>
                  <a:cubicBezTo>
                    <a:pt x="1030" y="428"/>
                    <a:pt x="1030" y="428"/>
                    <a:pt x="1030" y="428"/>
                  </a:cubicBezTo>
                  <a:cubicBezTo>
                    <a:pt x="1040" y="424"/>
                    <a:pt x="1048" y="414"/>
                    <a:pt x="1048" y="402"/>
                  </a:cubicBezTo>
                  <a:cubicBezTo>
                    <a:pt x="1048" y="389"/>
                    <a:pt x="1040" y="379"/>
                    <a:pt x="1030" y="375"/>
                  </a:cubicBezTo>
                  <a:cubicBezTo>
                    <a:pt x="1030" y="241"/>
                    <a:pt x="1030" y="241"/>
                    <a:pt x="1030" y="241"/>
                  </a:cubicBezTo>
                  <a:cubicBezTo>
                    <a:pt x="1040" y="237"/>
                    <a:pt x="1048" y="227"/>
                    <a:pt x="1048" y="215"/>
                  </a:cubicBezTo>
                  <a:cubicBezTo>
                    <a:pt x="1048" y="203"/>
                    <a:pt x="1040" y="193"/>
                    <a:pt x="1030" y="189"/>
                  </a:cubicBezTo>
                  <a:cubicBezTo>
                    <a:pt x="1030" y="100"/>
                    <a:pt x="1030" y="100"/>
                    <a:pt x="1030" y="100"/>
                  </a:cubicBezTo>
                  <a:cubicBezTo>
                    <a:pt x="1030" y="72"/>
                    <a:pt x="1007" y="50"/>
                    <a:pt x="980" y="50"/>
                  </a:cubicBezTo>
                  <a:cubicBezTo>
                    <a:pt x="851" y="50"/>
                    <a:pt x="851" y="50"/>
                    <a:pt x="851" y="50"/>
                  </a:cubicBezTo>
                  <a:cubicBezTo>
                    <a:pt x="857" y="45"/>
                    <a:pt x="861" y="37"/>
                    <a:pt x="861" y="28"/>
                  </a:cubicBezTo>
                  <a:cubicBezTo>
                    <a:pt x="861" y="13"/>
                    <a:pt x="849" y="0"/>
                    <a:pt x="833" y="0"/>
                  </a:cubicBezTo>
                  <a:cubicBezTo>
                    <a:pt x="818" y="0"/>
                    <a:pt x="805" y="13"/>
                    <a:pt x="805" y="28"/>
                  </a:cubicBezTo>
                  <a:cubicBezTo>
                    <a:pt x="805" y="37"/>
                    <a:pt x="809" y="45"/>
                    <a:pt x="816" y="50"/>
                  </a:cubicBezTo>
                  <a:cubicBezTo>
                    <a:pt x="665" y="50"/>
                    <a:pt x="665" y="50"/>
                    <a:pt x="665" y="50"/>
                  </a:cubicBezTo>
                  <a:cubicBezTo>
                    <a:pt x="671" y="45"/>
                    <a:pt x="675" y="37"/>
                    <a:pt x="675" y="28"/>
                  </a:cubicBezTo>
                  <a:cubicBezTo>
                    <a:pt x="675" y="13"/>
                    <a:pt x="662" y="0"/>
                    <a:pt x="647" y="0"/>
                  </a:cubicBezTo>
                  <a:cubicBezTo>
                    <a:pt x="631" y="0"/>
                    <a:pt x="619" y="13"/>
                    <a:pt x="619" y="28"/>
                  </a:cubicBezTo>
                  <a:cubicBezTo>
                    <a:pt x="619" y="37"/>
                    <a:pt x="623" y="45"/>
                    <a:pt x="629" y="50"/>
                  </a:cubicBezTo>
                  <a:cubicBezTo>
                    <a:pt x="512" y="50"/>
                    <a:pt x="512" y="50"/>
                    <a:pt x="512" y="50"/>
                  </a:cubicBezTo>
                  <a:cubicBezTo>
                    <a:pt x="485" y="50"/>
                    <a:pt x="462" y="72"/>
                    <a:pt x="462" y="100"/>
                  </a:cubicBezTo>
                  <a:cubicBezTo>
                    <a:pt x="462" y="187"/>
                    <a:pt x="462" y="187"/>
                    <a:pt x="462" y="187"/>
                  </a:cubicBezTo>
                  <a:cubicBezTo>
                    <a:pt x="462" y="187"/>
                    <a:pt x="461" y="187"/>
                    <a:pt x="460" y="187"/>
                  </a:cubicBezTo>
                  <a:cubicBezTo>
                    <a:pt x="445" y="187"/>
                    <a:pt x="432" y="199"/>
                    <a:pt x="432" y="215"/>
                  </a:cubicBezTo>
                  <a:cubicBezTo>
                    <a:pt x="432" y="230"/>
                    <a:pt x="445" y="243"/>
                    <a:pt x="460" y="243"/>
                  </a:cubicBezTo>
                  <a:cubicBezTo>
                    <a:pt x="461" y="243"/>
                    <a:pt x="462" y="243"/>
                    <a:pt x="462" y="243"/>
                  </a:cubicBezTo>
                  <a:cubicBezTo>
                    <a:pt x="462" y="374"/>
                    <a:pt x="462" y="374"/>
                    <a:pt x="462" y="374"/>
                  </a:cubicBezTo>
                  <a:cubicBezTo>
                    <a:pt x="462" y="374"/>
                    <a:pt x="461" y="374"/>
                    <a:pt x="460" y="374"/>
                  </a:cubicBezTo>
                  <a:cubicBezTo>
                    <a:pt x="445" y="374"/>
                    <a:pt x="432" y="386"/>
                    <a:pt x="432" y="402"/>
                  </a:cubicBezTo>
                  <a:cubicBezTo>
                    <a:pt x="432" y="417"/>
                    <a:pt x="445" y="430"/>
                    <a:pt x="460" y="430"/>
                  </a:cubicBezTo>
                  <a:cubicBezTo>
                    <a:pt x="461" y="430"/>
                    <a:pt x="462" y="429"/>
                    <a:pt x="462" y="429"/>
                  </a:cubicBezTo>
                  <a:cubicBezTo>
                    <a:pt x="462" y="560"/>
                    <a:pt x="462" y="560"/>
                    <a:pt x="462" y="560"/>
                  </a:cubicBezTo>
                  <a:cubicBezTo>
                    <a:pt x="462" y="560"/>
                    <a:pt x="461" y="560"/>
                    <a:pt x="460" y="560"/>
                  </a:cubicBezTo>
                  <a:cubicBezTo>
                    <a:pt x="445" y="560"/>
                    <a:pt x="432" y="573"/>
                    <a:pt x="432" y="588"/>
                  </a:cubicBezTo>
                  <a:cubicBezTo>
                    <a:pt x="432" y="604"/>
                    <a:pt x="445" y="616"/>
                    <a:pt x="460" y="616"/>
                  </a:cubicBezTo>
                  <a:cubicBezTo>
                    <a:pt x="461" y="616"/>
                    <a:pt x="462" y="616"/>
                    <a:pt x="462" y="616"/>
                  </a:cubicBezTo>
                  <a:cubicBezTo>
                    <a:pt x="462" y="747"/>
                    <a:pt x="462" y="747"/>
                    <a:pt x="462" y="747"/>
                  </a:cubicBezTo>
                  <a:cubicBezTo>
                    <a:pt x="462" y="747"/>
                    <a:pt x="461" y="747"/>
                    <a:pt x="460" y="747"/>
                  </a:cubicBezTo>
                  <a:cubicBezTo>
                    <a:pt x="445" y="747"/>
                    <a:pt x="432" y="759"/>
                    <a:pt x="432" y="775"/>
                  </a:cubicBezTo>
                  <a:cubicBezTo>
                    <a:pt x="432" y="790"/>
                    <a:pt x="445" y="803"/>
                    <a:pt x="460" y="803"/>
                  </a:cubicBezTo>
                  <a:cubicBezTo>
                    <a:pt x="461" y="803"/>
                    <a:pt x="462" y="803"/>
                    <a:pt x="462" y="803"/>
                  </a:cubicBezTo>
                  <a:cubicBezTo>
                    <a:pt x="462" y="878"/>
                    <a:pt x="462" y="878"/>
                    <a:pt x="462" y="878"/>
                  </a:cubicBezTo>
                  <a:cubicBezTo>
                    <a:pt x="393" y="878"/>
                    <a:pt x="393" y="878"/>
                    <a:pt x="393" y="878"/>
                  </a:cubicBezTo>
                  <a:cubicBezTo>
                    <a:pt x="394" y="875"/>
                    <a:pt x="395" y="872"/>
                    <a:pt x="395" y="868"/>
                  </a:cubicBezTo>
                  <a:cubicBezTo>
                    <a:pt x="395" y="868"/>
                    <a:pt x="395" y="868"/>
                    <a:pt x="395" y="868"/>
                  </a:cubicBezTo>
                  <a:cubicBezTo>
                    <a:pt x="395" y="868"/>
                    <a:pt x="395" y="868"/>
                    <a:pt x="395" y="868"/>
                  </a:cubicBezTo>
                  <a:cubicBezTo>
                    <a:pt x="395" y="853"/>
                    <a:pt x="382" y="840"/>
                    <a:pt x="367" y="840"/>
                  </a:cubicBezTo>
                  <a:cubicBezTo>
                    <a:pt x="357" y="840"/>
                    <a:pt x="349" y="845"/>
                    <a:pt x="344" y="852"/>
                  </a:cubicBezTo>
                  <a:cubicBezTo>
                    <a:pt x="342" y="855"/>
                    <a:pt x="340" y="859"/>
                    <a:pt x="340" y="862"/>
                  </a:cubicBezTo>
                  <a:cubicBezTo>
                    <a:pt x="339" y="864"/>
                    <a:pt x="339" y="866"/>
                    <a:pt x="339" y="868"/>
                  </a:cubicBezTo>
                  <a:cubicBezTo>
                    <a:pt x="339" y="868"/>
                    <a:pt x="339" y="868"/>
                    <a:pt x="339" y="868"/>
                  </a:cubicBezTo>
                  <a:cubicBezTo>
                    <a:pt x="339" y="868"/>
                    <a:pt x="339" y="868"/>
                    <a:pt x="339" y="868"/>
                  </a:cubicBezTo>
                  <a:cubicBezTo>
                    <a:pt x="339" y="870"/>
                    <a:pt x="339" y="872"/>
                    <a:pt x="340" y="874"/>
                  </a:cubicBezTo>
                  <a:cubicBezTo>
                    <a:pt x="340" y="875"/>
                    <a:pt x="340" y="877"/>
                    <a:pt x="341" y="878"/>
                  </a:cubicBezTo>
                  <a:cubicBezTo>
                    <a:pt x="207" y="878"/>
                    <a:pt x="207" y="878"/>
                    <a:pt x="207" y="878"/>
                  </a:cubicBezTo>
                  <a:cubicBezTo>
                    <a:pt x="208" y="875"/>
                    <a:pt x="208" y="872"/>
                    <a:pt x="208" y="868"/>
                  </a:cubicBezTo>
                  <a:cubicBezTo>
                    <a:pt x="208" y="868"/>
                    <a:pt x="208" y="868"/>
                    <a:pt x="208" y="868"/>
                  </a:cubicBezTo>
                  <a:cubicBezTo>
                    <a:pt x="208" y="868"/>
                    <a:pt x="208" y="868"/>
                    <a:pt x="208" y="868"/>
                  </a:cubicBezTo>
                  <a:cubicBezTo>
                    <a:pt x="208" y="853"/>
                    <a:pt x="196" y="840"/>
                    <a:pt x="180" y="840"/>
                  </a:cubicBezTo>
                  <a:cubicBezTo>
                    <a:pt x="165" y="840"/>
                    <a:pt x="152" y="853"/>
                    <a:pt x="152" y="868"/>
                  </a:cubicBezTo>
                  <a:cubicBezTo>
                    <a:pt x="152" y="868"/>
                    <a:pt x="152" y="868"/>
                    <a:pt x="152" y="868"/>
                  </a:cubicBezTo>
                  <a:cubicBezTo>
                    <a:pt x="152" y="868"/>
                    <a:pt x="152" y="868"/>
                    <a:pt x="152" y="868"/>
                  </a:cubicBezTo>
                  <a:cubicBezTo>
                    <a:pt x="152" y="872"/>
                    <a:pt x="153" y="875"/>
                    <a:pt x="154" y="878"/>
                  </a:cubicBezTo>
                  <a:cubicBezTo>
                    <a:pt x="100" y="878"/>
                    <a:pt x="100" y="878"/>
                    <a:pt x="100" y="878"/>
                  </a:cubicBezTo>
                  <a:cubicBezTo>
                    <a:pt x="100" y="124"/>
                    <a:pt x="100" y="124"/>
                    <a:pt x="100" y="124"/>
                  </a:cubicBezTo>
                  <a:cubicBezTo>
                    <a:pt x="100" y="96"/>
                    <a:pt x="78" y="74"/>
                    <a:pt x="50" y="74"/>
                  </a:cubicBezTo>
                  <a:cubicBezTo>
                    <a:pt x="22" y="74"/>
                    <a:pt x="0" y="96"/>
                    <a:pt x="0" y="124"/>
                  </a:cubicBezTo>
                  <a:cubicBezTo>
                    <a:pt x="0" y="928"/>
                    <a:pt x="0" y="928"/>
                    <a:pt x="0" y="928"/>
                  </a:cubicBezTo>
                  <a:cubicBezTo>
                    <a:pt x="0" y="956"/>
                    <a:pt x="22" y="978"/>
                    <a:pt x="50" y="978"/>
                  </a:cubicBezTo>
                  <a:cubicBezTo>
                    <a:pt x="512" y="978"/>
                    <a:pt x="512" y="978"/>
                    <a:pt x="512" y="978"/>
                  </a:cubicBezTo>
                  <a:cubicBezTo>
                    <a:pt x="540" y="978"/>
                    <a:pt x="562" y="956"/>
                    <a:pt x="562" y="928"/>
                  </a:cubicBezTo>
                  <a:cubicBezTo>
                    <a:pt x="562" y="150"/>
                    <a:pt x="562" y="150"/>
                    <a:pt x="562" y="150"/>
                  </a:cubicBezTo>
                  <a:cubicBezTo>
                    <a:pt x="930" y="150"/>
                    <a:pt x="930" y="150"/>
                    <a:pt x="930" y="150"/>
                  </a:cubicBezTo>
                  <a:cubicBezTo>
                    <a:pt x="930" y="840"/>
                    <a:pt x="930" y="840"/>
                    <a:pt x="930" y="840"/>
                  </a:cubicBezTo>
                  <a:cubicBezTo>
                    <a:pt x="929" y="840"/>
                    <a:pt x="928" y="840"/>
                    <a:pt x="927" y="840"/>
                  </a:cubicBezTo>
                  <a:cubicBezTo>
                    <a:pt x="927" y="840"/>
                    <a:pt x="927" y="840"/>
                    <a:pt x="927" y="840"/>
                  </a:cubicBezTo>
                  <a:cubicBezTo>
                    <a:pt x="927" y="896"/>
                    <a:pt x="927" y="896"/>
                    <a:pt x="927" y="896"/>
                  </a:cubicBezTo>
                  <a:cubicBezTo>
                    <a:pt x="927" y="896"/>
                    <a:pt x="927" y="896"/>
                    <a:pt x="927" y="896"/>
                  </a:cubicBezTo>
                  <a:cubicBezTo>
                    <a:pt x="928" y="896"/>
                    <a:pt x="929" y="896"/>
                    <a:pt x="930" y="896"/>
                  </a:cubicBezTo>
                  <a:cubicBezTo>
                    <a:pt x="930" y="928"/>
                    <a:pt x="930" y="928"/>
                    <a:pt x="930" y="928"/>
                  </a:cubicBezTo>
                  <a:cubicBezTo>
                    <a:pt x="930" y="956"/>
                    <a:pt x="952" y="978"/>
                    <a:pt x="980" y="978"/>
                  </a:cubicBezTo>
                  <a:cubicBezTo>
                    <a:pt x="1442" y="978"/>
                    <a:pt x="1442" y="978"/>
                    <a:pt x="1442" y="978"/>
                  </a:cubicBezTo>
                  <a:cubicBezTo>
                    <a:pt x="1470" y="978"/>
                    <a:pt x="1492" y="956"/>
                    <a:pt x="1492" y="928"/>
                  </a:cubicBezTo>
                  <a:cubicBezTo>
                    <a:pt x="1492" y="124"/>
                    <a:pt x="1492" y="124"/>
                    <a:pt x="1492" y="124"/>
                  </a:cubicBezTo>
                  <a:cubicBezTo>
                    <a:pt x="1492" y="96"/>
                    <a:pt x="1470" y="74"/>
                    <a:pt x="1442"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2" name="Group 4">
            <a:extLst>
              <a:ext uri="{FF2B5EF4-FFF2-40B4-BE49-F238E27FC236}">
                <a16:creationId xmlns:a16="http://schemas.microsoft.com/office/drawing/2014/main" id="{1E870D46-9008-448E-8184-B124C1E897BD}"/>
              </a:ext>
            </a:extLst>
          </p:cNvPr>
          <p:cNvGrpSpPr>
            <a:grpSpLocks noChangeAspect="1"/>
          </p:cNvGrpSpPr>
          <p:nvPr userDrawn="1"/>
        </p:nvGrpSpPr>
        <p:grpSpPr bwMode="auto">
          <a:xfrm>
            <a:off x="11276111" y="6311900"/>
            <a:ext cx="303055" cy="311150"/>
            <a:chOff x="7110" y="4004"/>
            <a:chExt cx="191" cy="196"/>
          </a:xfrm>
        </p:grpSpPr>
        <p:sp>
          <p:nvSpPr>
            <p:cNvPr id="13" name="Freeform 5">
              <a:extLst>
                <a:ext uri="{FF2B5EF4-FFF2-40B4-BE49-F238E27FC236}">
                  <a16:creationId xmlns:a16="http://schemas.microsoft.com/office/drawing/2014/main" id="{B6B7F3E1-DE59-4407-8B97-40A9147D772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sp>
          <p:nvSpPr>
            <p:cNvPr id="18" name="Freeform 6">
              <a:extLst>
                <a:ext uri="{FF2B5EF4-FFF2-40B4-BE49-F238E27FC236}">
                  <a16:creationId xmlns:a16="http://schemas.microsoft.com/office/drawing/2014/main" id="{ECC06A80-B0D9-4390-9244-040A5D96020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sp>
          <p:nvSpPr>
            <p:cNvPr id="19" name="Freeform 7">
              <a:extLst>
                <a:ext uri="{FF2B5EF4-FFF2-40B4-BE49-F238E27FC236}">
                  <a16:creationId xmlns:a16="http://schemas.microsoft.com/office/drawing/2014/main" id="{F7D4FD1E-F37B-4751-B7AD-BBE6B78F26B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percu-Regular"/>
              </a:endParaRPr>
            </a:p>
          </p:txBody>
        </p:sp>
      </p:grpSp>
      <p:sp>
        <p:nvSpPr>
          <p:cNvPr id="23" name="L-Shape 22">
            <a:extLst>
              <a:ext uri="{FF2B5EF4-FFF2-40B4-BE49-F238E27FC236}">
                <a16:creationId xmlns:a16="http://schemas.microsoft.com/office/drawing/2014/main" id="{2CA6D15C-9A43-4880-98FC-979E2DE4C57C}"/>
              </a:ext>
            </a:extLst>
          </p:cNvPr>
          <p:cNvSpPr/>
          <p:nvPr userDrawn="1"/>
        </p:nvSpPr>
        <p:spPr>
          <a:xfrm rot="2700000">
            <a:off x="8219321" y="6468172"/>
            <a:ext cx="128334" cy="128267"/>
          </a:xfrm>
          <a:prstGeom prst="corner">
            <a:avLst>
              <a:gd name="adj1" fmla="val 7767"/>
              <a:gd name="adj2" fmla="val 7281"/>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 name="Rectangle 23">
            <a:hlinkClick r:id="" action="ppaction://hlinkshowjump?jump=previousslide"/>
            <a:extLst>
              <a:ext uri="{FF2B5EF4-FFF2-40B4-BE49-F238E27FC236}">
                <a16:creationId xmlns:a16="http://schemas.microsoft.com/office/drawing/2014/main" id="{F53EF710-6E87-420C-B599-DD70D9345928}"/>
              </a:ext>
            </a:extLst>
          </p:cNvPr>
          <p:cNvSpPr/>
          <p:nvPr userDrawn="1"/>
        </p:nvSpPr>
        <p:spPr>
          <a:xfrm>
            <a:off x="8082752" y="6315643"/>
            <a:ext cx="253770"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 name="L-Shape 24">
            <a:extLst>
              <a:ext uri="{FF2B5EF4-FFF2-40B4-BE49-F238E27FC236}">
                <a16:creationId xmlns:a16="http://schemas.microsoft.com/office/drawing/2014/main" id="{E6DAB4F2-2066-4619-BEFC-1648D7CD947E}"/>
              </a:ext>
            </a:extLst>
          </p:cNvPr>
          <p:cNvSpPr/>
          <p:nvPr userDrawn="1"/>
        </p:nvSpPr>
        <p:spPr>
          <a:xfrm rot="13500000">
            <a:off x="8958499" y="6468172"/>
            <a:ext cx="128334" cy="128267"/>
          </a:xfrm>
          <a:prstGeom prst="corner">
            <a:avLst>
              <a:gd name="adj1" fmla="val 7767"/>
              <a:gd name="adj2" fmla="val 7281"/>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6" name="Rectangle 25">
            <a:hlinkClick r:id="" action="ppaction://hlinkshowjump?jump=nextslide"/>
            <a:extLst>
              <a:ext uri="{FF2B5EF4-FFF2-40B4-BE49-F238E27FC236}">
                <a16:creationId xmlns:a16="http://schemas.microsoft.com/office/drawing/2014/main" id="{8FEC686C-2210-47B7-9A2A-0C5B4D26171C}"/>
              </a:ext>
            </a:extLst>
          </p:cNvPr>
          <p:cNvSpPr/>
          <p:nvPr userDrawn="1"/>
        </p:nvSpPr>
        <p:spPr>
          <a:xfrm>
            <a:off x="8931968" y="6315643"/>
            <a:ext cx="272095"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1" name="Rectangle 30">
            <a:hlinkClick r:id="rId28" action="ppaction://hlinksldjump"/>
            <a:extLst>
              <a:ext uri="{FF2B5EF4-FFF2-40B4-BE49-F238E27FC236}">
                <a16:creationId xmlns:a16="http://schemas.microsoft.com/office/drawing/2014/main" id="{44F8AB39-846D-43BD-B183-AFA2B8A4A34A}"/>
              </a:ext>
            </a:extLst>
          </p:cNvPr>
          <p:cNvSpPr/>
          <p:nvPr userDrawn="1"/>
        </p:nvSpPr>
        <p:spPr>
          <a:xfrm>
            <a:off x="8456929" y="6277452"/>
            <a:ext cx="389899" cy="435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2" name="Footer Placeholder 4">
            <a:extLst>
              <a:ext uri="{FF2B5EF4-FFF2-40B4-BE49-F238E27FC236}">
                <a16:creationId xmlns:a16="http://schemas.microsoft.com/office/drawing/2014/main" id="{1FD800D5-9FC1-4C05-8E7C-833AC56AE387}"/>
              </a:ext>
            </a:extLst>
          </p:cNvPr>
          <p:cNvSpPr txBox="1">
            <a:spLocks/>
          </p:cNvSpPr>
          <p:nvPr userDrawn="1"/>
        </p:nvSpPr>
        <p:spPr>
          <a:xfrm>
            <a:off x="9374341" y="6311901"/>
            <a:ext cx="1664624" cy="43953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Aft>
                <a:spcPts val="600"/>
              </a:spcAft>
            </a:pPr>
            <a:r>
              <a:rPr lang="en-US" sz="800" b="1">
                <a:solidFill>
                  <a:srgbClr val="49545D"/>
                </a:solidFill>
                <a:latin typeface="Apercu-Bold"/>
              </a:rPr>
              <a:t>[CLIENT] ServiceNow MSP RFP</a:t>
            </a:r>
          </a:p>
          <a:p>
            <a:pPr marL="0" marR="0" lvl="0" indent="0" algn="ctr" defTabSz="913943" rtl="0" eaLnBrk="1" fontAlgn="auto" latinLnBrk="0" hangingPunct="1">
              <a:lnSpc>
                <a:spcPct val="100000"/>
              </a:lnSpc>
              <a:spcBef>
                <a:spcPts val="0"/>
              </a:spcBef>
              <a:spcAft>
                <a:spcPts val="0"/>
              </a:spcAft>
              <a:buClrTx/>
              <a:buSzTx/>
              <a:buFontTx/>
              <a:buNone/>
              <a:tabLst/>
              <a:defRPr/>
            </a:pPr>
            <a:fld id="{7D315DF3-2C8B-4F32-9A29-B20A3F0DC0B2}" type="slidenum">
              <a:rPr lang="en-US" sz="800" smtClean="0">
                <a:solidFill>
                  <a:srgbClr val="49545D"/>
                </a:solidFill>
                <a:latin typeface="Apercu"/>
              </a:rPr>
              <a:pPr marL="0" marR="0" lvl="0" indent="0" algn="ctr" defTabSz="913943" rtl="0" eaLnBrk="1" fontAlgn="auto" latinLnBrk="0" hangingPunct="1">
                <a:lnSpc>
                  <a:spcPct val="100000"/>
                </a:lnSpc>
                <a:spcBef>
                  <a:spcPts val="0"/>
                </a:spcBef>
                <a:spcAft>
                  <a:spcPts val="0"/>
                </a:spcAft>
                <a:buClrTx/>
                <a:buSzTx/>
                <a:buFontTx/>
                <a:buNone/>
                <a:tabLst/>
                <a:defRPr/>
              </a:pPr>
              <a:t>‹#›</a:t>
            </a:fld>
            <a:r>
              <a:rPr lang="en-US" sz="800">
                <a:solidFill>
                  <a:srgbClr val="49545D"/>
                </a:solidFill>
                <a:latin typeface="Apercu"/>
              </a:rPr>
              <a:t> | June 26, 2020 </a:t>
            </a:r>
          </a:p>
        </p:txBody>
      </p:sp>
    </p:spTree>
    <p:extLst>
      <p:ext uri="{BB962C8B-B14F-4D97-AF65-F5344CB8AC3E}">
        <p14:creationId xmlns:p14="http://schemas.microsoft.com/office/powerpoint/2010/main" val="3298897061"/>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Lst>
  <p:hf sldNum="0" hdr="0" ftr="0" dt="0"/>
  <p:txStyles>
    <p:titleStyle>
      <a:lvl1pPr algn="l" defTabSz="913943" rtl="0" eaLnBrk="1" latinLnBrk="0" hangingPunct="1">
        <a:lnSpc>
          <a:spcPct val="85000"/>
        </a:lnSpc>
        <a:spcBef>
          <a:spcPct val="0"/>
        </a:spcBef>
        <a:buNone/>
        <a:defRPr sz="2399" b="0" kern="1200">
          <a:solidFill>
            <a:schemeClr val="bg1"/>
          </a:solidFill>
          <a:latin typeface="Apercu-Regular"/>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Apercu-Regular"/>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Apercu-Regular"/>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Apercu-Regular"/>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Apercu-Regular"/>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Apercu-Regular"/>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Rounded Corners 12">
            <a:extLst>
              <a:ext uri="{FF2B5EF4-FFF2-40B4-BE49-F238E27FC236}">
                <a16:creationId xmlns:a16="http://schemas.microsoft.com/office/drawing/2014/main" id="{66781D43-857A-453B-8A03-FBD442566447}"/>
              </a:ext>
            </a:extLst>
          </p:cNvPr>
          <p:cNvSpPr/>
          <p:nvPr userDrawn="1"/>
        </p:nvSpPr>
        <p:spPr>
          <a:xfrm>
            <a:off x="1" y="0"/>
            <a:ext cx="12184112" cy="6848770"/>
          </a:xfrm>
          <a:prstGeom prst="roundRect">
            <a:avLst>
              <a:gd name="adj" fmla="val 6481"/>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15" name="Slide Number Placeholder 5">
            <a:extLst>
              <a:ext uri="{FF2B5EF4-FFF2-40B4-BE49-F238E27FC236}">
                <a16:creationId xmlns:a16="http://schemas.microsoft.com/office/drawing/2014/main" id="{1D51B4BB-E7F8-492B-9DBA-244B861CDAD9}"/>
              </a:ext>
            </a:extLst>
          </p:cNvPr>
          <p:cNvSpPr>
            <a:spLocks noGrp="1"/>
          </p:cNvSpPr>
          <p:nvPr>
            <p:ph type="sldNum" sz="quarter" idx="4"/>
          </p:nvPr>
        </p:nvSpPr>
        <p:spPr>
          <a:xfrm>
            <a:off x="11891167" y="6683192"/>
            <a:ext cx="292946" cy="165579"/>
          </a:xfrm>
          <a:prstGeom prst="rect">
            <a:avLst/>
          </a:prstGeom>
        </p:spPr>
        <p:txBody>
          <a:bodyPr/>
          <a:lstStyle/>
          <a:p>
            <a:fld id="{F1BC30E3-FFE5-4B91-AA19-87A149EBB9EE}" type="slidenum">
              <a:rPr sz="600" b="1" smtClean="0"/>
              <a:pPr/>
              <a:t>‹#›</a:t>
            </a:fld>
            <a:endParaRPr sz="600" b="1"/>
          </a:p>
        </p:txBody>
      </p:sp>
      <p:sp>
        <p:nvSpPr>
          <p:cNvPr id="16" name="Flowchart: Extract 15">
            <a:extLst>
              <a:ext uri="{FF2B5EF4-FFF2-40B4-BE49-F238E27FC236}">
                <a16:creationId xmlns:a16="http://schemas.microsoft.com/office/drawing/2014/main" id="{8B6525C5-F57E-405A-8D8B-293A717CA2AE}"/>
              </a:ext>
            </a:extLst>
          </p:cNvPr>
          <p:cNvSpPr/>
          <p:nvPr userDrawn="1"/>
        </p:nvSpPr>
        <p:spPr>
          <a:xfrm rot="5400000">
            <a:off x="12084087" y="34177"/>
            <a:ext cx="72000" cy="71963"/>
          </a:xfrm>
          <a:prstGeom prst="flowChartExtra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sp>
        <p:nvSpPr>
          <p:cNvPr id="17" name="Flowchart: Extract 16">
            <a:extLst>
              <a:ext uri="{FF2B5EF4-FFF2-40B4-BE49-F238E27FC236}">
                <a16:creationId xmlns:a16="http://schemas.microsoft.com/office/drawing/2014/main" id="{912B607D-FC32-4FD4-85F5-9F11C20D7FBD}"/>
              </a:ext>
            </a:extLst>
          </p:cNvPr>
          <p:cNvSpPr/>
          <p:nvPr userDrawn="1"/>
        </p:nvSpPr>
        <p:spPr>
          <a:xfrm rot="16200000" flipH="1">
            <a:off x="30835" y="29096"/>
            <a:ext cx="72000" cy="71963"/>
          </a:xfrm>
          <a:prstGeom prst="flowChartExtra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chemeClr val="tx1"/>
              </a:solidFill>
            </a:endParaRPr>
          </a:p>
        </p:txBody>
      </p:sp>
      <p:pic>
        <p:nvPicPr>
          <p:cNvPr id="18" name="Graphic 17" descr="Home">
            <a:extLst>
              <a:ext uri="{FF2B5EF4-FFF2-40B4-BE49-F238E27FC236}">
                <a16:creationId xmlns:a16="http://schemas.microsoft.com/office/drawing/2014/main" id="{D9F623AC-C6D4-4C7F-A20B-28214AD1D68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 y="6697614"/>
            <a:ext cx="151078" cy="151157"/>
          </a:xfrm>
          <a:prstGeom prst="rect">
            <a:avLst/>
          </a:prstGeom>
        </p:spPr>
      </p:pic>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241" r:id="rId1"/>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70933-53D7-47AC-B9E1-77DC14535E76}"/>
              </a:ext>
            </a:extLst>
          </p:cNvPr>
          <p:cNvGraphicFramePr>
            <a:graphicFrameLocks noChangeAspect="1"/>
          </p:cNvGraphicFramePr>
          <p:nvPr userDrawn="1">
            <p:custDataLst>
              <p:tags r:id="rId10"/>
            </p:custDataLst>
            <p:extLst>
              <p:ext uri="{D42A27DB-BD31-4B8C-83A1-F6EECF244321}">
                <p14:modId xmlns:p14="http://schemas.microsoft.com/office/powerpoint/2010/main" val="36663504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12" imgW="498" imgH="499" progId="TCLayout.ActiveDocument.1">
                  <p:embed/>
                </p:oleObj>
              </mc:Choice>
              <mc:Fallback>
                <p:oleObj name="think-cell Slide" r:id="rId12" imgW="498" imgH="499" progId="TCLayout.ActiveDocument.1">
                  <p:embed/>
                  <p:pic>
                    <p:nvPicPr>
                      <p:cNvPr id="5" name="Object 4" hidden="1">
                        <a:extLst>
                          <a:ext uri="{FF2B5EF4-FFF2-40B4-BE49-F238E27FC236}">
                            <a16:creationId xmlns:a16="http://schemas.microsoft.com/office/drawing/2014/main" id="{61470933-53D7-47AC-B9E1-77DC14535E76}"/>
                          </a:ext>
                        </a:extLst>
                      </p:cNvPr>
                      <p:cNvPicPr/>
                      <p:nvPr/>
                    </p:nvPicPr>
                    <p:blipFill>
                      <a:blip r:embed="rId13"/>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8D5F8-50F2-4136-887D-EF08782155A5}"/>
              </a:ext>
            </a:extLst>
          </p:cNvPr>
          <p:cNvSpPr/>
          <p:nvPr userDrawn="1">
            <p:custDataLst>
              <p:tags r:id="rId11"/>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1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861901"/>
            <a:ext cx="10972800" cy="590880"/>
          </a:xfrm>
          <a:prstGeom prst="rect">
            <a:avLst/>
          </a:prstGeom>
        </p:spPr>
        <p:txBody>
          <a:bodyPr vert="horz" lIns="0" tIns="0" rIns="0" bIns="0" rtlCol="0" anchor="b" anchorCtr="0">
            <a:noAutofit/>
          </a:bodyPr>
          <a:lstStyle/>
          <a:p>
            <a:pPr marL="0" lvl="0"/>
            <a:r>
              <a:rPr lang="en-US"/>
              <a:t>Click to edit Master title style</a:t>
            </a:r>
            <a:endParaRPr lang="en-GB"/>
          </a:p>
        </p:txBody>
      </p:sp>
      <p:sp>
        <p:nvSpPr>
          <p:cNvPr id="3" name="Text Placeholder 2"/>
          <p:cNvSpPr>
            <a:spLocks noGrp="1"/>
          </p:cNvSpPr>
          <p:nvPr>
            <p:ph type="body" idx="1"/>
          </p:nvPr>
        </p:nvSpPr>
        <p:spPr>
          <a:xfrm>
            <a:off x="609601" y="1699071"/>
            <a:ext cx="10972800" cy="4393754"/>
          </a:xfrm>
          <a:prstGeom prst="rect">
            <a:avLst/>
          </a:prstGeom>
        </p:spPr>
        <p:txBody>
          <a:bodyPr vert="horz" lIns="0" tIns="0" rIns="0" bIns="0" rtlCol="0" anchor="t" anchorCtr="0">
            <a:noAutofit/>
          </a:bodyPr>
          <a:lstStyle/>
          <a:p>
            <a:pPr marL="0" lvl="0" indent="0">
              <a:buNone/>
            </a:pPr>
            <a:r>
              <a:rPr lang="en-US"/>
              <a:t>Click to edit Master text styles</a:t>
            </a:r>
          </a:p>
          <a:p>
            <a:pPr marL="0" lvl="1" indent="0">
              <a:buNone/>
            </a:pPr>
            <a:r>
              <a:rPr lang="en-US"/>
              <a:t>Second level</a:t>
            </a:r>
          </a:p>
          <a:p>
            <a:pPr marL="0" lvl="2" indent="0">
              <a:buNone/>
            </a:pPr>
            <a:r>
              <a:rPr lang="en-US"/>
              <a:t>Third level</a:t>
            </a:r>
          </a:p>
          <a:p>
            <a:pPr marL="180885" lvl="3" indent="-180885">
              <a:tabLst/>
            </a:pPr>
            <a:r>
              <a:rPr lang="en-US"/>
              <a:t>Fourth level</a:t>
            </a:r>
          </a:p>
          <a:p>
            <a:pPr marL="360183" lvl="4" indent="-185645">
              <a:tabLst>
                <a:tab pos="1255085" algn="l"/>
              </a:tabLst>
            </a:pPr>
            <a:r>
              <a:rPr lang="en-US"/>
              <a:t>Fifth level</a:t>
            </a:r>
            <a:endParaRPr lang="en-GB"/>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5369991" y="6471244"/>
            <a:ext cx="5757002" cy="180000"/>
          </a:xfrm>
          <a:prstGeom prst="rect">
            <a:avLst/>
          </a:prstGeom>
        </p:spPr>
        <p:txBody>
          <a:bodyPr lIns="0" rIns="0"/>
          <a:lstStyle>
            <a:lvl1pPr marL="0" algn="r"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IE"/>
              <a:t>Aer Lingus SAP S/4HANA + Ariba Implementation | EY Proposal</a:t>
            </a:r>
            <a:endParaRPr lang="en-IN"/>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919680" y="6471244"/>
            <a:ext cx="662721" cy="180000"/>
          </a:xfrm>
          <a:prstGeom prst="rect">
            <a:avLst/>
          </a:prstGeom>
        </p:spPr>
        <p:txBody>
          <a:bodyPr lIns="0" rIns="0"/>
          <a:lstStyle>
            <a:lvl1pPr marL="0" algn="r"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fld id="{F1BC30E3-FFE5-4B91-AA19-87A149EBB9EE}" type="slidenum">
              <a:rPr smtClean="0"/>
              <a:pPr/>
              <a:t>‹#›</a:t>
            </a:fld>
            <a:endParaRPr/>
          </a:p>
        </p:txBody>
      </p:sp>
    </p:spTree>
    <p:extLst>
      <p:ext uri="{BB962C8B-B14F-4D97-AF65-F5344CB8AC3E}">
        <p14:creationId xmlns:p14="http://schemas.microsoft.com/office/powerpoint/2010/main" val="226676102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Lst>
  <p:hf hdr="0" dt="0"/>
  <p:txStyles>
    <p:titleStyle>
      <a:lvl1pPr algn="l" defTabSz="913943" rtl="0" eaLnBrk="1" latinLnBrk="0" hangingPunct="1">
        <a:lnSpc>
          <a:spcPct val="85000"/>
        </a:lnSpc>
        <a:spcBef>
          <a:spcPct val="0"/>
        </a:spcBef>
        <a:buNone/>
        <a:defRPr lang="en-GB" sz="3198" b="0" kern="1200" dirty="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000" kern="1200" dirty="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400" b="0" kern="1200" dirty="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
          <p15:clr>
            <a:srgbClr val="F26B43"/>
          </p15:clr>
        </p15:guide>
        <p15:guide id="2" orient="horz" pos="709">
          <p15:clr>
            <a:srgbClr val="F26B43"/>
          </p15:clr>
        </p15:guide>
        <p15:guide id="3" pos="7312">
          <p15:clr>
            <a:srgbClr val="F26B43"/>
          </p15:clr>
        </p15:guide>
        <p15:guide id="4"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23.jpeg"/><Relationship Id="rId2" Type="http://schemas.microsoft.com/office/2018/10/relationships/comments" Target="../comments/modernComment_7FFFD6CF_2121F4D6.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hyperlink" Target="https://www.ey.com/en_ie/ey-transparency-report" TargetMode="Externa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microsoft.com/office/2018/10/relationships/comments" Target="../comments/modernComment_7FFFF050_512B4ECC.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10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microsoft.com/office/2018/10/relationships/comments" Target="../comments/modernComment_7FFFD6BE_C2F36A03.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microsoft.com/office/2018/10/relationships/comments" Target="../comments/modernComment_7FFFD6D2_E166C796.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microsoft.com/office/2018/10/relationships/comments" Target="../comments/modernComment_2D8_A07E3FBB.xml"/><Relationship Id="rId7" Type="http://schemas.microsoft.com/office/2007/relationships/hdphoto" Target="../media/hdphoto5.wdp"/><Relationship Id="rId12"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7.png"/><Relationship Id="rId11" Type="http://schemas.openxmlformats.org/officeDocument/2006/relationships/image" Target="../media/image21.png"/><Relationship Id="rId5" Type="http://schemas.microsoft.com/office/2007/relationships/hdphoto" Target="../media/hdphoto4.wdp"/><Relationship Id="rId10" Type="http://schemas.openxmlformats.org/officeDocument/2006/relationships/image" Target="../media/image20.png"/><Relationship Id="rId4" Type="http://schemas.openxmlformats.org/officeDocument/2006/relationships/image" Target="../media/image16.png"/><Relationship Id="rId9" Type="http://schemas.openxmlformats.org/officeDocument/2006/relationships/image" Target="../media/image19.jpeg"/></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emf"/><Relationship Id="rId7" Type="http://schemas.openxmlformats.org/officeDocument/2006/relationships/image" Target="../media/image49.png"/><Relationship Id="rId2" Type="http://schemas.microsoft.com/office/2018/10/relationships/comments" Target="../comments/modernComment_7FFFF026_5E69F687.xml"/><Relationship Id="rId1" Type="http://schemas.openxmlformats.org/officeDocument/2006/relationships/slideLayout" Target="../slideLayouts/slideLayout6.xml"/><Relationship Id="rId6" Type="http://schemas.openxmlformats.org/officeDocument/2006/relationships/image" Target="../media/image48.emf"/><Relationship Id="rId5" Type="http://schemas.openxmlformats.org/officeDocument/2006/relationships/image" Target="../media/image47.png"/><Relationship Id="rId4" Type="http://schemas.openxmlformats.org/officeDocument/2006/relationships/image" Target="../media/image46.emf"/><Relationship Id="rId9" Type="http://schemas.openxmlformats.org/officeDocument/2006/relationships/image" Target="../media/image51.emf"/></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hyperlink" Target="https://learn.microsoft.com/EN-us/azure/mysql/migrate/mysql-on-premises-azure-db/01-mysql-migration-guide-intro" TargetMode="External"/><Relationship Id="rId18" Type="http://schemas.openxmlformats.org/officeDocument/2006/relationships/hyperlink" Target="https://azure.microsoft.com/en-us/products/site-recovery/#overview" TargetMode="External"/><Relationship Id="rId3" Type="http://schemas.openxmlformats.org/officeDocument/2006/relationships/image" Target="../media/image45.emf"/><Relationship Id="rId7" Type="http://schemas.openxmlformats.org/officeDocument/2006/relationships/image" Target="../media/image49.png"/><Relationship Id="rId12" Type="http://schemas.openxmlformats.org/officeDocument/2006/relationships/hyperlink" Target="https://learn.microsoft.com/en-us/sql/ssma/access/migrating-access-databases-to-sql-server-azure-sql-db-accesstosql?view=sql-server-ver16" TargetMode="External"/><Relationship Id="rId17" Type="http://schemas.openxmlformats.org/officeDocument/2006/relationships/hyperlink" Target="https://learn.microsoft.com/en-us/azure/expressroute/expressroute-about-virtual-network-gateways" TargetMode="External"/><Relationship Id="rId2" Type="http://schemas.openxmlformats.org/officeDocument/2006/relationships/hyperlink" Target="https://learn.microsoft.com/en-us/azure/backup/backup-center-overview" TargetMode="External"/><Relationship Id="rId16" Type="http://schemas.openxmlformats.org/officeDocument/2006/relationships/hyperlink" Target="https://learn.microsoft.com/en-us/azure/virtual-network/network-security-groups-overview" TargetMode="External"/><Relationship Id="rId20" Type="http://schemas.openxmlformats.org/officeDocument/2006/relationships/hyperlink" Target="https://learn.microsoft.com/en-us/azure/sentinel/overview" TargetMode="External"/><Relationship Id="rId1" Type="http://schemas.openxmlformats.org/officeDocument/2006/relationships/slideLayout" Target="../slideLayouts/slideLayout6.xml"/><Relationship Id="rId6" Type="http://schemas.openxmlformats.org/officeDocument/2006/relationships/image" Target="../media/image48.emf"/><Relationship Id="rId11" Type="http://schemas.openxmlformats.org/officeDocument/2006/relationships/hyperlink" Target="https://learn.microsoft.com/en-us/azure/virtual-desktop/" TargetMode="External"/><Relationship Id="rId5" Type="http://schemas.openxmlformats.org/officeDocument/2006/relationships/image" Target="../media/image47.png"/><Relationship Id="rId15" Type="http://schemas.openxmlformats.org/officeDocument/2006/relationships/hyperlink" Target="https://learn.microsoft.com/en-us/azure/firewall/overview" TargetMode="External"/><Relationship Id="rId10" Type="http://schemas.openxmlformats.org/officeDocument/2006/relationships/hyperlink" Target="https://learn.microsoft.com/en-us/azure/expressroute/expressroute-erdirect-about" TargetMode="External"/><Relationship Id="rId19" Type="http://schemas.openxmlformats.org/officeDocument/2006/relationships/hyperlink" Target="https://learn.microsoft.com/en-us/azure/defender-for-cloud/defender-for-cloud-introduction" TargetMode="External"/><Relationship Id="rId4" Type="http://schemas.openxmlformats.org/officeDocument/2006/relationships/image" Target="../media/image46.emf"/><Relationship Id="rId9" Type="http://schemas.openxmlformats.org/officeDocument/2006/relationships/image" Target="../media/image51.emf"/><Relationship Id="rId14" Type="http://schemas.openxmlformats.org/officeDocument/2006/relationships/hyperlink" Target="https://learn.microsoft.com/en-us/azure/cloud-adoption-framework/migrate/azure-best-practices/contoso-migration-postgresql-to-azure"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microsoft.com/office/2018/10/relationships/comments" Target="../comments/modernComment_7FFFF055_1F33BBDF.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5.emf"/></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58.emf"/></Relationships>
</file>

<file path=ppt/slides/_rels/slide29.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image" Target="../media/image48.emf"/><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notesSlide" Target="../notesSlides/notesSlide8.xml"/><Relationship Id="rId16" Type="http://schemas.openxmlformats.org/officeDocument/2006/relationships/diagramQuickStyle" Target="../diagrams/quickStyle3.xml"/><Relationship Id="rId1" Type="http://schemas.openxmlformats.org/officeDocument/2006/relationships/slideLayout" Target="../slideLayouts/slideLayout3.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slide" Target="slide100.xml"/><Relationship Id="rId5" Type="http://schemas.openxmlformats.org/officeDocument/2006/relationships/slide" Target="slide7.xml"/><Relationship Id="rId4" Type="http://schemas.openxmlformats.org/officeDocument/2006/relationships/slide" Target="slide4.xml"/></Relationships>
</file>

<file path=ppt/slides/_rels/slide30.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61.svg"/><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microsoft.com/office/2018/10/relationships/comments" Target="../comments/modernComment_7FFFF02F_8EC88590.xm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51.emf"/></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67.png"/><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slide" Target="slide2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3.xml"/><Relationship Id="rId4" Type="http://schemas.openxmlformats.org/officeDocument/2006/relationships/image" Target="../media/image71.sv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4.emf"/><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microsoft.com/office/2018/10/relationships/comments" Target="../comments/modernComment_7FFFF061_A17F65D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microsoft.com/office/2018/10/relationships/comments" Target="../comments/modernComment_7FFFF086_D310CD26.xml"/><Relationship Id="rId1" Type="http://schemas.openxmlformats.org/officeDocument/2006/relationships/slideLayout" Target="../slideLayouts/slideLayout6.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6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81.svg"/><Relationship Id="rId18" Type="http://schemas.openxmlformats.org/officeDocument/2006/relationships/image" Target="../media/image86.png"/><Relationship Id="rId26" Type="http://schemas.openxmlformats.org/officeDocument/2006/relationships/image" Target="../media/image94.png"/><Relationship Id="rId3" Type="http://schemas.openxmlformats.org/officeDocument/2006/relationships/tags" Target="../tags/tag45.xml"/><Relationship Id="rId21" Type="http://schemas.openxmlformats.org/officeDocument/2006/relationships/image" Target="../media/image89.svg"/><Relationship Id="rId7" Type="http://schemas.openxmlformats.org/officeDocument/2006/relationships/tags" Target="../tags/tag49.xml"/><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3.svg"/><Relationship Id="rId2" Type="http://schemas.openxmlformats.org/officeDocument/2006/relationships/tags" Target="../tags/tag44.xml"/><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79.png"/><Relationship Id="rId24" Type="http://schemas.openxmlformats.org/officeDocument/2006/relationships/image" Target="../media/image92.png"/><Relationship Id="rId5" Type="http://schemas.openxmlformats.org/officeDocument/2006/relationships/tags" Target="../tags/tag47.xml"/><Relationship Id="rId15" Type="http://schemas.openxmlformats.org/officeDocument/2006/relationships/image" Target="../media/image83.svg"/><Relationship Id="rId23" Type="http://schemas.openxmlformats.org/officeDocument/2006/relationships/image" Target="../media/image91.svg"/><Relationship Id="rId28" Type="http://schemas.openxmlformats.org/officeDocument/2006/relationships/image" Target="../media/image78.png"/><Relationship Id="rId10" Type="http://schemas.openxmlformats.org/officeDocument/2006/relationships/notesSlide" Target="../notesSlides/notesSlide15.xml"/><Relationship Id="rId19" Type="http://schemas.openxmlformats.org/officeDocument/2006/relationships/image" Target="../media/image87.png"/><Relationship Id="rId4" Type="http://schemas.openxmlformats.org/officeDocument/2006/relationships/tags" Target="../tags/tag46.xml"/><Relationship Id="rId9" Type="http://schemas.openxmlformats.org/officeDocument/2006/relationships/slideLayout" Target="../slideLayouts/slideLayout3.xml"/><Relationship Id="rId14" Type="http://schemas.openxmlformats.org/officeDocument/2006/relationships/image" Target="../media/image82.png"/><Relationship Id="rId22" Type="http://schemas.openxmlformats.org/officeDocument/2006/relationships/image" Target="../media/image90.png"/><Relationship Id="rId27" Type="http://schemas.openxmlformats.org/officeDocument/2006/relationships/image" Target="../media/image95.svg"/></Relationships>
</file>

<file path=ppt/slides/_rels/slide6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78.png"/><Relationship Id="rId2" Type="http://schemas.microsoft.com/office/2018/10/relationships/comments" Target="../comments/modernComment_7FFFF063_2EE95CD7.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99.sv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7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00.png"/></Relationships>
</file>

<file path=ppt/slides/_rels/slide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101.jpeg"/><Relationship Id="rId2" Type="http://schemas.microsoft.com/office/2018/10/relationships/comments" Target="../comments/modernComment_7FFFD715_B936028B.xml"/><Relationship Id="rId1" Type="http://schemas.openxmlformats.org/officeDocument/2006/relationships/slideLayout" Target="../slideLayouts/slideLayout3.xml"/><Relationship Id="rId4" Type="http://schemas.openxmlformats.org/officeDocument/2006/relationships/image" Target="../media/image102.png"/></Relationships>
</file>

<file path=ppt/slides/_rels/slide8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8" Type="http://schemas.openxmlformats.org/officeDocument/2006/relationships/image" Target="../media/image110.jpeg"/><Relationship Id="rId13" Type="http://schemas.openxmlformats.org/officeDocument/2006/relationships/image" Target="../media/image115.jpeg"/><Relationship Id="rId3" Type="http://schemas.openxmlformats.org/officeDocument/2006/relationships/image" Target="../media/image105.jpeg"/><Relationship Id="rId7" Type="http://schemas.openxmlformats.org/officeDocument/2006/relationships/image" Target="../media/image109.jpeg"/><Relationship Id="rId12" Type="http://schemas.openxmlformats.org/officeDocument/2006/relationships/image" Target="../media/image114.png"/><Relationship Id="rId2" Type="http://schemas.microsoft.com/office/2018/10/relationships/comments" Target="../comments/modernComment_7FFFF088_D0B726D7.xml"/><Relationship Id="rId16" Type="http://schemas.openxmlformats.org/officeDocument/2006/relationships/image" Target="../media/image118.jpeg"/><Relationship Id="rId1" Type="http://schemas.openxmlformats.org/officeDocument/2006/relationships/slideLayout" Target="../slideLayouts/slideLayout3.xml"/><Relationship Id="rId6" Type="http://schemas.openxmlformats.org/officeDocument/2006/relationships/image" Target="../media/image108.jpe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jpe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8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124.png"/><Relationship Id="rId2" Type="http://schemas.microsoft.com/office/2018/10/relationships/comments" Target="../comments/modernComment_7FFFF042_4338444F.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125.png"/><Relationship Id="rId2" Type="http://schemas.microsoft.com/office/2018/10/relationships/comments" Target="../comments/modernComment_7FFFF08F_524E4443.xml"/><Relationship Id="rId1" Type="http://schemas.openxmlformats.org/officeDocument/2006/relationships/slideLayout" Target="../slideLayouts/slideLayout3.xml"/><Relationship Id="rId4" Type="http://schemas.microsoft.com/office/2007/relationships/hdphoto" Target="../media/hdphoto6.wdp"/></Relationships>
</file>

<file path=ppt/slides/_rels/slide9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microsoft.com/office/2018/10/relationships/comments" Target="../comments/modernComment_7FFFF059_C7975E2.xm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2" Type="http://schemas.microsoft.com/office/2018/10/relationships/comments" Target="../comments/modernComment_7FFFF056_7ECA86C3.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129.png"/><Relationship Id="rId2" Type="http://schemas.microsoft.com/office/2018/10/relationships/comments" Target="../comments/modernComment_7FFFF040_DAF34B9C.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11" name="Subtitle 6">
            <a:extLst>
              <a:ext uri="{FF2B5EF4-FFF2-40B4-BE49-F238E27FC236}">
                <a16:creationId xmlns:a16="http://schemas.microsoft.com/office/drawing/2014/main" id="{69863546-7AFD-434E-B089-7D68680F65E0}"/>
              </a:ext>
            </a:extLst>
          </p:cNvPr>
          <p:cNvSpPr txBox="1">
            <a:spLocks/>
          </p:cNvSpPr>
          <p:nvPr/>
        </p:nvSpPr>
        <p:spPr>
          <a:xfrm>
            <a:off x="609601" y="1966707"/>
            <a:ext cx="5486399" cy="676788"/>
          </a:xfrm>
          <a:prstGeom prst="rect">
            <a:avLst/>
          </a:prstGeom>
        </p:spPr>
        <p:txBody>
          <a:bodyPr vert="horz" lIns="0" tIns="0" rIns="0" bIns="0" rtlCol="0" anchor="t"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4400" b="0" kern="1200">
                <a:solidFill>
                  <a:schemeClr val="tx1"/>
                </a:solidFill>
                <a:latin typeface="EYInterstate Light" panose="02000506000000020004" pitchFamily="2" charset="0"/>
                <a:ea typeface="+mn-ea"/>
                <a:cs typeface="+mn-cs"/>
              </a:defRPr>
            </a:lvl1pPr>
            <a:lvl2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600" b="0" kern="1200">
                <a:solidFill>
                  <a:schemeClr val="tx2"/>
                </a:solidFill>
                <a:latin typeface="EYInterstate Light" panose="02000506000000020004" pitchFamily="2" charset="0"/>
                <a:ea typeface="+mn-ea"/>
                <a:cs typeface="+mn-cs"/>
              </a:defRPr>
            </a:lvl2pPr>
            <a:lvl3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200" b="1" kern="1200">
                <a:solidFill>
                  <a:schemeClr val="tx1"/>
                </a:solidFill>
                <a:latin typeface="EYInterstate" panose="02000503020000020004" pitchFamily="2" charset="0"/>
                <a:ea typeface="+mn-ea"/>
                <a:cs typeface="+mn-cs"/>
              </a:defRPr>
            </a:lvl3pPr>
            <a:lvl4pPr marL="180885" indent="-180885" algn="l" defTabSz="913943" rtl="0" eaLnBrk="1" latinLnBrk="0" hangingPunct="1">
              <a:spcBef>
                <a:spcPts val="0"/>
              </a:spcBef>
              <a:spcAft>
                <a:spcPts val="500"/>
              </a:spcAft>
              <a:buClrTx/>
              <a:buSzPct val="70000"/>
              <a:buFont typeface="Arial" panose="020B0604020202020204" pitchFamily="34" charset="0"/>
              <a:buChar char="►"/>
              <a:tabLst/>
              <a:defRPr lang="en-US" sz="1100" b="0" kern="1200">
                <a:solidFill>
                  <a:schemeClr val="tx1"/>
                </a:solidFill>
                <a:latin typeface="EYInterstate Light" panose="02000506000000020004" pitchFamily="2" charset="0"/>
                <a:ea typeface="+mn-ea"/>
                <a:cs typeface="+mn-cs"/>
              </a:defRPr>
            </a:lvl4pPr>
            <a:lvl5pPr marL="360183" indent="-185645" algn="l" defTabSz="913943" rtl="0" eaLnBrk="1" latinLnBrk="0" hangingPunct="1">
              <a:spcBef>
                <a:spcPts val="0"/>
              </a:spcBef>
              <a:spcAft>
                <a:spcPts val="500"/>
              </a:spcAft>
              <a:buClrTx/>
              <a:buSzPct val="70000"/>
              <a:buFont typeface="Arial" panose="020B0604020202020204" pitchFamily="34" charset="0"/>
              <a:buChar char="►"/>
              <a:tabLst>
                <a:tab pos="1255085" algn="l"/>
              </a:tabLst>
              <a:defRPr lang="en-GB" sz="1100" b="0" kern="1200">
                <a:solidFill>
                  <a:schemeClr val="tx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500"/>
              </a:spcAft>
              <a:buClr>
                <a:srgbClr val="FFE600"/>
              </a:buClr>
              <a:buSzPct val="110000"/>
              <a:buFont typeface="EYInterstate Light" panose="02000506000000020004" pitchFamily="2" charset="0"/>
              <a:buNone/>
              <a:tabLst/>
              <a:defRPr/>
            </a:pPr>
            <a:endParaRPr kumimoji="0" lang="en-GB" sz="1600" b="0" i="0" u="none" strike="noStrike" kern="1200" cap="none" spc="0" normalizeH="0" baseline="0" noProof="0">
              <a:ln>
                <a:noFill/>
              </a:ln>
              <a:solidFill>
                <a:schemeClr val="bg2"/>
              </a:solidFill>
              <a:effectLst/>
              <a:uLnTx/>
              <a:uFillTx/>
              <a:latin typeface="Calibri" panose="020F0502020204030204" pitchFamily="34" charset="0"/>
              <a:cs typeface="Calibri" panose="020F0502020204030204" pitchFamily="34" charset="0"/>
            </a:endParaRPr>
          </a:p>
        </p:txBody>
      </p:sp>
      <p:sp>
        <p:nvSpPr>
          <p:cNvPr id="17" name="Title 16">
            <a:extLst>
              <a:ext uri="{FF2B5EF4-FFF2-40B4-BE49-F238E27FC236}">
                <a16:creationId xmlns:a16="http://schemas.microsoft.com/office/drawing/2014/main" id="{451535D1-19C9-DA0E-B434-A865955706BB}"/>
              </a:ext>
            </a:extLst>
          </p:cNvPr>
          <p:cNvSpPr>
            <a:spLocks noGrp="1"/>
          </p:cNvSpPr>
          <p:nvPr>
            <p:ph type="ctrTitle"/>
          </p:nvPr>
        </p:nvSpPr>
        <p:spPr>
          <a:xfrm>
            <a:off x="775100" y="1954221"/>
            <a:ext cx="4517336" cy="627054"/>
          </a:xfrm>
        </p:spPr>
        <p:txBody>
          <a:bodyPr/>
          <a:lstStyle/>
          <a:p>
            <a:r>
              <a:rPr lang="en-GB">
                <a:latin typeface="Calibri" panose="020F0502020204030204" pitchFamily="34" charset="0"/>
                <a:cs typeface="Calibri" panose="020F0502020204030204" pitchFamily="34" charset="0"/>
              </a:rPr>
              <a:t>St. James's Hospital</a:t>
            </a:r>
            <a:endParaRPr lang="en-IE">
              <a:latin typeface="Calibri" panose="020F0502020204030204" pitchFamily="34" charset="0"/>
              <a:cs typeface="Calibri" panose="020F0502020204030204" pitchFamily="34" charset="0"/>
            </a:endParaRPr>
          </a:p>
        </p:txBody>
      </p:sp>
      <p:sp>
        <p:nvSpPr>
          <p:cNvPr id="18" name="Subtitle 17">
            <a:extLst>
              <a:ext uri="{FF2B5EF4-FFF2-40B4-BE49-F238E27FC236}">
                <a16:creationId xmlns:a16="http://schemas.microsoft.com/office/drawing/2014/main" id="{18627840-C1CF-54FE-CD90-C028AD4F3099}"/>
              </a:ext>
            </a:extLst>
          </p:cNvPr>
          <p:cNvSpPr>
            <a:spLocks noGrp="1"/>
          </p:cNvSpPr>
          <p:nvPr>
            <p:ph type="subTitle" idx="1"/>
          </p:nvPr>
        </p:nvSpPr>
        <p:spPr/>
        <p:txBody>
          <a:bodyPr/>
          <a:lstStyle/>
          <a:p>
            <a:r>
              <a:rPr lang="en-GB">
                <a:latin typeface="Calibri" panose="020F0502020204030204" pitchFamily="34" charset="0"/>
                <a:cs typeface="Calibri" panose="020F0502020204030204" pitchFamily="34" charset="0"/>
              </a:rPr>
              <a:t>Cloud Migration Response</a:t>
            </a:r>
          </a:p>
          <a:p>
            <a:r>
              <a:rPr lang="en-IE">
                <a:latin typeface="Calibri" panose="020F0502020204030204" pitchFamily="34" charset="0"/>
                <a:cs typeface="Calibri" panose="020F0502020204030204" pitchFamily="34" charset="0"/>
              </a:rPr>
              <a:t>17</a:t>
            </a:r>
            <a:r>
              <a:rPr lang="en-IE" baseline="30000">
                <a:latin typeface="Calibri" panose="020F0502020204030204" pitchFamily="34" charset="0"/>
                <a:cs typeface="Calibri" panose="020F0502020204030204" pitchFamily="34" charset="0"/>
              </a:rPr>
              <a:t>th</a:t>
            </a:r>
            <a:r>
              <a:rPr lang="en-IE">
                <a:latin typeface="Calibri" panose="020F0502020204030204" pitchFamily="34" charset="0"/>
                <a:cs typeface="Calibri" panose="020F0502020204030204" pitchFamily="34" charset="0"/>
              </a:rPr>
              <a:t> August 2023</a:t>
            </a:r>
            <a:endParaRPr lang="en-GB">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0532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1" y="2210160"/>
            <a:ext cx="10559142" cy="676788"/>
          </a:xfrm>
        </p:spPr>
        <p:txBody>
          <a:bodyPr/>
          <a:lstStyle/>
          <a:p>
            <a:r>
              <a:rPr lang="en-IN" sz="4400">
                <a:latin typeface="Calibri"/>
                <a:cs typeface="Calibri"/>
              </a:rPr>
              <a:t>B</a:t>
            </a:r>
            <a:r>
              <a:rPr lang="en-IN">
                <a:latin typeface="Calibri"/>
                <a:cs typeface="Calibri"/>
              </a:rPr>
              <a:t>.2</a:t>
            </a:r>
            <a:r>
              <a:rPr lang="en-IN" sz="4400">
                <a:latin typeface="Calibri"/>
                <a:cs typeface="Calibri"/>
              </a:rPr>
              <a:t> – </a:t>
            </a:r>
            <a:r>
              <a:rPr lang="en-IN">
                <a:latin typeface="Calibri"/>
                <a:cs typeface="Calibri"/>
              </a:rPr>
              <a:t>Introduction to our </a:t>
            </a:r>
            <a:endParaRPr lang="en-IE">
              <a:latin typeface="Calibri" panose="020F0502020204030204" pitchFamily="34" charset="0"/>
              <a:cs typeface="Calibri" panose="020F0502020204030204" pitchFamily="34" charset="0"/>
            </a:endParaRPr>
          </a:p>
          <a:p>
            <a:r>
              <a:rPr lang="en-IN">
                <a:latin typeface="Calibri"/>
                <a:cs typeface="Calibri"/>
              </a:rPr>
              <a:t>Health Sector</a:t>
            </a:r>
            <a:endParaRPr lang="en-IE">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8877350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1" y="2210160"/>
            <a:ext cx="10559142" cy="676788"/>
          </a:xfrm>
        </p:spPr>
        <p:txBody>
          <a:bodyPr/>
          <a:lstStyle/>
          <a:p>
            <a:r>
              <a:rPr lang="en-IN">
                <a:latin typeface="Calibri" panose="020F0502020204030204" pitchFamily="34" charset="0"/>
                <a:cs typeface="Calibri" panose="020F0502020204030204" pitchFamily="34" charset="0"/>
              </a:rPr>
              <a:t>J</a:t>
            </a:r>
            <a:r>
              <a:rPr lang="en-IN" sz="4400">
                <a:latin typeface="Calibri" panose="020F0502020204030204" pitchFamily="34" charset="0"/>
                <a:cs typeface="Calibri" panose="020F0502020204030204" pitchFamily="34" charset="0"/>
              </a:rPr>
              <a:t>.3 – </a:t>
            </a:r>
            <a:r>
              <a:rPr lang="en-US">
                <a:latin typeface="Calibri" panose="020F0502020204030204" pitchFamily="34" charset="0"/>
                <a:cs typeface="Calibri" panose="020F0502020204030204" pitchFamily="34" charset="0"/>
              </a:rPr>
              <a:t>Insurance &amp; Financial Summary</a:t>
            </a:r>
            <a:endParaRPr lang="en-US" b="0" i="0">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55873494"/>
      </p:ext>
    </p:extLst>
  </p:cSld>
  <p:clrMapOvr>
    <a:masterClrMapping/>
  </p:clrMapOvr>
  <p:extLst>
    <p:ext uri="{6950BFC3-D8DA-4A85-94F7-54DA5524770B}">
      <p188:commentRel xmlns:p188="http://schemas.microsoft.com/office/powerpoint/2018/8/main" r:id="rId2"/>
    </p:ext>
  </p:extLs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6B3904C-298A-03C4-17A9-9F7CC2E8F5BA}"/>
              </a:ext>
            </a:extLst>
          </p:cNvPr>
          <p:cNvSpPr txBox="1"/>
          <p:nvPr/>
        </p:nvSpPr>
        <p:spPr>
          <a:xfrm>
            <a:off x="660708" y="1328505"/>
            <a:ext cx="10867744" cy="2994727"/>
          </a:xfrm>
          <a:prstGeom prst="rect">
            <a:avLst/>
          </a:prstGeom>
          <a:noFill/>
          <a:ln>
            <a:noFill/>
          </a:ln>
        </p:spPr>
        <p:txBody>
          <a:bodyPr wrap="square" lIns="0" tIns="32064" rIns="0" bIns="0" rtlCol="0" anchor="t">
            <a:spAutoFit/>
          </a:bodyPr>
          <a:lstStyle/>
          <a:p>
            <a:pPr marL="182880" lvl="3" indent="-182880" algn="just" defTabSz="801619">
              <a:spcAft>
                <a:spcPts val="300"/>
              </a:spcAft>
              <a:buFont typeface="Arial,Sans-Serif"/>
              <a:buChar char="►"/>
              <a:defRPr/>
            </a:pPr>
            <a:r>
              <a:rPr lang="en-IE" sz="1100">
                <a:solidFill>
                  <a:schemeClr val="bg1"/>
                </a:solidFill>
                <a:latin typeface="Calibri" panose="020F0502020204030204" pitchFamily="34" charset="0"/>
                <a:cs typeface="Calibri" panose="020F0502020204030204" pitchFamily="34" charset="0"/>
              </a:rPr>
              <a:t>As a private partnership in Ireland, EY is not subject to audit or filing requirements and the partnership does not make accounts available to third parties.</a:t>
            </a:r>
            <a:endParaRPr lang="en-US" sz="1100">
              <a:solidFill>
                <a:schemeClr val="bg1"/>
              </a:solidFill>
              <a:latin typeface="Calibri" panose="020F0502020204030204" pitchFamily="34" charset="0"/>
              <a:cs typeface="Calibri" panose="020F0502020204030204" pitchFamily="34" charset="0"/>
            </a:endParaRPr>
          </a:p>
          <a:p>
            <a:pPr marL="182880" lvl="3" indent="-182880" algn="just" defTabSz="801619">
              <a:spcAft>
                <a:spcPts val="300"/>
              </a:spcAft>
              <a:buFont typeface="Arial,Sans-Serif"/>
              <a:buChar char="►"/>
              <a:defRPr/>
            </a:pPr>
            <a:r>
              <a:rPr lang="en-IE" sz="1100">
                <a:solidFill>
                  <a:schemeClr val="bg1"/>
                </a:solidFill>
                <a:latin typeface="Calibri" panose="020F0502020204030204" pitchFamily="34" charset="0"/>
                <a:cs typeface="Calibri" panose="020F0502020204030204" pitchFamily="34" charset="0"/>
              </a:rPr>
              <a:t>EY Ireland had revenues of €359.1M in FY20 , €393M in FY21, €491.6M in FY22</a:t>
            </a:r>
            <a:endParaRPr lang="en-US" sz="1100">
              <a:solidFill>
                <a:schemeClr val="bg1"/>
              </a:solidFill>
              <a:latin typeface="Calibri" panose="020F0502020204030204" pitchFamily="34" charset="0"/>
              <a:cs typeface="Calibri" panose="020F0502020204030204" pitchFamily="34" charset="0"/>
            </a:endParaRPr>
          </a:p>
          <a:p>
            <a:pPr marL="182880" lvl="3" indent="-182880" algn="just" defTabSz="801619">
              <a:spcAft>
                <a:spcPts val="300"/>
              </a:spcAft>
              <a:buFont typeface="Arial,Sans-Serif"/>
              <a:buChar char="►"/>
              <a:defRPr/>
            </a:pPr>
            <a:r>
              <a:rPr lang="en-IE" sz="1100">
                <a:solidFill>
                  <a:schemeClr val="bg1"/>
                </a:solidFill>
                <a:latin typeface="Calibri" panose="020F0502020204030204" pitchFamily="34" charset="0"/>
                <a:cs typeface="Calibri" panose="020F0502020204030204" pitchFamily="34" charset="0"/>
              </a:rPr>
              <a:t>As an indication of the turnover in Ireland, EY makes available a Transparency Report which states our annual turnover. Our most recent Transparency Report can be found at   </a:t>
            </a:r>
            <a:r>
              <a:rPr lang="en-IE" sz="1100">
                <a:solidFill>
                  <a:srgbClr val="0000FF"/>
                </a:solidFill>
                <a:latin typeface="Calibri" panose="020F0502020204030204" pitchFamily="34" charset="0"/>
                <a:cs typeface="Calibri" panose="020F0502020204030204" pitchFamily="34" charset="0"/>
                <a:hlinkClick r:id="rId2"/>
              </a:rPr>
              <a:t>EY Transparency Report 2022 | EY Ireland</a:t>
            </a:r>
            <a:endParaRPr lang="en-IE" sz="1100">
              <a:solidFill>
                <a:schemeClr val="bg1"/>
              </a:solidFill>
              <a:latin typeface="Calibri" panose="020F0502020204030204" pitchFamily="34" charset="0"/>
              <a:cs typeface="Calibri" panose="020F0502020204030204" pitchFamily="34" charset="0"/>
            </a:endParaRPr>
          </a:p>
          <a:p>
            <a:pPr marL="182880" lvl="3" indent="-182880" algn="just" defTabSz="801619">
              <a:spcAft>
                <a:spcPts val="300"/>
              </a:spcAft>
              <a:buFont typeface="Arial,Sans-Serif"/>
              <a:buChar char="►"/>
              <a:defRPr/>
            </a:pPr>
            <a:r>
              <a:rPr lang="en-IE" sz="1100">
                <a:solidFill>
                  <a:schemeClr val="bg1"/>
                </a:solidFill>
                <a:latin typeface="Calibri" panose="020F0502020204030204" pitchFamily="34" charset="0"/>
                <a:cs typeface="Calibri" panose="020F0502020204030204" pitchFamily="34" charset="0"/>
              </a:rPr>
              <a:t>If any further information is required to validate our financial standing, we can provide a banker’s reference letter, or our Country Managing Partner can provide a self-certification letter</a:t>
            </a:r>
          </a:p>
          <a:p>
            <a:pPr marL="182880" lvl="3" indent="-182880" algn="just" defTabSz="801619">
              <a:spcAft>
                <a:spcPts val="300"/>
              </a:spcAft>
              <a:buFont typeface="Arial,Sans-Serif"/>
              <a:buChar char="►"/>
              <a:defRPr/>
            </a:pPr>
            <a:r>
              <a:rPr lang="en-IE" sz="1100">
                <a:solidFill>
                  <a:schemeClr val="bg1"/>
                </a:solidFill>
                <a:latin typeface="Calibri" panose="020F0502020204030204" pitchFamily="34" charset="0"/>
                <a:cs typeface="Calibri" panose="020F0502020204030204" pitchFamily="34" charset="0"/>
              </a:rPr>
              <a:t>Financial information Revenue represents combined, not consolidated, revenues, and includes expenses billed to clients and revenues related to billings to other EYG member firms. Revenue amounts disclosed in this report include revenues from both audit and non-audit clients. Revenue is presented in accordance with Statutory Instrument 312/3016 and included for: </a:t>
            </a:r>
          </a:p>
          <a:p>
            <a:pPr marL="640080" lvl="1" indent="-182880" algn="just" defTabSz="801619">
              <a:spcAft>
                <a:spcPts val="300"/>
              </a:spcAft>
              <a:buAutoNum type="arabicPeriod"/>
              <a:defRPr/>
            </a:pPr>
            <a:r>
              <a:rPr lang="en-IE" sz="1100">
                <a:solidFill>
                  <a:schemeClr val="bg1"/>
                </a:solidFill>
                <a:latin typeface="Calibri" panose="020F0502020204030204" pitchFamily="34" charset="0"/>
                <a:cs typeface="Calibri" panose="020F0502020204030204" pitchFamily="34" charset="0"/>
              </a:rPr>
              <a:t>Revenues from the statutory audit of annual and consolidated financial statements of PIEs, and entities belonging to a group of undertakings whose parent undertaking is a PIE </a:t>
            </a:r>
          </a:p>
          <a:p>
            <a:pPr marL="640080" lvl="1" indent="-182880" algn="just" defTabSz="801619">
              <a:spcAft>
                <a:spcPts val="300"/>
              </a:spcAft>
              <a:buAutoNum type="arabicPeriod"/>
              <a:defRPr/>
            </a:pPr>
            <a:r>
              <a:rPr lang="en-IE" sz="1100">
                <a:solidFill>
                  <a:schemeClr val="bg1"/>
                </a:solidFill>
                <a:latin typeface="Calibri" panose="020F0502020204030204" pitchFamily="34" charset="0"/>
                <a:cs typeface="Calibri" panose="020F0502020204030204" pitchFamily="34" charset="0"/>
              </a:rPr>
              <a:t>Revenues from the statutory audit of annual and consolidated financial statements of other entities </a:t>
            </a:r>
          </a:p>
          <a:p>
            <a:pPr marL="640080" lvl="1" indent="-182880" algn="just" defTabSz="801619">
              <a:spcAft>
                <a:spcPts val="300"/>
              </a:spcAft>
              <a:buAutoNum type="arabicPeriod"/>
              <a:defRPr/>
            </a:pPr>
            <a:r>
              <a:rPr lang="en-IE" sz="1100">
                <a:solidFill>
                  <a:schemeClr val="bg1"/>
                </a:solidFill>
                <a:latin typeface="Calibri" panose="020F0502020204030204" pitchFamily="34" charset="0"/>
                <a:cs typeface="Calibri" panose="020F0502020204030204" pitchFamily="34" charset="0"/>
              </a:rPr>
              <a:t>Revenues from permitted non-audit services to entities that are audited by the statutory auditor or the audit firm </a:t>
            </a:r>
          </a:p>
          <a:p>
            <a:pPr marL="640080" lvl="1" indent="-182880" algn="just" defTabSz="801619">
              <a:spcAft>
                <a:spcPts val="300"/>
              </a:spcAft>
              <a:buAutoNum type="arabicPeriod"/>
              <a:defRPr/>
            </a:pPr>
            <a:r>
              <a:rPr lang="en-IE" sz="1100">
                <a:solidFill>
                  <a:schemeClr val="bg1"/>
                </a:solidFill>
                <a:latin typeface="Calibri" panose="020F0502020204030204" pitchFamily="34" charset="0"/>
                <a:cs typeface="Calibri" panose="020F0502020204030204" pitchFamily="34" charset="0"/>
              </a:rPr>
              <a:t>Revenues from non-audit services to other entities</a:t>
            </a:r>
          </a:p>
          <a:p>
            <a:pPr marL="182880" indent="-182880" algn="just" defTabSz="801619">
              <a:spcAft>
                <a:spcPts val="300"/>
              </a:spcAft>
              <a:defRPr/>
            </a:pPr>
            <a:endParaRPr lang="en-IE" sz="1100">
              <a:solidFill>
                <a:schemeClr val="bg1"/>
              </a:solidFill>
              <a:latin typeface="Calibri" panose="020F0502020204030204" pitchFamily="34" charset="0"/>
              <a:cs typeface="Calibri" panose="020F0502020204030204" pitchFamily="34" charset="0"/>
            </a:endParaRPr>
          </a:p>
          <a:p>
            <a:pPr marL="182880" indent="-182880" algn="just" defTabSz="801619">
              <a:spcAft>
                <a:spcPts val="300"/>
              </a:spcAft>
              <a:defRPr/>
            </a:pPr>
            <a:endParaRPr lang="en-IE" sz="1100">
              <a:solidFill>
                <a:schemeClr val="bg1"/>
              </a:solidFill>
              <a:latin typeface="Calibri" panose="020F0502020204030204" pitchFamily="34" charset="0"/>
              <a:cs typeface="Calibri" panose="020F0502020204030204" pitchFamily="34" charset="0"/>
            </a:endParaRPr>
          </a:p>
          <a:p>
            <a:pPr marL="182880" indent="-182880" algn="just" defTabSz="801619">
              <a:spcAft>
                <a:spcPts val="300"/>
              </a:spcAft>
              <a:defRPr/>
            </a:pPr>
            <a:endParaRPr lang="en-IE" sz="1100">
              <a:solidFill>
                <a:schemeClr val="bg1"/>
              </a:solidFill>
              <a:latin typeface="Calibri" panose="020F0502020204030204" pitchFamily="34" charset="0"/>
              <a:cs typeface="Calibri" panose="020F0502020204030204" pitchFamily="34" charset="0"/>
            </a:endParaRPr>
          </a:p>
        </p:txBody>
      </p:sp>
      <p:sp>
        <p:nvSpPr>
          <p:cNvPr id="34" name="Text Placeholder 7">
            <a:extLst>
              <a:ext uri="{FF2B5EF4-FFF2-40B4-BE49-F238E27FC236}">
                <a16:creationId xmlns:a16="http://schemas.microsoft.com/office/drawing/2014/main" id="{810BA9CC-2C5C-4AE6-AD9A-085AE329CD3B}"/>
              </a:ext>
            </a:extLst>
          </p:cNvPr>
          <p:cNvSpPr txBox="1">
            <a:spLocks/>
          </p:cNvSpPr>
          <p:nvPr/>
        </p:nvSpPr>
        <p:spPr>
          <a:xfrm>
            <a:off x="550003" y="628385"/>
            <a:ext cx="10974388" cy="523983"/>
          </a:xfrm>
          <a:prstGeom prst="rect">
            <a:avLst/>
          </a:prstGeom>
        </p:spPr>
        <p:txBody>
          <a:bodyPr vert="horz" lIns="0" tIns="0" rIns="0" bIns="0" rtlCol="0" anchor="b"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2400" kern="1200">
                <a:solidFill>
                  <a:schemeClr val="bg1"/>
                </a:solidFill>
                <a:latin typeface="EYInterstate Light" panose="02000506000000020004" pitchFamily="2" charset="0"/>
                <a:ea typeface="+mn-ea"/>
                <a:cs typeface="+mn-cs"/>
              </a:defRPr>
            </a:lvl1pPr>
            <a:lvl2pPr marL="356437"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IN">
                <a:latin typeface="Calibri" panose="020F0502020204030204" pitchFamily="34" charset="0"/>
                <a:cs typeface="Calibri" panose="020F0502020204030204" pitchFamily="34" charset="0"/>
              </a:rPr>
              <a:t>J.3 – Insurance &amp; Financial Summary</a:t>
            </a:r>
            <a:endParaRPr lang="en-IE">
              <a:latin typeface="Calibri" panose="020F0502020204030204" pitchFamily="34" charset="0"/>
              <a:cs typeface="Calibri" panose="020F0502020204030204" pitchFamily="34" charset="0"/>
            </a:endParaRPr>
          </a:p>
        </p:txBody>
      </p:sp>
      <p:pic>
        <p:nvPicPr>
          <p:cNvPr id="2" name="Picture 2" descr="A screenshot of a computer&#10;&#10;Description automatically generated">
            <a:extLst>
              <a:ext uri="{FF2B5EF4-FFF2-40B4-BE49-F238E27FC236}">
                <a16:creationId xmlns:a16="http://schemas.microsoft.com/office/drawing/2014/main" id="{256E2374-EF67-F09A-46A7-2CDF0094E05B}"/>
              </a:ext>
            </a:extLst>
          </p:cNvPr>
          <p:cNvPicPr>
            <a:picLocks noChangeAspect="1"/>
          </p:cNvPicPr>
          <p:nvPr/>
        </p:nvPicPr>
        <p:blipFill>
          <a:blip r:embed="rId3"/>
          <a:stretch>
            <a:fillRect/>
          </a:stretch>
        </p:blipFill>
        <p:spPr>
          <a:xfrm>
            <a:off x="1176279" y="3816814"/>
            <a:ext cx="8745124" cy="2412801"/>
          </a:xfrm>
          <a:prstGeom prst="rect">
            <a:avLst/>
          </a:prstGeom>
        </p:spPr>
      </p:pic>
    </p:spTree>
    <p:extLst>
      <p:ext uri="{BB962C8B-B14F-4D97-AF65-F5344CB8AC3E}">
        <p14:creationId xmlns:p14="http://schemas.microsoft.com/office/powerpoint/2010/main" val="38318762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 Placeholder 7">
            <a:extLst>
              <a:ext uri="{FF2B5EF4-FFF2-40B4-BE49-F238E27FC236}">
                <a16:creationId xmlns:a16="http://schemas.microsoft.com/office/drawing/2014/main" id="{810BA9CC-2C5C-4AE6-AD9A-085AE329CD3B}"/>
              </a:ext>
            </a:extLst>
          </p:cNvPr>
          <p:cNvSpPr txBox="1">
            <a:spLocks/>
          </p:cNvSpPr>
          <p:nvPr/>
        </p:nvSpPr>
        <p:spPr>
          <a:xfrm>
            <a:off x="609600" y="647271"/>
            <a:ext cx="10974388" cy="523983"/>
          </a:xfrm>
          <a:prstGeom prst="rect">
            <a:avLst/>
          </a:prstGeom>
        </p:spPr>
        <p:txBody>
          <a:bodyPr vert="horz" lIns="0" tIns="0" rIns="0" bIns="0" rtlCol="0" anchor="b" anchorCtr="0">
            <a:norm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2400" kern="1200">
                <a:solidFill>
                  <a:schemeClr val="bg1"/>
                </a:solidFill>
                <a:latin typeface="EYInterstate Light" panose="02000506000000020004" pitchFamily="2" charset="0"/>
                <a:ea typeface="+mn-ea"/>
                <a:cs typeface="+mn-cs"/>
              </a:defRPr>
            </a:lvl1pPr>
            <a:lvl2pPr marL="356437"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a:t>J</a:t>
            </a:r>
            <a:r>
              <a:rPr lang="en-US" kern="1200">
                <a:latin typeface="EYInterstate Light" panose="02000506000000020004" pitchFamily="2" charset="0"/>
                <a:ea typeface="+mn-ea"/>
                <a:cs typeface="+mn-cs"/>
              </a:rPr>
              <a:t>.3 – Insurance &amp; Financial Summary</a:t>
            </a:r>
          </a:p>
        </p:txBody>
      </p:sp>
      <p:graphicFrame>
        <p:nvGraphicFramePr>
          <p:cNvPr id="10" name="Table 10">
            <a:extLst>
              <a:ext uri="{FF2B5EF4-FFF2-40B4-BE49-F238E27FC236}">
                <a16:creationId xmlns:a16="http://schemas.microsoft.com/office/drawing/2014/main" id="{C373DE96-CF83-C1C7-EAE3-76F41D608563}"/>
              </a:ext>
            </a:extLst>
          </p:cNvPr>
          <p:cNvGraphicFramePr>
            <a:graphicFrameLocks noGrp="1"/>
          </p:cNvGraphicFramePr>
          <p:nvPr>
            <p:extLst>
              <p:ext uri="{D42A27DB-BD31-4B8C-83A1-F6EECF244321}">
                <p14:modId xmlns:p14="http://schemas.microsoft.com/office/powerpoint/2010/main" val="3062952979"/>
              </p:ext>
            </p:extLst>
          </p:nvPr>
        </p:nvGraphicFramePr>
        <p:xfrm>
          <a:off x="792114" y="1453691"/>
          <a:ext cx="10609260" cy="4608000"/>
        </p:xfrm>
        <a:graphic>
          <a:graphicData uri="http://schemas.openxmlformats.org/drawingml/2006/table">
            <a:tbl>
              <a:tblPr firstRow="1" bandRow="1">
                <a:tableStyleId>{073A0DAA-6AF3-43AB-8588-CEC1D06C72B9}</a:tableStyleId>
              </a:tblPr>
              <a:tblGrid>
                <a:gridCol w="3669984">
                  <a:extLst>
                    <a:ext uri="{9D8B030D-6E8A-4147-A177-3AD203B41FA5}">
                      <a16:colId xmlns:a16="http://schemas.microsoft.com/office/drawing/2014/main" val="3484496270"/>
                    </a:ext>
                  </a:extLst>
                </a:gridCol>
                <a:gridCol w="2222708">
                  <a:extLst>
                    <a:ext uri="{9D8B030D-6E8A-4147-A177-3AD203B41FA5}">
                      <a16:colId xmlns:a16="http://schemas.microsoft.com/office/drawing/2014/main" val="1411071457"/>
                    </a:ext>
                  </a:extLst>
                </a:gridCol>
                <a:gridCol w="1378528">
                  <a:extLst>
                    <a:ext uri="{9D8B030D-6E8A-4147-A177-3AD203B41FA5}">
                      <a16:colId xmlns:a16="http://schemas.microsoft.com/office/drawing/2014/main" val="3294381308"/>
                    </a:ext>
                  </a:extLst>
                </a:gridCol>
                <a:gridCol w="3338040">
                  <a:extLst>
                    <a:ext uri="{9D8B030D-6E8A-4147-A177-3AD203B41FA5}">
                      <a16:colId xmlns:a16="http://schemas.microsoft.com/office/drawing/2014/main" val="60164806"/>
                    </a:ext>
                  </a:extLst>
                </a:gridCol>
              </a:tblGrid>
              <a:tr h="486607">
                <a:tc>
                  <a:txBody>
                    <a:bodyPr/>
                    <a:lstStyle/>
                    <a:p>
                      <a:pPr algn="ctr"/>
                      <a:r>
                        <a:rPr lang="en-US" sz="2200" u="none">
                          <a:latin typeface="Calibri"/>
                          <a:cs typeface="Calibri"/>
                        </a:rPr>
                        <a:t>Insurance Type</a:t>
                      </a:r>
                    </a:p>
                  </a:txBody>
                  <a:tcPr marL="112098" marR="112098" marT="56049" marB="56049">
                    <a:lnL w="12700">
                      <a:solidFill>
                        <a:schemeClr val="bg1"/>
                      </a:solidFill>
                    </a:lnL>
                    <a:lnR w="12700">
                      <a:solidFill>
                        <a:schemeClr val="bg1"/>
                      </a:solidFill>
                    </a:lnR>
                    <a:lnT w="12700">
                      <a:solidFill>
                        <a:schemeClr val="bg1"/>
                      </a:solidFill>
                    </a:lnT>
                    <a:lnB w="12700">
                      <a:solidFill>
                        <a:schemeClr val="bg1"/>
                      </a:solidFill>
                    </a:lnB>
                    <a:solidFill>
                      <a:schemeClr val="tx1">
                        <a:lumMod val="65000"/>
                      </a:schemeClr>
                    </a:solidFill>
                  </a:tcPr>
                </a:tc>
                <a:tc gridSpan="2">
                  <a:txBody>
                    <a:bodyPr/>
                    <a:lstStyle/>
                    <a:p>
                      <a:pPr algn="ctr"/>
                      <a:r>
                        <a:rPr lang="en-US" sz="2200" u="none">
                          <a:latin typeface="Calibri"/>
                          <a:cs typeface="Calibri"/>
                        </a:rPr>
                        <a:t>SJH Requirement</a:t>
                      </a:r>
                    </a:p>
                  </a:txBody>
                  <a:tcPr marL="112098" marR="112098" marT="56049" marB="56049">
                    <a:lnL w="12700">
                      <a:solidFill>
                        <a:schemeClr val="bg1"/>
                      </a:solidFill>
                    </a:lnL>
                    <a:lnR w="12700">
                      <a:solidFill>
                        <a:schemeClr val="bg1"/>
                      </a:solidFill>
                    </a:lnR>
                    <a:lnT w="12700">
                      <a:solidFill>
                        <a:schemeClr val="bg1"/>
                      </a:solidFill>
                    </a:lnT>
                    <a:lnB w="12700">
                      <a:solidFill>
                        <a:schemeClr val="bg1"/>
                      </a:solidFill>
                    </a:lnB>
                    <a:solidFill>
                      <a:schemeClr val="tx1">
                        <a:lumMod val="65000"/>
                      </a:schemeClr>
                    </a:solidFill>
                  </a:tcPr>
                </a:tc>
                <a:tc hMerge="1">
                  <a:txBody>
                    <a:bodyPr/>
                    <a:lstStyle/>
                    <a:p>
                      <a:endParaRPr lang="en-US"/>
                    </a:p>
                  </a:txBody>
                  <a:tcPr marL="0" marR="0" marT="0" marB="0" horzOverflow="overflow"/>
                </a:tc>
                <a:tc>
                  <a:txBody>
                    <a:bodyPr/>
                    <a:lstStyle/>
                    <a:p>
                      <a:pPr algn="ctr"/>
                      <a:r>
                        <a:rPr lang="en-US" sz="2200" u="none">
                          <a:latin typeface="Calibri"/>
                          <a:cs typeface="Calibri"/>
                        </a:rPr>
                        <a:t>Levels held by Tenderer</a:t>
                      </a:r>
                    </a:p>
                  </a:txBody>
                  <a:tcPr marL="112098" marR="112098" marT="56049" marB="56049">
                    <a:lnL w="12700">
                      <a:solidFill>
                        <a:schemeClr val="bg1"/>
                      </a:solidFill>
                    </a:lnL>
                    <a:lnR w="12700">
                      <a:solidFill>
                        <a:schemeClr val="bg1"/>
                      </a:solidFill>
                    </a:lnR>
                    <a:lnT w="12700">
                      <a:solidFill>
                        <a:schemeClr val="bg1"/>
                      </a:solidFill>
                    </a:lnT>
                    <a:lnB w="12700">
                      <a:solidFill>
                        <a:schemeClr val="bg1"/>
                      </a:solidFill>
                    </a:lnB>
                    <a:solidFill>
                      <a:schemeClr val="tx1">
                        <a:lumMod val="65000"/>
                      </a:schemeClr>
                    </a:solidFill>
                  </a:tcPr>
                </a:tc>
                <a:extLst>
                  <a:ext uri="{0D108BD9-81ED-4DB2-BD59-A6C34878D82A}">
                    <a16:rowId xmlns:a16="http://schemas.microsoft.com/office/drawing/2014/main" val="2766695734"/>
                  </a:ext>
                </a:extLst>
              </a:tr>
              <a:tr h="486607">
                <a:tc>
                  <a:txBody>
                    <a:bodyPr/>
                    <a:lstStyle/>
                    <a:p>
                      <a:pPr algn="ctr"/>
                      <a:r>
                        <a:rPr lang="en-US" sz="2200">
                          <a:solidFill>
                            <a:srgbClr val="2E2E38"/>
                          </a:solidFill>
                          <a:latin typeface="Calibri"/>
                          <a:cs typeface="Calibri"/>
                        </a:rPr>
                        <a:t>Professional Liability</a:t>
                      </a:r>
                    </a:p>
                  </a:txBody>
                  <a:tcPr marL="112098" marR="112098" marT="56049" marB="56049">
                    <a:lnT w="12700">
                      <a:solidFill>
                        <a:schemeClr val="bg1"/>
                      </a:solidFill>
                    </a:lnT>
                    <a:lnB w="0">
                      <a:noFill/>
                    </a:lnB>
                    <a:solidFill>
                      <a:schemeClr val="tx1">
                        <a:lumMod val="85000"/>
                      </a:schemeClr>
                    </a:solidFill>
                  </a:tcPr>
                </a:tc>
                <a:tc gridSpan="2">
                  <a:txBody>
                    <a:bodyPr/>
                    <a:lstStyle/>
                    <a:p>
                      <a:pPr lvl="0" algn="ctr">
                        <a:buNone/>
                      </a:pPr>
                      <a:r>
                        <a:rPr lang="en-US" sz="2200" u="none" strike="noStrike" noProof="0">
                          <a:solidFill>
                            <a:srgbClr val="2E2E38"/>
                          </a:solidFill>
                          <a:latin typeface="Calibri"/>
                          <a:cs typeface="Calibri"/>
                        </a:rPr>
                        <a:t>€6,500,000.00</a:t>
                      </a:r>
                      <a:endParaRPr lang="en-US" sz="2200">
                        <a:solidFill>
                          <a:srgbClr val="2E2E38"/>
                        </a:solidFill>
                        <a:latin typeface="Calibri"/>
                        <a:cs typeface="Calibri"/>
                      </a:endParaRPr>
                    </a:p>
                  </a:txBody>
                  <a:tcPr marL="112098" marR="112098" marT="56049" marB="56049">
                    <a:lnT w="12700">
                      <a:solidFill>
                        <a:schemeClr val="bg1"/>
                      </a:solidFill>
                    </a:lnT>
                    <a:lnB w="0">
                      <a:noFill/>
                    </a:lnB>
                    <a:solidFill>
                      <a:schemeClr val="tx1">
                        <a:lumMod val="85000"/>
                      </a:schemeClr>
                    </a:solidFill>
                  </a:tcPr>
                </a:tc>
                <a:tc hMerge="1">
                  <a:txBody>
                    <a:bodyPr/>
                    <a:lstStyle/>
                    <a:p>
                      <a:endParaRPr lang="en-US"/>
                    </a:p>
                  </a:txBody>
                  <a:tcPr marL="0" marR="0" marT="0" marB="0" horzOverflow="overflow"/>
                </a:tc>
                <a:tc>
                  <a:txBody>
                    <a:bodyPr/>
                    <a:lstStyle/>
                    <a:p>
                      <a:pPr lvl="0" algn="ctr">
                        <a:buNone/>
                      </a:pPr>
                      <a:r>
                        <a:rPr lang="en-US" sz="2200" u="none" strike="noStrike" noProof="0">
                          <a:solidFill>
                            <a:srgbClr val="2E2E38"/>
                          </a:solidFill>
                          <a:latin typeface="Calibri"/>
                          <a:cs typeface="Calibri"/>
                        </a:rPr>
                        <a:t>€6,500,000.00</a:t>
                      </a:r>
                      <a:endParaRPr lang="en-US" sz="2200">
                        <a:solidFill>
                          <a:srgbClr val="2E2E38"/>
                        </a:solidFill>
                        <a:latin typeface="Calibri"/>
                        <a:cs typeface="Calibri"/>
                      </a:endParaRPr>
                    </a:p>
                  </a:txBody>
                  <a:tcPr marL="112098" marR="112098" marT="56049" marB="56049">
                    <a:lnT w="12700">
                      <a:solidFill>
                        <a:schemeClr val="bg1"/>
                      </a:solidFill>
                    </a:lnT>
                    <a:lnB w="0">
                      <a:noFill/>
                    </a:lnB>
                    <a:solidFill>
                      <a:schemeClr val="tx1">
                        <a:lumMod val="85000"/>
                      </a:schemeClr>
                    </a:solidFill>
                  </a:tcPr>
                </a:tc>
                <a:extLst>
                  <a:ext uri="{0D108BD9-81ED-4DB2-BD59-A6C34878D82A}">
                    <a16:rowId xmlns:a16="http://schemas.microsoft.com/office/drawing/2014/main" val="3290040720"/>
                  </a:ext>
                </a:extLst>
              </a:tr>
              <a:tr h="486606">
                <a:tc>
                  <a:txBody>
                    <a:bodyPr/>
                    <a:lstStyle/>
                    <a:p>
                      <a:pPr lvl="0" algn="ctr">
                        <a:lnSpc>
                          <a:spcPct val="100000"/>
                        </a:lnSpc>
                        <a:spcBef>
                          <a:spcPts val="0"/>
                        </a:spcBef>
                        <a:spcAft>
                          <a:spcPts val="0"/>
                        </a:spcAft>
                        <a:buNone/>
                      </a:pPr>
                      <a:r>
                        <a:rPr lang="en-US" sz="2200" b="0" i="0" u="none" strike="noStrike" noProof="0">
                          <a:solidFill>
                            <a:srgbClr val="2E2E38"/>
                          </a:solidFill>
                          <a:latin typeface="Calibri"/>
                        </a:rPr>
                        <a:t>Employers Liability</a:t>
                      </a:r>
                    </a:p>
                  </a:txBody>
                  <a:tcPr marL="112098" marR="112098" marT="56048" marB="56048">
                    <a:lnT w="0">
                      <a:noFill/>
                    </a:lnT>
                    <a:lnB w="0">
                      <a:noFill/>
                    </a:lnB>
                    <a:solidFill>
                      <a:schemeClr val="tx1">
                        <a:lumMod val="95000"/>
                      </a:schemeClr>
                    </a:solidFill>
                  </a:tcPr>
                </a:tc>
                <a:tc gridSpan="2">
                  <a:txBody>
                    <a:bodyPr/>
                    <a:lstStyle/>
                    <a:p>
                      <a:pPr lvl="0" algn="ctr">
                        <a:buNone/>
                      </a:pPr>
                      <a:r>
                        <a:rPr lang="en-US" sz="2200" b="0" i="0" u="none" strike="noStrike" noProof="0">
                          <a:solidFill>
                            <a:srgbClr val="2E2E38"/>
                          </a:solidFill>
                          <a:latin typeface="Calibri"/>
                        </a:rPr>
                        <a:t>€12,700,000.00</a:t>
                      </a:r>
                      <a:endParaRPr lang="en-US"/>
                    </a:p>
                  </a:txBody>
                  <a:tcPr marL="112098" marR="112098" marT="56048" marB="56048">
                    <a:lnT w="0">
                      <a:noFill/>
                    </a:lnT>
                    <a:lnB w="0">
                      <a:noFill/>
                    </a:lnB>
                    <a:solidFill>
                      <a:schemeClr val="tx1">
                        <a:lumMod val="95000"/>
                      </a:schemeClr>
                    </a:solidFill>
                  </a:tcPr>
                </a:tc>
                <a:tc hMerge="1">
                  <a:txBody>
                    <a:bodyPr/>
                    <a:lstStyle/>
                    <a:p>
                      <a:endParaRPr lang="en-US"/>
                    </a:p>
                  </a:txBody>
                  <a:tcPr/>
                </a:tc>
                <a:tc>
                  <a:txBody>
                    <a:bodyPr/>
                    <a:lstStyle/>
                    <a:p>
                      <a:pPr lvl="0" algn="ctr">
                        <a:buNone/>
                      </a:pPr>
                      <a:r>
                        <a:rPr lang="en-US" sz="2200" b="0" i="0" u="none" strike="noStrike" noProof="0">
                          <a:solidFill>
                            <a:srgbClr val="2E2E38"/>
                          </a:solidFill>
                          <a:latin typeface="Calibri"/>
                        </a:rPr>
                        <a:t>€13,500,000.00</a:t>
                      </a:r>
                      <a:endParaRPr lang="en-US"/>
                    </a:p>
                  </a:txBody>
                  <a:tcPr marL="112098" marR="112098" marT="56048" marB="56048">
                    <a:lnT w="0">
                      <a:noFill/>
                    </a:lnT>
                    <a:lnB w="0">
                      <a:noFill/>
                    </a:lnB>
                    <a:solidFill>
                      <a:schemeClr val="tx1">
                        <a:lumMod val="95000"/>
                      </a:schemeClr>
                    </a:solidFill>
                  </a:tcPr>
                </a:tc>
                <a:extLst>
                  <a:ext uri="{0D108BD9-81ED-4DB2-BD59-A6C34878D82A}">
                    <a16:rowId xmlns:a16="http://schemas.microsoft.com/office/drawing/2014/main" val="3222204515"/>
                  </a:ext>
                </a:extLst>
              </a:tr>
              <a:tr h="486607">
                <a:tc>
                  <a:txBody>
                    <a:bodyPr/>
                    <a:lstStyle/>
                    <a:p>
                      <a:pPr algn="ctr"/>
                      <a:r>
                        <a:rPr lang="en-US" sz="2200">
                          <a:solidFill>
                            <a:srgbClr val="2E2E38"/>
                          </a:solidFill>
                          <a:latin typeface="Calibri"/>
                          <a:cs typeface="Calibri"/>
                        </a:rPr>
                        <a:t>Public Liability</a:t>
                      </a:r>
                    </a:p>
                  </a:txBody>
                  <a:tcPr marL="112098" marR="112098" marT="56049" marB="56049">
                    <a:lnT w="0">
                      <a:noFill/>
                    </a:lnT>
                    <a:lnB w="0">
                      <a:noFill/>
                    </a:lnB>
                    <a:solidFill>
                      <a:schemeClr val="tx1">
                        <a:lumMod val="85000"/>
                      </a:schemeClr>
                    </a:solidFill>
                  </a:tcPr>
                </a:tc>
                <a:tc gridSpan="2">
                  <a:txBody>
                    <a:bodyPr/>
                    <a:lstStyle/>
                    <a:p>
                      <a:pPr lvl="0" algn="ctr">
                        <a:buNone/>
                      </a:pPr>
                      <a:r>
                        <a:rPr lang="en-US" sz="2200" u="none" strike="noStrike" noProof="0">
                          <a:solidFill>
                            <a:srgbClr val="2E2E38"/>
                          </a:solidFill>
                          <a:latin typeface="Calibri"/>
                          <a:cs typeface="Calibri"/>
                        </a:rPr>
                        <a:t>€6,500,000.00</a:t>
                      </a:r>
                      <a:endParaRPr lang="en-US" sz="2200">
                        <a:solidFill>
                          <a:srgbClr val="2E2E38"/>
                        </a:solidFill>
                        <a:latin typeface="Calibri"/>
                        <a:cs typeface="Calibri"/>
                      </a:endParaRPr>
                    </a:p>
                  </a:txBody>
                  <a:tcPr marL="112098" marR="112098" marT="56049" marB="56049">
                    <a:lnT w="0">
                      <a:noFill/>
                    </a:lnT>
                    <a:lnB w="0">
                      <a:noFill/>
                    </a:lnB>
                    <a:solidFill>
                      <a:schemeClr val="tx1">
                        <a:lumMod val="85000"/>
                      </a:schemeClr>
                    </a:solidFill>
                  </a:tcPr>
                </a:tc>
                <a:tc hMerge="1">
                  <a:txBody>
                    <a:bodyPr/>
                    <a:lstStyle/>
                    <a:p>
                      <a:endParaRPr lang="en-US"/>
                    </a:p>
                  </a:txBody>
                  <a:tcPr marL="0" marR="0" marT="0" marB="0" horzOverflow="overflow"/>
                </a:tc>
                <a:tc>
                  <a:txBody>
                    <a:bodyPr/>
                    <a:lstStyle/>
                    <a:p>
                      <a:pPr lvl="0" algn="ctr">
                        <a:buNone/>
                      </a:pPr>
                      <a:r>
                        <a:rPr lang="en-US" sz="2200" u="none" strike="noStrike" noProof="0">
                          <a:solidFill>
                            <a:srgbClr val="2E2E38"/>
                          </a:solidFill>
                          <a:latin typeface="Calibri"/>
                          <a:cs typeface="Calibri"/>
                        </a:rPr>
                        <a:t>€6</a:t>
                      </a:r>
                      <a:r>
                        <a:rPr lang="en-US" sz="2200">
                          <a:solidFill>
                            <a:srgbClr val="2E2E38"/>
                          </a:solidFill>
                          <a:latin typeface="Calibri"/>
                          <a:cs typeface="Calibri"/>
                        </a:rPr>
                        <a:t>,500,000.00</a:t>
                      </a:r>
                    </a:p>
                  </a:txBody>
                  <a:tcPr marL="112098" marR="112098" marT="56049" marB="56049">
                    <a:lnT w="0">
                      <a:noFill/>
                    </a:lnT>
                    <a:lnB w="0">
                      <a:noFill/>
                    </a:lnB>
                    <a:solidFill>
                      <a:schemeClr val="tx1">
                        <a:lumMod val="85000"/>
                      </a:schemeClr>
                    </a:solidFill>
                  </a:tcPr>
                </a:tc>
                <a:extLst>
                  <a:ext uri="{0D108BD9-81ED-4DB2-BD59-A6C34878D82A}">
                    <a16:rowId xmlns:a16="http://schemas.microsoft.com/office/drawing/2014/main" val="1259501874"/>
                  </a:ext>
                </a:extLst>
              </a:tr>
              <a:tr h="2174966">
                <a:tc>
                  <a:txBody>
                    <a:bodyPr/>
                    <a:lstStyle/>
                    <a:p>
                      <a:pPr marL="0" lvl="0" indent="0" algn="just">
                        <a:lnSpc>
                          <a:spcPct val="100000"/>
                        </a:lnSpc>
                        <a:buNone/>
                      </a:pPr>
                      <a:r>
                        <a:rPr lang="en-US" sz="2200" u="none" strike="noStrike" baseline="0" noProof="0">
                          <a:solidFill>
                            <a:srgbClr val="2E2E38"/>
                          </a:solidFill>
                          <a:latin typeface="Calibri"/>
                          <a:cs typeface="Calibri"/>
                        </a:rPr>
                        <a:t>Copies of insurances to be included in submission </a:t>
                      </a:r>
                      <a:endParaRPr lang="en-US" sz="2200">
                        <a:solidFill>
                          <a:srgbClr val="2E2E38"/>
                        </a:solidFill>
                        <a:latin typeface="Calibri"/>
                        <a:cs typeface="Calibri"/>
                      </a:endParaRPr>
                    </a:p>
                    <a:p>
                      <a:pPr lvl="0">
                        <a:buNone/>
                      </a:pPr>
                      <a:endParaRPr lang="en-US" sz="2200">
                        <a:solidFill>
                          <a:srgbClr val="2E2E38"/>
                        </a:solidFill>
                        <a:latin typeface="Calibri" panose="020F0502020204030204" pitchFamily="34" charset="0"/>
                        <a:cs typeface="Calibri" panose="020F0502020204030204" pitchFamily="34" charset="0"/>
                      </a:endParaRPr>
                    </a:p>
                  </a:txBody>
                  <a:tcPr marL="112098" marR="112098" marT="56049" marB="56049">
                    <a:lnT w="0">
                      <a:noFill/>
                    </a:lnT>
                    <a:solidFill>
                      <a:schemeClr val="tx1">
                        <a:lumMod val="95000"/>
                      </a:schemeClr>
                    </a:solidFill>
                  </a:tcPr>
                </a:tc>
                <a:tc gridSpan="2">
                  <a:txBody>
                    <a:bodyPr/>
                    <a:lstStyle/>
                    <a:p>
                      <a:pPr lvl="0" algn="just">
                        <a:buNone/>
                      </a:pPr>
                      <a:r>
                        <a:rPr lang="en-US" sz="2200" u="none" strike="noStrike" baseline="0" noProof="0">
                          <a:solidFill>
                            <a:srgbClr val="2E2E38"/>
                          </a:solidFill>
                          <a:latin typeface="Calibri"/>
                          <a:cs typeface="Calibri"/>
                        </a:rPr>
                        <a:t>Should additional levels of insurance be required, are you prepared to put in place such levels as may be required by and agreed with the Contracting Authority?</a:t>
                      </a:r>
                      <a:endParaRPr lang="en-US" sz="2200">
                        <a:solidFill>
                          <a:srgbClr val="2E2E38"/>
                        </a:solidFill>
                        <a:latin typeface="Calibri"/>
                        <a:cs typeface="Calibri"/>
                      </a:endParaRPr>
                    </a:p>
                  </a:txBody>
                  <a:tcPr marL="112098" marR="112098" marT="56049" marB="56049">
                    <a:lnT w="0">
                      <a:noFill/>
                    </a:lnT>
                    <a:solidFill>
                      <a:schemeClr val="tx1">
                        <a:lumMod val="95000"/>
                      </a:schemeClr>
                    </a:solidFill>
                  </a:tcPr>
                </a:tc>
                <a:tc hMerge="1">
                  <a:txBody>
                    <a:bodyPr/>
                    <a:lstStyle/>
                    <a:p>
                      <a:endParaRPr lang="en-US"/>
                    </a:p>
                  </a:txBody>
                  <a:tcPr marL="0" marR="0" marT="0" marB="0" horzOverflow="overflow"/>
                </a:tc>
                <a:tc>
                  <a:txBody>
                    <a:bodyPr/>
                    <a:lstStyle/>
                    <a:p>
                      <a:pPr algn="ctr"/>
                      <a:r>
                        <a:rPr lang="en-US" sz="2200">
                          <a:solidFill>
                            <a:srgbClr val="2E2E38"/>
                          </a:solidFill>
                          <a:latin typeface="Calibri"/>
                          <a:cs typeface="Calibri"/>
                        </a:rPr>
                        <a:t>Yes</a:t>
                      </a:r>
                    </a:p>
                  </a:txBody>
                  <a:tcPr marL="112098" marR="112098" marT="56049" marB="56049">
                    <a:lnT w="0">
                      <a:noFill/>
                    </a:lnT>
                    <a:solidFill>
                      <a:schemeClr val="tx1">
                        <a:lumMod val="95000"/>
                      </a:schemeClr>
                    </a:solidFill>
                  </a:tcPr>
                </a:tc>
                <a:extLst>
                  <a:ext uri="{0D108BD9-81ED-4DB2-BD59-A6C34878D82A}">
                    <a16:rowId xmlns:a16="http://schemas.microsoft.com/office/drawing/2014/main" val="1001222804"/>
                  </a:ext>
                </a:extLst>
              </a:tr>
              <a:tr h="486607">
                <a:tc gridSpan="2">
                  <a:txBody>
                    <a:bodyPr/>
                    <a:lstStyle/>
                    <a:p>
                      <a:pPr algn="ctr"/>
                      <a:r>
                        <a:rPr lang="en-US" sz="2200">
                          <a:solidFill>
                            <a:srgbClr val="2E2E38"/>
                          </a:solidFill>
                          <a:latin typeface="Calibri"/>
                          <a:cs typeface="Calibri"/>
                        </a:rPr>
                        <a:t>Name of Insurer</a:t>
                      </a:r>
                    </a:p>
                  </a:txBody>
                  <a:tcPr marL="112098" marR="112098" marT="56049" marB="56049">
                    <a:solidFill>
                      <a:schemeClr val="tx1">
                        <a:lumMod val="85000"/>
                      </a:schemeClr>
                    </a:solidFill>
                  </a:tcPr>
                </a:tc>
                <a:tc hMerge="1">
                  <a:txBody>
                    <a:bodyPr/>
                    <a:lstStyle/>
                    <a:p>
                      <a:endParaRPr lang="en-US"/>
                    </a:p>
                  </a:txBody>
                  <a:tcPr marL="0" marR="0" marT="0" marB="0" horzOverflow="overflow"/>
                </a:tc>
                <a:tc gridSpan="2">
                  <a:txBody>
                    <a:bodyPr/>
                    <a:lstStyle/>
                    <a:p>
                      <a:pPr lvl="0" algn="ctr">
                        <a:buNone/>
                      </a:pPr>
                      <a:r>
                        <a:rPr lang="en-US" sz="2200">
                          <a:solidFill>
                            <a:srgbClr val="2E2E38"/>
                          </a:solidFill>
                          <a:latin typeface="Calibri"/>
                          <a:cs typeface="Calibri"/>
                        </a:rPr>
                        <a:t>AON UK Limited</a:t>
                      </a:r>
                    </a:p>
                  </a:txBody>
                  <a:tcPr marL="112098" marR="112098" marT="56049" marB="56049">
                    <a:solidFill>
                      <a:schemeClr val="tx1">
                        <a:lumMod val="85000"/>
                      </a:schemeClr>
                    </a:solidFill>
                  </a:tcPr>
                </a:tc>
                <a:tc hMerge="1">
                  <a:txBody>
                    <a:bodyPr/>
                    <a:lstStyle/>
                    <a:p>
                      <a:endParaRPr lang="en-US"/>
                    </a:p>
                  </a:txBody>
                  <a:tcPr marL="0" marR="0" marT="0" marB="0" horzOverflow="overflow"/>
                </a:tc>
                <a:extLst>
                  <a:ext uri="{0D108BD9-81ED-4DB2-BD59-A6C34878D82A}">
                    <a16:rowId xmlns:a16="http://schemas.microsoft.com/office/drawing/2014/main" val="1617021923"/>
                  </a:ext>
                </a:extLst>
              </a:tr>
            </a:tbl>
          </a:graphicData>
        </a:graphic>
      </p:graphicFrame>
    </p:spTree>
    <p:extLst>
      <p:ext uri="{BB962C8B-B14F-4D97-AF65-F5344CB8AC3E}">
        <p14:creationId xmlns:p14="http://schemas.microsoft.com/office/powerpoint/2010/main" val="29155049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400711" y="1265205"/>
            <a:ext cx="5486399" cy="676788"/>
          </a:xfrm>
        </p:spPr>
        <p:txBody>
          <a:bodyPr/>
          <a:lstStyle/>
          <a:p>
            <a:r>
              <a:rPr lang="en-IE">
                <a:latin typeface="Calibri" panose="020F0502020204030204" pitchFamily="34" charset="0"/>
                <a:cs typeface="Calibri" panose="020F0502020204030204" pitchFamily="34" charset="0"/>
              </a:rPr>
              <a:t>Certifications</a:t>
            </a: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K. </a:t>
            </a:r>
          </a:p>
        </p:txBody>
      </p:sp>
    </p:spTree>
    <p:extLst>
      <p:ext uri="{BB962C8B-B14F-4D97-AF65-F5344CB8AC3E}">
        <p14:creationId xmlns:p14="http://schemas.microsoft.com/office/powerpoint/2010/main" val="178732507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a:cs typeface="Calibri"/>
              </a:rPr>
              <a:t>K.1 - ISO Certifications</a:t>
            </a:r>
          </a:p>
        </p:txBody>
      </p:sp>
      <p:sp>
        <p:nvSpPr>
          <p:cNvPr id="17" name="object 19">
            <a:extLst>
              <a:ext uri="{FF2B5EF4-FFF2-40B4-BE49-F238E27FC236}">
                <a16:creationId xmlns:a16="http://schemas.microsoft.com/office/drawing/2014/main" id="{8C9460DB-676C-4AF1-BB43-13950E17CBA7}"/>
              </a:ext>
            </a:extLst>
          </p:cNvPr>
          <p:cNvSpPr/>
          <p:nvPr/>
        </p:nvSpPr>
        <p:spPr bwMode="gray">
          <a:xfrm>
            <a:off x="2111725" y="3234467"/>
            <a:ext cx="965772" cy="304801"/>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ISO 14001</a:t>
            </a:r>
            <a:endParaRPr lang="en-US" sz="1350" b="1"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1AA9E0EE-B671-4BAA-9478-C9937E34B4A7}"/>
              </a:ext>
            </a:extLst>
          </p:cNvPr>
          <p:cNvPicPr>
            <a:picLocks noChangeAspect="1"/>
          </p:cNvPicPr>
          <p:nvPr/>
        </p:nvPicPr>
        <p:blipFill>
          <a:blip r:embed="rId3"/>
          <a:stretch>
            <a:fillRect/>
          </a:stretch>
        </p:blipFill>
        <p:spPr>
          <a:xfrm>
            <a:off x="609600" y="1450036"/>
            <a:ext cx="1819668" cy="1658050"/>
          </a:xfrm>
          <a:prstGeom prst="rect">
            <a:avLst/>
          </a:prstGeom>
          <a:ln>
            <a:solidFill>
              <a:schemeClr val="bg2"/>
            </a:solidFill>
          </a:ln>
        </p:spPr>
      </p:pic>
      <p:pic>
        <p:nvPicPr>
          <p:cNvPr id="2" name="Picture 1">
            <a:extLst>
              <a:ext uri="{FF2B5EF4-FFF2-40B4-BE49-F238E27FC236}">
                <a16:creationId xmlns:a16="http://schemas.microsoft.com/office/drawing/2014/main" id="{555DC62A-F1BD-9DCC-E1F2-31F83C32756F}"/>
              </a:ext>
            </a:extLst>
          </p:cNvPr>
          <p:cNvPicPr>
            <a:picLocks noChangeAspect="1"/>
          </p:cNvPicPr>
          <p:nvPr/>
        </p:nvPicPr>
        <p:blipFill>
          <a:blip r:embed="rId4"/>
          <a:stretch>
            <a:fillRect/>
          </a:stretch>
        </p:blipFill>
        <p:spPr>
          <a:xfrm>
            <a:off x="2594611" y="1450036"/>
            <a:ext cx="1819668" cy="1674163"/>
          </a:xfrm>
          <a:prstGeom prst="rect">
            <a:avLst/>
          </a:prstGeom>
          <a:ln>
            <a:solidFill>
              <a:schemeClr val="bg1"/>
            </a:solidFill>
          </a:ln>
        </p:spPr>
      </p:pic>
      <p:pic>
        <p:nvPicPr>
          <p:cNvPr id="3" name="Picture 2">
            <a:extLst>
              <a:ext uri="{FF2B5EF4-FFF2-40B4-BE49-F238E27FC236}">
                <a16:creationId xmlns:a16="http://schemas.microsoft.com/office/drawing/2014/main" id="{6BF77464-80D9-E724-90BE-EEBE2B4C38D2}"/>
              </a:ext>
            </a:extLst>
          </p:cNvPr>
          <p:cNvPicPr>
            <a:picLocks noChangeAspect="1"/>
          </p:cNvPicPr>
          <p:nvPr/>
        </p:nvPicPr>
        <p:blipFill>
          <a:blip r:embed="rId5"/>
          <a:stretch>
            <a:fillRect/>
          </a:stretch>
        </p:blipFill>
        <p:spPr>
          <a:xfrm>
            <a:off x="5800813" y="1463035"/>
            <a:ext cx="1819668" cy="1674163"/>
          </a:xfrm>
          <a:prstGeom prst="rect">
            <a:avLst/>
          </a:prstGeom>
          <a:ln>
            <a:solidFill>
              <a:schemeClr val="bg1"/>
            </a:solidFill>
          </a:ln>
        </p:spPr>
      </p:pic>
      <p:sp>
        <p:nvSpPr>
          <p:cNvPr id="5" name="object 19">
            <a:extLst>
              <a:ext uri="{FF2B5EF4-FFF2-40B4-BE49-F238E27FC236}">
                <a16:creationId xmlns:a16="http://schemas.microsoft.com/office/drawing/2014/main" id="{59C73157-CD02-0C97-2B02-8AEC6213801E}"/>
              </a:ext>
            </a:extLst>
          </p:cNvPr>
          <p:cNvSpPr/>
          <p:nvPr/>
        </p:nvSpPr>
        <p:spPr bwMode="gray">
          <a:xfrm>
            <a:off x="6263279" y="3234467"/>
            <a:ext cx="894735" cy="304801"/>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ISO 9001</a:t>
            </a:r>
            <a:endParaRPr lang="en-US" sz="1350" b="1"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45D2E7EC-BF12-5883-C4D3-DF95DECCCE6C}"/>
              </a:ext>
            </a:extLst>
          </p:cNvPr>
          <p:cNvPicPr>
            <a:picLocks noChangeAspect="1"/>
          </p:cNvPicPr>
          <p:nvPr/>
        </p:nvPicPr>
        <p:blipFill>
          <a:blip r:embed="rId6"/>
          <a:stretch>
            <a:fillRect/>
          </a:stretch>
        </p:blipFill>
        <p:spPr>
          <a:xfrm>
            <a:off x="8524349" y="1463035"/>
            <a:ext cx="1819668" cy="1687162"/>
          </a:xfrm>
          <a:prstGeom prst="rect">
            <a:avLst/>
          </a:prstGeom>
          <a:ln>
            <a:solidFill>
              <a:schemeClr val="bg1"/>
            </a:solidFill>
          </a:ln>
        </p:spPr>
      </p:pic>
      <p:sp>
        <p:nvSpPr>
          <p:cNvPr id="7" name="object 19">
            <a:extLst>
              <a:ext uri="{FF2B5EF4-FFF2-40B4-BE49-F238E27FC236}">
                <a16:creationId xmlns:a16="http://schemas.microsoft.com/office/drawing/2014/main" id="{DA32DDC8-125F-24ED-B978-AE1AAD5EE3D2}"/>
              </a:ext>
            </a:extLst>
          </p:cNvPr>
          <p:cNvSpPr/>
          <p:nvPr/>
        </p:nvSpPr>
        <p:spPr bwMode="gray">
          <a:xfrm>
            <a:off x="8951297" y="3234467"/>
            <a:ext cx="965772" cy="304801"/>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ISO 22301</a:t>
            </a:r>
            <a:endParaRPr lang="en-US" sz="1350" b="1"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4A5D0DC9-A257-CA56-6994-09F513181D27}"/>
              </a:ext>
            </a:extLst>
          </p:cNvPr>
          <p:cNvPicPr>
            <a:picLocks noChangeAspect="1"/>
          </p:cNvPicPr>
          <p:nvPr/>
        </p:nvPicPr>
        <p:blipFill>
          <a:blip r:embed="rId7"/>
          <a:stretch>
            <a:fillRect/>
          </a:stretch>
        </p:blipFill>
        <p:spPr>
          <a:xfrm>
            <a:off x="609600" y="3960432"/>
            <a:ext cx="1819668" cy="1687162"/>
          </a:xfrm>
          <a:prstGeom prst="rect">
            <a:avLst/>
          </a:prstGeom>
          <a:ln>
            <a:solidFill>
              <a:schemeClr val="bg1"/>
            </a:solidFill>
          </a:ln>
        </p:spPr>
      </p:pic>
      <p:sp>
        <p:nvSpPr>
          <p:cNvPr id="10" name="object 19">
            <a:extLst>
              <a:ext uri="{FF2B5EF4-FFF2-40B4-BE49-F238E27FC236}">
                <a16:creationId xmlns:a16="http://schemas.microsoft.com/office/drawing/2014/main" id="{15965A57-6D5C-3FF3-8DFE-17AF7DE7D580}"/>
              </a:ext>
            </a:extLst>
          </p:cNvPr>
          <p:cNvSpPr/>
          <p:nvPr/>
        </p:nvSpPr>
        <p:spPr bwMode="gray">
          <a:xfrm>
            <a:off x="1036548" y="5719118"/>
            <a:ext cx="965772" cy="304801"/>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ISO 27001</a:t>
            </a:r>
            <a:endParaRPr lang="en-US" sz="1350" b="1"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E3FD3D70-A5ED-F6B8-D88E-0B3144BF9C86}"/>
              </a:ext>
            </a:extLst>
          </p:cNvPr>
          <p:cNvPicPr>
            <a:picLocks noChangeAspect="1"/>
          </p:cNvPicPr>
          <p:nvPr/>
        </p:nvPicPr>
        <p:blipFill>
          <a:blip r:embed="rId8"/>
          <a:stretch>
            <a:fillRect/>
          </a:stretch>
        </p:blipFill>
        <p:spPr>
          <a:xfrm>
            <a:off x="3598387" y="3960432"/>
            <a:ext cx="1819447" cy="1674163"/>
          </a:xfrm>
          <a:prstGeom prst="rect">
            <a:avLst/>
          </a:prstGeom>
          <a:ln>
            <a:solidFill>
              <a:schemeClr val="bg1"/>
            </a:solidFill>
          </a:ln>
        </p:spPr>
      </p:pic>
      <p:sp>
        <p:nvSpPr>
          <p:cNvPr id="12" name="object 19">
            <a:extLst>
              <a:ext uri="{FF2B5EF4-FFF2-40B4-BE49-F238E27FC236}">
                <a16:creationId xmlns:a16="http://schemas.microsoft.com/office/drawing/2014/main" id="{81F3CCD0-B835-B150-BC5A-64F880AC23A7}"/>
              </a:ext>
            </a:extLst>
          </p:cNvPr>
          <p:cNvSpPr/>
          <p:nvPr/>
        </p:nvSpPr>
        <p:spPr bwMode="gray">
          <a:xfrm>
            <a:off x="3931393" y="5719118"/>
            <a:ext cx="965772" cy="304801"/>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ISO 27017</a:t>
            </a:r>
            <a:endParaRPr lang="en-US" sz="1350" b="1"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13" name="Picture 12">
            <a:extLst>
              <a:ext uri="{FF2B5EF4-FFF2-40B4-BE49-F238E27FC236}">
                <a16:creationId xmlns:a16="http://schemas.microsoft.com/office/drawing/2014/main" id="{9828983C-3538-AA29-71A9-4F253AB11C56}"/>
              </a:ext>
            </a:extLst>
          </p:cNvPr>
          <p:cNvPicPr>
            <a:picLocks noChangeAspect="1"/>
          </p:cNvPicPr>
          <p:nvPr/>
        </p:nvPicPr>
        <p:blipFill>
          <a:blip r:embed="rId9"/>
          <a:stretch>
            <a:fillRect/>
          </a:stretch>
        </p:blipFill>
        <p:spPr>
          <a:xfrm>
            <a:off x="6586953" y="3973431"/>
            <a:ext cx="1819447" cy="1674163"/>
          </a:xfrm>
          <a:prstGeom prst="rect">
            <a:avLst/>
          </a:prstGeom>
          <a:ln>
            <a:solidFill>
              <a:schemeClr val="bg1"/>
            </a:solidFill>
          </a:ln>
        </p:spPr>
      </p:pic>
      <p:sp>
        <p:nvSpPr>
          <p:cNvPr id="14" name="object 19">
            <a:extLst>
              <a:ext uri="{FF2B5EF4-FFF2-40B4-BE49-F238E27FC236}">
                <a16:creationId xmlns:a16="http://schemas.microsoft.com/office/drawing/2014/main" id="{F4883733-DA43-36CC-F31A-DF5FAC782416}"/>
              </a:ext>
            </a:extLst>
          </p:cNvPr>
          <p:cNvSpPr/>
          <p:nvPr/>
        </p:nvSpPr>
        <p:spPr bwMode="gray">
          <a:xfrm>
            <a:off x="6249216" y="5719118"/>
            <a:ext cx="2424336" cy="523983"/>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Certificate of Assurance – Cyber Essentials </a:t>
            </a:r>
            <a:endParaRPr lang="en-US" sz="1350"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pic>
        <p:nvPicPr>
          <p:cNvPr id="15" name="Picture 14">
            <a:extLst>
              <a:ext uri="{FF2B5EF4-FFF2-40B4-BE49-F238E27FC236}">
                <a16:creationId xmlns:a16="http://schemas.microsoft.com/office/drawing/2014/main" id="{E38B5595-EBF2-CBA0-C9ED-21D70BE21138}"/>
              </a:ext>
            </a:extLst>
          </p:cNvPr>
          <p:cNvPicPr>
            <a:picLocks noChangeAspect="1"/>
          </p:cNvPicPr>
          <p:nvPr/>
        </p:nvPicPr>
        <p:blipFill>
          <a:blip r:embed="rId10"/>
          <a:stretch>
            <a:fillRect/>
          </a:stretch>
        </p:blipFill>
        <p:spPr>
          <a:xfrm>
            <a:off x="9576001" y="3973431"/>
            <a:ext cx="1811646" cy="1674163"/>
          </a:xfrm>
          <a:prstGeom prst="rect">
            <a:avLst/>
          </a:prstGeom>
          <a:ln>
            <a:solidFill>
              <a:schemeClr val="bg1"/>
            </a:solidFill>
          </a:ln>
        </p:spPr>
      </p:pic>
      <p:sp>
        <p:nvSpPr>
          <p:cNvPr id="16" name="object 19">
            <a:extLst>
              <a:ext uri="{FF2B5EF4-FFF2-40B4-BE49-F238E27FC236}">
                <a16:creationId xmlns:a16="http://schemas.microsoft.com/office/drawing/2014/main" id="{506A4B42-49E1-7365-4A93-E322BCC617C2}"/>
              </a:ext>
            </a:extLst>
          </p:cNvPr>
          <p:cNvSpPr/>
          <p:nvPr/>
        </p:nvSpPr>
        <p:spPr bwMode="gray">
          <a:xfrm>
            <a:off x="9269656" y="5719118"/>
            <a:ext cx="2424336" cy="523983"/>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tx1"/>
          </a:solidFill>
          <a:ln w="6350" cap="flat" cmpd="sng" algn="ctr">
            <a:solidFill>
              <a:schemeClr val="tx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algn="just" defTabSz="1006797">
              <a:spcAft>
                <a:spcPts val="500"/>
              </a:spcAft>
              <a:defRPr/>
            </a:pPr>
            <a:r>
              <a:rPr lang="en-IE" sz="1350" spc="-6">
                <a:solidFill>
                  <a:schemeClr val="bg1"/>
                </a:solidFill>
                <a:latin typeface="Calibri" panose="020F0502020204030204" pitchFamily="34" charset="0"/>
                <a:cs typeface="Calibri" panose="020F0502020204030204" pitchFamily="34" charset="0"/>
                <a:sym typeface="Arial" panose="020B0604020202020204" pitchFamily="34" charset="0"/>
              </a:rPr>
              <a:t>Certificate of Assurance – Cyber Essentials Plus</a:t>
            </a:r>
            <a:endParaRPr lang="en-US" sz="1350" spc="-6">
              <a:solidFill>
                <a:schemeClr val="bg1"/>
              </a:solidFill>
              <a:latin typeface="Calibri" panose="020F0502020204030204" pitchFamily="34" charset="0"/>
              <a:cs typeface="Calibri" panose="020F0502020204030204" pitchFamily="34" charset="0"/>
              <a:sym typeface="Arial" panose="020B0604020202020204" pitchFamily="34" charset="0"/>
            </a:endParaRPr>
          </a:p>
        </p:txBody>
      </p:sp>
    </p:spTree>
    <p:extLst>
      <p:ext uri="{BB962C8B-B14F-4D97-AF65-F5344CB8AC3E}">
        <p14:creationId xmlns:p14="http://schemas.microsoft.com/office/powerpoint/2010/main" val="1361792716"/>
      </p:ext>
    </p:extLst>
  </p:cSld>
  <p:clrMapOvr>
    <a:masterClrMapping/>
  </p:clrMapOvr>
  <p:extLst>
    <p:ext uri="{6950BFC3-D8DA-4A85-94F7-54DA5524770B}">
      <p188:commentRel xmlns:p188="http://schemas.microsoft.com/office/powerpoint/2018/8/main" r:id="rId2"/>
    </p:ext>
  </p:extLst>
</p:sld>
</file>

<file path=ppt/slides/slide10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431984" y="1265205"/>
            <a:ext cx="5486399" cy="676788"/>
          </a:xfrm>
        </p:spPr>
        <p:txBody>
          <a:bodyPr/>
          <a:lstStyle/>
          <a:p>
            <a:r>
              <a:rPr lang="en-IE">
                <a:latin typeface="Calibri" panose="020F0502020204030204" pitchFamily="34" charset="0"/>
                <a:cs typeface="Calibri" panose="020F0502020204030204" pitchFamily="34" charset="0"/>
              </a:rPr>
              <a:t>Appendix</a:t>
            </a:r>
            <a:endParaRPr lang="en-US">
              <a:latin typeface="Calibri" panose="020F0502020204030204" pitchFamily="34" charset="0"/>
              <a:cs typeface="Calibri" panose="020F0502020204030204" pitchFamily="34" charset="0"/>
            </a:endParaRP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L.</a:t>
            </a:r>
            <a:endParaRPr lang="en-IE">
              <a:solidFill>
                <a:srgbClr val="F6DF09"/>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35CD8BED-68CF-D983-C8AF-A9AD64B592B0}"/>
              </a:ext>
            </a:extLst>
          </p:cNvPr>
          <p:cNvSpPr txBox="1"/>
          <p:nvPr/>
        </p:nvSpPr>
        <p:spPr>
          <a:xfrm>
            <a:off x="609600" y="3713593"/>
            <a:ext cx="7131169" cy="2308324"/>
          </a:xfrm>
          <a:prstGeom prst="rect">
            <a:avLst/>
          </a:prstGeom>
          <a:noFill/>
        </p:spPr>
        <p:txBody>
          <a:bodyPr wrap="square" lIns="91440" tIns="45720" rIns="91440" bIns="45720" anchor="t">
            <a:spAutoFit/>
          </a:bodyPr>
          <a:lstStyle/>
          <a:p>
            <a:pPr fontAlgn="base"/>
            <a:r>
              <a:rPr lang="en-GB">
                <a:latin typeface="Calibri"/>
                <a:cs typeface="Calibri"/>
              </a:rPr>
              <a:t>L</a:t>
            </a:r>
            <a:r>
              <a:rPr lang="en-GB" b="0" i="0">
                <a:effectLst/>
                <a:latin typeface="Calibri"/>
                <a:cs typeface="Calibri"/>
              </a:rPr>
              <a:t>.1 – </a:t>
            </a:r>
            <a:r>
              <a:rPr lang="en-GB">
                <a:latin typeface="Calibri"/>
                <a:cs typeface="Calibri"/>
              </a:rPr>
              <a:t>Table A (Overall Laboratory Hosting Requirements)</a:t>
            </a:r>
            <a:endParaRPr lang="en-GB" b="0" i="0">
              <a:effectLst/>
              <a:latin typeface="Calibri"/>
              <a:cs typeface="Calibri"/>
            </a:endParaRPr>
          </a:p>
          <a:p>
            <a:pPr fontAlgn="base"/>
            <a:r>
              <a:rPr lang="en-GB">
                <a:latin typeface="Calibri"/>
                <a:cs typeface="Calibri"/>
              </a:rPr>
              <a:t>L.2 – Table B (Quality Management System Requirements)</a:t>
            </a:r>
          </a:p>
          <a:p>
            <a:pPr fontAlgn="base"/>
            <a:r>
              <a:rPr lang="en-GB">
                <a:latin typeface="Calibri"/>
                <a:cs typeface="Calibri"/>
              </a:rPr>
              <a:t>L</a:t>
            </a:r>
            <a:r>
              <a:rPr lang="en-GB" b="0" i="0">
                <a:effectLst/>
                <a:latin typeface="Calibri"/>
                <a:cs typeface="Calibri"/>
              </a:rPr>
              <a:t>.3 – </a:t>
            </a:r>
            <a:r>
              <a:rPr lang="en-GB">
                <a:latin typeface="Calibri"/>
                <a:cs typeface="Calibri"/>
              </a:rPr>
              <a:t>Table C (CMD)</a:t>
            </a:r>
          </a:p>
          <a:p>
            <a:r>
              <a:rPr lang="en-GB">
                <a:latin typeface="Calibri"/>
                <a:cs typeface="Calibri"/>
              </a:rPr>
              <a:t>L.4 - Table D (IMRL)</a:t>
            </a:r>
          </a:p>
          <a:p>
            <a:r>
              <a:rPr lang="en-GB">
                <a:latin typeface="Calibri"/>
                <a:cs typeface="Calibri"/>
              </a:rPr>
              <a:t>L.5 - Table E (NMRSARL)</a:t>
            </a:r>
          </a:p>
          <a:p>
            <a:r>
              <a:rPr lang="en-GB">
                <a:latin typeface="Calibri"/>
                <a:cs typeface="Calibri"/>
              </a:rPr>
              <a:t>L.6 - Table F (GCRL)</a:t>
            </a:r>
          </a:p>
          <a:p>
            <a:r>
              <a:rPr lang="en-GB">
                <a:latin typeface="Calibri"/>
                <a:cs typeface="Calibri"/>
              </a:rPr>
              <a:t>L.7 - Table G (HMD)</a:t>
            </a:r>
          </a:p>
          <a:p>
            <a:r>
              <a:rPr lang="en-GB">
                <a:latin typeface="Calibri"/>
                <a:cs typeface="Calibri"/>
              </a:rPr>
              <a:t>L.8 - Table H (Computing System Management)</a:t>
            </a:r>
          </a:p>
        </p:txBody>
      </p:sp>
    </p:spTree>
    <p:extLst>
      <p:ext uri="{BB962C8B-B14F-4D97-AF65-F5344CB8AC3E}">
        <p14:creationId xmlns:p14="http://schemas.microsoft.com/office/powerpoint/2010/main" val="187877561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1 – </a:t>
            </a:r>
            <a:r>
              <a:rPr lang="en-GB">
                <a:latin typeface="Calibri"/>
                <a:cs typeface="Calibri"/>
              </a:rPr>
              <a:t>Table A (Overall Laboratory Hosting Requirements) Part 1</a:t>
            </a:r>
            <a:endParaRPr lang="en-GB" b="0" i="0">
              <a:effectLst/>
              <a:latin typeface="Calibri"/>
              <a:cs typeface="Calibri"/>
            </a:endParaRPr>
          </a:p>
        </p:txBody>
      </p:sp>
      <p:graphicFrame>
        <p:nvGraphicFramePr>
          <p:cNvPr id="5" name="Table 4">
            <a:extLst>
              <a:ext uri="{FF2B5EF4-FFF2-40B4-BE49-F238E27FC236}">
                <a16:creationId xmlns:a16="http://schemas.microsoft.com/office/drawing/2014/main" id="{02889A8A-1E1A-F5FD-54FD-B57CDC51182A}"/>
              </a:ext>
            </a:extLst>
          </p:cNvPr>
          <p:cNvGraphicFramePr>
            <a:graphicFrameLocks noGrp="1"/>
          </p:cNvGraphicFramePr>
          <p:nvPr>
            <p:extLst>
              <p:ext uri="{D42A27DB-BD31-4B8C-83A1-F6EECF244321}">
                <p14:modId xmlns:p14="http://schemas.microsoft.com/office/powerpoint/2010/main" val="1959963862"/>
              </p:ext>
            </p:extLst>
          </p:nvPr>
        </p:nvGraphicFramePr>
        <p:xfrm>
          <a:off x="609601" y="1390161"/>
          <a:ext cx="10974387" cy="4852649"/>
        </p:xfrm>
        <a:graphic>
          <a:graphicData uri="http://schemas.openxmlformats.org/drawingml/2006/table">
            <a:tbl>
              <a:tblPr>
                <a:tableStyleId>{5C22544A-7EE6-4342-B048-85BDC9FD1C3A}</a:tableStyleId>
              </a:tblPr>
              <a:tblGrid>
                <a:gridCol w="898201">
                  <a:extLst>
                    <a:ext uri="{9D8B030D-6E8A-4147-A177-3AD203B41FA5}">
                      <a16:colId xmlns:a16="http://schemas.microsoft.com/office/drawing/2014/main" val="3996073338"/>
                    </a:ext>
                  </a:extLst>
                </a:gridCol>
                <a:gridCol w="5258561">
                  <a:extLst>
                    <a:ext uri="{9D8B030D-6E8A-4147-A177-3AD203B41FA5}">
                      <a16:colId xmlns:a16="http://schemas.microsoft.com/office/drawing/2014/main" val="912915052"/>
                    </a:ext>
                  </a:extLst>
                </a:gridCol>
                <a:gridCol w="4817625">
                  <a:extLst>
                    <a:ext uri="{9D8B030D-6E8A-4147-A177-3AD203B41FA5}">
                      <a16:colId xmlns:a16="http://schemas.microsoft.com/office/drawing/2014/main" val="4227342168"/>
                    </a:ext>
                  </a:extLst>
                </a:gridCol>
              </a:tblGrid>
              <a:tr h="59824">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Item No.</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tc>
                  <a:txBody>
                    <a:bodyPr/>
                    <a:lstStyle/>
                    <a:p>
                      <a:pPr algn="ctr" fontAlgn="base"/>
                      <a:r>
                        <a:rPr lang="en-GB" sz="900">
                          <a:solidFill>
                            <a:schemeClr val="bg2"/>
                          </a:solidFill>
                          <a:latin typeface="Calibri" panose="020F0502020204030204" pitchFamily="34" charset="0"/>
                          <a:cs typeface="Calibri" panose="020F0502020204030204" pitchFamily="34" charset="0"/>
                        </a:rPr>
                        <a:t>Table A (Overall Laboratory Hosting Requirements)</a:t>
                      </a:r>
                      <a:endParaRPr lang="en-GB" sz="900" b="0" i="0">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Executive Response </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extLst>
                  <a:ext uri="{0D108BD9-81ED-4DB2-BD59-A6C34878D82A}">
                    <a16:rowId xmlns:a16="http://schemas.microsoft.com/office/drawing/2014/main" val="2595272006"/>
                  </a:ext>
                </a:extLst>
              </a:tr>
              <a:tr h="396729">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Refer to the existing Laboratory architecture and configuration (Appendix A) Solution should be based on the existing Microsoft Azure cloud services service in place to manage laboratory sequencing data using current SJH Corporate and Genomics networks. The proposed architecture should be designed to minimise risks to the SJH Corporate network.</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is based on the current Azure tenant and existing infrastructure, and is designed to minimise risk across all requirement categories.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extLst>
                  <a:ext uri="{0D108BD9-81ED-4DB2-BD59-A6C34878D82A}">
                    <a16:rowId xmlns:a16="http://schemas.microsoft.com/office/drawing/2014/main" val="1202261482"/>
                  </a:ext>
                </a:extLst>
              </a:tr>
              <a:tr h="396729">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1</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tenderer should retain connectivity for existing SJH users from the Azure cloud architecture to the SJH Corporate network. There should be no impact on existing setup.</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tenderer should establish secure connectivity for new SJH users from the Azure cloud architecture to the SJH Corporate network in conjunction with the SJH IMS team.</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retain connectivity for existing SJH users from the Azure cloud architecture to the SJH Corporate network, and is designed to minimise risk across all requirement categories while improving on security processes in place currently. There will be no impact on the existing setup.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extLst>
                  <a:ext uri="{0D108BD9-81ED-4DB2-BD59-A6C34878D82A}">
                    <a16:rowId xmlns:a16="http://schemas.microsoft.com/office/drawing/2014/main" val="1583521528"/>
                  </a:ext>
                </a:extLst>
              </a:tr>
              <a:tr h="396729">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2</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tenderer should retain connectivity for existing SJH users from the SJH Genomics network to the existing Azure cloud architecture for laboratory data. There should be no impact on existing setup unless agreed in advance.</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tender should establish secure connectivity for new SJH users from the SJH Genomics network to the Azure cloud architecture for relevant analysers, data folders and personnel access, in conjunction with the IMS team.</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retain connectivity for existing SJH users from the SJH Genomics network to the existing Azure cloud architecture for laboratory data, and is designed to minimise risk across all requirement categories while improving on security processes in place currently. There will be no impact on the existing setup.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extLst>
                  <a:ext uri="{0D108BD9-81ED-4DB2-BD59-A6C34878D82A}">
                    <a16:rowId xmlns:a16="http://schemas.microsoft.com/office/drawing/2014/main" val="4105418993"/>
                  </a:ext>
                </a:extLst>
              </a:tr>
              <a:tr h="226702">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3</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virtualise existing on-site hardware in the most cost effective manner (as detailed per laboratory section). No hardware will be delivered as part of this solution. Manage all aspects of virtualisation process to the existing Azure cloud environment.</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provide a migration facility to virtualise existing on-site hardware in the most cost effective manner.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extLst>
                  <a:ext uri="{0D108BD9-81ED-4DB2-BD59-A6C34878D82A}">
                    <a16:rowId xmlns:a16="http://schemas.microsoft.com/office/drawing/2014/main" val="221049829"/>
                  </a:ext>
                </a:extLst>
              </a:tr>
              <a:tr h="226702">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4</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allow SJH users to directly access the Azure cloud environment via a web portal connection (desktop icon) on their corporate PC. The solution should be accessible remotely from home (web based) onto SJH and Genomics network under existing SJH security access policie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provide a migration facility to virtualise existing on-site hardware in the most cost effective manner.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extLst>
                  <a:ext uri="{0D108BD9-81ED-4DB2-BD59-A6C34878D82A}">
                    <a16:rowId xmlns:a16="http://schemas.microsoft.com/office/drawing/2014/main" val="1493935473"/>
                  </a:ext>
                </a:extLst>
              </a:tr>
              <a:tr h="283378">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5</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allow SJH users to directly access both the SJH Corporate and SJH Genomics network from the existing Azure cloud environment.  The ability to securely move files between the three environments is required (for example only, folder configuration to drag &amp; drop file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allow SJH users to directly access the Azure cloud environment via a web portal connection (desktop icon) on their corporate PC. The solution does allow remote access from home (web based) onto SJH and Genomics network under existing SJH security access policies.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extLst>
                  <a:ext uri="{0D108BD9-81ED-4DB2-BD59-A6C34878D82A}">
                    <a16:rowId xmlns:a16="http://schemas.microsoft.com/office/drawing/2014/main" val="2767120685"/>
                  </a:ext>
                </a:extLst>
              </a:tr>
              <a:tr h="170026">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6</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deliver new web based Applications/software as listed per individual laboratory sections and include analyser device testing. User Acceptance Testing (UAT) will be require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provide the capability to deliver new web based Applications/software as listed per individual laboratory sections and include analyser device testing.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extLst>
                  <a:ext uri="{0D108BD9-81ED-4DB2-BD59-A6C34878D82A}">
                    <a16:rowId xmlns:a16="http://schemas.microsoft.com/office/drawing/2014/main" val="2604377619"/>
                  </a:ext>
                </a:extLst>
              </a:tr>
              <a:tr h="170026">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7</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retain existing SJH backup and Disaster Recovery architecture to maintain existing lab services with an alternative backup location within the EU.</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retain existing SJH backup and Disaster Recovery architecture to maintain existing lab services with an alternative backup location within the EU.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extLst>
                  <a:ext uri="{0D108BD9-81ED-4DB2-BD59-A6C34878D82A}">
                    <a16:rowId xmlns:a16="http://schemas.microsoft.com/office/drawing/2014/main" val="4228175001"/>
                  </a:ext>
                </a:extLst>
              </a:tr>
              <a:tr h="226702">
                <a:tc>
                  <a:txBody>
                    <a:bodyPr/>
                    <a:lstStyle/>
                    <a:p>
                      <a:pPr algn="ctr" fontAlgn="ct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provide new SJH backup and Disaster Recovery architecture for new users/configuration/set up to maintain the service with an alternative backup location within the EU.</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does provide new SJH backup and Disaster Recovery architecture for new users/configuration/set up to maintain the service with an alternative backup location within the EU.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bg1">
                        <a:lumMod val="20000"/>
                        <a:lumOff val="80000"/>
                      </a:schemeClr>
                    </a:solidFill>
                  </a:tcPr>
                </a:tc>
                <a:extLst>
                  <a:ext uri="{0D108BD9-81ED-4DB2-BD59-A6C34878D82A}">
                    <a16:rowId xmlns:a16="http://schemas.microsoft.com/office/drawing/2014/main" val="3345080407"/>
                  </a:ext>
                </a:extLst>
              </a:tr>
              <a:tr h="113351">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1.0.8</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2870" marR="2870" marT="2870"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comply with existing SJH restoration processes for overall laboratory data.</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comply with existing SJH restoration processes for overall laboratory data. Please review section 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1">
                        <a:lumMod val="95000"/>
                      </a:schemeClr>
                    </a:solidFill>
                  </a:tcPr>
                </a:tc>
                <a:extLst>
                  <a:ext uri="{0D108BD9-81ED-4DB2-BD59-A6C34878D82A}">
                    <a16:rowId xmlns:a16="http://schemas.microsoft.com/office/drawing/2014/main" val="2733189751"/>
                  </a:ext>
                </a:extLst>
              </a:tr>
              <a:tr h="113351">
                <a:tc>
                  <a:txBody>
                    <a:bodyPr/>
                    <a:lstStyle/>
                    <a:p>
                      <a:pPr algn="ctr" fontAlgn="ctr"/>
                      <a:r>
                        <a:rPr lang="en-IE" sz="900" b="1" i="0" u="none" strike="noStrike">
                          <a:solidFill>
                            <a:schemeClr val="tx1"/>
                          </a:solidFill>
                          <a:effectLst/>
                          <a:latin typeface="Calibri" panose="020F0502020204030204" pitchFamily="34" charset="0"/>
                          <a:cs typeface="Calibri" panose="020F0502020204030204" pitchFamily="34" charset="0"/>
                        </a:rPr>
                        <a:t>1.0.9</a:t>
                      </a:r>
                    </a:p>
                  </a:txBody>
                  <a:tcPr marL="7620" marR="7620" marT="7620" marB="0" anchor="ctr">
                    <a:solidFill>
                      <a:schemeClr val="bg1">
                        <a:lumMod val="60000"/>
                        <a:lumOff val="40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solution should support a minimum of 30 concurrent users in 6 different laboratory areas/teams within the existing and under any new user/system configuration.</a:t>
                      </a:r>
                    </a:p>
                  </a:txBody>
                  <a:tcPr marL="7620" marR="7620" marT="7620" marB="0" anchor="ctr">
                    <a:solidFill>
                      <a:schemeClr val="bg1">
                        <a:lumMod val="20000"/>
                        <a:lumOff val="80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proposed EY solution will support a minimum of 30 concurrent users in 6 different laboratory areas/teams within the existing and under any new user/system configuration, and is capable to scaling to provide support for greater numbers if and when required. Please review section D.</a:t>
                      </a:r>
                    </a:p>
                  </a:txBody>
                  <a:tcPr marL="7620" marR="7620" marT="7620" marB="0" anchor="ctr">
                    <a:solidFill>
                      <a:schemeClr val="bg1">
                        <a:lumMod val="20000"/>
                        <a:lumOff val="80000"/>
                      </a:schemeClr>
                    </a:solidFill>
                  </a:tcPr>
                </a:tc>
                <a:extLst>
                  <a:ext uri="{0D108BD9-81ED-4DB2-BD59-A6C34878D82A}">
                    <a16:rowId xmlns:a16="http://schemas.microsoft.com/office/drawing/2014/main" val="2419151094"/>
                  </a:ext>
                </a:extLst>
              </a:tr>
              <a:tr h="113351">
                <a:tc>
                  <a:txBody>
                    <a:bodyPr/>
                    <a:lstStyle/>
                    <a:p>
                      <a:pPr algn="ctr" fontAlgn="ctr"/>
                      <a:r>
                        <a:rPr lang="en-IE" sz="900" b="1" i="0" u="none" strike="noStrike">
                          <a:solidFill>
                            <a:schemeClr val="tx1"/>
                          </a:solidFill>
                          <a:effectLst/>
                          <a:latin typeface="Calibri" panose="020F0502020204030204" pitchFamily="34" charset="0"/>
                          <a:cs typeface="Calibri" panose="020F0502020204030204" pitchFamily="34" charset="0"/>
                        </a:rPr>
                        <a:t>1.0.10</a:t>
                      </a:r>
                    </a:p>
                  </a:txBody>
                  <a:tcPr marL="7620" marR="7620" marT="7620" marB="0" anchor="ctr">
                    <a:solidFill>
                      <a:schemeClr val="bg1">
                        <a:lumMod val="60000"/>
                        <a:lumOff val="40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solution should build and provide all necessary virtual servers required to deliver rapid processing times in a cost effective manner and support routine laboratory processing of data.  </a:t>
                      </a:r>
                    </a:p>
                  </a:txBody>
                  <a:tcPr marL="7620" marR="7620" marT="7620" marB="0" anchor="ctr">
                    <a:solidFill>
                      <a:schemeClr val="tx1">
                        <a:lumMod val="95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proposed EY solution will build and provide all necessary virtual servers required to deliver rapid processing times in a cost effective manner and support routine laboratory processing of data. Please review section D.</a:t>
                      </a:r>
                    </a:p>
                  </a:txBody>
                  <a:tcPr marL="7620" marR="7620" marT="7620" marB="0" anchor="ctr">
                    <a:solidFill>
                      <a:schemeClr val="tx1">
                        <a:lumMod val="95000"/>
                      </a:schemeClr>
                    </a:solidFill>
                  </a:tcPr>
                </a:tc>
                <a:extLst>
                  <a:ext uri="{0D108BD9-81ED-4DB2-BD59-A6C34878D82A}">
                    <a16:rowId xmlns:a16="http://schemas.microsoft.com/office/drawing/2014/main" val="1302227582"/>
                  </a:ext>
                </a:extLst>
              </a:tr>
              <a:tr h="57981">
                <a:tc>
                  <a:txBody>
                    <a:bodyPr/>
                    <a:lstStyle/>
                    <a:p>
                      <a:pPr algn="ctr" fontAlgn="ctr"/>
                      <a:r>
                        <a:rPr lang="en-IE" sz="900" b="1" i="0" u="none" strike="noStrike">
                          <a:solidFill>
                            <a:schemeClr val="tx1"/>
                          </a:solidFill>
                          <a:effectLst/>
                          <a:latin typeface="Calibri" panose="020F0502020204030204" pitchFamily="34" charset="0"/>
                          <a:cs typeface="Calibri" panose="020F0502020204030204" pitchFamily="34" charset="0"/>
                        </a:rPr>
                        <a:t>1.0.11</a:t>
                      </a:r>
                    </a:p>
                  </a:txBody>
                  <a:tcPr marL="7620" marR="7620" marT="7620" marB="0" anchor="ctr">
                    <a:solidFill>
                      <a:schemeClr val="bg1">
                        <a:lumMod val="60000"/>
                        <a:lumOff val="40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solution should provide monitoring of connectivity links for congestion and provide real-time alerting to client of monitors.</a:t>
                      </a:r>
                    </a:p>
                  </a:txBody>
                  <a:tcPr marL="7620" marR="7620" marT="7620" marB="0" anchor="ctr">
                    <a:solidFill>
                      <a:schemeClr val="bg1">
                        <a:lumMod val="20000"/>
                        <a:lumOff val="80000"/>
                      </a:schemeClr>
                    </a:solidFill>
                  </a:tcPr>
                </a:tc>
                <a:tc>
                  <a:txBody>
                    <a:bodyPr/>
                    <a:lstStyle/>
                    <a:p>
                      <a:pPr algn="l" fontAlgn="ctr"/>
                      <a:r>
                        <a:rPr lang="en-IE" sz="800" b="0" i="0" u="none" strike="noStrike">
                          <a:solidFill>
                            <a:schemeClr val="bg2"/>
                          </a:solidFill>
                          <a:effectLst/>
                          <a:latin typeface="Calibri" panose="020F0502020204030204" pitchFamily="34" charset="0"/>
                          <a:cs typeface="Calibri" panose="020F0502020204030204" pitchFamily="34" charset="0"/>
                        </a:rPr>
                        <a:t>The proposed EY solution does provide monitoring of connectivity links for congestion and provide real-time alerting to client of monitors. Please review section D.</a:t>
                      </a:r>
                    </a:p>
                  </a:txBody>
                  <a:tcPr marL="7620" marR="7620" marT="7620" marB="0" anchor="ctr">
                    <a:solidFill>
                      <a:schemeClr val="bg1">
                        <a:lumMod val="20000"/>
                        <a:lumOff val="80000"/>
                      </a:schemeClr>
                    </a:solidFill>
                  </a:tcPr>
                </a:tc>
                <a:extLst>
                  <a:ext uri="{0D108BD9-81ED-4DB2-BD59-A6C34878D82A}">
                    <a16:rowId xmlns:a16="http://schemas.microsoft.com/office/drawing/2014/main" val="2516171478"/>
                  </a:ext>
                </a:extLst>
              </a:tr>
            </a:tbl>
          </a:graphicData>
        </a:graphic>
      </p:graphicFrame>
    </p:spTree>
    <p:extLst>
      <p:ext uri="{BB962C8B-B14F-4D97-AF65-F5344CB8AC3E}">
        <p14:creationId xmlns:p14="http://schemas.microsoft.com/office/powerpoint/2010/main" val="163821938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1 – </a:t>
            </a:r>
            <a:r>
              <a:rPr lang="en-GB">
                <a:latin typeface="Calibri"/>
                <a:cs typeface="Calibri"/>
              </a:rPr>
              <a:t>Table A (Overall Laboratory Hosting Requirements) Part 2</a:t>
            </a:r>
            <a:endParaRPr lang="en-GB" b="0" i="0">
              <a:effectLst/>
              <a:latin typeface="Calibri"/>
              <a:cs typeface="Calibri"/>
            </a:endParaRPr>
          </a:p>
        </p:txBody>
      </p:sp>
      <p:graphicFrame>
        <p:nvGraphicFramePr>
          <p:cNvPr id="5" name="Table 4">
            <a:extLst>
              <a:ext uri="{FF2B5EF4-FFF2-40B4-BE49-F238E27FC236}">
                <a16:creationId xmlns:a16="http://schemas.microsoft.com/office/drawing/2014/main" id="{02889A8A-1E1A-F5FD-54FD-B57CDC51182A}"/>
              </a:ext>
            </a:extLst>
          </p:cNvPr>
          <p:cNvGraphicFramePr>
            <a:graphicFrameLocks noGrp="1"/>
          </p:cNvGraphicFramePr>
          <p:nvPr>
            <p:extLst>
              <p:ext uri="{D42A27DB-BD31-4B8C-83A1-F6EECF244321}">
                <p14:modId xmlns:p14="http://schemas.microsoft.com/office/powerpoint/2010/main" val="228947342"/>
              </p:ext>
            </p:extLst>
          </p:nvPr>
        </p:nvGraphicFramePr>
        <p:xfrm>
          <a:off x="609601" y="1390161"/>
          <a:ext cx="10974387" cy="140030"/>
        </p:xfrm>
        <a:graphic>
          <a:graphicData uri="http://schemas.openxmlformats.org/drawingml/2006/table">
            <a:tbl>
              <a:tblPr>
                <a:tableStyleId>{5C22544A-7EE6-4342-B048-85BDC9FD1C3A}</a:tableStyleId>
              </a:tblPr>
              <a:tblGrid>
                <a:gridCol w="898201">
                  <a:extLst>
                    <a:ext uri="{9D8B030D-6E8A-4147-A177-3AD203B41FA5}">
                      <a16:colId xmlns:a16="http://schemas.microsoft.com/office/drawing/2014/main" val="3996073338"/>
                    </a:ext>
                  </a:extLst>
                </a:gridCol>
                <a:gridCol w="5258561">
                  <a:extLst>
                    <a:ext uri="{9D8B030D-6E8A-4147-A177-3AD203B41FA5}">
                      <a16:colId xmlns:a16="http://schemas.microsoft.com/office/drawing/2014/main" val="912915052"/>
                    </a:ext>
                  </a:extLst>
                </a:gridCol>
                <a:gridCol w="4817625">
                  <a:extLst>
                    <a:ext uri="{9D8B030D-6E8A-4147-A177-3AD203B41FA5}">
                      <a16:colId xmlns:a16="http://schemas.microsoft.com/office/drawing/2014/main" val="4227342168"/>
                    </a:ext>
                  </a:extLst>
                </a:gridCol>
              </a:tblGrid>
              <a:tr h="59824">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Item No.</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tc>
                  <a:txBody>
                    <a:bodyPr/>
                    <a:lstStyle/>
                    <a:p>
                      <a:pPr algn="ctr" fontAlgn="base"/>
                      <a:r>
                        <a:rPr lang="en-GB" sz="900">
                          <a:solidFill>
                            <a:schemeClr val="bg2"/>
                          </a:solidFill>
                          <a:latin typeface="Calibri" panose="020F0502020204030204" pitchFamily="34" charset="0"/>
                          <a:cs typeface="Calibri" panose="020F0502020204030204" pitchFamily="34" charset="0"/>
                        </a:rPr>
                        <a:t>Table A (Overall Laboratory Hosting Requirements)</a:t>
                      </a:r>
                      <a:endParaRPr lang="en-GB" sz="900" b="0" i="0">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Executive Response </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solidFill>
                      <a:schemeClr val="tx2"/>
                    </a:solidFill>
                  </a:tcPr>
                </a:tc>
                <a:extLst>
                  <a:ext uri="{0D108BD9-81ED-4DB2-BD59-A6C34878D82A}">
                    <a16:rowId xmlns:a16="http://schemas.microsoft.com/office/drawing/2014/main" val="2595272006"/>
                  </a:ext>
                </a:extLst>
              </a:tr>
            </a:tbl>
          </a:graphicData>
        </a:graphic>
      </p:graphicFrame>
      <p:graphicFrame>
        <p:nvGraphicFramePr>
          <p:cNvPr id="2" name="Table 1">
            <a:extLst>
              <a:ext uri="{FF2B5EF4-FFF2-40B4-BE49-F238E27FC236}">
                <a16:creationId xmlns:a16="http://schemas.microsoft.com/office/drawing/2014/main" id="{A112291B-4107-6CEF-2E07-563D83BF59D7}"/>
              </a:ext>
            </a:extLst>
          </p:cNvPr>
          <p:cNvGraphicFramePr>
            <a:graphicFrameLocks noGrp="1"/>
          </p:cNvGraphicFramePr>
          <p:nvPr>
            <p:extLst>
              <p:ext uri="{D42A27DB-BD31-4B8C-83A1-F6EECF244321}">
                <p14:modId xmlns:p14="http://schemas.microsoft.com/office/powerpoint/2010/main" val="421990198"/>
              </p:ext>
            </p:extLst>
          </p:nvPr>
        </p:nvGraphicFramePr>
        <p:xfrm>
          <a:off x="609602" y="1530191"/>
          <a:ext cx="10974386" cy="4455383"/>
        </p:xfrm>
        <a:graphic>
          <a:graphicData uri="http://schemas.openxmlformats.org/drawingml/2006/table">
            <a:tbl>
              <a:tblPr>
                <a:tableStyleId>{5C22544A-7EE6-4342-B048-85BDC9FD1C3A}</a:tableStyleId>
              </a:tblPr>
              <a:tblGrid>
                <a:gridCol w="898202">
                  <a:extLst>
                    <a:ext uri="{9D8B030D-6E8A-4147-A177-3AD203B41FA5}">
                      <a16:colId xmlns:a16="http://schemas.microsoft.com/office/drawing/2014/main" val="138189896"/>
                    </a:ext>
                  </a:extLst>
                </a:gridCol>
                <a:gridCol w="5258559">
                  <a:extLst>
                    <a:ext uri="{9D8B030D-6E8A-4147-A177-3AD203B41FA5}">
                      <a16:colId xmlns:a16="http://schemas.microsoft.com/office/drawing/2014/main" val="3819383566"/>
                    </a:ext>
                  </a:extLst>
                </a:gridCol>
                <a:gridCol w="4817625">
                  <a:extLst>
                    <a:ext uri="{9D8B030D-6E8A-4147-A177-3AD203B41FA5}">
                      <a16:colId xmlns:a16="http://schemas.microsoft.com/office/drawing/2014/main" val="138254731"/>
                    </a:ext>
                  </a:extLst>
                </a:gridCol>
              </a:tblGrid>
              <a:tr h="469689">
                <a:tc>
                  <a:txBody>
                    <a:bodyPr/>
                    <a:lstStyle/>
                    <a:p>
                      <a:pPr algn="ctr" fontAlgn="ctr"/>
                      <a:r>
                        <a:rPr lang="en-IE" sz="900" b="1" u="none" strike="noStrike">
                          <a:solidFill>
                            <a:schemeClr val="tx1"/>
                          </a:solidFill>
                          <a:effectLst/>
                          <a:latin typeface="Calibri"/>
                          <a:cs typeface="Calibri"/>
                        </a:rPr>
                        <a:t>1.0.12</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provide any new data storage configuration required to support new laboratory testing services within the Azure environment. This includes the movement of laboratory files between on-site and virtual servers, analysers files, and retrieval/access to archive files.</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will provide any new data storage configuration required to support new laboratory testing services within the Azure environment. This includes the movement of laboratory files between on-site and virtual servers, analysers files, and retrieval/access to archive files. Please review section D.</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2214491028"/>
                  </a:ext>
                </a:extLst>
              </a:tr>
              <a:tr h="281813">
                <a:tc>
                  <a:txBody>
                    <a:bodyPr/>
                    <a:lstStyle/>
                    <a:p>
                      <a:pPr algn="ctr" fontAlgn="ctr"/>
                      <a:r>
                        <a:rPr lang="en-IE" sz="900" b="1" u="none" strike="noStrike">
                          <a:solidFill>
                            <a:schemeClr val="tx1"/>
                          </a:solidFill>
                          <a:effectLst/>
                          <a:latin typeface="Calibri"/>
                          <a:cs typeface="Calibri"/>
                        </a:rPr>
                        <a:t>1.0.13</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provide the necessary systems and tools required to manage, monitor, and secure the LabMed Molecular Cloud environment configuration</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will provide the necessary systems and tools required to manage, monitor, and secure the LabMed Molecular Cloud environment configurations. Please review section D.</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2234059655"/>
                  </a:ext>
                </a:extLst>
              </a:tr>
              <a:tr h="469689">
                <a:tc>
                  <a:txBody>
                    <a:bodyPr/>
                    <a:lstStyle/>
                    <a:p>
                      <a:pPr algn="ctr" fontAlgn="ctr"/>
                      <a:r>
                        <a:rPr lang="en-IE" sz="900" b="1" u="none" strike="noStrike">
                          <a:solidFill>
                            <a:schemeClr val="tx1"/>
                          </a:solidFill>
                          <a:effectLst/>
                          <a:latin typeface="Calibri"/>
                          <a:cs typeface="Calibri"/>
                        </a:rPr>
                        <a:t>1.0.14</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provide systems required (e.g. Domain Controllers) for explicit logon authentication in order to support communication with Client Active Directory Services within Azure environment, where not already in place. This includes new users and ongoing management of users at SJH as well as new Directory services within Azure.</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Based on SJH response ( clarification questions ) we are not going to build any DC on the cloud. However, we are going to rely on the current setup ( On-Prem DC and Azure AD for authentication and authorization )</a:t>
                      </a:r>
                    </a:p>
                  </a:txBody>
                  <a:tcPr marL="5219" marR="5219" marT="5219" marB="0" anchor="ctr">
                    <a:solidFill>
                      <a:schemeClr val="tx1">
                        <a:lumMod val="95000"/>
                      </a:schemeClr>
                    </a:solidFill>
                  </a:tcPr>
                </a:tc>
                <a:extLst>
                  <a:ext uri="{0D108BD9-81ED-4DB2-BD59-A6C34878D82A}">
                    <a16:rowId xmlns:a16="http://schemas.microsoft.com/office/drawing/2014/main" val="794808564"/>
                  </a:ext>
                </a:extLst>
              </a:tr>
              <a:tr h="281813">
                <a:tc>
                  <a:txBody>
                    <a:bodyPr/>
                    <a:lstStyle/>
                    <a:p>
                      <a:pPr algn="ctr" fontAlgn="ctr"/>
                      <a:r>
                        <a:rPr lang="en-IE" sz="900" b="1" u="none" strike="noStrike">
                          <a:solidFill>
                            <a:schemeClr val="tx1"/>
                          </a:solidFill>
                          <a:effectLst/>
                          <a:latin typeface="Calibri"/>
                          <a:cs typeface="Calibri"/>
                        </a:rPr>
                        <a:t>1.0.15</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comply with SJH Security requirements and support existing user authentication processes within Azure (e.g. rotation of user passwords, MFA)</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does comply with SJH Security requirements and support existing user authentication processes within Azure (e.g. rotation of user passwords, MFA).</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3281360867"/>
                  </a:ext>
                </a:extLst>
              </a:tr>
              <a:tr h="375751">
                <a:tc>
                  <a:txBody>
                    <a:bodyPr/>
                    <a:lstStyle/>
                    <a:p>
                      <a:pPr algn="ctr" fontAlgn="ctr"/>
                      <a:r>
                        <a:rPr lang="en-IE" sz="900" b="1" u="none" strike="noStrike">
                          <a:solidFill>
                            <a:schemeClr val="tx1"/>
                          </a:solidFill>
                          <a:effectLst/>
                          <a:latin typeface="Calibri"/>
                          <a:cs typeface="Calibri"/>
                        </a:rPr>
                        <a:t>1.0.16</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tenderer should provide maintenance support and apply security/critical/application patches for the in-scope systems for new virtual system and if applicable, any physical systems on-premise: dedicated hotline/helpdesk manned Monday to Friday 9am to 5pm is required</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will provide maintenance support and apply security/critical/application patches for the in-scope systems for new virtual system and if applicable, any physical systems on-premise: dedicated hotline/helpdesk</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1751754758"/>
                  </a:ext>
                </a:extLst>
              </a:tr>
              <a:tr h="448814">
                <a:tc>
                  <a:txBody>
                    <a:bodyPr/>
                    <a:lstStyle/>
                    <a:p>
                      <a:pPr algn="ctr" fontAlgn="ctr"/>
                      <a:r>
                        <a:rPr lang="en-IE" sz="900" b="1" u="none" strike="noStrike">
                          <a:solidFill>
                            <a:schemeClr val="tx1"/>
                          </a:solidFill>
                          <a:effectLst/>
                          <a:latin typeface="Calibri"/>
                          <a:cs typeface="Calibri"/>
                        </a:rPr>
                        <a:t>1.0.17</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tenderer should manage all aspects of user specific log-in details (username and passwords) for new and existing users, which are unique to individual laboratory users while retaining access to shared folders/pathways. Includes user access to web based software for laboratory personnel.</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will manage all aspects of user specific log-in details (username and passwords) for new and existing users, which are unique to individual laboratory users while retaining access to shared folders/pathways. Includes user access to web based software for laboratory personnel.</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1512791065"/>
                  </a:ext>
                </a:extLst>
              </a:tr>
              <a:tr h="375751">
                <a:tc>
                  <a:txBody>
                    <a:bodyPr/>
                    <a:lstStyle/>
                    <a:p>
                      <a:pPr algn="ctr" fontAlgn="ctr"/>
                      <a:r>
                        <a:rPr lang="en-IE" sz="900" b="1" u="none" strike="noStrike">
                          <a:solidFill>
                            <a:schemeClr val="tx1"/>
                          </a:solidFill>
                          <a:effectLst/>
                          <a:latin typeface="Calibri"/>
                          <a:cs typeface="Calibri"/>
                        </a:rPr>
                        <a:t>1.0.18</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tenderer should build upon existing architecture (termed Phase 1 locally) and establish both hot and cold archive storage processes for existing and new laboratory data.  This includes managing (automatic scheduling and manual archive processes) for users.</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does build upon existing architecture (termed Phase 1 locally) and establish both hot and cold archive storage processes for existing and new laboratory data.  This includes managing (automatic scheduling and manual archive processes) for users.</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4127960420"/>
                  </a:ext>
                </a:extLst>
              </a:tr>
              <a:tr h="375751">
                <a:tc>
                  <a:txBody>
                    <a:bodyPr/>
                    <a:lstStyle/>
                    <a:p>
                      <a:pPr algn="ctr" fontAlgn="ctr"/>
                      <a:r>
                        <a:rPr lang="en-IE" sz="900" b="1" u="none" strike="noStrike">
                          <a:solidFill>
                            <a:schemeClr val="tx1"/>
                          </a:solidFill>
                          <a:effectLst/>
                          <a:latin typeface="Calibri"/>
                          <a:cs typeface="Calibri"/>
                        </a:rPr>
                        <a:t>1.0.19</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allow users to delete laboratory data from the Azure archive storage folders based on individual user access, using both automatic scheduling and manual deletion processes. Unauthorised users should not be capable of deleting data from other laboratory areas.</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will allow users to delete laboratory data from the Azure archive storage folders based on individual user access, using both automatic scheduling and manual deletion processes. Unauthorised users should not be capable of deleting data from other laboratory areas.</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585117160"/>
                  </a:ext>
                </a:extLst>
              </a:tr>
              <a:tr h="187876">
                <a:tc>
                  <a:txBody>
                    <a:bodyPr/>
                    <a:lstStyle/>
                    <a:p>
                      <a:pPr algn="ctr" fontAlgn="ctr"/>
                      <a:r>
                        <a:rPr lang="en-IE" sz="900" b="1" u="none" strike="noStrike">
                          <a:solidFill>
                            <a:schemeClr val="tx1"/>
                          </a:solidFill>
                          <a:effectLst/>
                          <a:latin typeface="Calibri"/>
                          <a:cs typeface="Calibri"/>
                        </a:rPr>
                        <a:t>1.0.20</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All data including backup data should reside in the EU and be secured.</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does backup all data held withing the proposed solution within the EU solely.</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2202849067"/>
                  </a:ext>
                </a:extLst>
              </a:tr>
              <a:tr h="281813">
                <a:tc>
                  <a:txBody>
                    <a:bodyPr/>
                    <a:lstStyle/>
                    <a:p>
                      <a:pPr algn="ctr" fontAlgn="ctr"/>
                      <a:r>
                        <a:rPr lang="en-IE" sz="900" b="1" u="none" strike="noStrike">
                          <a:solidFill>
                            <a:schemeClr val="tx1"/>
                          </a:solidFill>
                          <a:effectLst/>
                          <a:latin typeface="Calibri"/>
                          <a:cs typeface="Calibri"/>
                        </a:rPr>
                        <a:t>1.0.21</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perform routine system and database backups and store backup files in a manner that will protect the confidentiality of the data</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does perform routine system and database backups and store backup files in a manner that will protect the confidentiality of the data.</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1812341368"/>
                  </a:ext>
                </a:extLst>
              </a:tr>
              <a:tr h="281813">
                <a:tc>
                  <a:txBody>
                    <a:bodyPr/>
                    <a:lstStyle/>
                    <a:p>
                      <a:pPr algn="ctr" fontAlgn="ctr"/>
                      <a:r>
                        <a:rPr lang="en-IE" sz="900" b="1" u="none" strike="noStrike">
                          <a:solidFill>
                            <a:schemeClr val="tx1"/>
                          </a:solidFill>
                          <a:effectLst/>
                          <a:latin typeface="Calibri"/>
                          <a:cs typeface="Calibri"/>
                        </a:rPr>
                        <a:t>1.0.22</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protect against unauthorized or unlawful access, use, disclosure, alteration, or destruction of Client data. Process to be described.</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does protect against unauthorized or unlawful access, use, disclosure, alteration, or destruction of Client data.  Please see section D.</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997923081"/>
                  </a:ext>
                </a:extLst>
              </a:tr>
              <a:tr h="375751">
                <a:tc>
                  <a:txBody>
                    <a:bodyPr/>
                    <a:lstStyle/>
                    <a:p>
                      <a:pPr algn="ctr" fontAlgn="ctr"/>
                      <a:r>
                        <a:rPr lang="en-IE" sz="900" b="1" u="none" strike="noStrike">
                          <a:solidFill>
                            <a:schemeClr val="tx1"/>
                          </a:solidFill>
                          <a:effectLst/>
                          <a:latin typeface="Calibri"/>
                          <a:cs typeface="Calibri"/>
                        </a:rPr>
                        <a:t>1.0.23</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The solution should include automated deployment of infrastructure as required by the laboratory team including automated processed for start-up and shutdown of virtual instances and automatic scripts for scheduled tasks. Process to be described.</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tc>
                  <a:txBody>
                    <a:bodyPr/>
                    <a:lstStyle/>
                    <a:p>
                      <a:pPr algn="l" fontAlgn="ctr"/>
                      <a:r>
                        <a:rPr lang="en-IE" sz="800" u="none" strike="noStrike">
                          <a:solidFill>
                            <a:schemeClr val="bg2"/>
                          </a:solidFill>
                          <a:effectLst/>
                          <a:latin typeface="Calibri"/>
                          <a:cs typeface="Calibri"/>
                        </a:rPr>
                        <a:t>The proposed EY solution does include automated deployment of infrastructure as required by the laboratory team including automated processed for start-up and shutdown of virtual instances and automatic scripts for scheduled tasks.</a:t>
                      </a:r>
                      <a:endParaRPr lang="en-IE" sz="800" b="0" i="0" u="none" strike="noStrike">
                        <a:solidFill>
                          <a:schemeClr val="bg2"/>
                        </a:solidFill>
                        <a:effectLst/>
                        <a:latin typeface="Calibri"/>
                        <a:cs typeface="Calibri"/>
                      </a:endParaRPr>
                    </a:p>
                  </a:txBody>
                  <a:tcPr marL="5219" marR="5219" marT="5219" marB="0" anchor="ctr">
                    <a:solidFill>
                      <a:schemeClr val="bg1">
                        <a:lumMod val="20000"/>
                        <a:lumOff val="80000"/>
                      </a:schemeClr>
                    </a:solidFill>
                  </a:tcPr>
                </a:tc>
                <a:extLst>
                  <a:ext uri="{0D108BD9-81ED-4DB2-BD59-A6C34878D82A}">
                    <a16:rowId xmlns:a16="http://schemas.microsoft.com/office/drawing/2014/main" val="1688149074"/>
                  </a:ext>
                </a:extLst>
              </a:tr>
              <a:tr h="187876">
                <a:tc>
                  <a:txBody>
                    <a:bodyPr/>
                    <a:lstStyle/>
                    <a:p>
                      <a:pPr algn="ctr" fontAlgn="ctr"/>
                      <a:r>
                        <a:rPr lang="en-IE" sz="900" b="1" u="none" strike="noStrike">
                          <a:solidFill>
                            <a:schemeClr val="tx1"/>
                          </a:solidFill>
                          <a:effectLst/>
                          <a:latin typeface="Calibri"/>
                          <a:cs typeface="Calibri"/>
                        </a:rPr>
                        <a:t>1.0.24</a:t>
                      </a:r>
                      <a:endParaRPr lang="en-IE" sz="900" b="1" i="0" u="none" strike="noStrike">
                        <a:solidFill>
                          <a:schemeClr val="tx1"/>
                        </a:solidFill>
                        <a:effectLst/>
                        <a:latin typeface="Calibri"/>
                        <a:cs typeface="Calibri"/>
                      </a:endParaRPr>
                    </a:p>
                  </a:txBody>
                  <a:tcPr marL="5219" marR="5219" marT="5219" marB="0" anchor="ctr">
                    <a:solidFill>
                      <a:schemeClr val="bg1">
                        <a:lumMod val="60000"/>
                        <a:lumOff val="40000"/>
                      </a:schemeClr>
                    </a:solidFill>
                  </a:tcPr>
                </a:tc>
                <a:tc>
                  <a:txBody>
                    <a:bodyPr/>
                    <a:lstStyle/>
                    <a:p>
                      <a:pPr algn="l" fontAlgn="ctr"/>
                      <a:r>
                        <a:rPr lang="en-IE" sz="800" u="none" strike="noStrike">
                          <a:solidFill>
                            <a:schemeClr val="bg2"/>
                          </a:solidFill>
                          <a:effectLst/>
                          <a:latin typeface="Calibri"/>
                          <a:cs typeface="Calibri"/>
                        </a:rPr>
                        <a:t>All tenders must deliver a project plan, architectural desgn document and project timeline (Gantt chart or equivalent) for the solution</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tc>
                  <a:txBody>
                    <a:bodyPr/>
                    <a:lstStyle/>
                    <a:p>
                      <a:pPr algn="l" fontAlgn="ctr"/>
                      <a:r>
                        <a:rPr lang="en-IE" sz="800" u="none" strike="noStrike">
                          <a:solidFill>
                            <a:schemeClr val="bg2"/>
                          </a:solidFill>
                          <a:effectLst/>
                          <a:latin typeface="Calibri"/>
                          <a:cs typeface="Calibri"/>
                        </a:rPr>
                        <a:t>The proposed EY solution does provide a project plan, architectural design document and project timeline for the solution.</a:t>
                      </a:r>
                      <a:endParaRPr lang="en-IE" sz="800" b="0" i="0" u="none" strike="noStrike">
                        <a:solidFill>
                          <a:schemeClr val="bg2"/>
                        </a:solidFill>
                        <a:effectLst/>
                        <a:latin typeface="Calibri"/>
                        <a:cs typeface="Calibri"/>
                      </a:endParaRPr>
                    </a:p>
                  </a:txBody>
                  <a:tcPr marL="5219" marR="5219" marT="5219" marB="0" anchor="ctr">
                    <a:solidFill>
                      <a:schemeClr val="tx1">
                        <a:lumMod val="95000"/>
                      </a:schemeClr>
                    </a:solidFill>
                  </a:tcPr>
                </a:tc>
                <a:extLst>
                  <a:ext uri="{0D108BD9-81ED-4DB2-BD59-A6C34878D82A}">
                    <a16:rowId xmlns:a16="http://schemas.microsoft.com/office/drawing/2014/main" val="2549755140"/>
                  </a:ext>
                </a:extLst>
              </a:tr>
            </a:tbl>
          </a:graphicData>
        </a:graphic>
      </p:graphicFrame>
    </p:spTree>
    <p:extLst>
      <p:ext uri="{BB962C8B-B14F-4D97-AF65-F5344CB8AC3E}">
        <p14:creationId xmlns:p14="http://schemas.microsoft.com/office/powerpoint/2010/main" val="33759147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2 – Table B (Quality Management System Requirements)</a:t>
            </a:r>
          </a:p>
        </p:txBody>
      </p:sp>
      <p:graphicFrame>
        <p:nvGraphicFramePr>
          <p:cNvPr id="5" name="Table 4">
            <a:extLst>
              <a:ext uri="{FF2B5EF4-FFF2-40B4-BE49-F238E27FC236}">
                <a16:creationId xmlns:a16="http://schemas.microsoft.com/office/drawing/2014/main" id="{02889A8A-1E1A-F5FD-54FD-B57CDC51182A}"/>
              </a:ext>
            </a:extLst>
          </p:cNvPr>
          <p:cNvGraphicFramePr>
            <a:graphicFrameLocks noGrp="1"/>
          </p:cNvGraphicFramePr>
          <p:nvPr>
            <p:extLst>
              <p:ext uri="{D42A27DB-BD31-4B8C-83A1-F6EECF244321}">
                <p14:modId xmlns:p14="http://schemas.microsoft.com/office/powerpoint/2010/main" val="1602245621"/>
              </p:ext>
            </p:extLst>
          </p:nvPr>
        </p:nvGraphicFramePr>
        <p:xfrm>
          <a:off x="609601" y="1390161"/>
          <a:ext cx="10974387" cy="140030"/>
        </p:xfrm>
        <a:graphic>
          <a:graphicData uri="http://schemas.openxmlformats.org/drawingml/2006/table">
            <a:tbl>
              <a:tblPr>
                <a:tableStyleId>{5C22544A-7EE6-4342-B048-85BDC9FD1C3A}</a:tableStyleId>
              </a:tblPr>
              <a:tblGrid>
                <a:gridCol w="898201">
                  <a:extLst>
                    <a:ext uri="{9D8B030D-6E8A-4147-A177-3AD203B41FA5}">
                      <a16:colId xmlns:a16="http://schemas.microsoft.com/office/drawing/2014/main" val="3996073338"/>
                    </a:ext>
                  </a:extLst>
                </a:gridCol>
                <a:gridCol w="5258561">
                  <a:extLst>
                    <a:ext uri="{9D8B030D-6E8A-4147-A177-3AD203B41FA5}">
                      <a16:colId xmlns:a16="http://schemas.microsoft.com/office/drawing/2014/main" val="912915052"/>
                    </a:ext>
                  </a:extLst>
                </a:gridCol>
                <a:gridCol w="4817625">
                  <a:extLst>
                    <a:ext uri="{9D8B030D-6E8A-4147-A177-3AD203B41FA5}">
                      <a16:colId xmlns:a16="http://schemas.microsoft.com/office/drawing/2014/main" val="4227342168"/>
                    </a:ext>
                  </a:extLst>
                </a:gridCol>
              </a:tblGrid>
              <a:tr h="59824">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Item No.</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a:solidFill>
                            <a:schemeClr val="bg2"/>
                          </a:solidFill>
                          <a:latin typeface="Calibri" panose="020F0502020204030204" pitchFamily="34" charset="0"/>
                          <a:cs typeface="Calibri" panose="020F0502020204030204" pitchFamily="34" charset="0"/>
                        </a:rPr>
                        <a:t>Table B (Quality Management System Requirements)</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Executive Response </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95272006"/>
                  </a:ext>
                </a:extLst>
              </a:tr>
            </a:tbl>
          </a:graphicData>
        </a:graphic>
      </p:graphicFrame>
      <p:graphicFrame>
        <p:nvGraphicFramePr>
          <p:cNvPr id="3" name="Table 2">
            <a:extLst>
              <a:ext uri="{FF2B5EF4-FFF2-40B4-BE49-F238E27FC236}">
                <a16:creationId xmlns:a16="http://schemas.microsoft.com/office/drawing/2014/main" id="{69DE2E3B-C787-2D9F-DF69-CD0D44EB856A}"/>
              </a:ext>
            </a:extLst>
          </p:cNvPr>
          <p:cNvGraphicFramePr>
            <a:graphicFrameLocks noGrp="1"/>
          </p:cNvGraphicFramePr>
          <p:nvPr>
            <p:extLst>
              <p:ext uri="{D42A27DB-BD31-4B8C-83A1-F6EECF244321}">
                <p14:modId xmlns:p14="http://schemas.microsoft.com/office/powerpoint/2010/main" val="327144012"/>
              </p:ext>
            </p:extLst>
          </p:nvPr>
        </p:nvGraphicFramePr>
        <p:xfrm>
          <a:off x="609600" y="1530191"/>
          <a:ext cx="10972799" cy="4394200"/>
        </p:xfrm>
        <a:graphic>
          <a:graphicData uri="http://schemas.openxmlformats.org/drawingml/2006/table">
            <a:tbl>
              <a:tblPr>
                <a:tableStyleId>{5C22544A-7EE6-4342-B048-85BDC9FD1C3A}</a:tableStyleId>
              </a:tblPr>
              <a:tblGrid>
                <a:gridCol w="899161">
                  <a:extLst>
                    <a:ext uri="{9D8B030D-6E8A-4147-A177-3AD203B41FA5}">
                      <a16:colId xmlns:a16="http://schemas.microsoft.com/office/drawing/2014/main" val="401423291"/>
                    </a:ext>
                  </a:extLst>
                </a:gridCol>
                <a:gridCol w="5257800">
                  <a:extLst>
                    <a:ext uri="{9D8B030D-6E8A-4147-A177-3AD203B41FA5}">
                      <a16:colId xmlns:a16="http://schemas.microsoft.com/office/drawing/2014/main" val="3700460404"/>
                    </a:ext>
                  </a:extLst>
                </a:gridCol>
                <a:gridCol w="4815838">
                  <a:extLst>
                    <a:ext uri="{9D8B030D-6E8A-4147-A177-3AD203B41FA5}">
                      <a16:colId xmlns:a16="http://schemas.microsoft.com/office/drawing/2014/main" val="3323851661"/>
                    </a:ext>
                  </a:extLst>
                </a:gridCol>
              </a:tblGrid>
              <a:tr h="87884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1</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should be compatible with ISO 15189: 2012 and ISO 15189:2022 requirements.  This includes quality management system requirements for Vendor Acceptance Testing as determined by the Quality Manager at SJH.</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As per the requirements, the proposed solution utilises several services within the Azure suite of services. Azure as a platform does meet all required ISO standards. Please review section D which provides details of our approach to Quality Assurance and Testing Methodology. Please review section G which provides details of the Quality Management System, compatibility to ISO standards and Test Quality Management Plan in regards to Quality Control.</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17755462"/>
                  </a:ext>
                </a:extLst>
              </a:tr>
              <a:tr h="585893">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2</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solution will be assessed during visits from the Irish National Accreditation Board (INAB) and technical support during these visits is required.  Timelines for assessments are confirmed in advance to allow sufficient time to schedule on-line sessions.  There is no requirement for on-site support in this regar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In line with the requirements, the proposed solution does provide remote managed services support. Section E outlines EY Technical Support availability in greater detail.</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968252685"/>
                  </a:ext>
                </a:extLst>
              </a:tr>
              <a:tr h="43942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3</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Validation documentation and supplementary documentation (e.g. screen prints) are required as evidence of vendor acceptance testing and should be approved to the SJH Laboratory Manager and Quality Manager.</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As per the requirement Section D provides details of our Testing Methodology. Section G provides details of the Quality Management System and Test Quality Management Plan in regards to Quality Control. All required proof of testing outcomes will be provide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468725198"/>
                  </a:ext>
                </a:extLst>
              </a:tr>
              <a:tr h="43942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4</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just" fontAlgn="ctr"/>
                      <a:r>
                        <a:rPr lang="en-IE" sz="800" u="none" strike="noStrike">
                          <a:solidFill>
                            <a:schemeClr val="bg2"/>
                          </a:solidFill>
                          <a:effectLst/>
                          <a:latin typeface="Calibri" panose="020F0502020204030204" pitchFamily="34" charset="0"/>
                          <a:cs typeface="Calibri" panose="020F0502020204030204" pitchFamily="34" charset="0"/>
                        </a:rPr>
                        <a:t>The tenderer should partake in audits (e.g. access, Disaster recovery etc.) of the cloud solution in conjunction with the Quality Manager and/or Laboratory ICT Manager.</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Section G provides information in regards to the extensive collaboration during audits, penetration tests, UAT, training plans and documentation approvals and anywhere else we will be working with SJH to ensure to maintain a high quality QM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209262846"/>
                  </a:ext>
                </a:extLst>
              </a:tr>
              <a:tr h="43942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5</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just" fontAlgn="ctr"/>
                      <a:r>
                        <a:rPr lang="en-IE" sz="800" u="none" strike="noStrike">
                          <a:solidFill>
                            <a:schemeClr val="bg2"/>
                          </a:solidFill>
                          <a:effectLst/>
                          <a:latin typeface="Calibri" panose="020F0502020204030204" pitchFamily="34" charset="0"/>
                          <a:cs typeface="Calibri" panose="020F0502020204030204" pitchFamily="34" charset="0"/>
                        </a:rPr>
                        <a:t>The tenderer should provide evidence of compliance with any ISO accreditation standards, implementation of a quality management system and compliance with legislative standards (e.g. Data Protection Acts 1988 and 2003).</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Section G includes information on ISO accreditation standard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683383216"/>
                  </a:ext>
                </a:extLst>
              </a:tr>
              <a:tr h="43942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6</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just" fontAlgn="ctr"/>
                      <a:r>
                        <a:rPr lang="en-IE" sz="800" u="none" strike="noStrike">
                          <a:solidFill>
                            <a:schemeClr val="bg2"/>
                          </a:solidFill>
                          <a:effectLst/>
                          <a:latin typeface="Calibri" panose="020F0502020204030204" pitchFamily="34" charset="0"/>
                          <a:cs typeface="Calibri" panose="020F0502020204030204" pitchFamily="34" charset="0"/>
                        </a:rPr>
                        <a:t>Documentation to describe how to use &amp; manage the system should be provided e.g. SOP/manual/operating instruction</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Section F details what will be completed in regards to Training and Knowledge Transfer of the solution and ongoing training and, as and when changes are planned, pre and post implementation.</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065856387"/>
                  </a:ext>
                </a:extLst>
              </a:tr>
              <a:tr h="43942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7</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just" fontAlgn="ctr"/>
                      <a:r>
                        <a:rPr lang="en-IE" sz="800" u="none" strike="noStrike">
                          <a:solidFill>
                            <a:schemeClr val="bg2"/>
                          </a:solidFill>
                          <a:effectLst/>
                          <a:latin typeface="Calibri" panose="020F0502020204030204" pitchFamily="34" charset="0"/>
                          <a:cs typeface="Calibri" panose="020F0502020204030204" pitchFamily="34" charset="0"/>
                        </a:rPr>
                        <a:t>The tenderer should provide initial and on-going training in the use of the system to SJH users. Documentation to support same should be provide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Section F details what will be completed in regards to Training and Knowledge Transfer of the solution, initial and ongoing training and, as and when changes are planned, pre and post implementation.  This includes documentation that will produce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824438314"/>
                  </a:ext>
                </a:extLst>
              </a:tr>
              <a:tr h="732367">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2.8</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just" fontAlgn="ctr"/>
                      <a:r>
                        <a:rPr lang="en-IE" sz="800" u="none" strike="noStrike">
                          <a:solidFill>
                            <a:schemeClr val="bg2"/>
                          </a:solidFill>
                          <a:effectLst/>
                          <a:latin typeface="Calibri" panose="020F0502020204030204" pitchFamily="34" charset="0"/>
                          <a:cs typeface="Calibri" panose="020F0502020204030204" pitchFamily="34" charset="0"/>
                        </a:rPr>
                        <a:t>The tenderer should facilitate an independent security review (penetration testing) undertaken by a specialist company contracted by SJH. Tenders should cooperate fully with the appointer contractor and SJH in order to ensure prompt execution of the review on multiple occasions (e.g. prior to go-live, post go-live). The tenderer will work with SJH, the contracted company and other third parties to resolve any security issues identified.</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Section G - QMS provides information on EY facilitating an independent security review.</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6658" marR="6658" marT="66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55038406"/>
                  </a:ext>
                </a:extLst>
              </a:tr>
            </a:tbl>
          </a:graphicData>
        </a:graphic>
      </p:graphicFrame>
    </p:spTree>
    <p:extLst>
      <p:ext uri="{BB962C8B-B14F-4D97-AF65-F5344CB8AC3E}">
        <p14:creationId xmlns:p14="http://schemas.microsoft.com/office/powerpoint/2010/main" val="6229344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3 – </a:t>
            </a:r>
            <a:r>
              <a:rPr lang="en-GB">
                <a:latin typeface="Calibri"/>
                <a:cs typeface="Calibri"/>
              </a:rPr>
              <a:t>Table C (CMD) Part 1</a:t>
            </a:r>
          </a:p>
        </p:txBody>
      </p:sp>
      <p:graphicFrame>
        <p:nvGraphicFramePr>
          <p:cNvPr id="5" name="Table 4">
            <a:extLst>
              <a:ext uri="{FF2B5EF4-FFF2-40B4-BE49-F238E27FC236}">
                <a16:creationId xmlns:a16="http://schemas.microsoft.com/office/drawing/2014/main" id="{02889A8A-1E1A-F5FD-54FD-B57CDC51182A}"/>
              </a:ext>
            </a:extLst>
          </p:cNvPr>
          <p:cNvGraphicFramePr>
            <a:graphicFrameLocks noGrp="1"/>
          </p:cNvGraphicFramePr>
          <p:nvPr>
            <p:extLst>
              <p:ext uri="{D42A27DB-BD31-4B8C-83A1-F6EECF244321}">
                <p14:modId xmlns:p14="http://schemas.microsoft.com/office/powerpoint/2010/main" val="3679083685"/>
              </p:ext>
            </p:extLst>
          </p:nvPr>
        </p:nvGraphicFramePr>
        <p:xfrm>
          <a:off x="609601" y="1390161"/>
          <a:ext cx="10974387" cy="140030"/>
        </p:xfrm>
        <a:graphic>
          <a:graphicData uri="http://schemas.openxmlformats.org/drawingml/2006/table">
            <a:tbl>
              <a:tblPr>
                <a:tableStyleId>{5C22544A-7EE6-4342-B048-85BDC9FD1C3A}</a:tableStyleId>
              </a:tblPr>
              <a:tblGrid>
                <a:gridCol w="898201">
                  <a:extLst>
                    <a:ext uri="{9D8B030D-6E8A-4147-A177-3AD203B41FA5}">
                      <a16:colId xmlns:a16="http://schemas.microsoft.com/office/drawing/2014/main" val="3996073338"/>
                    </a:ext>
                  </a:extLst>
                </a:gridCol>
                <a:gridCol w="5258561">
                  <a:extLst>
                    <a:ext uri="{9D8B030D-6E8A-4147-A177-3AD203B41FA5}">
                      <a16:colId xmlns:a16="http://schemas.microsoft.com/office/drawing/2014/main" val="912915052"/>
                    </a:ext>
                  </a:extLst>
                </a:gridCol>
                <a:gridCol w="4817625">
                  <a:extLst>
                    <a:ext uri="{9D8B030D-6E8A-4147-A177-3AD203B41FA5}">
                      <a16:colId xmlns:a16="http://schemas.microsoft.com/office/drawing/2014/main" val="4227342168"/>
                    </a:ext>
                  </a:extLst>
                </a:gridCol>
              </a:tblGrid>
              <a:tr h="59824">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Item No.</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ase"/>
                      <a:r>
                        <a:rPr lang="en-GB" sz="900">
                          <a:solidFill>
                            <a:schemeClr val="bg2"/>
                          </a:solidFill>
                          <a:latin typeface="Calibri" panose="020F0502020204030204" pitchFamily="34" charset="0"/>
                          <a:cs typeface="Calibri" panose="020F0502020204030204" pitchFamily="34" charset="0"/>
                        </a:rPr>
                        <a:t>Table C (CMD)</a:t>
                      </a: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Executive Response </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95272006"/>
                  </a:ext>
                </a:extLst>
              </a:tr>
            </a:tbl>
          </a:graphicData>
        </a:graphic>
      </p:graphicFrame>
      <p:graphicFrame>
        <p:nvGraphicFramePr>
          <p:cNvPr id="9" name="Table 8">
            <a:extLst>
              <a:ext uri="{FF2B5EF4-FFF2-40B4-BE49-F238E27FC236}">
                <a16:creationId xmlns:a16="http://schemas.microsoft.com/office/drawing/2014/main" id="{85DE3640-0AF2-A854-FD97-8A3F7970C876}"/>
              </a:ext>
            </a:extLst>
          </p:cNvPr>
          <p:cNvGraphicFramePr>
            <a:graphicFrameLocks noGrp="1"/>
          </p:cNvGraphicFramePr>
          <p:nvPr>
            <p:extLst>
              <p:ext uri="{D42A27DB-BD31-4B8C-83A1-F6EECF244321}">
                <p14:modId xmlns:p14="http://schemas.microsoft.com/office/powerpoint/2010/main" val="3773468762"/>
              </p:ext>
            </p:extLst>
          </p:nvPr>
        </p:nvGraphicFramePr>
        <p:xfrm>
          <a:off x="609601" y="1530191"/>
          <a:ext cx="10974387" cy="4395398"/>
        </p:xfrm>
        <a:graphic>
          <a:graphicData uri="http://schemas.openxmlformats.org/drawingml/2006/table">
            <a:tbl>
              <a:tblPr>
                <a:tableStyleId>{5C22544A-7EE6-4342-B048-85BDC9FD1C3A}</a:tableStyleId>
              </a:tblPr>
              <a:tblGrid>
                <a:gridCol w="900748">
                  <a:extLst>
                    <a:ext uri="{9D8B030D-6E8A-4147-A177-3AD203B41FA5}">
                      <a16:colId xmlns:a16="http://schemas.microsoft.com/office/drawing/2014/main" val="2295883090"/>
                    </a:ext>
                  </a:extLst>
                </a:gridCol>
                <a:gridCol w="5257800">
                  <a:extLst>
                    <a:ext uri="{9D8B030D-6E8A-4147-A177-3AD203B41FA5}">
                      <a16:colId xmlns:a16="http://schemas.microsoft.com/office/drawing/2014/main" val="822034951"/>
                    </a:ext>
                  </a:extLst>
                </a:gridCol>
                <a:gridCol w="4815839">
                  <a:extLst>
                    <a:ext uri="{9D8B030D-6E8A-4147-A177-3AD203B41FA5}">
                      <a16:colId xmlns:a16="http://schemas.microsoft.com/office/drawing/2014/main" val="2685508702"/>
                    </a:ext>
                  </a:extLst>
                </a:gridCol>
              </a:tblGrid>
              <a:tr h="1830917">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3.1</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tenderer should migrate current Windows 2012 server (</a:t>
                      </a:r>
                      <a:r>
                        <a:rPr lang="en-IE" sz="800" u="none" strike="noStrike" err="1">
                          <a:solidFill>
                            <a:schemeClr val="bg2"/>
                          </a:solidFill>
                          <a:effectLst/>
                          <a:latin typeface="Calibri" panose="020F0502020204030204" pitchFamily="34" charset="0"/>
                          <a:cs typeface="Calibri" panose="020F0502020204030204" pitchFamily="34" charset="0"/>
                        </a:rPr>
                        <a:t>herafter</a:t>
                      </a:r>
                      <a:r>
                        <a:rPr lang="en-IE" sz="800" u="none" strike="noStrike">
                          <a:solidFill>
                            <a:schemeClr val="bg2"/>
                          </a:solidFill>
                          <a:effectLst/>
                          <a:latin typeface="Calibri" panose="020F0502020204030204" pitchFamily="34" charset="0"/>
                          <a:cs typeface="Calibri" panose="020F0502020204030204" pitchFamily="34" charset="0"/>
                        </a:rPr>
                        <a:t> referred to as ‘JSI Server’ to cloud instance with upgraded server operating system and increased processing power (96Gb RAM, &gt;32 threads @ &gt;3.0 </a:t>
                      </a:r>
                      <a:r>
                        <a:rPr lang="en-IE" sz="800" u="none" strike="noStrike" err="1">
                          <a:solidFill>
                            <a:schemeClr val="bg2"/>
                          </a:solidFill>
                          <a:effectLst/>
                          <a:latin typeface="Calibri" panose="020F0502020204030204" pitchFamily="34" charset="0"/>
                          <a:cs typeface="Calibri" panose="020F0502020204030204" pitchFamily="34" charset="0"/>
                        </a:rPr>
                        <a:t>Ghz</a:t>
                      </a:r>
                      <a:r>
                        <a:rPr lang="en-IE" sz="800" u="none" strike="noStrike">
                          <a:solidFill>
                            <a:schemeClr val="bg2"/>
                          </a:solidFill>
                          <a:effectLst/>
                          <a:latin typeface="Calibri" panose="020F0502020204030204" pitchFamily="34" charset="0"/>
                          <a:cs typeface="Calibri" panose="020F0502020204030204" pitchFamily="34" charset="0"/>
                        </a:rPr>
                        <a:t>, 4Tb expandable local storage)</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Cloud instance to be added to current Azure cloud backup solution</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Rolling weekly and monthly snapshots to be created and a capability to roll back to last-known good should also be included and documented.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laboratory should also be able to initiate on-demand system snapshots with a custom specified retention time.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JSI server should be included in the corporate subnet of the cloud installation.</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JSI server must be hardened to only required services to deliver the service.</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JSI server must have AV and be capable of being remotely monitored.</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current JSI client-server infrastructure (using shared folders) should be maintained or an alternative approach that allows current client-side software to operate without the requirement for remote-desktops should be provided.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JSI server should be able to use secure file transfer protocols to retrieve data files from the corporate and non-corporate networks. Network access rules should be configured to support this activity.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JSI server should be supported by a relevant support service contract.</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migrate current Windows 2012 server workloads (hereafter referred to as ‘JSI Server’) to a cloud instance which utilises the Windows server 2022 operating system.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EY solution does ensure this server is backed up via the Azure Backup Center.</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resource will be accessible from all networks which require access to it.</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resource will have access to all required secure file shares.</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resource will be fully supported at both a vendor platform level and managed service level.</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Please see section D of the tender response documentation for more detail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132310477"/>
                  </a:ext>
                </a:extLst>
              </a:tr>
              <a:tr h="2563283">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3.2</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CMD laboratory should be able to initialise custom VM instances within its own cloud subnet and accessible from the SJH corporate network. VM instances within the development and pre-production environments (see below) should have access to operating system and software updates from typical sources such as Ubuntu apt repositories, GitHub, PyPi.org etc.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Instances should be capable of being initiated within pre-defined sandboxes/environments (development, pre-production and production)</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laboratory should be able to create snapshots and backups of instances as needed.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instances within the production environment should be have access permissions to function as servers for files that will be downloaded by the JSI server (see 2.1)</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The network that the instances will reside on should be secured to ensure that connections to the SJH corporate network are not permitted.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A scheduler should be available to start and stop selected instances.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Custom billing notifications should be available to notify users when costs exceed pre-set limits.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Instances within the ‘production’ environment should be secured by default to have only the minimal connectivity required in order to serve pre-tested functionality. Access to third-party software, updates and upgrades should not be possible for instances within the production environment (instances should be upgraded and tested in pre-production and ‘copied’ into the production environment unchanged). We are open to discussion on this to ensure compliance with security best practice.   </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facilitate for the initialisation of custom VM instances within the CMD subnet which, will be accessible from the SJH corporate network. VM instances within the development and pre-production environments will have access to operating system and software updates from typical sources such as Ubuntu apt repositories, GitHub, PyPi.org etc via, Golden image patch management.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will facilitate Instances being initiated within pre-defined sandboxes/environments (development, pre-production and production), and the certation of snapshots and backups as needed.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does facilitate VM instances in the production environment to function as servers and files that will be downloaded by the JSI server can be saved onto a predefined network share which is mapped.</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will have secure network segregation and traffic shaping in place to ensure they are accessible from required cloud and on-prem networks.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will utilised Azure schedulers to start and stop compute resources where required to do so, and the solution does provide billing notifications to notify users when costs exceed pre-set limits.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does ensure that all ‘production’ environment workloads are heavily secured and have minimal connectivity in order to serve required processes and functionality. Third-party software, updates, and upgrades will not be available for VM instances in production until heavily tested in pre-production VM workloads first. Following successful testing such software, updates, and upgrade will be pushed to production workload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4161" marR="4161" marT="416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63787111"/>
                  </a:ext>
                </a:extLst>
              </a:tr>
            </a:tbl>
          </a:graphicData>
        </a:graphic>
      </p:graphicFrame>
    </p:spTree>
    <p:extLst>
      <p:ext uri="{BB962C8B-B14F-4D97-AF65-F5344CB8AC3E}">
        <p14:creationId xmlns:p14="http://schemas.microsoft.com/office/powerpoint/2010/main" val="59976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46640F-2D88-88DC-DC8D-3D3AFF694459}"/>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CF173D69-0AB5-7B7D-EF4A-282F4D04453B}"/>
              </a:ext>
            </a:extLst>
          </p:cNvPr>
          <p:cNvSpPr>
            <a:spLocks noGrp="1"/>
          </p:cNvSpPr>
          <p:nvPr>
            <p:ph type="body" sz="quarter" idx="10"/>
          </p:nvPr>
        </p:nvSpPr>
        <p:spPr/>
        <p:txBody>
          <a:bodyPr/>
          <a:lstStyle/>
          <a:p>
            <a:endParaRPr lang="en-US"/>
          </a:p>
        </p:txBody>
      </p:sp>
      <p:sp>
        <p:nvSpPr>
          <p:cNvPr id="4" name="TextBox 3">
            <a:extLst>
              <a:ext uri="{FF2B5EF4-FFF2-40B4-BE49-F238E27FC236}">
                <a16:creationId xmlns:a16="http://schemas.microsoft.com/office/drawing/2014/main" id="{E739D8A5-0165-F9A4-A8FD-06BF8495C7F2}"/>
              </a:ext>
            </a:extLst>
          </p:cNvPr>
          <p:cNvSpPr txBox="1"/>
          <p:nvPr/>
        </p:nvSpPr>
        <p:spPr>
          <a:xfrm>
            <a:off x="10648207" y="306779"/>
            <a:ext cx="1392617" cy="195310"/>
          </a:xfrm>
          <a:prstGeom prst="rect">
            <a:avLst/>
          </a:prstGeom>
          <a:solidFill>
            <a:schemeClr val="accent5"/>
          </a:solid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p>
            <a:pPr>
              <a:lnSpc>
                <a:spcPct val="85000"/>
              </a:lnSpc>
              <a:spcAft>
                <a:spcPts val="600"/>
              </a:spcAft>
            </a:pPr>
            <a:r>
              <a:rPr lang="en-US" sz="1200">
                <a:solidFill>
                  <a:schemeClr val="bg1"/>
                </a:solidFill>
              </a:rPr>
              <a:t>Health Input</a:t>
            </a:r>
            <a:endParaRPr lang="en-US"/>
          </a:p>
        </p:txBody>
      </p:sp>
    </p:spTree>
    <p:extLst>
      <p:ext uri="{BB962C8B-B14F-4D97-AF65-F5344CB8AC3E}">
        <p14:creationId xmlns:p14="http://schemas.microsoft.com/office/powerpoint/2010/main" val="327680531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3 – </a:t>
            </a:r>
            <a:r>
              <a:rPr lang="en-GB">
                <a:latin typeface="Calibri"/>
                <a:cs typeface="Calibri"/>
              </a:rPr>
              <a:t>Table C (CMD) Part 2</a:t>
            </a:r>
          </a:p>
        </p:txBody>
      </p:sp>
      <p:graphicFrame>
        <p:nvGraphicFramePr>
          <p:cNvPr id="5" name="Table 4">
            <a:extLst>
              <a:ext uri="{FF2B5EF4-FFF2-40B4-BE49-F238E27FC236}">
                <a16:creationId xmlns:a16="http://schemas.microsoft.com/office/drawing/2014/main" id="{02889A8A-1E1A-F5FD-54FD-B57CDC51182A}"/>
              </a:ext>
            </a:extLst>
          </p:cNvPr>
          <p:cNvGraphicFramePr>
            <a:graphicFrameLocks noGrp="1"/>
          </p:cNvGraphicFramePr>
          <p:nvPr>
            <p:extLst>
              <p:ext uri="{D42A27DB-BD31-4B8C-83A1-F6EECF244321}">
                <p14:modId xmlns:p14="http://schemas.microsoft.com/office/powerpoint/2010/main" val="3204801474"/>
              </p:ext>
            </p:extLst>
          </p:nvPr>
        </p:nvGraphicFramePr>
        <p:xfrm>
          <a:off x="609601" y="1390161"/>
          <a:ext cx="10974387" cy="140030"/>
        </p:xfrm>
        <a:graphic>
          <a:graphicData uri="http://schemas.openxmlformats.org/drawingml/2006/table">
            <a:tbl>
              <a:tblPr>
                <a:tableStyleId>{5C22544A-7EE6-4342-B048-85BDC9FD1C3A}</a:tableStyleId>
              </a:tblPr>
              <a:tblGrid>
                <a:gridCol w="898201">
                  <a:extLst>
                    <a:ext uri="{9D8B030D-6E8A-4147-A177-3AD203B41FA5}">
                      <a16:colId xmlns:a16="http://schemas.microsoft.com/office/drawing/2014/main" val="3996073338"/>
                    </a:ext>
                  </a:extLst>
                </a:gridCol>
                <a:gridCol w="5258561">
                  <a:extLst>
                    <a:ext uri="{9D8B030D-6E8A-4147-A177-3AD203B41FA5}">
                      <a16:colId xmlns:a16="http://schemas.microsoft.com/office/drawing/2014/main" val="912915052"/>
                    </a:ext>
                  </a:extLst>
                </a:gridCol>
                <a:gridCol w="4817625">
                  <a:extLst>
                    <a:ext uri="{9D8B030D-6E8A-4147-A177-3AD203B41FA5}">
                      <a16:colId xmlns:a16="http://schemas.microsoft.com/office/drawing/2014/main" val="4227342168"/>
                    </a:ext>
                  </a:extLst>
                </a:gridCol>
              </a:tblGrid>
              <a:tr h="59824">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Item No.</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ase"/>
                      <a:r>
                        <a:rPr lang="en-GB" sz="900">
                          <a:solidFill>
                            <a:schemeClr val="bg2"/>
                          </a:solidFill>
                          <a:latin typeface="Calibri" panose="020F0502020204030204" pitchFamily="34" charset="0"/>
                          <a:cs typeface="Calibri" panose="020F0502020204030204" pitchFamily="34" charset="0"/>
                        </a:rPr>
                        <a:t>Table C (CMD)</a:t>
                      </a: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IE" sz="900" u="none" strike="noStrike">
                          <a:solidFill>
                            <a:schemeClr val="bg2"/>
                          </a:solidFill>
                          <a:effectLst/>
                          <a:latin typeface="Calibri" panose="020F0502020204030204" pitchFamily="34" charset="0"/>
                          <a:cs typeface="Calibri" panose="020F0502020204030204" pitchFamily="34" charset="0"/>
                        </a:rPr>
                        <a:t>Executive Response </a:t>
                      </a:r>
                      <a:endParaRPr lang="en-IE" sz="900" b="1" i="0" u="none" strike="noStrike">
                        <a:solidFill>
                          <a:schemeClr val="bg2"/>
                        </a:solidFill>
                        <a:effectLst/>
                        <a:latin typeface="Calibri" panose="020F0502020204030204" pitchFamily="34" charset="0"/>
                        <a:cs typeface="Calibri" panose="020F0502020204030204" pitchFamily="34" charset="0"/>
                      </a:endParaRPr>
                    </a:p>
                  </a:txBody>
                  <a:tcPr marL="2870" marR="2870" marT="2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95272006"/>
                  </a:ext>
                </a:extLst>
              </a:tr>
            </a:tbl>
          </a:graphicData>
        </a:graphic>
      </p:graphicFrame>
      <p:graphicFrame>
        <p:nvGraphicFramePr>
          <p:cNvPr id="2" name="Table 1">
            <a:extLst>
              <a:ext uri="{FF2B5EF4-FFF2-40B4-BE49-F238E27FC236}">
                <a16:creationId xmlns:a16="http://schemas.microsoft.com/office/drawing/2014/main" id="{BCB9DABE-3FFC-537E-54F0-A4BB875559DA}"/>
              </a:ext>
            </a:extLst>
          </p:cNvPr>
          <p:cNvGraphicFramePr>
            <a:graphicFrameLocks noGrp="1"/>
          </p:cNvGraphicFramePr>
          <p:nvPr>
            <p:extLst>
              <p:ext uri="{D42A27DB-BD31-4B8C-83A1-F6EECF244321}">
                <p14:modId xmlns:p14="http://schemas.microsoft.com/office/powerpoint/2010/main" val="615621442"/>
              </p:ext>
            </p:extLst>
          </p:nvPr>
        </p:nvGraphicFramePr>
        <p:xfrm>
          <a:off x="608807" y="1530191"/>
          <a:ext cx="10974386" cy="3855720"/>
        </p:xfrm>
        <a:graphic>
          <a:graphicData uri="http://schemas.openxmlformats.org/drawingml/2006/table">
            <a:tbl>
              <a:tblPr>
                <a:tableStyleId>{5C22544A-7EE6-4342-B048-85BDC9FD1C3A}</a:tableStyleId>
              </a:tblPr>
              <a:tblGrid>
                <a:gridCol w="901701">
                  <a:extLst>
                    <a:ext uri="{9D8B030D-6E8A-4147-A177-3AD203B41FA5}">
                      <a16:colId xmlns:a16="http://schemas.microsoft.com/office/drawing/2014/main" val="3446796301"/>
                    </a:ext>
                  </a:extLst>
                </a:gridCol>
                <a:gridCol w="5256847">
                  <a:extLst>
                    <a:ext uri="{9D8B030D-6E8A-4147-A177-3AD203B41FA5}">
                      <a16:colId xmlns:a16="http://schemas.microsoft.com/office/drawing/2014/main" val="2052760928"/>
                    </a:ext>
                  </a:extLst>
                </a:gridCol>
                <a:gridCol w="4815838">
                  <a:extLst>
                    <a:ext uri="{9D8B030D-6E8A-4147-A177-3AD203B41FA5}">
                      <a16:colId xmlns:a16="http://schemas.microsoft.com/office/drawing/2014/main" val="412176878"/>
                    </a:ext>
                  </a:extLst>
                </a:gridCol>
              </a:tblGrid>
              <a:tr h="150876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3.3</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A working storage and backup solution should be created for the cloud instances in 3.1 &amp; 3.2 above. Three storage ‘areas’ should be created for each sandbox (from development, pre-production and production). Each storage area should be accessible by instances within the same ‘area’.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      A mechanism should be made available to copy files to different storage areas without granting access to instances from outside of the controlled area.  </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facilitate the creation of several Azure storage location for use with dev/test/prod environments which will be accessible from their relevant environment and no where else.</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The proposed solution will allow from the copying of files to different storage locations, without granting access to instances from outside of the controlled area, by predefined and approved personal. The "Azure storage explorer" application will facilitate the transfer of files by approved personal with its GUI interface.  </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3856914172"/>
                  </a:ext>
                </a:extLst>
              </a:tr>
              <a:tr h="201168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3.4</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One instance each of the following should be pre-configured and available within the non-corporate network:</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1 Azure Database for PostgreSQL, flexible server (production (small/medium size) / daily back-up)</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2 Azure Database for PostgreSQL, flexible server (development / weekly back-up)</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3 Azure Linux VM (Ubuntu server) with Docker integration to self-host Appsmith (production / daily back-up)</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4 Azure Linux VM (Ubuntu server) with Docker integration to self-host Appsmith (development / weekly back-up)</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5 Azure Linux VM (Ubuntu server) (sandbox)  </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facilitate one VM instance from each environment to be available within the non-corporate network:</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1 Azure Database for PostgreSQL, flexible server production </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2 Azure Database for PostgreSQL, flexible server development</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3 Azure Linux VM (Ubuntu server) with Docker integration / Appsmith production</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4 Azure Linux VM (Ubuntu server) with Docker integration / Appsmith development</a:t>
                      </a: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3.4.5 Azure Linux VM (Ubuntu server) (sandbox) </a:t>
                      </a:r>
                      <a:br>
                        <a:rPr lang="en-IE" sz="800" u="none" strike="noStrike">
                          <a:solidFill>
                            <a:schemeClr val="bg2"/>
                          </a:solidFill>
                          <a:effectLst/>
                          <a:latin typeface="Calibri" panose="020F0502020204030204" pitchFamily="34" charset="0"/>
                          <a:cs typeface="Calibri" panose="020F0502020204030204" pitchFamily="34" charset="0"/>
                        </a:rPr>
                      </a:br>
                      <a:br>
                        <a:rPr lang="en-IE" sz="800" u="none" strike="noStrike">
                          <a:solidFill>
                            <a:schemeClr val="bg2"/>
                          </a:solidFill>
                          <a:effectLst/>
                          <a:latin typeface="Calibri" panose="020F0502020204030204" pitchFamily="34" charset="0"/>
                          <a:cs typeface="Calibri" panose="020F0502020204030204" pitchFamily="34" charset="0"/>
                        </a:rPr>
                      </a:br>
                      <a:r>
                        <a:rPr lang="en-IE" sz="800" u="none" strike="noStrike">
                          <a:solidFill>
                            <a:schemeClr val="bg2"/>
                          </a:solidFill>
                          <a:effectLst/>
                          <a:latin typeface="Calibri" panose="020F0502020204030204" pitchFamily="34" charset="0"/>
                          <a:cs typeface="Calibri" panose="020F0502020204030204" pitchFamily="34" charset="0"/>
                        </a:rPr>
                        <a:t>All VM workloads will be backed up meeting defined backup requirement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116161021"/>
                  </a:ext>
                </a:extLst>
              </a:tr>
              <a:tr h="335280">
                <a:tc>
                  <a:txBody>
                    <a:bodyPr/>
                    <a:lstStyle/>
                    <a:p>
                      <a:pPr algn="ctr" fontAlgn="ctr"/>
                      <a:r>
                        <a:rPr lang="en-IE" sz="900" b="1" u="none" strike="noStrike">
                          <a:solidFill>
                            <a:schemeClr val="tx1"/>
                          </a:solidFill>
                          <a:effectLst/>
                          <a:latin typeface="Calibri" panose="020F0502020204030204" pitchFamily="34" charset="0"/>
                          <a:cs typeface="Calibri" panose="020F0502020204030204" pitchFamily="34" charset="0"/>
                        </a:rPr>
                        <a:t>3.5</a:t>
                      </a:r>
                      <a:endParaRPr lang="en-IE" sz="900" b="1" i="0" u="none" strike="noStrike">
                        <a:solidFill>
                          <a:schemeClr val="tx1"/>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Private code repository (GitLab preferred) accessible on the corporate and genomics network</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IE" sz="800" u="none" strike="noStrike">
                          <a:solidFill>
                            <a:schemeClr val="bg2"/>
                          </a:solidFill>
                          <a:effectLst/>
                          <a:latin typeface="Calibri" panose="020F0502020204030204" pitchFamily="34" charset="0"/>
                          <a:cs typeface="Calibri" panose="020F0502020204030204" pitchFamily="34" charset="0"/>
                        </a:rPr>
                        <a:t>The proposed EY solution will facilitate private code repository (GitLab preferred) access on corporate and genomics networks.</a:t>
                      </a:r>
                      <a:endParaRPr lang="en-IE" sz="800" b="0" i="0" u="none" strike="noStrike">
                        <a:solidFill>
                          <a:schemeClr val="bg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4280138032"/>
                  </a:ext>
                </a:extLst>
              </a:tr>
            </a:tbl>
          </a:graphicData>
        </a:graphic>
      </p:graphicFrame>
    </p:spTree>
    <p:extLst>
      <p:ext uri="{BB962C8B-B14F-4D97-AF65-F5344CB8AC3E}">
        <p14:creationId xmlns:p14="http://schemas.microsoft.com/office/powerpoint/2010/main" val="323447179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4 – </a:t>
            </a:r>
            <a:r>
              <a:rPr lang="en-GB">
                <a:latin typeface="Calibri"/>
                <a:cs typeface="Calibri"/>
              </a:rPr>
              <a:t>Table D (IMRL)</a:t>
            </a:r>
          </a:p>
        </p:txBody>
      </p:sp>
      <p:graphicFrame>
        <p:nvGraphicFramePr>
          <p:cNvPr id="7" name="Table 6">
            <a:extLst>
              <a:ext uri="{FF2B5EF4-FFF2-40B4-BE49-F238E27FC236}">
                <a16:creationId xmlns:a16="http://schemas.microsoft.com/office/drawing/2014/main" id="{5DCABCDC-296C-4F88-B983-ADE23267D9A0}"/>
              </a:ext>
            </a:extLst>
          </p:cNvPr>
          <p:cNvGraphicFramePr>
            <a:graphicFrameLocks noGrp="1"/>
          </p:cNvGraphicFramePr>
          <p:nvPr>
            <p:extLst>
              <p:ext uri="{D42A27DB-BD31-4B8C-83A1-F6EECF244321}">
                <p14:modId xmlns:p14="http://schemas.microsoft.com/office/powerpoint/2010/main" val="3817214701"/>
              </p:ext>
            </p:extLst>
          </p:nvPr>
        </p:nvGraphicFramePr>
        <p:xfrm>
          <a:off x="609601" y="1424763"/>
          <a:ext cx="10974387" cy="4733592"/>
        </p:xfrm>
        <a:graphic>
          <a:graphicData uri="http://schemas.openxmlformats.org/drawingml/2006/table">
            <a:tbl>
              <a:tblPr/>
              <a:tblGrid>
                <a:gridCol w="730101">
                  <a:extLst>
                    <a:ext uri="{9D8B030D-6E8A-4147-A177-3AD203B41FA5}">
                      <a16:colId xmlns:a16="http://schemas.microsoft.com/office/drawing/2014/main" val="719959165"/>
                    </a:ext>
                  </a:extLst>
                </a:gridCol>
                <a:gridCol w="5211775">
                  <a:extLst>
                    <a:ext uri="{9D8B030D-6E8A-4147-A177-3AD203B41FA5}">
                      <a16:colId xmlns:a16="http://schemas.microsoft.com/office/drawing/2014/main" val="2279337523"/>
                    </a:ext>
                  </a:extLst>
                </a:gridCol>
                <a:gridCol w="5032511">
                  <a:extLst>
                    <a:ext uri="{9D8B030D-6E8A-4147-A177-3AD203B41FA5}">
                      <a16:colId xmlns:a16="http://schemas.microsoft.com/office/drawing/2014/main" val="4011896777"/>
                    </a:ext>
                  </a:extLst>
                </a:gridCol>
              </a:tblGrid>
              <a:tr h="149286">
                <a:tc>
                  <a:txBody>
                    <a:bodyPr/>
                    <a:lstStyle/>
                    <a:p>
                      <a:pPr algn="ctr" fontAlgn="ctr"/>
                      <a:r>
                        <a:rPr lang="en-GB" sz="900" b="0" i="0" u="none" strike="noStrike">
                          <a:solidFill>
                            <a:srgbClr val="000000"/>
                          </a:solidFill>
                          <a:effectLst/>
                          <a:latin typeface="Calibri"/>
                          <a:cs typeface="Calibri"/>
                        </a:rPr>
                        <a:t>Item No.</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D:  Irish Mycobacteria Reference Laboratory (IMRL)</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89396528"/>
                  </a:ext>
                </a:extLst>
              </a:tr>
              <a:tr h="705719">
                <a:tc>
                  <a:txBody>
                    <a:bodyPr/>
                    <a:lstStyle/>
                    <a:p>
                      <a:pPr algn="ctr" fontAlgn="ctr"/>
                      <a:r>
                        <a:rPr lang="en-GB" sz="900" b="0" i="0" u="none" strike="noStrike">
                          <a:solidFill>
                            <a:schemeClr val="tx1"/>
                          </a:solidFill>
                          <a:effectLst/>
                          <a:latin typeface="Calibri"/>
                          <a:cs typeface="Calibri"/>
                        </a:rPr>
                        <a:t>4.1</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provide a Linux Virtual Machine (VM) with a graphical user interface (ie. Ubuntu) required and needs to have equivalent (or greater) specifications as the IMRL Linux PC on the SJH genomics network as follows: The IMRL linux PC currently has Ubuntu 18.04.6 LTS 64-bit operating system, 128GB RAM, 18 core processor, 11GB Graphics card, and 4 TB local storage disk. </a:t>
                      </a:r>
                      <a:br>
                        <a:rPr lang="en-GB" sz="800" b="0" i="0" u="none" strike="noStrike">
                          <a:solidFill>
                            <a:srgbClr val="000000"/>
                          </a:solidFill>
                          <a:effectLst/>
                          <a:latin typeface="Calibri"/>
                          <a:cs typeface="Calibri"/>
                        </a:rPr>
                      </a:br>
                      <a:r>
                        <a:rPr lang="en-GB" sz="800" b="0" i="0" u="none" strike="noStrike">
                          <a:solidFill>
                            <a:srgbClr val="000000"/>
                          </a:solidFill>
                          <a:effectLst/>
                          <a:latin typeface="Calibri"/>
                          <a:cs typeface="Calibri"/>
                        </a:rPr>
                        <a:t>This is required to run scripts for command line analysis (ie.MTBseq, TBprofiler, NTMprofiler, Kraken2, snippy, snp-dists, FastP etc). If equivalent Azure command line software is applicable, vendor to provide details.</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ctr" fontAlgn="ctr"/>
                      <a:r>
                        <a:rPr lang="en-GB" sz="800" b="0" i="0" u="none" strike="noStrike">
                          <a:solidFill>
                            <a:srgbClr val="000000"/>
                          </a:solidFill>
                          <a:effectLst/>
                          <a:latin typeface="Calibri"/>
                          <a:cs typeface="Calibri"/>
                        </a:rPr>
                        <a:t>EY had noted the required compute and storage resources, and we will create an Azure VM ( Ubuntu Pro 18.04 / Ubuntu Server 22.04 ) which supports that need, also we will list all the needed / mentioned applications and work with SJH to install them</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788141398"/>
                  </a:ext>
                </a:extLst>
              </a:tr>
              <a:tr h="359645">
                <a:tc>
                  <a:txBody>
                    <a:bodyPr/>
                    <a:lstStyle/>
                    <a:p>
                      <a:pPr algn="ctr" fontAlgn="ctr"/>
                      <a:r>
                        <a:rPr lang="en-GB" sz="900" b="0" i="0" u="none" strike="noStrike">
                          <a:solidFill>
                            <a:schemeClr val="tx1"/>
                          </a:solidFill>
                          <a:effectLst/>
                          <a:latin typeface="Calibri"/>
                          <a:cs typeface="Calibri"/>
                        </a:rPr>
                        <a:t>4.2</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provide a Linux VM to run GUI software including Seqsphere, RaxML, LibreOffice, gedit. This is required to perform analysis and read/write files such as .txt, .tab, fastq, .csv .gz, .vcf, etc.</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a:cs typeface="Calibri"/>
                        </a:rPr>
                        <a:t>EY had noted the required compute and storage resources, and we will create an Azure VM ( Ubuntu Pro 18.04 / Ubuntu Server 22.04 ) which supports that need, also we will list all the needed / mentioned applications and work with SJH to install them</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2218468"/>
                  </a:ext>
                </a:extLst>
              </a:tr>
              <a:tr h="698933">
                <a:tc>
                  <a:txBody>
                    <a:bodyPr/>
                    <a:lstStyle/>
                    <a:p>
                      <a:pPr algn="ctr" fontAlgn="ctr"/>
                      <a:r>
                        <a:rPr lang="en-GB" sz="900" b="0" i="0" u="none" strike="noStrike">
                          <a:solidFill>
                            <a:schemeClr val="tx1"/>
                          </a:solidFill>
                          <a:effectLst/>
                          <a:latin typeface="Calibri"/>
                          <a:cs typeface="Calibri"/>
                        </a:rPr>
                        <a:t>4.3</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Microsoft office is currently installed through a windows virtual box on the IMRL linux PC and data from analysis files are copied/pasted into a Microsoft Access database. Vendor to implement Azure hosting of an alternative database solution to the current Microsoft access database for data management to deliver a new process/ solution. This includes migration of data from existing Microsoft Access database to the new proposed solution (for example .NET or SaaS solution) which is secure from a data protection perspective.</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will assess the current DB that is in place and will follow Microsoft best practices to migrate the Access DB's to Azure SQL DB Server.</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4194691781"/>
                  </a:ext>
                </a:extLst>
              </a:tr>
              <a:tr h="678576">
                <a:tc>
                  <a:txBody>
                    <a:bodyPr/>
                    <a:lstStyle/>
                    <a:p>
                      <a:pPr algn="ctr" fontAlgn="ctr"/>
                      <a:r>
                        <a:rPr lang="en-GB" sz="900" b="0" i="0" u="none" strike="noStrike">
                          <a:solidFill>
                            <a:schemeClr val="tx1"/>
                          </a:solidFill>
                          <a:effectLst/>
                          <a:latin typeface="Calibri"/>
                          <a:cs typeface="Calibri"/>
                        </a:rPr>
                        <a:t>4.4</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must provide access to web browser and external websites (ie. google, github, conda, NCBI, Basespace, iTOL etc) from the Linux VM to download files for analysis and admin privileges required to install software and command line tools. We require advise and mitigations around the use of some of these tools and risks associated to services. A change control process will need to be developed for the installation of software and tools. This is required to update software tools used in the IMRL as part of on-going service development.</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Azure Firewall will be part of our proposed solution and using it we will define / list the needed URLs to allow the access to them</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5895520"/>
                  </a:ext>
                </a:extLst>
              </a:tr>
              <a:tr h="536075">
                <a:tc>
                  <a:txBody>
                    <a:bodyPr/>
                    <a:lstStyle/>
                    <a:p>
                      <a:pPr algn="ctr" fontAlgn="ctr"/>
                      <a:r>
                        <a:rPr lang="en-GB" sz="900" b="0" i="0" u="none" strike="noStrike">
                          <a:solidFill>
                            <a:schemeClr val="tx1"/>
                          </a:solidFill>
                          <a:effectLst/>
                          <a:latin typeface="Calibri"/>
                          <a:cs typeface="Calibri"/>
                        </a:rPr>
                        <a:t>4.5</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provide a Linux VM with graphical user interface requires access to the IMRL Azure storage server (shrdnestg001) with admin privileges to view, edit and write. This is required for direct access to long term storage files.</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had noted the requirement here and we will facilitate and avail that.</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58582125"/>
                  </a:ext>
                </a:extLst>
              </a:tr>
              <a:tr h="610718">
                <a:tc>
                  <a:txBody>
                    <a:bodyPr/>
                    <a:lstStyle/>
                    <a:p>
                      <a:pPr algn="ctr" fontAlgn="ctr"/>
                      <a:r>
                        <a:rPr lang="en-GB" sz="900" b="0" i="0" u="none" strike="noStrike">
                          <a:solidFill>
                            <a:schemeClr val="tx1"/>
                          </a:solidFill>
                          <a:effectLst/>
                          <a:latin typeface="Calibri"/>
                          <a:cs typeface="Calibri"/>
                        </a:rPr>
                        <a:t>4.6</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provide secure access to Linux VM from SJH Genomics network to the SJH Corporate network and allow transfer of analysis files (upload and download) between both networks (file sharing processes). This may involve file updates mid-process. </a:t>
                      </a:r>
                      <a:endParaRPr lang="en-GB" sz="800" b="0" i="0" u="none" strike="noStrike">
                        <a:solidFill>
                          <a:srgbClr val="000000"/>
                        </a:solidFill>
                        <a:effectLst/>
                        <a:latin typeface="Calibri" panose="020F0502020204030204" pitchFamily="34" charset="0"/>
                        <a:cs typeface="Calibri" panose="020F0502020204030204" pitchFamily="34" charset="0"/>
                      </a:endParaRP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Connectivity to the proposed solution will be achieved by utilising an Azure vWAN Hub which consists of an Azure Firewall and Azure Virtual Network Gateway which will help us to comply with SJH policies on security and access</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2680628"/>
                  </a:ext>
                </a:extLst>
              </a:tr>
              <a:tr h="427503">
                <a:tc>
                  <a:txBody>
                    <a:bodyPr/>
                    <a:lstStyle/>
                    <a:p>
                      <a:pPr algn="ctr" fontAlgn="ctr"/>
                      <a:r>
                        <a:rPr lang="en-GB" sz="900" b="0" i="0" u="none" strike="noStrike">
                          <a:solidFill>
                            <a:schemeClr val="tx1"/>
                          </a:solidFill>
                          <a:effectLst/>
                          <a:latin typeface="Calibri"/>
                          <a:cs typeface="Calibri"/>
                        </a:rPr>
                        <a:t>4.7</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allow the Linux VM to sit on SJH genomics network and process MiSeq files locally on this Genomics network. The MiSeq sequencer is currently on the genomics network and this is required to process sequencing files to the Linux VM within this network.   </a:t>
                      </a:r>
                      <a:endParaRPr lang="en-GB" sz="800" b="0" i="0" u="none" strike="noStrike">
                        <a:solidFill>
                          <a:srgbClr val="000000"/>
                        </a:solidFill>
                        <a:effectLst/>
                        <a:latin typeface="Calibri" panose="020F0502020204030204" pitchFamily="34" charset="0"/>
                        <a:cs typeface="Calibri" panose="020F0502020204030204" pitchFamily="34" charset="0"/>
                      </a:endParaRP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Connectivity to the proposed solution will be achieved by utilising an Azure vWAN Hub which consists of an Azure Firewall and Azure Virtual Network Gateway which will help us to comply with SJH policies on security and access</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571416343"/>
                  </a:ext>
                </a:extLst>
              </a:tr>
              <a:tr h="522503">
                <a:tc>
                  <a:txBody>
                    <a:bodyPr/>
                    <a:lstStyle/>
                    <a:p>
                      <a:pPr algn="ctr" fontAlgn="ctr"/>
                      <a:r>
                        <a:rPr lang="en-GB" sz="900" b="0" i="0" u="none" strike="noStrike">
                          <a:solidFill>
                            <a:schemeClr val="tx1"/>
                          </a:solidFill>
                          <a:effectLst/>
                          <a:latin typeface="Calibri"/>
                          <a:cs typeface="Calibri"/>
                        </a:rPr>
                        <a:t>4.8</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he solution should be compatible with SJH remote access to the Azure environment and the Genomics network including the Linux VM directly from a local PC.  Connectivity should be in line with SJH policies on security and access. </a:t>
                      </a:r>
                      <a:endParaRPr lang="en-GB" sz="800" b="0" i="0" u="none" strike="noStrike">
                        <a:solidFill>
                          <a:srgbClr val="000000"/>
                        </a:solidFill>
                        <a:effectLst/>
                        <a:latin typeface="Calibri" panose="020F0502020204030204" pitchFamily="34" charset="0"/>
                        <a:cs typeface="Calibri" panose="020F0502020204030204" pitchFamily="34" charset="0"/>
                      </a:endParaRP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As highlighted in the previous point (4.6) our solution will comply with SJH policies on security and access.</a:t>
                      </a:r>
                    </a:p>
                  </a:txBody>
                  <a:tcPr marL="6359" marR="6359" marT="63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4368171"/>
                  </a:ext>
                </a:extLst>
              </a:tr>
            </a:tbl>
          </a:graphicData>
        </a:graphic>
      </p:graphicFrame>
    </p:spTree>
    <p:extLst>
      <p:ext uri="{BB962C8B-B14F-4D97-AF65-F5344CB8AC3E}">
        <p14:creationId xmlns:p14="http://schemas.microsoft.com/office/powerpoint/2010/main" val="255053301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5 – </a:t>
            </a:r>
            <a:r>
              <a:rPr lang="en-GB">
                <a:latin typeface="Calibri"/>
                <a:cs typeface="Calibri"/>
              </a:rPr>
              <a:t>Table E (NMRSARL) Part 1</a:t>
            </a:r>
          </a:p>
        </p:txBody>
      </p:sp>
      <p:graphicFrame>
        <p:nvGraphicFramePr>
          <p:cNvPr id="3" name="Table 2">
            <a:extLst>
              <a:ext uri="{FF2B5EF4-FFF2-40B4-BE49-F238E27FC236}">
                <a16:creationId xmlns:a16="http://schemas.microsoft.com/office/drawing/2014/main" id="{3451C71F-C329-CFAC-20D5-D224F1EA9CA9}"/>
              </a:ext>
            </a:extLst>
          </p:cNvPr>
          <p:cNvGraphicFramePr>
            <a:graphicFrameLocks noGrp="1"/>
          </p:cNvGraphicFramePr>
          <p:nvPr>
            <p:extLst>
              <p:ext uri="{D42A27DB-BD31-4B8C-83A1-F6EECF244321}">
                <p14:modId xmlns:p14="http://schemas.microsoft.com/office/powerpoint/2010/main" val="3045630365"/>
              </p:ext>
            </p:extLst>
          </p:nvPr>
        </p:nvGraphicFramePr>
        <p:xfrm>
          <a:off x="609600" y="1446028"/>
          <a:ext cx="10974388" cy="4646797"/>
        </p:xfrm>
        <a:graphic>
          <a:graphicData uri="http://schemas.openxmlformats.org/drawingml/2006/table">
            <a:tbl>
              <a:tblPr/>
              <a:tblGrid>
                <a:gridCol w="655674">
                  <a:extLst>
                    <a:ext uri="{9D8B030D-6E8A-4147-A177-3AD203B41FA5}">
                      <a16:colId xmlns:a16="http://schemas.microsoft.com/office/drawing/2014/main" val="4236241652"/>
                    </a:ext>
                  </a:extLst>
                </a:gridCol>
                <a:gridCol w="5407888">
                  <a:extLst>
                    <a:ext uri="{9D8B030D-6E8A-4147-A177-3AD203B41FA5}">
                      <a16:colId xmlns:a16="http://schemas.microsoft.com/office/drawing/2014/main" val="1588838264"/>
                    </a:ext>
                  </a:extLst>
                </a:gridCol>
                <a:gridCol w="4910826">
                  <a:extLst>
                    <a:ext uri="{9D8B030D-6E8A-4147-A177-3AD203B41FA5}">
                      <a16:colId xmlns:a16="http://schemas.microsoft.com/office/drawing/2014/main" val="2655528197"/>
                    </a:ext>
                  </a:extLst>
                </a:gridCol>
              </a:tblGrid>
              <a:tr h="173019">
                <a:tc>
                  <a:txBody>
                    <a:bodyPr/>
                    <a:lstStyle/>
                    <a:p>
                      <a:pPr algn="ctr" fontAlgn="ctr"/>
                      <a:r>
                        <a:rPr lang="en-GB" sz="900" b="0" i="0" u="none" strike="noStrike">
                          <a:solidFill>
                            <a:srgbClr val="000000"/>
                          </a:solidFill>
                          <a:effectLst/>
                          <a:latin typeface="Calibri"/>
                          <a:cs typeface="Calibri"/>
                        </a:rPr>
                        <a:t>Item No.</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E:  National MRSA Reference Laboratory (NMRSARL)</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760722805"/>
                  </a:ext>
                </a:extLst>
              </a:tr>
              <a:tr h="370755">
                <a:tc>
                  <a:txBody>
                    <a:bodyPr/>
                    <a:lstStyle/>
                    <a:p>
                      <a:pPr algn="ctr" fontAlgn="ctr"/>
                      <a:r>
                        <a:rPr lang="en-GB" sz="800" b="0" i="0" u="none" strike="noStrike">
                          <a:solidFill>
                            <a:schemeClr val="tx1"/>
                          </a:solidFill>
                          <a:effectLst/>
                          <a:latin typeface="Calibri"/>
                          <a:cs typeface="Calibri"/>
                        </a:rPr>
                        <a:t>5.1</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Direct upload from MiSeq to MRSARL portal on Azure. Confirmation that bandwidth does not impact file transfers. Data storage folders for existing and new processes to be supported and implemented.</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During the discovery phase, EY will analysis the current configurations and process to provide the best solution for this task and avoid any impact when it comes to the file transfer.</a:t>
                      </a:r>
                      <a:endParaRPr lang="en-US"/>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2500648489"/>
                  </a:ext>
                </a:extLst>
              </a:tr>
              <a:tr h="1301762">
                <a:tc>
                  <a:txBody>
                    <a:bodyPr/>
                    <a:lstStyle/>
                    <a:p>
                      <a:pPr algn="ctr" fontAlgn="ctr"/>
                      <a:r>
                        <a:rPr lang="en-GB" sz="800" b="0" i="0" u="none" strike="noStrike">
                          <a:solidFill>
                            <a:schemeClr val="tx1"/>
                          </a:solidFill>
                          <a:effectLst/>
                          <a:latin typeface="Calibri"/>
                          <a:cs typeface="Calibri"/>
                        </a:rPr>
                        <a:t>5.2</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zure VM with a graphical user interface (ie Ubuntu) with at least Ubuntu 18.04.6 LTS 64-bit operating system, 128GB RAM, 18 core processor, 11GB Graphics card, and 4 TB local storage disk. </a:t>
                      </a:r>
                      <a:br>
                        <a:rPr lang="en-GB" sz="800" b="0" i="0" u="none" strike="noStrike">
                          <a:solidFill>
                            <a:srgbClr val="000000"/>
                          </a:solidFill>
                          <a:effectLst/>
                          <a:latin typeface="Calibri"/>
                          <a:cs typeface="Calibri"/>
                        </a:rPr>
                      </a:br>
                      <a:r>
                        <a:rPr lang="en-GB" sz="800" b="0" i="0" u="none" strike="noStrike">
                          <a:solidFill>
                            <a:srgbClr val="000000"/>
                          </a:solidFill>
                          <a:effectLst/>
                          <a:latin typeface="Calibri"/>
                          <a:cs typeface="Calibri"/>
                        </a:rPr>
                        <a:t>Software to be installed in the Azure VM to include Kraken2, Snippy, snp-dists, FastP, mlst, bowtie2, minimap2, samtools, mafft, figtree, Jalview, Seqsphere, RaxML, LibreOffice, MTBseq, TBprofiler and NTMprofiler. Ability to download and install updates to any of the software as the need arises. It should be noted that this list may expand during the tendering process depending on the needs of the lab during the tender period but all software used in the laboratory is available on Github or on licenced software held within the laboratory. We require advise and mitigations around the use of some of these tools and risks associated to services. A change control process will need to be developed for the installation of software and tools.</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had noted the required compute and storage resources, and we will create an Azure VM which supoorts that need, also we will list all the needed / mentioned applications and work with SJH to install them</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2817327"/>
                  </a:ext>
                </a:extLst>
              </a:tr>
              <a:tr h="733271">
                <a:tc>
                  <a:txBody>
                    <a:bodyPr/>
                    <a:lstStyle/>
                    <a:p>
                      <a:pPr algn="ctr" fontAlgn="ctr"/>
                      <a:r>
                        <a:rPr lang="en-GB" sz="800" b="0" i="0" u="none" strike="noStrike">
                          <a:solidFill>
                            <a:schemeClr val="tx1"/>
                          </a:solidFill>
                          <a:effectLst/>
                          <a:latin typeface="Calibri"/>
                          <a:cs typeface="Calibri"/>
                        </a:rPr>
                        <a:t>5.3</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 secure solution with the ability to view, edit, move and download files generated by software installed on the above mentioned Azure VM (eg .txt., tab, fastq, .csv .gz, .vcf, etc.). This includes the ability to edit files on the Azure portal without downloading and uploading new versions. It may also include moving files within the Azure VM, the storage server and the corporate network. (Fileshare does not allow editing of files on Azure portal).</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The proposed solution by EY will utilise or leverage Azure Storage Explorer to cover this point</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843602584"/>
                  </a:ext>
                </a:extLst>
              </a:tr>
              <a:tr h="848617">
                <a:tc>
                  <a:txBody>
                    <a:bodyPr/>
                    <a:lstStyle/>
                    <a:p>
                      <a:pPr algn="ctr" fontAlgn="ctr"/>
                      <a:r>
                        <a:rPr lang="en-GB" sz="800" b="0" i="0" u="none" strike="noStrike">
                          <a:solidFill>
                            <a:schemeClr val="tx1"/>
                          </a:solidFill>
                          <a:effectLst/>
                          <a:latin typeface="Calibri"/>
                          <a:cs typeface="Calibri"/>
                        </a:rPr>
                        <a:t>5.4</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ccess to web browser and external websites (ie. google, github, conda, NCBI, Basespace, iTOL, AnyDesk, PubMLST, CARD, EpiSeq etc) from the Azure VM with an ability to download reference sequences for inclusion in some data analysis and to upload above mentioned data files for analysis. We require advise and mitigations around the use of some of these tools and risks associated to services. A change control process will need to be developed for the installation of software and tools.</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Azure Firewall will be part of our proposed solution and using it we will define / list the needed URLs to allow the access to them</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395515"/>
                  </a:ext>
                </a:extLst>
              </a:tr>
              <a:tr h="774467">
                <a:tc>
                  <a:txBody>
                    <a:bodyPr/>
                    <a:lstStyle/>
                    <a:p>
                      <a:pPr algn="ctr" fontAlgn="ctr"/>
                      <a:r>
                        <a:rPr lang="en-GB" sz="800" b="0" i="0" u="none" strike="noStrike">
                          <a:solidFill>
                            <a:schemeClr val="tx1"/>
                          </a:solidFill>
                          <a:effectLst/>
                          <a:latin typeface="Calibri"/>
                          <a:cs typeface="Calibri"/>
                        </a:rPr>
                        <a:t>5.5</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Replacement of an existing Microsoft Access database with an alternative solution in the Azure environment which can be accessed by all laboratory users for data management. This includes migration of data from existing Microsoft Access database to the new proposed solution (for example .NET or SaaS solution) which is secure from a data protection perspective.  </a:t>
                      </a:r>
                      <a:endParaRPr lang="en-GB" sz="800" b="0" i="0" u="none" strike="noStrike">
                        <a:solidFill>
                          <a:srgbClr val="000000"/>
                        </a:solidFill>
                        <a:effectLst/>
                        <a:latin typeface="Calibri" panose="020F0502020204030204" pitchFamily="34" charset="0"/>
                        <a:cs typeface="Calibri" panose="020F0502020204030204" pitchFamily="34" charset="0"/>
                      </a:endParaRP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will assess the DB that is in place and will follow Microsoft best practices to migrate the Access DB's to Azure SQL DB Server.</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3876473144"/>
                  </a:ext>
                </a:extLst>
              </a:tr>
              <a:tr h="444906">
                <a:tc>
                  <a:txBody>
                    <a:bodyPr/>
                    <a:lstStyle/>
                    <a:p>
                      <a:pPr algn="ctr" fontAlgn="ctr"/>
                      <a:r>
                        <a:rPr lang="en-GB" sz="800" b="0" i="0" u="none" strike="noStrike">
                          <a:solidFill>
                            <a:schemeClr val="tx1"/>
                          </a:solidFill>
                          <a:effectLst/>
                          <a:latin typeface="Calibri"/>
                          <a:cs typeface="Calibri"/>
                        </a:rPr>
                        <a:t>5.6</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 secure solution with the ability to download result files from the Azure environment to the SJH Corporate network in line with SJH policies on security and access.</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The proposed solution by EY will utilise or leverage Azure Storage Explorer to cover this point</a:t>
                      </a:r>
                    </a:p>
                  </a:txBody>
                  <a:tcPr marL="7791" marR="7791" marT="77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6125110"/>
                  </a:ext>
                </a:extLst>
              </a:tr>
            </a:tbl>
          </a:graphicData>
        </a:graphic>
      </p:graphicFrame>
    </p:spTree>
    <p:extLst>
      <p:ext uri="{BB962C8B-B14F-4D97-AF65-F5344CB8AC3E}">
        <p14:creationId xmlns:p14="http://schemas.microsoft.com/office/powerpoint/2010/main" val="137998012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5 – </a:t>
            </a:r>
            <a:r>
              <a:rPr lang="en-GB">
                <a:latin typeface="Calibri"/>
                <a:cs typeface="Calibri"/>
              </a:rPr>
              <a:t>Table E (NMRSARL) Part 2</a:t>
            </a:r>
          </a:p>
        </p:txBody>
      </p:sp>
      <p:graphicFrame>
        <p:nvGraphicFramePr>
          <p:cNvPr id="9" name="Table 8">
            <a:extLst>
              <a:ext uri="{FF2B5EF4-FFF2-40B4-BE49-F238E27FC236}">
                <a16:creationId xmlns:a16="http://schemas.microsoft.com/office/drawing/2014/main" id="{5CA10BEF-2C7E-0F11-441B-CEE30A282CE0}"/>
              </a:ext>
            </a:extLst>
          </p:cNvPr>
          <p:cNvGraphicFramePr>
            <a:graphicFrameLocks noGrp="1"/>
          </p:cNvGraphicFramePr>
          <p:nvPr>
            <p:extLst>
              <p:ext uri="{D42A27DB-BD31-4B8C-83A1-F6EECF244321}">
                <p14:modId xmlns:p14="http://schemas.microsoft.com/office/powerpoint/2010/main" val="1189061482"/>
              </p:ext>
            </p:extLst>
          </p:nvPr>
        </p:nvGraphicFramePr>
        <p:xfrm>
          <a:off x="609600" y="1509823"/>
          <a:ext cx="10974386" cy="3839417"/>
        </p:xfrm>
        <a:graphic>
          <a:graphicData uri="http://schemas.openxmlformats.org/drawingml/2006/table">
            <a:tbl>
              <a:tblPr/>
              <a:tblGrid>
                <a:gridCol w="645042">
                  <a:extLst>
                    <a:ext uri="{9D8B030D-6E8A-4147-A177-3AD203B41FA5}">
                      <a16:colId xmlns:a16="http://schemas.microsoft.com/office/drawing/2014/main" val="2678792138"/>
                    </a:ext>
                  </a:extLst>
                </a:gridCol>
                <a:gridCol w="5418520">
                  <a:extLst>
                    <a:ext uri="{9D8B030D-6E8A-4147-A177-3AD203B41FA5}">
                      <a16:colId xmlns:a16="http://schemas.microsoft.com/office/drawing/2014/main" val="2246606233"/>
                    </a:ext>
                  </a:extLst>
                </a:gridCol>
                <a:gridCol w="4910824">
                  <a:extLst>
                    <a:ext uri="{9D8B030D-6E8A-4147-A177-3AD203B41FA5}">
                      <a16:colId xmlns:a16="http://schemas.microsoft.com/office/drawing/2014/main" val="1842219877"/>
                    </a:ext>
                  </a:extLst>
                </a:gridCol>
              </a:tblGrid>
              <a:tr h="112829">
                <a:tc>
                  <a:txBody>
                    <a:bodyPr/>
                    <a:lstStyle/>
                    <a:p>
                      <a:pPr algn="ctr" fontAlgn="ctr"/>
                      <a:r>
                        <a:rPr lang="en-GB" sz="900" b="0" i="0" u="none" strike="noStrike">
                          <a:solidFill>
                            <a:srgbClr val="000000"/>
                          </a:solidFill>
                          <a:effectLst/>
                          <a:latin typeface="Calibri"/>
                          <a:cs typeface="Calibri"/>
                        </a:rPr>
                        <a:t>Item No.</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E:  National MRSA Reference Laboratory (NMRSARL)</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303350640"/>
                  </a:ext>
                </a:extLst>
              </a:tr>
              <a:tr h="517971">
                <a:tc>
                  <a:txBody>
                    <a:bodyPr/>
                    <a:lstStyle/>
                    <a:p>
                      <a:pPr algn="ctr" fontAlgn="ctr"/>
                      <a:r>
                        <a:rPr lang="en-GB" sz="900" b="0" i="0" u="none" strike="noStrike">
                          <a:solidFill>
                            <a:schemeClr val="tx1"/>
                          </a:solidFill>
                          <a:effectLst/>
                          <a:latin typeface="Calibri"/>
                          <a:cs typeface="Calibri"/>
                        </a:rPr>
                        <a:t>5.7</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 secure solution with the ability to replicate current pipelines on Azure environment. This may include automation of some scripts in the Azure VM environment.</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marL="0" lvl="0" algn="l">
                        <a:buNone/>
                      </a:pPr>
                      <a:r>
                        <a:rPr lang="en-GB" sz="800" b="0" i="0" u="none" strike="noStrike" kern="1200">
                          <a:solidFill>
                            <a:srgbClr val="000000"/>
                          </a:solidFill>
                          <a:effectLst/>
                          <a:latin typeface="Calibri"/>
                          <a:ea typeface="+mn-ea"/>
                          <a:cs typeface="Calibri"/>
                        </a:rPr>
                        <a:t>EY had noted the requirement and will provide that as part of our proposed solution.</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3322150264"/>
                  </a:ext>
                </a:extLst>
              </a:tr>
              <a:tr h="563526">
                <a:tc>
                  <a:txBody>
                    <a:bodyPr/>
                    <a:lstStyle/>
                    <a:p>
                      <a:pPr algn="ctr" fontAlgn="ctr"/>
                      <a:r>
                        <a:rPr lang="en-GB" sz="900" b="0" i="0" u="none" strike="noStrike">
                          <a:solidFill>
                            <a:schemeClr val="tx1"/>
                          </a:solidFill>
                          <a:effectLst/>
                          <a:latin typeface="Calibri"/>
                          <a:cs typeface="Calibri"/>
                        </a:rPr>
                        <a:t>5.8</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ssessment of timelines for upload of files from the instruments hosted on the Genomics network (MiSeq) / download of files from the Azure environment to the corporate network.</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rtl="0" eaLnBrk="1" fontAlgn="ctr" latinLnBrk="0" hangingPunct="1"/>
                      <a:r>
                        <a:rPr lang="en-GB" sz="800" b="0" i="0" u="none" strike="noStrike" kern="1200">
                          <a:solidFill>
                            <a:srgbClr val="000000"/>
                          </a:solidFill>
                          <a:effectLst/>
                          <a:latin typeface="Calibri"/>
                          <a:ea typeface="+mn-ea"/>
                          <a:cs typeface="Calibri"/>
                        </a:rPr>
                        <a:t>Providing a timeline for moving files really depends on a lot of factors like the overall size of transferred files, type of files, and the network utilization during that time, such info can be assessed and provided during the discovery phase</a:t>
                      </a:r>
                      <a:endParaRPr lang="en-GB"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57726303"/>
                  </a:ext>
                </a:extLst>
              </a:tr>
              <a:tr h="616688">
                <a:tc>
                  <a:txBody>
                    <a:bodyPr/>
                    <a:lstStyle/>
                    <a:p>
                      <a:pPr algn="ctr" fontAlgn="ctr"/>
                      <a:r>
                        <a:rPr lang="en-GB" sz="900" b="0" i="0" u="none" strike="noStrike">
                          <a:solidFill>
                            <a:schemeClr val="tx1"/>
                          </a:solidFill>
                          <a:effectLst/>
                          <a:latin typeface="Calibri"/>
                          <a:cs typeface="Calibri"/>
                        </a:rPr>
                        <a:t>5.9</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Support/ training/ credentials to allow updating of software and management of Laboratory VM solution.</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marL="0" algn="l" defTabSz="913943" rtl="0" eaLnBrk="1" fontAlgn="ctr" latinLnBrk="0" hangingPunct="1"/>
                      <a:r>
                        <a:rPr lang="en-GB" sz="800" b="0" i="0" u="none" strike="noStrike" kern="1200">
                          <a:solidFill>
                            <a:srgbClr val="000000"/>
                          </a:solidFill>
                          <a:effectLst/>
                          <a:latin typeface="Calibri"/>
                          <a:ea typeface="+mn-ea"/>
                          <a:cs typeface="Calibri"/>
                        </a:rPr>
                        <a:t>EY will use Azure update manager to manage OS updates, and at the same time we will work with / support SJH and their vendors to manage the updates of the current software</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294785579"/>
                  </a:ext>
                </a:extLst>
              </a:tr>
              <a:tr h="723014">
                <a:tc>
                  <a:txBody>
                    <a:bodyPr/>
                    <a:lstStyle/>
                    <a:p>
                      <a:pPr algn="ctr" fontAlgn="ctr"/>
                      <a:r>
                        <a:rPr lang="en-GB" sz="900" b="0" i="0" u="none" strike="noStrike">
                          <a:solidFill>
                            <a:schemeClr val="tx1"/>
                          </a:solidFill>
                          <a:effectLst/>
                          <a:latin typeface="Calibri"/>
                          <a:cs typeface="Calibri"/>
                        </a:rPr>
                        <a:t>5.10</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 secure remote access solution to the SJH azure portal for analysis</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The proposed solution will cover this point, as all the communication will be managed by a secure IPsec VPN Tunnels and the traffic will be managed by Azure Firewall as well</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0062121"/>
                  </a:ext>
                </a:extLst>
              </a:tr>
              <a:tr h="667783">
                <a:tc>
                  <a:txBody>
                    <a:bodyPr/>
                    <a:lstStyle/>
                    <a:p>
                      <a:pPr algn="ctr" fontAlgn="ctr"/>
                      <a:r>
                        <a:rPr lang="en-GB" sz="900" b="0" i="0" u="none" strike="noStrike">
                          <a:solidFill>
                            <a:schemeClr val="tx1"/>
                          </a:solidFill>
                          <a:effectLst/>
                          <a:latin typeface="Calibri"/>
                          <a:cs typeface="Calibri"/>
                        </a:rPr>
                        <a:t>5.11</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bility to utilise multiple different VM for analysis purposes depending on work in the laboratory. Eg a different VM for analysis of each different organism with previously software installed on each.</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will provide the needed Azure resources whenever that will be needed.</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17092907"/>
                  </a:ext>
                </a:extLst>
              </a:tr>
              <a:tr h="608124">
                <a:tc>
                  <a:txBody>
                    <a:bodyPr/>
                    <a:lstStyle/>
                    <a:p>
                      <a:pPr algn="ctr" fontAlgn="ctr"/>
                      <a:r>
                        <a:rPr lang="en-GB" sz="900" b="0" i="0" u="none" strike="noStrike">
                          <a:solidFill>
                            <a:schemeClr val="tx1"/>
                          </a:solidFill>
                          <a:effectLst/>
                          <a:latin typeface="Calibri"/>
                          <a:cs typeface="Calibri"/>
                        </a:rPr>
                        <a:t>5.12</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Transfer of SeqSphere server from local windows laptop to azure environment.</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The proposed solution by EY can utilise or leverage Azure Storage Explorer to cover this point</a:t>
                      </a:r>
                    </a:p>
                  </a:txBody>
                  <a:tcPr marL="5151" marR="5151" marT="51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2754898"/>
                  </a:ext>
                </a:extLst>
              </a:tr>
            </a:tbl>
          </a:graphicData>
        </a:graphic>
      </p:graphicFrame>
    </p:spTree>
    <p:extLst>
      <p:ext uri="{BB962C8B-B14F-4D97-AF65-F5344CB8AC3E}">
        <p14:creationId xmlns:p14="http://schemas.microsoft.com/office/powerpoint/2010/main" val="15043325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6 – </a:t>
            </a:r>
            <a:r>
              <a:rPr lang="en-GB">
                <a:latin typeface="Calibri"/>
                <a:cs typeface="Calibri"/>
              </a:rPr>
              <a:t>Table F (GCRL) </a:t>
            </a:r>
            <a:endParaRPr lang="en-GB">
              <a:latin typeface="Calibri" panose="020F0502020204030204" pitchFamily="34" charset="0"/>
              <a:cs typeface="Calibri" panose="020F0502020204030204" pitchFamily="34" charset="0"/>
            </a:endParaRPr>
          </a:p>
        </p:txBody>
      </p:sp>
      <p:graphicFrame>
        <p:nvGraphicFramePr>
          <p:cNvPr id="3" name="Table 2">
            <a:extLst>
              <a:ext uri="{FF2B5EF4-FFF2-40B4-BE49-F238E27FC236}">
                <a16:creationId xmlns:a16="http://schemas.microsoft.com/office/drawing/2014/main" id="{20E610EF-F192-B8D0-31AC-99AD5AF5A907}"/>
              </a:ext>
            </a:extLst>
          </p:cNvPr>
          <p:cNvGraphicFramePr>
            <a:graphicFrameLocks noGrp="1"/>
          </p:cNvGraphicFramePr>
          <p:nvPr>
            <p:extLst>
              <p:ext uri="{D42A27DB-BD31-4B8C-83A1-F6EECF244321}">
                <p14:modId xmlns:p14="http://schemas.microsoft.com/office/powerpoint/2010/main" val="2215384417"/>
              </p:ext>
            </p:extLst>
          </p:nvPr>
        </p:nvGraphicFramePr>
        <p:xfrm>
          <a:off x="608012" y="1392866"/>
          <a:ext cx="10974388" cy="4591293"/>
        </p:xfrm>
        <a:graphic>
          <a:graphicData uri="http://schemas.openxmlformats.org/drawingml/2006/table">
            <a:tbl>
              <a:tblPr/>
              <a:tblGrid>
                <a:gridCol w="635997">
                  <a:extLst>
                    <a:ext uri="{9D8B030D-6E8A-4147-A177-3AD203B41FA5}">
                      <a16:colId xmlns:a16="http://schemas.microsoft.com/office/drawing/2014/main" val="2568983093"/>
                    </a:ext>
                  </a:extLst>
                </a:gridCol>
                <a:gridCol w="4767228">
                  <a:extLst>
                    <a:ext uri="{9D8B030D-6E8A-4147-A177-3AD203B41FA5}">
                      <a16:colId xmlns:a16="http://schemas.microsoft.com/office/drawing/2014/main" val="3161302086"/>
                    </a:ext>
                  </a:extLst>
                </a:gridCol>
                <a:gridCol w="5571163">
                  <a:extLst>
                    <a:ext uri="{9D8B030D-6E8A-4147-A177-3AD203B41FA5}">
                      <a16:colId xmlns:a16="http://schemas.microsoft.com/office/drawing/2014/main" val="1630913515"/>
                    </a:ext>
                  </a:extLst>
                </a:gridCol>
              </a:tblGrid>
              <a:tr h="168562">
                <a:tc>
                  <a:txBody>
                    <a:bodyPr/>
                    <a:lstStyle/>
                    <a:p>
                      <a:pPr algn="ctr" fontAlgn="ctr"/>
                      <a:r>
                        <a:rPr lang="en-GB" sz="900" b="0" i="0" u="none" strike="noStrike">
                          <a:solidFill>
                            <a:srgbClr val="000000"/>
                          </a:solidFill>
                          <a:effectLst/>
                          <a:latin typeface="Calibri"/>
                          <a:cs typeface="Calibri"/>
                        </a:rPr>
                        <a:t>Item No.</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F:  Gonococcal Reference Laboratory (GCRL)</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692599591"/>
                  </a:ext>
                </a:extLst>
              </a:tr>
              <a:tr h="385283">
                <a:tc>
                  <a:txBody>
                    <a:bodyPr/>
                    <a:lstStyle/>
                    <a:p>
                      <a:pPr algn="ctr" fontAlgn="ctr"/>
                      <a:r>
                        <a:rPr lang="en-GB" sz="900" b="0" i="0" u="none" strike="noStrike">
                          <a:solidFill>
                            <a:schemeClr val="tx1"/>
                          </a:solidFill>
                          <a:effectLst/>
                          <a:latin typeface="Calibri"/>
                          <a:cs typeface="Calibri"/>
                        </a:rPr>
                        <a:t>6.1</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Direct upload from MiSeq to MRSARL portal on Azure. Confirmation that bandwidth does not impact file transfers. Data storage folders for existing and new processes to be supported and implemented.</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lvl="0" algn="l">
                        <a:buNone/>
                      </a:pPr>
                      <a:r>
                        <a:rPr lang="en-GB" sz="800" b="0" i="0" u="none" strike="noStrike" noProof="0">
                          <a:solidFill>
                            <a:srgbClr val="000000"/>
                          </a:solidFill>
                          <a:effectLst/>
                          <a:latin typeface="Calibri"/>
                        </a:rPr>
                        <a:t>During the discovery phase, EY will analysis the current configurations and process to provide the best solution for this task and avoid any impact when it comes to the file transfer.</a:t>
                      </a:r>
                      <a:endParaRPr lang="en-US"/>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2447832690"/>
                  </a:ext>
                </a:extLst>
              </a:tr>
              <a:tr h="834781">
                <a:tc>
                  <a:txBody>
                    <a:bodyPr/>
                    <a:lstStyle/>
                    <a:p>
                      <a:pPr algn="ctr" fontAlgn="ctr"/>
                      <a:r>
                        <a:rPr lang="en-GB" sz="900" b="0" i="0" u="none" strike="noStrike">
                          <a:solidFill>
                            <a:schemeClr val="tx1"/>
                          </a:solidFill>
                          <a:effectLst/>
                          <a:latin typeface="Calibri"/>
                          <a:cs typeface="Calibri"/>
                        </a:rPr>
                        <a:t>6.2</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ccess to Linux VM with a graphical user interface (ie. Ubuntu) required and needs to have equivalent (or greater) specifications as the IMRL Linux PC on the SJH genomics network as follows: The IMRL linux PC currently has Ubuntu 18.04.6 LTS 64-bit operating system, 128GB RAM, 18 core processor, 11GB Graphics card, and 4 TB local storage disk. </a:t>
                      </a:r>
                      <a:br>
                        <a:rPr lang="en-GB" sz="800" b="0" i="0" u="none" strike="noStrike">
                          <a:solidFill>
                            <a:srgbClr val="000000"/>
                          </a:solidFill>
                          <a:effectLst/>
                          <a:latin typeface="Calibri"/>
                          <a:cs typeface="Calibri"/>
                        </a:rPr>
                      </a:br>
                      <a:r>
                        <a:rPr lang="en-GB" sz="800" b="0" i="0" u="none" strike="noStrike">
                          <a:solidFill>
                            <a:srgbClr val="000000"/>
                          </a:solidFill>
                          <a:effectLst/>
                          <a:latin typeface="Calibri"/>
                          <a:cs typeface="Calibri"/>
                        </a:rPr>
                        <a:t>This is required to run scripts for command line analysis (ie res finder, MLST, Kraken2, snippy, snp-dists, FastP, seqsphere etc). If equivalent Azure command line software is applicable, vendor to provide details.</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444444"/>
                          </a:solidFill>
                          <a:effectLst/>
                          <a:latin typeface="Calibri"/>
                          <a:cs typeface="Calibri"/>
                        </a:rPr>
                        <a:t>EY had noted the required compute and storage resources, and we will create an Azure VM which supoorts that need, also we will list all the needed / mentioned applications and work with SJH to install them</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3016490"/>
                  </a:ext>
                </a:extLst>
              </a:tr>
              <a:tr h="561871">
                <a:tc>
                  <a:txBody>
                    <a:bodyPr/>
                    <a:lstStyle/>
                    <a:p>
                      <a:pPr algn="ctr" fontAlgn="ctr"/>
                      <a:r>
                        <a:rPr lang="en-GB" sz="900" b="0" i="0" u="none" strike="noStrike">
                          <a:solidFill>
                            <a:schemeClr val="tx1"/>
                          </a:solidFill>
                          <a:effectLst/>
                          <a:latin typeface="Calibri"/>
                          <a:cs typeface="Calibri"/>
                        </a:rPr>
                        <a:t>6.3</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bility to view, edit, move and download files generated by software installed on the above mentioned Azure VM (eg .txt., tab, fastq, .csv .gz, .vcf, etc.). This includes the ability to edit files on the Azure portal without downloading and uploading new versions. It may also include moving files within the Azure VM, the storage server and the corporate network. (Fileshare does not allow editing of files on Azure portal).</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The proposed solution by EY will utilise or leverage Azure Storage Explorer to cover this point</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3589460373"/>
                  </a:ext>
                </a:extLst>
              </a:tr>
              <a:tr h="834781">
                <a:tc>
                  <a:txBody>
                    <a:bodyPr/>
                    <a:lstStyle/>
                    <a:p>
                      <a:pPr algn="ctr" fontAlgn="ctr"/>
                      <a:r>
                        <a:rPr lang="en-GB" sz="900" b="0" i="0" u="none" strike="noStrike">
                          <a:solidFill>
                            <a:schemeClr val="tx1"/>
                          </a:solidFill>
                          <a:effectLst/>
                          <a:latin typeface="Calibri"/>
                          <a:cs typeface="Calibri"/>
                        </a:rPr>
                        <a:t>6.4</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ccess to web browser and external websites (ie. google, github, conda, NCBI, Basespace, iTOL, AnyDesk, PubMLST, CARD, EpiSeq etc) from the Azure VM with an ability to download reference sequences for inclusion in some data analysis and to upload above mentioned data files for analysis.</a:t>
                      </a:r>
                      <a:br>
                        <a:rPr lang="en-GB" sz="800" b="0" i="0" u="none" strike="noStrike">
                          <a:solidFill>
                            <a:srgbClr val="000000"/>
                          </a:solidFill>
                          <a:effectLst/>
                          <a:latin typeface="Calibri"/>
                          <a:cs typeface="Calibri"/>
                        </a:rPr>
                      </a:br>
                      <a:r>
                        <a:rPr lang="en-GB" sz="800" b="0" i="0" u="none" strike="noStrike">
                          <a:solidFill>
                            <a:srgbClr val="000000"/>
                          </a:solidFill>
                          <a:effectLst/>
                          <a:latin typeface="Calibri"/>
                          <a:cs typeface="Calibri"/>
                        </a:rPr>
                        <a:t>This is required to update software tools used in the GCRL as part of on-going service development. We require advise and mitigations around the use of some of these tools and risks associated to services. A change control process will need to be developed for the installation of software and tools.</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Azure Firewall will be part of our proposed solution, and using it we will define / list the needed URLs to allow the access to them</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0143852"/>
                  </a:ext>
                </a:extLst>
              </a:tr>
              <a:tr h="553845">
                <a:tc>
                  <a:txBody>
                    <a:bodyPr/>
                    <a:lstStyle/>
                    <a:p>
                      <a:pPr algn="ctr" fontAlgn="ctr"/>
                      <a:r>
                        <a:rPr lang="en-GB" sz="900" b="0" i="0" u="none" strike="noStrike">
                          <a:solidFill>
                            <a:schemeClr val="tx1"/>
                          </a:solidFill>
                          <a:effectLst/>
                          <a:latin typeface="Calibri"/>
                          <a:cs typeface="Calibri"/>
                        </a:rPr>
                        <a:t>6.5</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Create a patient database solution in the Azure environment which can be accessed by all laboratory users for data management. No current access data base in GCRL (future project) which is secure from a data protection perspective.</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Microsoft Access will be migrated to SQL Server. PostgreSQL and MySQL will be migrated to Azure’s cloud equivalents. EY also notes the need for a new patient database solution for GCRL, which may require some design thinking on the appropriate underlying technologies to line up to the type of testing performed by the lab (e.g., document-type database vs SQL)</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522064333"/>
                  </a:ext>
                </a:extLst>
              </a:tr>
              <a:tr h="329096">
                <a:tc>
                  <a:txBody>
                    <a:bodyPr/>
                    <a:lstStyle/>
                    <a:p>
                      <a:pPr algn="ctr" fontAlgn="ctr"/>
                      <a:r>
                        <a:rPr lang="en-GB" sz="900" b="0" i="0" u="none" strike="noStrike">
                          <a:solidFill>
                            <a:schemeClr val="tx1"/>
                          </a:solidFill>
                          <a:effectLst/>
                          <a:latin typeface="Calibri"/>
                          <a:cs typeface="Calibri"/>
                        </a:rPr>
                        <a:t>6.6</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 secure solution with the ability to download result files from the Azure environment to the SJH Corporate network in line with SJH policies on security and access.</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The proposed solution by EY can utilise or leverage Azure Storage Explorer to cover this point</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534413"/>
                  </a:ext>
                </a:extLst>
              </a:tr>
              <a:tr h="513711">
                <a:tc>
                  <a:txBody>
                    <a:bodyPr/>
                    <a:lstStyle/>
                    <a:p>
                      <a:pPr algn="ctr" fontAlgn="ctr"/>
                      <a:r>
                        <a:rPr lang="en-GB" sz="900" b="0" i="0" u="none" strike="noStrike">
                          <a:solidFill>
                            <a:schemeClr val="tx1"/>
                          </a:solidFill>
                          <a:effectLst/>
                          <a:latin typeface="Calibri"/>
                          <a:cs typeface="Calibri"/>
                        </a:rPr>
                        <a:t>6.7</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Secure remote access solution to SJH azure portal for analysis.</a:t>
                      </a:r>
                      <a:br>
                        <a:rPr lang="en-GB" sz="800" b="0" i="0" u="none" strike="noStrike">
                          <a:solidFill>
                            <a:srgbClr val="000000"/>
                          </a:solidFill>
                          <a:effectLst/>
                          <a:latin typeface="Calibri"/>
                          <a:cs typeface="Calibri"/>
                        </a:rPr>
                      </a:br>
                      <a:r>
                        <a:rPr lang="en-GB" sz="800" b="0" i="0" u="none" strike="noStrike">
                          <a:solidFill>
                            <a:srgbClr val="000000"/>
                          </a:solidFill>
                          <a:effectLst/>
                          <a:latin typeface="Calibri"/>
                          <a:cs typeface="Calibri"/>
                        </a:rPr>
                        <a:t>Be compatible with SJH remote access to the Azure environment and the Genomics network including the Linux VM directly from a local PC.  Connectivity should be in line with SJH policies on security and access</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Connectivity to the proposed solution will be achieved by utilising an Azure vWAN Hub which consists of an Azure Firewall and Azure Virtual Network Gateway which will help us to comply with SJH policies on security and access</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461932160"/>
                  </a:ext>
                </a:extLst>
              </a:tr>
              <a:tr h="409363">
                <a:tc>
                  <a:txBody>
                    <a:bodyPr/>
                    <a:lstStyle/>
                    <a:p>
                      <a:pPr algn="ctr" fontAlgn="ctr"/>
                      <a:r>
                        <a:rPr lang="en-GB" sz="900" b="0" i="0" u="none" strike="noStrike">
                          <a:solidFill>
                            <a:schemeClr val="tx1"/>
                          </a:solidFill>
                          <a:effectLst/>
                          <a:latin typeface="Calibri"/>
                          <a:cs typeface="Calibri"/>
                        </a:rPr>
                        <a:t>6.8</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Support/ training/ credentials to allow updating of software and management of Laboratory VM solution.</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will use Azure update manager to manage OS updates, and at the same time we will work with &amp; support SJH and their vendors to manage the updates of the current software</a:t>
                      </a:r>
                    </a:p>
                  </a:txBody>
                  <a:tcPr marL="7302" marR="7302" marT="730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tcPr>
                </a:tc>
                <a:extLst>
                  <a:ext uri="{0D108BD9-81ED-4DB2-BD59-A6C34878D82A}">
                    <a16:rowId xmlns:a16="http://schemas.microsoft.com/office/drawing/2014/main" val="2457948459"/>
                  </a:ext>
                </a:extLst>
              </a:tr>
            </a:tbl>
          </a:graphicData>
        </a:graphic>
      </p:graphicFrame>
    </p:spTree>
    <p:extLst>
      <p:ext uri="{BB962C8B-B14F-4D97-AF65-F5344CB8AC3E}">
        <p14:creationId xmlns:p14="http://schemas.microsoft.com/office/powerpoint/2010/main" val="371135610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7 – </a:t>
            </a:r>
            <a:r>
              <a:rPr lang="en-GB">
                <a:latin typeface="Calibri"/>
                <a:cs typeface="Calibri"/>
              </a:rPr>
              <a:t>Table G (HMD)</a:t>
            </a:r>
          </a:p>
        </p:txBody>
      </p:sp>
      <p:graphicFrame>
        <p:nvGraphicFramePr>
          <p:cNvPr id="3" name="Table 2">
            <a:extLst>
              <a:ext uri="{FF2B5EF4-FFF2-40B4-BE49-F238E27FC236}">
                <a16:creationId xmlns:a16="http://schemas.microsoft.com/office/drawing/2014/main" id="{3863B000-22E3-E2ED-9EDB-E203774CC104}"/>
              </a:ext>
            </a:extLst>
          </p:cNvPr>
          <p:cNvGraphicFramePr>
            <a:graphicFrameLocks noGrp="1"/>
          </p:cNvGraphicFramePr>
          <p:nvPr>
            <p:extLst>
              <p:ext uri="{D42A27DB-BD31-4B8C-83A1-F6EECF244321}">
                <p14:modId xmlns:p14="http://schemas.microsoft.com/office/powerpoint/2010/main" val="3944668429"/>
              </p:ext>
            </p:extLst>
          </p:nvPr>
        </p:nvGraphicFramePr>
        <p:xfrm>
          <a:off x="609600" y="1611244"/>
          <a:ext cx="10972800" cy="1038953"/>
        </p:xfrm>
        <a:graphic>
          <a:graphicData uri="http://schemas.openxmlformats.org/drawingml/2006/table">
            <a:tbl>
              <a:tblPr/>
              <a:tblGrid>
                <a:gridCol w="528084">
                  <a:extLst>
                    <a:ext uri="{9D8B030D-6E8A-4147-A177-3AD203B41FA5}">
                      <a16:colId xmlns:a16="http://schemas.microsoft.com/office/drawing/2014/main" val="3452287932"/>
                    </a:ext>
                  </a:extLst>
                </a:gridCol>
                <a:gridCol w="5620573">
                  <a:extLst>
                    <a:ext uri="{9D8B030D-6E8A-4147-A177-3AD203B41FA5}">
                      <a16:colId xmlns:a16="http://schemas.microsoft.com/office/drawing/2014/main" val="4032233039"/>
                    </a:ext>
                  </a:extLst>
                </a:gridCol>
                <a:gridCol w="4824143">
                  <a:extLst>
                    <a:ext uri="{9D8B030D-6E8A-4147-A177-3AD203B41FA5}">
                      <a16:colId xmlns:a16="http://schemas.microsoft.com/office/drawing/2014/main" val="2738259565"/>
                    </a:ext>
                  </a:extLst>
                </a:gridCol>
              </a:tblGrid>
              <a:tr h="191386">
                <a:tc>
                  <a:txBody>
                    <a:bodyPr/>
                    <a:lstStyle/>
                    <a:p>
                      <a:pPr algn="ctr" fontAlgn="ctr"/>
                      <a:r>
                        <a:rPr lang="en-GB" sz="900" b="0" i="0" u="none" strike="noStrike">
                          <a:solidFill>
                            <a:srgbClr val="000000"/>
                          </a:solidFill>
                          <a:effectLst/>
                          <a:latin typeface="Calibri" panose="020F0502020204030204" pitchFamily="34" charset="0"/>
                          <a:cs typeface="Calibri" panose="020F0502020204030204" pitchFamily="34" charset="0"/>
                        </a:rPr>
                        <a:t>Item No.</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panose="020F0502020204030204" pitchFamily="34" charset="0"/>
                          <a:cs typeface="Calibri" panose="020F0502020204030204" pitchFamily="34" charset="0"/>
                        </a:rPr>
                        <a:t>Table G:  Haemostasis Molecular Diagnostics (HMD) Laboratory </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panose="020F0502020204030204" pitchFamily="34" charset="0"/>
                          <a:cs typeface="Calibri" panose="020F0502020204030204" pitchFamily="34" charset="0"/>
                        </a:rPr>
                        <a:t>Exec Response</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260936558"/>
                  </a:ext>
                </a:extLst>
              </a:tr>
              <a:tr h="847567">
                <a:tc>
                  <a:txBody>
                    <a:bodyPr/>
                    <a:lstStyle/>
                    <a:p>
                      <a:pPr algn="ctr" fontAlgn="ctr"/>
                      <a:r>
                        <a:rPr lang="en-GB" sz="900" b="0" i="0" u="none" strike="noStrike">
                          <a:solidFill>
                            <a:schemeClr val="tx1"/>
                          </a:solidFill>
                          <a:effectLst/>
                          <a:latin typeface="Calibri" panose="020F0502020204030204" pitchFamily="34" charset="0"/>
                          <a:cs typeface="Calibri" panose="020F0502020204030204" pitchFamily="34" charset="0"/>
                        </a:rPr>
                        <a:t>7.1</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panose="020F0502020204030204" pitchFamily="34" charset="0"/>
                          <a:cs typeface="Calibri" panose="020F0502020204030204" pitchFamily="34" charset="0"/>
                        </a:rPr>
                        <a:t>The HMD laboratory is currently not connected to the Microsoft Azure cloud hosted environment. The tenderer will be required to engage with the HMD and align their data storage configuration with the CMD laboratory (Table C) including JSI connectivity in Azure (new) and connectivity to new laboratory folders/files.</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panose="020F0502020204030204" pitchFamily="34" charset="0"/>
                          <a:cs typeface="Calibri" panose="020F0502020204030204" pitchFamily="34" charset="0"/>
                        </a:rPr>
                        <a:t>EY will work with and support HMD laboratory to define their requirements and needs</a:t>
                      </a:r>
                    </a:p>
                  </a:txBody>
                  <a:tcPr marL="9114" marR="9114" marT="911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47779304"/>
                  </a:ext>
                </a:extLst>
              </a:tr>
            </a:tbl>
          </a:graphicData>
        </a:graphic>
      </p:graphicFrame>
    </p:spTree>
    <p:extLst>
      <p:ext uri="{BB962C8B-B14F-4D97-AF65-F5344CB8AC3E}">
        <p14:creationId xmlns:p14="http://schemas.microsoft.com/office/powerpoint/2010/main" val="222497815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8 – </a:t>
            </a:r>
            <a:r>
              <a:rPr lang="en-GB">
                <a:latin typeface="Calibri"/>
                <a:cs typeface="Calibri"/>
              </a:rPr>
              <a:t>Table H (Computing Systems Management) Part 1</a:t>
            </a:r>
          </a:p>
        </p:txBody>
      </p:sp>
      <p:graphicFrame>
        <p:nvGraphicFramePr>
          <p:cNvPr id="2" name="Table 1">
            <a:extLst>
              <a:ext uri="{FF2B5EF4-FFF2-40B4-BE49-F238E27FC236}">
                <a16:creationId xmlns:a16="http://schemas.microsoft.com/office/drawing/2014/main" id="{2C6B1AC5-CB7D-3F99-FD63-71D0D177EF9B}"/>
              </a:ext>
            </a:extLst>
          </p:cNvPr>
          <p:cNvGraphicFramePr>
            <a:graphicFrameLocks noGrp="1"/>
          </p:cNvGraphicFramePr>
          <p:nvPr>
            <p:extLst>
              <p:ext uri="{D42A27DB-BD31-4B8C-83A1-F6EECF244321}">
                <p14:modId xmlns:p14="http://schemas.microsoft.com/office/powerpoint/2010/main" val="2429966552"/>
              </p:ext>
            </p:extLst>
          </p:nvPr>
        </p:nvGraphicFramePr>
        <p:xfrm>
          <a:off x="609600" y="1446028"/>
          <a:ext cx="10873601" cy="2849254"/>
        </p:xfrm>
        <a:graphic>
          <a:graphicData uri="http://schemas.openxmlformats.org/drawingml/2006/table">
            <a:tbl>
              <a:tblPr/>
              <a:tblGrid>
                <a:gridCol w="443023">
                  <a:extLst>
                    <a:ext uri="{9D8B030D-6E8A-4147-A177-3AD203B41FA5}">
                      <a16:colId xmlns:a16="http://schemas.microsoft.com/office/drawing/2014/main" val="1913216873"/>
                    </a:ext>
                  </a:extLst>
                </a:gridCol>
                <a:gridCol w="5679329">
                  <a:extLst>
                    <a:ext uri="{9D8B030D-6E8A-4147-A177-3AD203B41FA5}">
                      <a16:colId xmlns:a16="http://schemas.microsoft.com/office/drawing/2014/main" val="1824972052"/>
                    </a:ext>
                  </a:extLst>
                </a:gridCol>
                <a:gridCol w="4751249">
                  <a:extLst>
                    <a:ext uri="{9D8B030D-6E8A-4147-A177-3AD203B41FA5}">
                      <a16:colId xmlns:a16="http://schemas.microsoft.com/office/drawing/2014/main" val="1489747315"/>
                    </a:ext>
                  </a:extLst>
                </a:gridCol>
              </a:tblGrid>
              <a:tr h="157138">
                <a:tc>
                  <a:txBody>
                    <a:bodyPr/>
                    <a:lstStyle/>
                    <a:p>
                      <a:pPr algn="ctr" fontAlgn="ctr"/>
                      <a:r>
                        <a:rPr lang="en-GB" sz="900" b="0" i="0" u="none" strike="noStrike">
                          <a:solidFill>
                            <a:srgbClr val="000000"/>
                          </a:solidFill>
                          <a:effectLst/>
                          <a:latin typeface="Calibri"/>
                          <a:cs typeface="Calibri"/>
                        </a:rPr>
                        <a:t>Item No.</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H:  Computing Systems Managemen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344683"/>
                  </a:ext>
                </a:extLst>
              </a:tr>
              <a:tr h="353225">
                <a:tc>
                  <a:txBody>
                    <a:bodyPr/>
                    <a:lstStyle/>
                    <a:p>
                      <a:pPr algn="ctr" fontAlgn="ctr"/>
                      <a:r>
                        <a:rPr lang="en-GB" sz="900" b="0" i="0" u="none" strike="noStrike">
                          <a:solidFill>
                            <a:schemeClr val="tx1"/>
                          </a:solidFill>
                          <a:effectLst/>
                          <a:latin typeface="Calibri"/>
                          <a:cs typeface="Calibri"/>
                        </a:rPr>
                        <a:t>8.1</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Monitor and maintain database health, availability, and performance. The desired service should be available as needed by laboratory users at all time and not be offline in any regard other than under disaster condition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will rely on Azure Monitor, Query Performance Insight, and Azure resource health to handle this par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182960296"/>
                  </a:ext>
                </a:extLst>
              </a:tr>
              <a:tr h="414669">
                <a:tc>
                  <a:txBody>
                    <a:bodyPr/>
                    <a:lstStyle/>
                    <a:p>
                      <a:pPr algn="ctr" fontAlgn="ctr"/>
                      <a:r>
                        <a:rPr lang="en-GB" sz="900" b="0" i="0" u="none" strike="noStrike">
                          <a:solidFill>
                            <a:schemeClr val="tx1"/>
                          </a:solidFill>
                          <a:effectLst/>
                          <a:latin typeface="Calibri"/>
                          <a:cs typeface="Calibri"/>
                        </a:rPr>
                        <a:t>8.2</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Monitor and maintain database storage requirements (e.g. storage, usage, etc.) The desired storage service should be available as needed by laboratory users at all times and not be offline in any regard other than under disaster condition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will rely on Azure Monitor, Query Performance Insight, and Azure resource health to handle this par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36571"/>
                  </a:ext>
                </a:extLst>
              </a:tr>
              <a:tr h="382773">
                <a:tc>
                  <a:txBody>
                    <a:bodyPr/>
                    <a:lstStyle/>
                    <a:p>
                      <a:pPr algn="ctr" fontAlgn="ctr"/>
                      <a:r>
                        <a:rPr lang="en-GB" sz="900" b="0" i="0" u="none" strike="noStrike">
                          <a:solidFill>
                            <a:schemeClr val="tx1"/>
                          </a:solidFill>
                          <a:effectLst/>
                          <a:latin typeface="Calibri"/>
                          <a:cs typeface="Calibri"/>
                        </a:rPr>
                        <a:t>8.3</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Manage database level access (e.g., user accounts and privileges). Client approval needed for CCL/super user level acces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has noted the requirements, and we will comply with the current approval proces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77136735"/>
                  </a:ext>
                </a:extLst>
              </a:tr>
              <a:tr h="501345">
                <a:tc>
                  <a:txBody>
                    <a:bodyPr/>
                    <a:lstStyle/>
                    <a:p>
                      <a:pPr algn="ctr" fontAlgn="ctr"/>
                      <a:r>
                        <a:rPr lang="en-GB" sz="900" b="0" i="0" u="none" strike="noStrike">
                          <a:solidFill>
                            <a:schemeClr val="tx1"/>
                          </a:solidFill>
                          <a:effectLst/>
                          <a:latin typeface="Calibri"/>
                          <a:cs typeface="Calibri"/>
                        </a:rPr>
                        <a: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In conjunction with third party vendors complete software upgrades, assess the impact and the requirement for re-validation to be performed. Support the laboratory teams &amp; IMS in the completion of same.</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will work with &amp; support SJH and their vendors to manage the updates / upgrades of the current software and set a clear process to validate everything before applying any change on the PROD environmen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3312310"/>
                  </a:ext>
                </a:extLst>
              </a:tr>
              <a:tr h="508828">
                <a:tc>
                  <a:txBody>
                    <a:bodyPr/>
                    <a:lstStyle/>
                    <a:p>
                      <a:pPr algn="ctr" fontAlgn="ctr"/>
                      <a:r>
                        <a:rPr lang="en-GB" sz="900" b="0" i="0" u="none" strike="noStrike">
                          <a:solidFill>
                            <a:schemeClr val="tx1"/>
                          </a:solidFill>
                          <a:effectLst/>
                          <a:latin typeface="Calibri"/>
                          <a:cs typeface="Calibri"/>
                        </a:rPr>
                        <a:t>8.4</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Perform technical work required to support patch installs and database upgrades. All works should be scheduled at least 2 weeks in advance of any proposed changes with relevant documentation provided for our Quality management system.  All upgrades should be completed within an agreed timeframe which will be set at the time of contract/service agreement with SJH personnel.</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had noted the requirements to support patch installs and database upgrades while considering the agreed time frame</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985809163"/>
                  </a:ext>
                </a:extLst>
              </a:tr>
              <a:tr h="531276">
                <a:tc>
                  <a:txBody>
                    <a:bodyPr/>
                    <a:lstStyle/>
                    <a:p>
                      <a:pPr algn="ctr" fontAlgn="ctr"/>
                      <a:r>
                        <a:rPr lang="en-GB" sz="900" b="0" i="0" u="none" strike="noStrike">
                          <a:solidFill>
                            <a:schemeClr val="tx1"/>
                          </a:solidFill>
                          <a:effectLst/>
                          <a:latin typeface="Calibri"/>
                          <a:cs typeface="Calibri"/>
                        </a:rPr>
                        <a:t>8.5</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Perform technical troubleshooting and support of database.  A helpdesk within the EU will be required.  All details relating to troubleshooting and technical support will be agreed with the successful vendor at the time of contract/service agreement completion with SJH personnel.</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will provide a Managed Service to provide technical support and troubleshooting of any issues reported to them or notified from the application/platform monitoring, including databases. Details of this can be found within Section C - Managed Service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8187074"/>
                  </a:ext>
                </a:extLst>
              </a:tr>
            </a:tbl>
          </a:graphicData>
        </a:graphic>
      </p:graphicFrame>
    </p:spTree>
    <p:extLst>
      <p:ext uri="{BB962C8B-B14F-4D97-AF65-F5344CB8AC3E}">
        <p14:creationId xmlns:p14="http://schemas.microsoft.com/office/powerpoint/2010/main" val="29590998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fontAlgn="base"/>
            <a:r>
              <a:rPr lang="en-GB">
                <a:latin typeface="Calibri"/>
                <a:cs typeface="Calibri"/>
              </a:rPr>
              <a:t>L</a:t>
            </a:r>
            <a:r>
              <a:rPr lang="en-GB" b="0" i="0">
                <a:effectLst/>
                <a:latin typeface="Calibri"/>
                <a:cs typeface="Calibri"/>
              </a:rPr>
              <a:t>.8 – </a:t>
            </a:r>
            <a:r>
              <a:rPr lang="en-GB">
                <a:latin typeface="Calibri"/>
                <a:cs typeface="Calibri"/>
              </a:rPr>
              <a:t>Table H (Computing Systems Management) Part 2</a:t>
            </a:r>
          </a:p>
        </p:txBody>
      </p:sp>
      <p:graphicFrame>
        <p:nvGraphicFramePr>
          <p:cNvPr id="2" name="Table 1">
            <a:extLst>
              <a:ext uri="{FF2B5EF4-FFF2-40B4-BE49-F238E27FC236}">
                <a16:creationId xmlns:a16="http://schemas.microsoft.com/office/drawing/2014/main" id="{2C6B1AC5-CB7D-3F99-FD63-71D0D177EF9B}"/>
              </a:ext>
            </a:extLst>
          </p:cNvPr>
          <p:cNvGraphicFramePr>
            <a:graphicFrameLocks noGrp="1"/>
          </p:cNvGraphicFramePr>
          <p:nvPr>
            <p:extLst>
              <p:ext uri="{D42A27DB-BD31-4B8C-83A1-F6EECF244321}">
                <p14:modId xmlns:p14="http://schemas.microsoft.com/office/powerpoint/2010/main" val="2413823310"/>
              </p:ext>
            </p:extLst>
          </p:nvPr>
        </p:nvGraphicFramePr>
        <p:xfrm>
          <a:off x="609600" y="1446028"/>
          <a:ext cx="10873601" cy="2608942"/>
        </p:xfrm>
        <a:graphic>
          <a:graphicData uri="http://schemas.openxmlformats.org/drawingml/2006/table">
            <a:tbl>
              <a:tblPr/>
              <a:tblGrid>
                <a:gridCol w="443023">
                  <a:extLst>
                    <a:ext uri="{9D8B030D-6E8A-4147-A177-3AD203B41FA5}">
                      <a16:colId xmlns:a16="http://schemas.microsoft.com/office/drawing/2014/main" val="1913216873"/>
                    </a:ext>
                  </a:extLst>
                </a:gridCol>
                <a:gridCol w="5679329">
                  <a:extLst>
                    <a:ext uri="{9D8B030D-6E8A-4147-A177-3AD203B41FA5}">
                      <a16:colId xmlns:a16="http://schemas.microsoft.com/office/drawing/2014/main" val="1824972052"/>
                    </a:ext>
                  </a:extLst>
                </a:gridCol>
                <a:gridCol w="4751249">
                  <a:extLst>
                    <a:ext uri="{9D8B030D-6E8A-4147-A177-3AD203B41FA5}">
                      <a16:colId xmlns:a16="http://schemas.microsoft.com/office/drawing/2014/main" val="1489747315"/>
                    </a:ext>
                  </a:extLst>
                </a:gridCol>
              </a:tblGrid>
              <a:tr h="157138">
                <a:tc>
                  <a:txBody>
                    <a:bodyPr/>
                    <a:lstStyle/>
                    <a:p>
                      <a:pPr algn="ctr" fontAlgn="ctr"/>
                      <a:r>
                        <a:rPr lang="en-GB" sz="900" b="0" i="0" u="none" strike="noStrike">
                          <a:solidFill>
                            <a:srgbClr val="000000"/>
                          </a:solidFill>
                          <a:effectLst/>
                          <a:latin typeface="Calibri"/>
                          <a:cs typeface="Calibri"/>
                        </a:rPr>
                        <a:t>Item No.</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Table H:  Computing Systems Management</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900" b="0" i="0" u="none" strike="noStrike">
                          <a:solidFill>
                            <a:srgbClr val="000000"/>
                          </a:solidFill>
                          <a:effectLst/>
                          <a:latin typeface="Calibri"/>
                          <a:cs typeface="Calibri"/>
                        </a:rPr>
                        <a:t>Exec Response</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344683"/>
                  </a:ext>
                </a:extLst>
              </a:tr>
              <a:tr h="396586">
                <a:tc>
                  <a:txBody>
                    <a:bodyPr/>
                    <a:lstStyle/>
                    <a:p>
                      <a:pPr algn="ctr" fontAlgn="ctr"/>
                      <a:r>
                        <a:rPr lang="en-GB" sz="900" b="0" i="0" u="none" strike="noStrike">
                          <a:solidFill>
                            <a:schemeClr val="tx1"/>
                          </a:solidFill>
                          <a:effectLst/>
                          <a:latin typeface="Calibri"/>
                          <a:cs typeface="Calibri"/>
                        </a:rPr>
                        <a:t>8.7</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Provider shall maintain business resilience/disaster recovery plans for the solution provided. A business continuity/disaster recovery plan should be provided by the vendor including time to restoration of services and time to recovery of data.</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has noted the requirements, and this point is well detailed under D1 section</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4726050"/>
                  </a:ext>
                </a:extLst>
              </a:tr>
              <a:tr h="366655">
                <a:tc>
                  <a:txBody>
                    <a:bodyPr/>
                    <a:lstStyle/>
                    <a:p>
                      <a:pPr algn="ctr" fontAlgn="ctr"/>
                      <a:r>
                        <a:rPr lang="en-GB" sz="900" b="0" i="0" u="none" strike="noStrike">
                          <a:solidFill>
                            <a:schemeClr val="tx1"/>
                          </a:solidFill>
                          <a:effectLst/>
                          <a:latin typeface="Calibri"/>
                          <a:cs typeface="Calibri"/>
                        </a:rPr>
                        <a:t>8.8</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Provide auditing reporting and alerting for solution, these can include add/moves/deletes/login/failed login/backups/failed backups etc</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As highlighted before, EY will achieve that by using Sign-in logs in Azure Active Directory - Microsoft Entra &amp; Azure Monitor.</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3410483841"/>
                  </a:ext>
                </a:extLst>
              </a:tr>
              <a:tr h="429956">
                <a:tc>
                  <a:txBody>
                    <a:bodyPr/>
                    <a:lstStyle/>
                    <a:p>
                      <a:pPr algn="ctr" fontAlgn="ctr"/>
                      <a:r>
                        <a:rPr lang="en-GB" sz="900" b="0" i="0" u="none" strike="noStrike">
                          <a:solidFill>
                            <a:schemeClr val="tx1"/>
                          </a:solidFill>
                          <a:effectLst/>
                          <a:latin typeface="Calibri"/>
                          <a:cs typeface="Calibri"/>
                        </a:rPr>
                        <a:t>8.9</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Must comply with SJH password policy</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had noted the requirements and we will comply with the current password policy</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479418"/>
                  </a:ext>
                </a:extLst>
              </a:tr>
              <a:tr h="446567">
                <a:tc>
                  <a:txBody>
                    <a:bodyPr/>
                    <a:lstStyle/>
                    <a:p>
                      <a:pPr algn="ctr" fontAlgn="ctr"/>
                      <a:r>
                        <a:rPr lang="en-GB" sz="900" b="0" i="0" u="none" strike="noStrike">
                          <a:solidFill>
                            <a:schemeClr val="tx1"/>
                          </a:solidFill>
                          <a:effectLst/>
                          <a:latin typeface="Calibri"/>
                          <a:cs typeface="Calibri"/>
                        </a:rPr>
                        <a:t>8.10</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Individual user accounts must be used, all root accounts to have strong passwords and reset every 90 days. </a:t>
                      </a:r>
                      <a:endParaRPr lang="en-GB" sz="800" b="0" i="0" u="none" strike="noStrike">
                        <a:solidFill>
                          <a:srgbClr val="000000"/>
                        </a:solidFill>
                        <a:effectLst/>
                        <a:latin typeface="Calibri" panose="020F0502020204030204" pitchFamily="34" charset="0"/>
                        <a:cs typeface="Calibri" panose="020F0502020204030204" pitchFamily="34" charset="0"/>
                      </a:endParaRP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EY had noted the requirements and we will comply with the current policie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792660940"/>
                  </a:ext>
                </a:extLst>
              </a:tr>
              <a:tr h="467833">
                <a:tc>
                  <a:txBody>
                    <a:bodyPr/>
                    <a:lstStyle/>
                    <a:p>
                      <a:pPr algn="ctr" fontAlgn="ctr"/>
                      <a:r>
                        <a:rPr lang="en-GB" sz="900" b="0" i="0" u="none" strike="noStrike">
                          <a:solidFill>
                            <a:schemeClr val="tx1"/>
                          </a:solidFill>
                          <a:effectLst/>
                          <a:latin typeface="Calibri"/>
                          <a:cs typeface="Calibri"/>
                        </a:rPr>
                        <a:t>8.11</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Full documentation to be produced of final solution on completion of setup.</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Calibri"/>
                          <a:cs typeface="Calibri"/>
                        </a:rPr>
                        <a:t>EY will provide a full documentation which covers and explains every aspect of the platform</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169280"/>
                  </a:ext>
                </a:extLst>
              </a:tr>
              <a:tr h="344207">
                <a:tc>
                  <a:txBody>
                    <a:bodyPr/>
                    <a:lstStyle/>
                    <a:p>
                      <a:pPr algn="ctr" fontAlgn="ctr"/>
                      <a:r>
                        <a:rPr lang="en-GB" sz="900" b="0" i="0" u="none" strike="noStrike">
                          <a:solidFill>
                            <a:schemeClr val="tx1"/>
                          </a:solidFill>
                          <a:effectLst/>
                          <a:latin typeface="Calibri"/>
                          <a:cs typeface="Calibri"/>
                        </a:rPr>
                        <a:t>8.12</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60000"/>
                        <a:lumOff val="40000"/>
                      </a:schemeClr>
                    </a:solidFill>
                  </a:tcPr>
                </a:tc>
                <a:tc>
                  <a:txBody>
                    <a:bodyPr/>
                    <a:lstStyle/>
                    <a:p>
                      <a:pPr algn="l" fontAlgn="ctr"/>
                      <a:r>
                        <a:rPr lang="en-GB" sz="800" b="0" i="0" u="none" strike="noStrike">
                          <a:solidFill>
                            <a:srgbClr val="000000"/>
                          </a:solidFill>
                          <a:effectLst/>
                          <a:latin typeface="Calibri"/>
                          <a:cs typeface="Calibri"/>
                        </a:rPr>
                        <a:t>Ability to display the Azure costs per Laboratory</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tc>
                  <a:txBody>
                    <a:bodyPr/>
                    <a:lstStyle/>
                    <a:p>
                      <a:pPr algn="l" fontAlgn="ctr"/>
                      <a:r>
                        <a:rPr lang="en-GB" sz="800" b="0" i="0" u="none" strike="noStrike">
                          <a:solidFill>
                            <a:srgbClr val="000000"/>
                          </a:solidFill>
                          <a:effectLst/>
                          <a:latin typeface="Calibri"/>
                          <a:cs typeface="Calibri"/>
                        </a:rPr>
                        <a:t>The cost of the Azure resources will be managed using Azure Cost Management and we can split or display the cost per laboratory via applying Azure policy or using azure resource tags</a:t>
                      </a:r>
                    </a:p>
                  </a:txBody>
                  <a:tcPr marL="7076" marR="7076" marT="707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lumMod val="20000"/>
                        <a:lumOff val="80000"/>
                      </a:schemeClr>
                    </a:solidFill>
                  </a:tcPr>
                </a:tc>
                <a:extLst>
                  <a:ext uri="{0D108BD9-81ED-4DB2-BD59-A6C34878D82A}">
                    <a16:rowId xmlns:a16="http://schemas.microsoft.com/office/drawing/2014/main" val="2066086473"/>
                  </a:ext>
                </a:extLst>
              </a:tr>
            </a:tbl>
          </a:graphicData>
        </a:graphic>
      </p:graphicFrame>
    </p:spTree>
    <p:extLst>
      <p:ext uri="{BB962C8B-B14F-4D97-AF65-F5344CB8AC3E}">
        <p14:creationId xmlns:p14="http://schemas.microsoft.com/office/powerpoint/2010/main" val="24589567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151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10744199" cy="676788"/>
          </a:xfrm>
        </p:spPr>
        <p:txBody>
          <a:bodyPr/>
          <a:lstStyle/>
          <a:p>
            <a:r>
              <a:rPr lang="en-IE">
                <a:latin typeface="Calibri"/>
                <a:cs typeface="Calibri"/>
              </a:rPr>
              <a:t>B.3 – </a:t>
            </a:r>
            <a:r>
              <a:rPr lang="en-IE" sz="4400" b="0" i="0" u="none" strike="noStrike">
                <a:effectLst/>
                <a:latin typeface="Calibri"/>
                <a:cs typeface="Calibri"/>
              </a:rPr>
              <a:t>Introduction to our Microsoft Tech capabilities</a:t>
            </a:r>
            <a:r>
              <a:rPr lang="en-US" sz="4400" b="0" i="0">
                <a:effectLst/>
                <a:latin typeface="Calibri"/>
                <a:cs typeface="Calibri"/>
              </a:rPr>
              <a:t>​</a:t>
            </a:r>
            <a:endParaRPr lang="en-IE">
              <a:latin typeface="Calibri"/>
              <a:cs typeface="Calibri"/>
            </a:endParaRPr>
          </a:p>
        </p:txBody>
      </p:sp>
    </p:spTree>
    <p:extLst>
      <p:ext uri="{BB962C8B-B14F-4D97-AF65-F5344CB8AC3E}">
        <p14:creationId xmlns:p14="http://schemas.microsoft.com/office/powerpoint/2010/main" val="2659308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sz="2400">
                <a:solidFill>
                  <a:schemeClr val="bg1"/>
                </a:solidFill>
                <a:latin typeface="Calibri" panose="020F0502020204030204" pitchFamily="34" charset="0"/>
                <a:cs typeface="Calibri" panose="020F0502020204030204" pitchFamily="34" charset="0"/>
              </a:rPr>
              <a:t>B.2 – Introduction </a:t>
            </a:r>
            <a:r>
              <a:rPr lang="en-IN">
                <a:latin typeface="Calibri" panose="020F0502020204030204" pitchFamily="34" charset="0"/>
                <a:cs typeface="Calibri" panose="020F0502020204030204" pitchFamily="34" charset="0"/>
              </a:rPr>
              <a:t>to our EY </a:t>
            </a:r>
            <a:r>
              <a:rPr lang="en-IN" sz="2400">
                <a:solidFill>
                  <a:schemeClr val="bg1"/>
                </a:solidFill>
                <a:latin typeface="Calibri" panose="020F0502020204030204" pitchFamily="34" charset="0"/>
                <a:cs typeface="Calibri" panose="020F0502020204030204" pitchFamily="34" charset="0"/>
              </a:rPr>
              <a:t>Ireland Microsoft t</a:t>
            </a:r>
            <a:r>
              <a:rPr lang="en-IN">
                <a:latin typeface="Calibri" panose="020F0502020204030204" pitchFamily="34" charset="0"/>
                <a:cs typeface="Calibri" panose="020F0502020204030204" pitchFamily="34" charset="0"/>
              </a:rPr>
              <a:t>echnical </a:t>
            </a:r>
            <a:r>
              <a:rPr lang="en-IN" sz="2400">
                <a:solidFill>
                  <a:schemeClr val="bg1"/>
                </a:solidFill>
                <a:latin typeface="Calibri" panose="020F0502020204030204" pitchFamily="34" charset="0"/>
                <a:cs typeface="Calibri" panose="020F0502020204030204" pitchFamily="34" charset="0"/>
              </a:rPr>
              <a:t>capabilities</a:t>
            </a:r>
            <a:endParaRPr lang="en-IE">
              <a:latin typeface="Calibri" panose="020F0502020204030204" pitchFamily="34" charset="0"/>
              <a:cs typeface="Calibri" panose="020F0502020204030204" pitchFamily="34" charset="0"/>
            </a:endParaRPr>
          </a:p>
        </p:txBody>
      </p:sp>
      <p:sp>
        <p:nvSpPr>
          <p:cNvPr id="23" name="Arrow: Pentagon 3">
            <a:extLst>
              <a:ext uri="{FF2B5EF4-FFF2-40B4-BE49-F238E27FC236}">
                <a16:creationId xmlns:a16="http://schemas.microsoft.com/office/drawing/2014/main" id="{F93130F4-855F-15D4-0E76-53F330CD44EF}"/>
              </a:ext>
            </a:extLst>
          </p:cNvPr>
          <p:cNvSpPr/>
          <p:nvPr/>
        </p:nvSpPr>
        <p:spPr>
          <a:xfrm>
            <a:off x="5935491" y="3075237"/>
            <a:ext cx="2404763" cy="386834"/>
          </a:xfrm>
          <a:prstGeom prst="homePlat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801619">
              <a:defRPr/>
            </a:pPr>
            <a:r>
              <a:rPr lang="en-IN" sz="1052" b="1">
                <a:solidFill>
                  <a:srgbClr val="000000"/>
                </a:solidFill>
                <a:latin typeface="Calibri" panose="020F0502020204030204" pitchFamily="34" charset="0"/>
                <a:cs typeface="Calibri" panose="020F0502020204030204" pitchFamily="34" charset="0"/>
              </a:rPr>
              <a:t>Cloud Cyber</a:t>
            </a:r>
          </a:p>
        </p:txBody>
      </p:sp>
      <p:sp>
        <p:nvSpPr>
          <p:cNvPr id="24" name="Arrow: Chevron 4">
            <a:extLst>
              <a:ext uri="{FF2B5EF4-FFF2-40B4-BE49-F238E27FC236}">
                <a16:creationId xmlns:a16="http://schemas.microsoft.com/office/drawing/2014/main" id="{101CAD34-5D8B-449E-65EB-7E12D8620949}"/>
              </a:ext>
            </a:extLst>
          </p:cNvPr>
          <p:cNvSpPr/>
          <p:nvPr/>
        </p:nvSpPr>
        <p:spPr>
          <a:xfrm>
            <a:off x="8411275" y="3065103"/>
            <a:ext cx="2404763" cy="386834"/>
          </a:xfrm>
          <a:prstGeom prst="chevron">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00809" lvl="1" algn="ctr" defTabSz="801619">
              <a:defRPr/>
            </a:pPr>
            <a:r>
              <a:rPr lang="en-IN" sz="1052" b="1">
                <a:solidFill>
                  <a:srgbClr val="000000"/>
                </a:solidFill>
                <a:latin typeface="Calibri" panose="020F0502020204030204" pitchFamily="34" charset="0"/>
                <a:cs typeface="Calibri" panose="020F0502020204030204" pitchFamily="34" charset="0"/>
              </a:rPr>
              <a:t>Business Applications</a:t>
            </a:r>
          </a:p>
        </p:txBody>
      </p:sp>
      <p:sp>
        <p:nvSpPr>
          <p:cNvPr id="26" name="Arrow: Chevron 6">
            <a:extLst>
              <a:ext uri="{FF2B5EF4-FFF2-40B4-BE49-F238E27FC236}">
                <a16:creationId xmlns:a16="http://schemas.microsoft.com/office/drawing/2014/main" id="{1CE9B9E0-DF1C-33CE-C9A4-68074848AAB2}"/>
              </a:ext>
            </a:extLst>
          </p:cNvPr>
          <p:cNvSpPr/>
          <p:nvPr/>
        </p:nvSpPr>
        <p:spPr>
          <a:xfrm>
            <a:off x="747752" y="3084701"/>
            <a:ext cx="2404763" cy="386834"/>
          </a:xfrm>
          <a:prstGeom prst="chevron">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00809" lvl="1" algn="ctr" defTabSz="801619">
              <a:defRPr/>
            </a:pPr>
            <a:r>
              <a:rPr lang="en-IN" sz="1052" b="1">
                <a:solidFill>
                  <a:srgbClr val="000000"/>
                </a:solidFill>
                <a:latin typeface="Calibri" panose="020F0502020204030204" pitchFamily="34" charset="0"/>
                <a:cs typeface="Calibri" panose="020F0502020204030204" pitchFamily="34" charset="0"/>
              </a:rPr>
              <a:t>Cloud Engineering</a:t>
            </a:r>
          </a:p>
        </p:txBody>
      </p:sp>
      <p:sp>
        <p:nvSpPr>
          <p:cNvPr id="27" name="Arrow: Chevron 7">
            <a:extLst>
              <a:ext uri="{FF2B5EF4-FFF2-40B4-BE49-F238E27FC236}">
                <a16:creationId xmlns:a16="http://schemas.microsoft.com/office/drawing/2014/main" id="{319E35AD-29C6-153A-B59E-AE16FE64AE3C}"/>
              </a:ext>
            </a:extLst>
          </p:cNvPr>
          <p:cNvSpPr/>
          <p:nvPr/>
        </p:nvSpPr>
        <p:spPr>
          <a:xfrm>
            <a:off x="3284993" y="3081497"/>
            <a:ext cx="2404763" cy="386834"/>
          </a:xfrm>
          <a:prstGeom prst="chevron">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00809" lvl="1" algn="ctr" defTabSz="801619">
              <a:defRPr/>
            </a:pPr>
            <a:r>
              <a:rPr lang="en-IN" sz="1052" b="1">
                <a:solidFill>
                  <a:srgbClr val="000000"/>
                </a:solidFill>
                <a:latin typeface="Calibri" panose="020F0502020204030204" pitchFamily="34" charset="0"/>
                <a:cs typeface="Calibri" panose="020F0502020204030204" pitchFamily="34" charset="0"/>
              </a:rPr>
              <a:t>Data Analytics, AI Intelligent Automation</a:t>
            </a:r>
          </a:p>
        </p:txBody>
      </p:sp>
      <p:pic>
        <p:nvPicPr>
          <p:cNvPr id="28" name="Graphic 27" descr="Cloud Computing">
            <a:extLst>
              <a:ext uri="{FF2B5EF4-FFF2-40B4-BE49-F238E27FC236}">
                <a16:creationId xmlns:a16="http://schemas.microsoft.com/office/drawing/2014/main" id="{8996250F-6747-A121-84DE-B9BCD196485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1396" y="3120244"/>
            <a:ext cx="400794" cy="332967"/>
          </a:xfrm>
          <a:prstGeom prst="rect">
            <a:avLst/>
          </a:prstGeom>
        </p:spPr>
      </p:pic>
      <p:pic>
        <p:nvPicPr>
          <p:cNvPr id="29" name="Graphic 28" descr="Group brainstorm">
            <a:extLst>
              <a:ext uri="{FF2B5EF4-FFF2-40B4-BE49-F238E27FC236}">
                <a16:creationId xmlns:a16="http://schemas.microsoft.com/office/drawing/2014/main" id="{7CC69652-DBA1-35DB-3B5A-DF119E1C9F6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38277" y="3100646"/>
            <a:ext cx="400794" cy="332967"/>
          </a:xfrm>
          <a:prstGeom prst="rect">
            <a:avLst/>
          </a:prstGeom>
        </p:spPr>
      </p:pic>
      <p:pic>
        <p:nvPicPr>
          <p:cNvPr id="30" name="Graphic 29" descr="Presentation with bar chart">
            <a:extLst>
              <a:ext uri="{FF2B5EF4-FFF2-40B4-BE49-F238E27FC236}">
                <a16:creationId xmlns:a16="http://schemas.microsoft.com/office/drawing/2014/main" id="{E633E5B7-D0EA-7286-B668-ACA2197D8AF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33120" y="3117041"/>
            <a:ext cx="400794" cy="332967"/>
          </a:xfrm>
          <a:prstGeom prst="rect">
            <a:avLst/>
          </a:prstGeom>
        </p:spPr>
      </p:pic>
      <p:pic>
        <p:nvPicPr>
          <p:cNvPr id="31" name="Graphic 30" descr="Boardroom">
            <a:extLst>
              <a:ext uri="{FF2B5EF4-FFF2-40B4-BE49-F238E27FC236}">
                <a16:creationId xmlns:a16="http://schemas.microsoft.com/office/drawing/2014/main" id="{B30B1F1F-67D6-D44D-67FE-12821A1233D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701536" y="3100646"/>
            <a:ext cx="400794" cy="332967"/>
          </a:xfrm>
          <a:prstGeom prst="rect">
            <a:avLst/>
          </a:prstGeom>
        </p:spPr>
      </p:pic>
      <p:sp>
        <p:nvSpPr>
          <p:cNvPr id="32" name="Rectangle 31">
            <a:extLst>
              <a:ext uri="{FF2B5EF4-FFF2-40B4-BE49-F238E27FC236}">
                <a16:creationId xmlns:a16="http://schemas.microsoft.com/office/drawing/2014/main" id="{7441BD62-20D0-AB60-2263-DC5CB6C6FCE1}"/>
              </a:ext>
            </a:extLst>
          </p:cNvPr>
          <p:cNvSpPr/>
          <p:nvPr/>
        </p:nvSpPr>
        <p:spPr>
          <a:xfrm>
            <a:off x="704236" y="3770148"/>
            <a:ext cx="10233089" cy="2235922"/>
          </a:xfrm>
          <a:prstGeom prst="rect">
            <a:avLst/>
          </a:prstGeom>
          <a:solidFill>
            <a:schemeClr val="tx1">
              <a:lumMod val="60000"/>
              <a:lumOff val="40000"/>
              <a:alpha val="3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graphicFrame>
        <p:nvGraphicFramePr>
          <p:cNvPr id="33" name="Table 7">
            <a:extLst>
              <a:ext uri="{FF2B5EF4-FFF2-40B4-BE49-F238E27FC236}">
                <a16:creationId xmlns:a16="http://schemas.microsoft.com/office/drawing/2014/main" id="{D436D23B-193F-0A20-722C-4451F124199A}"/>
              </a:ext>
            </a:extLst>
          </p:cNvPr>
          <p:cNvGraphicFramePr>
            <a:graphicFrameLocks noGrp="1"/>
          </p:cNvGraphicFramePr>
          <p:nvPr>
            <p:extLst>
              <p:ext uri="{D42A27DB-BD31-4B8C-83A1-F6EECF244321}">
                <p14:modId xmlns:p14="http://schemas.microsoft.com/office/powerpoint/2010/main" val="3651621255"/>
              </p:ext>
            </p:extLst>
          </p:nvPr>
        </p:nvGraphicFramePr>
        <p:xfrm>
          <a:off x="5914743" y="3847174"/>
          <a:ext cx="2218682" cy="1986898"/>
        </p:xfrm>
        <a:graphic>
          <a:graphicData uri="http://schemas.openxmlformats.org/drawingml/2006/table">
            <a:tbl>
              <a:tblPr firstRow="1" bandRow="1">
                <a:tableStyleId>{5940675A-B579-460E-94D1-54222C63F5DA}</a:tableStyleId>
              </a:tblPr>
              <a:tblGrid>
                <a:gridCol w="1109341">
                  <a:extLst>
                    <a:ext uri="{9D8B030D-6E8A-4147-A177-3AD203B41FA5}">
                      <a16:colId xmlns:a16="http://schemas.microsoft.com/office/drawing/2014/main" val="777535529"/>
                    </a:ext>
                  </a:extLst>
                </a:gridCol>
                <a:gridCol w="1109341">
                  <a:extLst>
                    <a:ext uri="{9D8B030D-6E8A-4147-A177-3AD203B41FA5}">
                      <a16:colId xmlns:a16="http://schemas.microsoft.com/office/drawing/2014/main" val="2861975271"/>
                    </a:ext>
                  </a:extLst>
                </a:gridCol>
              </a:tblGrid>
              <a:tr h="578801">
                <a:tc>
                  <a:txBody>
                    <a:bodyPr/>
                    <a:lstStyle/>
                    <a:p>
                      <a:pPr marL="171450" indent="-171450">
                        <a:buClr>
                          <a:srgbClr val="FFE600"/>
                        </a:buClr>
                        <a:buFont typeface="EYInterstate Light" panose="02000506000000020004" pitchFamily="2" charset="0"/>
                        <a:buChar char="•"/>
                      </a:pPr>
                      <a:r>
                        <a:rPr lang="en-IN" sz="1000">
                          <a:solidFill>
                            <a:schemeClr val="bg1"/>
                          </a:solidFill>
                        </a:rPr>
                        <a:t>Office 365 migr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FFE600"/>
                        </a:buClr>
                        <a:buFont typeface="EYInterstate Light" panose="02000506000000020004" pitchFamily="2" charset="0"/>
                        <a:buChar char="•"/>
                      </a:pPr>
                      <a:r>
                        <a:rPr lang="en-IN" sz="1000">
                          <a:solidFill>
                            <a:schemeClr val="bg1"/>
                          </a:solidFill>
                        </a:rPr>
                        <a:t>Collaboration / Teams based sol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985140"/>
                  </a:ext>
                </a:extLst>
              </a:tr>
              <a:tr h="578801">
                <a:tc>
                  <a:txBody>
                    <a:bodyPr/>
                    <a:lstStyle/>
                    <a:p>
                      <a:pPr marL="171450" indent="-171450">
                        <a:buClr>
                          <a:srgbClr val="FFE600"/>
                        </a:buClr>
                        <a:buFont typeface="EYInterstate Light" panose="02000506000000020004" pitchFamily="2" charset="0"/>
                        <a:buChar char="•"/>
                      </a:pPr>
                      <a:r>
                        <a:rPr lang="en-IN" sz="1000">
                          <a:solidFill>
                            <a:schemeClr val="bg1"/>
                          </a:solidFill>
                        </a:rPr>
                        <a:t>App Moderniz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FFE600"/>
                        </a:buClr>
                        <a:buFont typeface="EYInterstate Light" panose="02000506000000020004" pitchFamily="2" charset="0"/>
                        <a:buChar char="•"/>
                      </a:pPr>
                      <a:r>
                        <a:rPr lang="en-IN" sz="1000">
                          <a:solidFill>
                            <a:schemeClr val="bg1"/>
                          </a:solidFill>
                        </a:rPr>
                        <a:t>Enterprise Search solution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6398084"/>
                  </a:ext>
                </a:extLst>
              </a:tr>
              <a:tr h="414648">
                <a:tc>
                  <a:txBody>
                    <a:bodyPr/>
                    <a:lstStyle/>
                    <a:p>
                      <a:pPr marL="171450" indent="-171450">
                        <a:buClr>
                          <a:srgbClr val="FFE600"/>
                        </a:buClr>
                        <a:buFont typeface="EYInterstate Light" panose="02000506000000020004" pitchFamily="2" charset="0"/>
                        <a:buChar char="•"/>
                      </a:pPr>
                      <a:r>
                        <a:rPr lang="en-IN" sz="1000">
                          <a:solidFill>
                            <a:schemeClr val="bg1"/>
                          </a:solidFill>
                        </a:rPr>
                        <a:t>Knowledge management</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FFE600"/>
                        </a:buClr>
                        <a:buFont typeface="EYInterstate Light" panose="02000506000000020004" pitchFamily="2" charset="0"/>
                        <a:buChar char="•"/>
                      </a:pPr>
                      <a:r>
                        <a:rPr lang="en-IN" sz="1000">
                          <a:solidFill>
                            <a:schemeClr val="bg1"/>
                          </a:solidFill>
                        </a:rPr>
                        <a:t>Document management</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7714905"/>
                  </a:ext>
                </a:extLst>
              </a:tr>
              <a:tr h="414648">
                <a:tc>
                  <a:txBody>
                    <a:bodyPr/>
                    <a:lstStyle/>
                    <a:p>
                      <a:pPr marL="171450" indent="-171450">
                        <a:buClr>
                          <a:srgbClr val="FFE600"/>
                        </a:buClr>
                        <a:buFont typeface="EYInterstate Light" panose="02000506000000020004" pitchFamily="2" charset="0"/>
                        <a:buChar char="•"/>
                      </a:pPr>
                      <a:r>
                        <a:rPr lang="en-IN" sz="1000">
                          <a:solidFill>
                            <a:schemeClr val="bg1"/>
                          </a:solidFill>
                        </a:rPr>
                        <a:t>Portal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FFE600"/>
                        </a:buClr>
                        <a:buFont typeface="EYInterstate Light" panose="02000506000000020004" pitchFamily="2" charset="0"/>
                        <a:buChar char="•"/>
                      </a:pPr>
                      <a:r>
                        <a:rPr lang="en-IN" sz="1000">
                          <a:solidFill>
                            <a:schemeClr val="bg1"/>
                          </a:solidFill>
                        </a:rPr>
                        <a:t>RPA as a service</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182551"/>
                  </a:ext>
                </a:extLst>
              </a:tr>
            </a:tbl>
          </a:graphicData>
        </a:graphic>
      </p:graphicFrame>
      <p:graphicFrame>
        <p:nvGraphicFramePr>
          <p:cNvPr id="34" name="Table 7">
            <a:extLst>
              <a:ext uri="{FF2B5EF4-FFF2-40B4-BE49-F238E27FC236}">
                <a16:creationId xmlns:a16="http://schemas.microsoft.com/office/drawing/2014/main" id="{391EE492-BDB1-AABA-FBBA-D19DF99C4E12}"/>
              </a:ext>
            </a:extLst>
          </p:cNvPr>
          <p:cNvGraphicFramePr>
            <a:graphicFrameLocks noGrp="1"/>
          </p:cNvGraphicFramePr>
          <p:nvPr>
            <p:extLst>
              <p:ext uri="{D42A27DB-BD31-4B8C-83A1-F6EECF244321}">
                <p14:modId xmlns:p14="http://schemas.microsoft.com/office/powerpoint/2010/main" val="3484610424"/>
              </p:ext>
            </p:extLst>
          </p:nvPr>
        </p:nvGraphicFramePr>
        <p:xfrm>
          <a:off x="8307893" y="3837040"/>
          <a:ext cx="2438188" cy="1997031"/>
        </p:xfrm>
        <a:graphic>
          <a:graphicData uri="http://schemas.openxmlformats.org/drawingml/2006/table">
            <a:tbl>
              <a:tblPr firstRow="1" bandRow="1">
                <a:tableStyleId>{5940675A-B579-460E-94D1-54222C63F5DA}</a:tableStyleId>
              </a:tblPr>
              <a:tblGrid>
                <a:gridCol w="1219094">
                  <a:extLst>
                    <a:ext uri="{9D8B030D-6E8A-4147-A177-3AD203B41FA5}">
                      <a16:colId xmlns:a16="http://schemas.microsoft.com/office/drawing/2014/main" val="777535529"/>
                    </a:ext>
                  </a:extLst>
                </a:gridCol>
                <a:gridCol w="1219094">
                  <a:extLst>
                    <a:ext uri="{9D8B030D-6E8A-4147-A177-3AD203B41FA5}">
                      <a16:colId xmlns:a16="http://schemas.microsoft.com/office/drawing/2014/main" val="2861975271"/>
                    </a:ext>
                  </a:extLst>
                </a:gridCol>
              </a:tblGrid>
              <a:tr h="450501">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Sales transform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Finance transform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985140"/>
                  </a:ext>
                </a:extLst>
              </a:tr>
              <a:tr h="390009">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Marketing autom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SCM &amp; Operation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6398084"/>
                  </a:ext>
                </a:extLst>
              </a:tr>
              <a:tr h="612112">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ustomer service management</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Project service autom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7714905"/>
                  </a:ext>
                </a:extLst>
              </a:tr>
              <a:tr h="544409">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Field service management</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FFE600"/>
                        </a:buClr>
                        <a:buFont typeface="EYInterstate Light" panose="02000506000000020004" pitchFamily="2" charset="0"/>
                        <a:buChar char="•"/>
                      </a:pPr>
                      <a:r>
                        <a:rPr lang="en-IN" sz="1000">
                          <a:solidFill>
                            <a:schemeClr val="bg1"/>
                          </a:solidFill>
                        </a:rPr>
                        <a:t>Power Platform solution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182551"/>
                  </a:ext>
                </a:extLst>
              </a:tr>
            </a:tbl>
          </a:graphicData>
        </a:graphic>
      </p:graphicFrame>
      <p:graphicFrame>
        <p:nvGraphicFramePr>
          <p:cNvPr id="35" name="Table 7">
            <a:extLst>
              <a:ext uri="{FF2B5EF4-FFF2-40B4-BE49-F238E27FC236}">
                <a16:creationId xmlns:a16="http://schemas.microsoft.com/office/drawing/2014/main" id="{6FFDDCC3-5D42-3AA3-413F-45E0878E4D29}"/>
              </a:ext>
            </a:extLst>
          </p:cNvPr>
          <p:cNvGraphicFramePr>
            <a:graphicFrameLocks noGrp="1"/>
          </p:cNvGraphicFramePr>
          <p:nvPr>
            <p:extLst>
              <p:ext uri="{D42A27DB-BD31-4B8C-83A1-F6EECF244321}">
                <p14:modId xmlns:p14="http://schemas.microsoft.com/office/powerpoint/2010/main" val="1952444678"/>
              </p:ext>
            </p:extLst>
          </p:nvPr>
        </p:nvGraphicFramePr>
        <p:xfrm>
          <a:off x="782843" y="3856640"/>
          <a:ext cx="2369672" cy="1997032"/>
        </p:xfrm>
        <a:graphic>
          <a:graphicData uri="http://schemas.openxmlformats.org/drawingml/2006/table">
            <a:tbl>
              <a:tblPr firstRow="1" bandRow="1">
                <a:tableStyleId>{5940675A-B579-460E-94D1-54222C63F5DA}</a:tableStyleId>
              </a:tblPr>
              <a:tblGrid>
                <a:gridCol w="1184836">
                  <a:extLst>
                    <a:ext uri="{9D8B030D-6E8A-4147-A177-3AD203B41FA5}">
                      <a16:colId xmlns:a16="http://schemas.microsoft.com/office/drawing/2014/main" val="777535529"/>
                    </a:ext>
                  </a:extLst>
                </a:gridCol>
                <a:gridCol w="1184836">
                  <a:extLst>
                    <a:ext uri="{9D8B030D-6E8A-4147-A177-3AD203B41FA5}">
                      <a16:colId xmlns:a16="http://schemas.microsoft.com/office/drawing/2014/main" val="2861975271"/>
                    </a:ext>
                  </a:extLst>
                </a:gridCol>
              </a:tblGrid>
              <a:tr h="294026">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loud Architecture services</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loud Migration Factory</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985140"/>
                  </a:ext>
                </a:extLst>
              </a:tr>
              <a:tr h="294026">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App modernization</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2634"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lang="en-IN" sz="1000" kern="1200">
                          <a:solidFill>
                            <a:schemeClr val="bg1"/>
                          </a:solidFill>
                          <a:latin typeface="+mn-lt"/>
                          <a:ea typeface="+mn-ea"/>
                          <a:cs typeface="+mn-cs"/>
                        </a:rPr>
                        <a:t>Infrastructure Automation</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6398084"/>
                  </a:ext>
                </a:extLst>
              </a:tr>
              <a:tr h="294026">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Enterprise Landing Zones</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Multi-cloud migration strategy</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7714905"/>
                  </a:ext>
                </a:extLst>
              </a:tr>
              <a:tr h="294026">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DevSecOps</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Target Operating Models</a:t>
                      </a:r>
                    </a:p>
                  </a:txBody>
                  <a:tcPr marL="80158" marR="80158" marT="40079" marB="4007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182551"/>
                  </a:ext>
                </a:extLst>
              </a:tr>
            </a:tbl>
          </a:graphicData>
        </a:graphic>
      </p:graphicFrame>
      <p:graphicFrame>
        <p:nvGraphicFramePr>
          <p:cNvPr id="36" name="Table 7">
            <a:extLst>
              <a:ext uri="{FF2B5EF4-FFF2-40B4-BE49-F238E27FC236}">
                <a16:creationId xmlns:a16="http://schemas.microsoft.com/office/drawing/2014/main" id="{C395B504-09BF-E80F-23FD-9DAEF74D8F54}"/>
              </a:ext>
            </a:extLst>
          </p:cNvPr>
          <p:cNvGraphicFramePr>
            <a:graphicFrameLocks noGrp="1"/>
          </p:cNvGraphicFramePr>
          <p:nvPr>
            <p:extLst>
              <p:ext uri="{D42A27DB-BD31-4B8C-83A1-F6EECF244321}">
                <p14:modId xmlns:p14="http://schemas.microsoft.com/office/powerpoint/2010/main" val="1087388920"/>
              </p:ext>
            </p:extLst>
          </p:nvPr>
        </p:nvGraphicFramePr>
        <p:xfrm>
          <a:off x="3316077" y="3853435"/>
          <a:ext cx="2404763" cy="1997030"/>
        </p:xfrm>
        <a:graphic>
          <a:graphicData uri="http://schemas.openxmlformats.org/drawingml/2006/table">
            <a:tbl>
              <a:tblPr firstRow="1" bandRow="1">
                <a:tableStyleId>{5940675A-B579-460E-94D1-54222C63F5DA}</a:tableStyleId>
              </a:tblPr>
              <a:tblGrid>
                <a:gridCol w="1249217">
                  <a:extLst>
                    <a:ext uri="{9D8B030D-6E8A-4147-A177-3AD203B41FA5}">
                      <a16:colId xmlns:a16="http://schemas.microsoft.com/office/drawing/2014/main" val="777535529"/>
                    </a:ext>
                  </a:extLst>
                </a:gridCol>
                <a:gridCol w="1155546">
                  <a:extLst>
                    <a:ext uri="{9D8B030D-6E8A-4147-A177-3AD203B41FA5}">
                      <a16:colId xmlns:a16="http://schemas.microsoft.com/office/drawing/2014/main" val="2861975271"/>
                    </a:ext>
                  </a:extLst>
                </a:gridCol>
              </a:tblGrid>
              <a:tr h="454295">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Data Platform Moderniz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loud AI Service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985140"/>
                  </a:ext>
                </a:extLst>
              </a:tr>
              <a:tr h="454295">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loud Data Platform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IoT Analytic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6398084"/>
                  </a:ext>
                </a:extLst>
              </a:tr>
              <a:tr h="454295">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Insights Transformation</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Conversational AI Services</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7714905"/>
                  </a:ext>
                </a:extLst>
              </a:tr>
              <a:tr h="634145">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Data Engineering </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2634" rtl="0" eaLnBrk="1" latinLnBrk="0" hangingPunct="1">
                        <a:buClr>
                          <a:srgbClr val="FFE600"/>
                        </a:buClr>
                        <a:buFont typeface="EYInterstate Light" panose="02000506000000020004" pitchFamily="2" charset="0"/>
                        <a:buChar char="•"/>
                      </a:pPr>
                      <a:r>
                        <a:rPr lang="en-IN" sz="1000" kern="1200">
                          <a:solidFill>
                            <a:schemeClr val="bg1"/>
                          </a:solidFill>
                          <a:latin typeface="+mn-lt"/>
                          <a:ea typeface="+mn-ea"/>
                          <a:cs typeface="+mn-cs"/>
                        </a:rPr>
                        <a:t>Data Governance &amp; Security</a:t>
                      </a:r>
                    </a:p>
                  </a:txBody>
                  <a:tcPr marL="80158" marR="80158" marT="40079" marB="40079"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182551"/>
                  </a:ext>
                </a:extLst>
              </a:tr>
            </a:tbl>
          </a:graphicData>
        </a:graphic>
      </p:graphicFrame>
      <p:sp>
        <p:nvSpPr>
          <p:cNvPr id="37" name="TextBox 36">
            <a:extLst>
              <a:ext uri="{FF2B5EF4-FFF2-40B4-BE49-F238E27FC236}">
                <a16:creationId xmlns:a16="http://schemas.microsoft.com/office/drawing/2014/main" id="{FDA1A685-4123-06F0-B27D-570550F7E78A}"/>
              </a:ext>
            </a:extLst>
          </p:cNvPr>
          <p:cNvSpPr txBox="1"/>
          <p:nvPr/>
        </p:nvSpPr>
        <p:spPr>
          <a:xfrm>
            <a:off x="4395969" y="3559901"/>
            <a:ext cx="2317359" cy="158502"/>
          </a:xfrm>
          <a:prstGeom prst="rect">
            <a:avLst/>
          </a:prstGeom>
          <a:noFill/>
        </p:spPr>
        <p:txBody>
          <a:bodyPr wrap="square" lIns="0" tIns="32064" rIns="0" bIns="0" rtlCol="0">
            <a:spAutoFit/>
          </a:bodyPr>
          <a:lstStyle/>
          <a:p>
            <a:pPr algn="ctr" defTabSz="801619">
              <a:lnSpc>
                <a:spcPct val="85000"/>
              </a:lnSpc>
              <a:spcAft>
                <a:spcPts val="526"/>
              </a:spcAft>
              <a:buClr>
                <a:srgbClr val="27ACAA"/>
              </a:buClr>
              <a:buSzPct val="70000"/>
              <a:defRPr/>
            </a:pPr>
            <a:r>
              <a:rPr lang="en-IN" sz="964" b="1">
                <a:solidFill>
                  <a:schemeClr val="bg1"/>
                </a:solidFill>
                <a:latin typeface="Calibri" panose="020F0502020204030204" pitchFamily="34" charset="0"/>
                <a:cs typeface="Calibri" panose="020F0502020204030204" pitchFamily="34" charset="0"/>
              </a:rPr>
              <a:t>Our Key Service Offerings</a:t>
            </a:r>
          </a:p>
        </p:txBody>
      </p:sp>
      <p:cxnSp>
        <p:nvCxnSpPr>
          <p:cNvPr id="38" name="Straight Connector 37">
            <a:extLst>
              <a:ext uri="{FF2B5EF4-FFF2-40B4-BE49-F238E27FC236}">
                <a16:creationId xmlns:a16="http://schemas.microsoft.com/office/drawing/2014/main" id="{E6AF63A2-8FB6-AA14-89FA-81C0591EFABA}"/>
              </a:ext>
            </a:extLst>
          </p:cNvPr>
          <p:cNvCxnSpPr>
            <a:cxnSpLocks/>
          </p:cNvCxnSpPr>
          <p:nvPr/>
        </p:nvCxnSpPr>
        <p:spPr>
          <a:xfrm>
            <a:off x="710841" y="3735990"/>
            <a:ext cx="10100002"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1576E11-A009-A3F3-6FC3-62ADA71748B3}"/>
              </a:ext>
            </a:extLst>
          </p:cNvPr>
          <p:cNvSpPr/>
          <p:nvPr/>
        </p:nvSpPr>
        <p:spPr>
          <a:xfrm>
            <a:off x="609600" y="2004407"/>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250+</a:t>
            </a:r>
          </a:p>
          <a:p>
            <a:pPr algn="ctr" defTabSz="801619">
              <a:defRPr/>
            </a:pPr>
            <a:r>
              <a:rPr lang="en-US" sz="876">
                <a:solidFill>
                  <a:schemeClr val="bg1"/>
                </a:solidFill>
                <a:latin typeface="Calibri" panose="020F0502020204030204" pitchFamily="34" charset="0"/>
                <a:cs typeface="Calibri" panose="020F0502020204030204" pitchFamily="34" charset="0"/>
              </a:rPr>
              <a:t>Headcount</a:t>
            </a:r>
            <a:endParaRPr lang="en-IN" sz="876">
              <a:solidFill>
                <a:schemeClr val="bg1"/>
              </a:solidFill>
              <a:latin typeface="Calibri" panose="020F0502020204030204" pitchFamily="34" charset="0"/>
              <a:cs typeface="Calibri" panose="020F0502020204030204" pitchFamily="34" charset="0"/>
            </a:endParaRPr>
          </a:p>
        </p:txBody>
      </p:sp>
      <p:grpSp>
        <p:nvGrpSpPr>
          <p:cNvPr id="40" name="Group 39">
            <a:extLst>
              <a:ext uri="{FF2B5EF4-FFF2-40B4-BE49-F238E27FC236}">
                <a16:creationId xmlns:a16="http://schemas.microsoft.com/office/drawing/2014/main" id="{F28952DA-29F7-51C4-834B-4A6F84DFDFDF}"/>
              </a:ext>
            </a:extLst>
          </p:cNvPr>
          <p:cNvGrpSpPr/>
          <p:nvPr/>
        </p:nvGrpSpPr>
        <p:grpSpPr>
          <a:xfrm>
            <a:off x="810926" y="1854346"/>
            <a:ext cx="1174649" cy="863622"/>
            <a:chOff x="180443" y="846690"/>
            <a:chExt cx="1261173" cy="1081443"/>
          </a:xfrm>
        </p:grpSpPr>
        <p:sp>
          <p:nvSpPr>
            <p:cNvPr id="41" name="Freeform: Shape 21">
              <a:extLst>
                <a:ext uri="{FF2B5EF4-FFF2-40B4-BE49-F238E27FC236}">
                  <a16:creationId xmlns:a16="http://schemas.microsoft.com/office/drawing/2014/main" id="{3045C21A-0F50-1022-AD02-4F2B75110272}"/>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rgbClr val="2E2E38"/>
                </a:solidFill>
                <a:latin typeface="Calibri" panose="020F0502020204030204" pitchFamily="34" charset="0"/>
                <a:cs typeface="Calibri" panose="020F0502020204030204" pitchFamily="34" charset="0"/>
              </a:endParaRPr>
            </a:p>
          </p:txBody>
        </p:sp>
        <p:sp>
          <p:nvSpPr>
            <p:cNvPr id="42" name="Isosceles Triangle 22">
              <a:extLst>
                <a:ext uri="{FF2B5EF4-FFF2-40B4-BE49-F238E27FC236}">
                  <a16:creationId xmlns:a16="http://schemas.microsoft.com/office/drawing/2014/main" id="{359E5045-0A5E-9CE2-86D9-EA8EA788C399}"/>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sp>
          <p:nvSpPr>
            <p:cNvPr id="43" name="Oval 42">
              <a:extLst>
                <a:ext uri="{FF2B5EF4-FFF2-40B4-BE49-F238E27FC236}">
                  <a16:creationId xmlns:a16="http://schemas.microsoft.com/office/drawing/2014/main" id="{EAC41288-15B1-9F9A-C594-4537C3344E37}"/>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grpSp>
      <p:grpSp>
        <p:nvGrpSpPr>
          <p:cNvPr id="44" name="Group 43">
            <a:extLst>
              <a:ext uri="{FF2B5EF4-FFF2-40B4-BE49-F238E27FC236}">
                <a16:creationId xmlns:a16="http://schemas.microsoft.com/office/drawing/2014/main" id="{411F03FB-10CD-029D-EC3C-C7B9A2104B49}"/>
              </a:ext>
            </a:extLst>
          </p:cNvPr>
          <p:cNvGrpSpPr/>
          <p:nvPr/>
        </p:nvGrpSpPr>
        <p:grpSpPr>
          <a:xfrm>
            <a:off x="2302886" y="1857281"/>
            <a:ext cx="1174649" cy="863622"/>
            <a:chOff x="180443" y="846690"/>
            <a:chExt cx="1261173" cy="1081443"/>
          </a:xfrm>
        </p:grpSpPr>
        <p:sp>
          <p:nvSpPr>
            <p:cNvPr id="45" name="Freeform: Shape 25">
              <a:extLst>
                <a:ext uri="{FF2B5EF4-FFF2-40B4-BE49-F238E27FC236}">
                  <a16:creationId xmlns:a16="http://schemas.microsoft.com/office/drawing/2014/main" id="{D8374241-9E21-824F-4408-55ACB40A35A1}"/>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rgbClr val="2E2E38"/>
                </a:solidFill>
                <a:latin typeface="Calibri" panose="020F0502020204030204" pitchFamily="34" charset="0"/>
                <a:cs typeface="Calibri" panose="020F0502020204030204" pitchFamily="34" charset="0"/>
              </a:endParaRPr>
            </a:p>
          </p:txBody>
        </p:sp>
        <p:sp>
          <p:nvSpPr>
            <p:cNvPr id="46" name="Isosceles Triangle 26">
              <a:extLst>
                <a:ext uri="{FF2B5EF4-FFF2-40B4-BE49-F238E27FC236}">
                  <a16:creationId xmlns:a16="http://schemas.microsoft.com/office/drawing/2014/main" id="{E6F4CBD1-BF6A-25DD-E5A0-F9A36F288A84}"/>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sp>
          <p:nvSpPr>
            <p:cNvPr id="47" name="Oval 46">
              <a:extLst>
                <a:ext uri="{FF2B5EF4-FFF2-40B4-BE49-F238E27FC236}">
                  <a16:creationId xmlns:a16="http://schemas.microsoft.com/office/drawing/2014/main" id="{DC3D208E-35F2-E7B6-A50A-0864C06D0D27}"/>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grpSp>
      <p:sp>
        <p:nvSpPr>
          <p:cNvPr id="48" name="Rectangle 47">
            <a:extLst>
              <a:ext uri="{FF2B5EF4-FFF2-40B4-BE49-F238E27FC236}">
                <a16:creationId xmlns:a16="http://schemas.microsoft.com/office/drawing/2014/main" id="{10703650-948A-7609-7B4E-D0014D8038BF}"/>
              </a:ext>
            </a:extLst>
          </p:cNvPr>
          <p:cNvSpPr/>
          <p:nvPr/>
        </p:nvSpPr>
        <p:spPr>
          <a:xfrm>
            <a:off x="2143754" y="1979615"/>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80+</a:t>
            </a:r>
          </a:p>
          <a:p>
            <a:pPr algn="ctr" defTabSz="801619">
              <a:defRPr/>
            </a:pPr>
            <a:r>
              <a:rPr lang="en-US" sz="876">
                <a:solidFill>
                  <a:schemeClr val="bg1"/>
                </a:solidFill>
                <a:latin typeface="Calibri" panose="020F0502020204030204" pitchFamily="34" charset="0"/>
                <a:cs typeface="Calibri" panose="020F0502020204030204" pitchFamily="34" charset="0"/>
              </a:rPr>
              <a:t>Cloud Engineers</a:t>
            </a:r>
            <a:endParaRPr lang="en-IN" sz="876">
              <a:solidFill>
                <a:schemeClr val="bg1"/>
              </a:solidFill>
              <a:latin typeface="Calibri" panose="020F0502020204030204" pitchFamily="34" charset="0"/>
              <a:cs typeface="Calibri" panose="020F0502020204030204" pitchFamily="34" charset="0"/>
            </a:endParaRPr>
          </a:p>
        </p:txBody>
      </p:sp>
      <p:grpSp>
        <p:nvGrpSpPr>
          <p:cNvPr id="49" name="Group 48">
            <a:extLst>
              <a:ext uri="{FF2B5EF4-FFF2-40B4-BE49-F238E27FC236}">
                <a16:creationId xmlns:a16="http://schemas.microsoft.com/office/drawing/2014/main" id="{FAC87C61-E802-3840-12AF-E2811054C439}"/>
              </a:ext>
            </a:extLst>
          </p:cNvPr>
          <p:cNvGrpSpPr/>
          <p:nvPr/>
        </p:nvGrpSpPr>
        <p:grpSpPr>
          <a:xfrm>
            <a:off x="3737462" y="1846011"/>
            <a:ext cx="1174649" cy="863622"/>
            <a:chOff x="180443" y="846690"/>
            <a:chExt cx="1261173" cy="1081443"/>
          </a:xfrm>
        </p:grpSpPr>
        <p:sp>
          <p:nvSpPr>
            <p:cNvPr id="50" name="Freeform: Shape 30">
              <a:extLst>
                <a:ext uri="{FF2B5EF4-FFF2-40B4-BE49-F238E27FC236}">
                  <a16:creationId xmlns:a16="http://schemas.microsoft.com/office/drawing/2014/main" id="{060644BD-8E96-6BC4-5E2D-EF16E59A739A}"/>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rgbClr val="2E2E38"/>
                </a:solidFill>
                <a:latin typeface="Calibri" panose="020F0502020204030204" pitchFamily="34" charset="0"/>
                <a:cs typeface="Calibri" panose="020F0502020204030204" pitchFamily="34" charset="0"/>
              </a:endParaRPr>
            </a:p>
          </p:txBody>
        </p:sp>
        <p:sp>
          <p:nvSpPr>
            <p:cNvPr id="51" name="Isosceles Triangle 31">
              <a:extLst>
                <a:ext uri="{FF2B5EF4-FFF2-40B4-BE49-F238E27FC236}">
                  <a16:creationId xmlns:a16="http://schemas.microsoft.com/office/drawing/2014/main" id="{D34CEFDC-B223-3ABD-FEBE-B219D1ED2A2E}"/>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sp>
          <p:nvSpPr>
            <p:cNvPr id="52" name="Oval 51">
              <a:extLst>
                <a:ext uri="{FF2B5EF4-FFF2-40B4-BE49-F238E27FC236}">
                  <a16:creationId xmlns:a16="http://schemas.microsoft.com/office/drawing/2014/main" id="{845A5F5D-9D7D-9DD2-D52E-38E315A6476E}"/>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rgbClr val="2E2E38"/>
                </a:solidFill>
                <a:latin typeface="Calibri" panose="020F0502020204030204" pitchFamily="34" charset="0"/>
                <a:cs typeface="Calibri" panose="020F0502020204030204" pitchFamily="34" charset="0"/>
              </a:endParaRPr>
            </a:p>
          </p:txBody>
        </p:sp>
      </p:grpSp>
      <p:sp>
        <p:nvSpPr>
          <p:cNvPr id="53" name="Rectangle 52">
            <a:extLst>
              <a:ext uri="{FF2B5EF4-FFF2-40B4-BE49-F238E27FC236}">
                <a16:creationId xmlns:a16="http://schemas.microsoft.com/office/drawing/2014/main" id="{AE105799-F122-5828-F13C-DC228FBEE579}"/>
              </a:ext>
            </a:extLst>
          </p:cNvPr>
          <p:cNvSpPr/>
          <p:nvPr/>
        </p:nvSpPr>
        <p:spPr>
          <a:xfrm>
            <a:off x="3571121" y="1960022"/>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35+</a:t>
            </a:r>
          </a:p>
          <a:p>
            <a:pPr algn="ctr" defTabSz="801619">
              <a:defRPr/>
            </a:pPr>
            <a:r>
              <a:rPr lang="en-US" sz="876">
                <a:solidFill>
                  <a:schemeClr val="bg1"/>
                </a:solidFill>
                <a:latin typeface="Calibri" panose="020F0502020204030204" pitchFamily="34" charset="0"/>
                <a:cs typeface="Calibri" panose="020F0502020204030204" pitchFamily="34" charset="0"/>
              </a:rPr>
              <a:t>Cloud Architects</a:t>
            </a:r>
            <a:endParaRPr lang="en-IN" sz="876">
              <a:solidFill>
                <a:schemeClr val="bg1"/>
              </a:solidFill>
              <a:latin typeface="Calibri" panose="020F0502020204030204" pitchFamily="34" charset="0"/>
              <a:cs typeface="Calibri" panose="020F0502020204030204" pitchFamily="34" charset="0"/>
            </a:endParaRPr>
          </a:p>
        </p:txBody>
      </p:sp>
      <p:grpSp>
        <p:nvGrpSpPr>
          <p:cNvPr id="54" name="Group 53">
            <a:extLst>
              <a:ext uri="{FF2B5EF4-FFF2-40B4-BE49-F238E27FC236}">
                <a16:creationId xmlns:a16="http://schemas.microsoft.com/office/drawing/2014/main" id="{E49AC018-8930-C286-185E-56465EC1239B}"/>
              </a:ext>
            </a:extLst>
          </p:cNvPr>
          <p:cNvGrpSpPr/>
          <p:nvPr/>
        </p:nvGrpSpPr>
        <p:grpSpPr>
          <a:xfrm>
            <a:off x="2792342" y="3111991"/>
            <a:ext cx="1090135" cy="1538806"/>
            <a:chOff x="2640466" y="4028241"/>
            <a:chExt cx="1243556" cy="1755372"/>
          </a:xfrm>
        </p:grpSpPr>
        <p:pic>
          <p:nvPicPr>
            <p:cNvPr id="55" name="Graphic 54" descr="Programmer male outline">
              <a:extLst>
                <a:ext uri="{FF2B5EF4-FFF2-40B4-BE49-F238E27FC236}">
                  <a16:creationId xmlns:a16="http://schemas.microsoft.com/office/drawing/2014/main" id="{F32005F3-5AF6-D085-48DD-BBC3ED71D79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40466" y="4028241"/>
              <a:ext cx="230358" cy="230358"/>
            </a:xfrm>
            <a:prstGeom prst="rect">
              <a:avLst/>
            </a:prstGeom>
          </p:spPr>
        </p:pic>
        <p:sp>
          <p:nvSpPr>
            <p:cNvPr id="56" name="Rectangle 55">
              <a:extLst>
                <a:ext uri="{FF2B5EF4-FFF2-40B4-BE49-F238E27FC236}">
                  <a16:creationId xmlns:a16="http://schemas.microsoft.com/office/drawing/2014/main" id="{B39A8FBD-24A3-C74E-BC94-BFA39DFA35D3}"/>
                </a:ext>
              </a:extLst>
            </p:cNvPr>
            <p:cNvSpPr/>
            <p:nvPr/>
          </p:nvSpPr>
          <p:spPr bwMode="gray">
            <a:xfrm>
              <a:off x="2665193" y="4258599"/>
              <a:ext cx="1218829" cy="1525014"/>
            </a:xfrm>
            <a:prstGeom prst="rect">
              <a:avLst/>
            </a:prstGeom>
            <a:noFill/>
            <a:ln w="9525" cap="flat" cmpd="sng" algn="ctr">
              <a:noFill/>
              <a:prstDash val="solid"/>
              <a:miter lim="800000"/>
            </a:ln>
            <a:effectLst/>
          </p:spPr>
          <p:txBody>
            <a:bodyPr lIns="0" tIns="0" rIns="0" rtlCol="0" anchor="t" anchorCtr="0"/>
            <a:lstStyle/>
            <a:p>
              <a:pPr defTabSz="1075361" hangingPunct="0">
                <a:spcBef>
                  <a:spcPct val="0"/>
                </a:spcBef>
                <a:defRPr/>
              </a:pPr>
              <a:r>
                <a:rPr lang="en-US" sz="876" kern="0">
                  <a:solidFill>
                    <a:srgbClr val="000000"/>
                  </a:solidFill>
                  <a:latin typeface="Calibri" panose="020F0502020204030204" pitchFamily="34" charset="0"/>
                  <a:cs typeface="Calibri" panose="020F0502020204030204" pitchFamily="34" charset="0"/>
                  <a:sym typeface="Helvetica"/>
                </a:rPr>
                <a:t>80</a:t>
              </a:r>
            </a:p>
          </p:txBody>
        </p:sp>
      </p:grpSp>
      <p:grpSp>
        <p:nvGrpSpPr>
          <p:cNvPr id="57" name="Group 56">
            <a:extLst>
              <a:ext uri="{FF2B5EF4-FFF2-40B4-BE49-F238E27FC236}">
                <a16:creationId xmlns:a16="http://schemas.microsoft.com/office/drawing/2014/main" id="{799AED6A-4134-54F6-5ACE-5535DBF2223B}"/>
              </a:ext>
            </a:extLst>
          </p:cNvPr>
          <p:cNvGrpSpPr/>
          <p:nvPr/>
        </p:nvGrpSpPr>
        <p:grpSpPr>
          <a:xfrm>
            <a:off x="7958750" y="3092275"/>
            <a:ext cx="1090135" cy="1538806"/>
            <a:chOff x="2640466" y="4028241"/>
            <a:chExt cx="1243556" cy="1755372"/>
          </a:xfrm>
        </p:grpSpPr>
        <p:pic>
          <p:nvPicPr>
            <p:cNvPr id="58" name="Graphic 57" descr="Programmer male outline">
              <a:extLst>
                <a:ext uri="{FF2B5EF4-FFF2-40B4-BE49-F238E27FC236}">
                  <a16:creationId xmlns:a16="http://schemas.microsoft.com/office/drawing/2014/main" id="{4727FD01-41EA-F923-09A7-5385A3B9B6B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40466" y="4028241"/>
              <a:ext cx="230358" cy="230358"/>
            </a:xfrm>
            <a:prstGeom prst="rect">
              <a:avLst/>
            </a:prstGeom>
          </p:spPr>
        </p:pic>
        <p:sp>
          <p:nvSpPr>
            <p:cNvPr id="59" name="Rectangle 58">
              <a:extLst>
                <a:ext uri="{FF2B5EF4-FFF2-40B4-BE49-F238E27FC236}">
                  <a16:creationId xmlns:a16="http://schemas.microsoft.com/office/drawing/2014/main" id="{F8F49BD0-92E5-56E8-E8E5-0F9DDCEFEF74}"/>
                </a:ext>
              </a:extLst>
            </p:cNvPr>
            <p:cNvSpPr/>
            <p:nvPr/>
          </p:nvSpPr>
          <p:spPr bwMode="gray">
            <a:xfrm>
              <a:off x="2665193" y="4258599"/>
              <a:ext cx="1218829" cy="1525014"/>
            </a:xfrm>
            <a:prstGeom prst="rect">
              <a:avLst/>
            </a:prstGeom>
            <a:noFill/>
            <a:ln w="9525" cap="flat" cmpd="sng" algn="ctr">
              <a:noFill/>
              <a:prstDash val="solid"/>
              <a:miter lim="800000"/>
            </a:ln>
            <a:effectLst/>
          </p:spPr>
          <p:txBody>
            <a:bodyPr lIns="0" tIns="0" rIns="0" rtlCol="0" anchor="t" anchorCtr="0"/>
            <a:lstStyle/>
            <a:p>
              <a:pPr defTabSz="1075361" hangingPunct="0">
                <a:spcBef>
                  <a:spcPct val="0"/>
                </a:spcBef>
                <a:defRPr/>
              </a:pPr>
              <a:r>
                <a:rPr lang="en-US" sz="876" kern="0">
                  <a:solidFill>
                    <a:srgbClr val="000000"/>
                  </a:solidFill>
                  <a:latin typeface="Calibri" panose="020F0502020204030204" pitchFamily="34" charset="0"/>
                  <a:cs typeface="Calibri" panose="020F0502020204030204" pitchFamily="34" charset="0"/>
                  <a:sym typeface="Helvetica"/>
                </a:rPr>
                <a:t>50</a:t>
              </a:r>
            </a:p>
          </p:txBody>
        </p:sp>
      </p:grpSp>
      <p:grpSp>
        <p:nvGrpSpPr>
          <p:cNvPr id="60" name="Group 59">
            <a:extLst>
              <a:ext uri="{FF2B5EF4-FFF2-40B4-BE49-F238E27FC236}">
                <a16:creationId xmlns:a16="http://schemas.microsoft.com/office/drawing/2014/main" id="{60962928-743B-0259-7BB8-6A28E9F8943B}"/>
              </a:ext>
            </a:extLst>
          </p:cNvPr>
          <p:cNvGrpSpPr/>
          <p:nvPr/>
        </p:nvGrpSpPr>
        <p:grpSpPr>
          <a:xfrm>
            <a:off x="5379586" y="3100646"/>
            <a:ext cx="1090135" cy="1538806"/>
            <a:chOff x="2640466" y="4028241"/>
            <a:chExt cx="1243556" cy="1755372"/>
          </a:xfrm>
        </p:grpSpPr>
        <p:pic>
          <p:nvPicPr>
            <p:cNvPr id="61" name="Graphic 60" descr="Programmer male outline">
              <a:extLst>
                <a:ext uri="{FF2B5EF4-FFF2-40B4-BE49-F238E27FC236}">
                  <a16:creationId xmlns:a16="http://schemas.microsoft.com/office/drawing/2014/main" id="{0B76357F-1160-8614-76C5-95EF94F7F3C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40466" y="4028241"/>
              <a:ext cx="230358" cy="230358"/>
            </a:xfrm>
            <a:prstGeom prst="rect">
              <a:avLst/>
            </a:prstGeom>
          </p:spPr>
        </p:pic>
        <p:sp>
          <p:nvSpPr>
            <p:cNvPr id="62" name="Rectangle 61">
              <a:extLst>
                <a:ext uri="{FF2B5EF4-FFF2-40B4-BE49-F238E27FC236}">
                  <a16:creationId xmlns:a16="http://schemas.microsoft.com/office/drawing/2014/main" id="{F9907B87-64AA-BB90-25A1-A7BCBFB07C87}"/>
                </a:ext>
              </a:extLst>
            </p:cNvPr>
            <p:cNvSpPr/>
            <p:nvPr/>
          </p:nvSpPr>
          <p:spPr bwMode="gray">
            <a:xfrm>
              <a:off x="2665193" y="4258599"/>
              <a:ext cx="1218829" cy="1525014"/>
            </a:xfrm>
            <a:prstGeom prst="rect">
              <a:avLst/>
            </a:prstGeom>
            <a:noFill/>
            <a:ln w="9525" cap="flat" cmpd="sng" algn="ctr">
              <a:noFill/>
              <a:prstDash val="solid"/>
              <a:miter lim="800000"/>
            </a:ln>
            <a:effectLst/>
          </p:spPr>
          <p:txBody>
            <a:bodyPr lIns="0" tIns="0" rIns="0" rtlCol="0" anchor="t" anchorCtr="0"/>
            <a:lstStyle/>
            <a:p>
              <a:pPr defTabSz="1075361" hangingPunct="0">
                <a:spcBef>
                  <a:spcPct val="0"/>
                </a:spcBef>
                <a:defRPr/>
              </a:pPr>
              <a:r>
                <a:rPr lang="en-US" sz="876" kern="0">
                  <a:solidFill>
                    <a:srgbClr val="000000"/>
                  </a:solidFill>
                  <a:latin typeface="Calibri" panose="020F0502020204030204" pitchFamily="34" charset="0"/>
                  <a:cs typeface="Calibri" panose="020F0502020204030204" pitchFamily="34" charset="0"/>
                  <a:sym typeface="Helvetica"/>
                </a:rPr>
                <a:t>25</a:t>
              </a:r>
            </a:p>
          </p:txBody>
        </p:sp>
      </p:grpSp>
      <p:sp>
        <p:nvSpPr>
          <p:cNvPr id="63" name="Rectangle 62">
            <a:extLst>
              <a:ext uri="{FF2B5EF4-FFF2-40B4-BE49-F238E27FC236}">
                <a16:creationId xmlns:a16="http://schemas.microsoft.com/office/drawing/2014/main" id="{13D1406A-8B12-86F3-DC53-1F7788DF5F59}"/>
              </a:ext>
            </a:extLst>
          </p:cNvPr>
          <p:cNvSpPr/>
          <p:nvPr/>
        </p:nvSpPr>
        <p:spPr>
          <a:xfrm>
            <a:off x="5098096" y="1959273"/>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25+</a:t>
            </a:r>
          </a:p>
          <a:p>
            <a:pPr algn="ctr" defTabSz="801619">
              <a:defRPr/>
            </a:pPr>
            <a:r>
              <a:rPr lang="en-US" sz="876">
                <a:solidFill>
                  <a:schemeClr val="bg1"/>
                </a:solidFill>
                <a:latin typeface="Calibri" panose="020F0502020204030204" pitchFamily="34" charset="0"/>
                <a:cs typeface="Calibri" panose="020F0502020204030204" pitchFamily="34" charset="0"/>
              </a:rPr>
              <a:t>Modern Application Architects</a:t>
            </a:r>
            <a:endParaRPr lang="en-IN" sz="876">
              <a:solidFill>
                <a:schemeClr val="bg1"/>
              </a:solidFill>
              <a:latin typeface="Calibri" panose="020F0502020204030204" pitchFamily="34" charset="0"/>
              <a:cs typeface="Calibri" panose="020F0502020204030204" pitchFamily="34" charset="0"/>
            </a:endParaRPr>
          </a:p>
        </p:txBody>
      </p:sp>
      <p:grpSp>
        <p:nvGrpSpPr>
          <p:cNvPr id="64" name="Group 63">
            <a:extLst>
              <a:ext uri="{FF2B5EF4-FFF2-40B4-BE49-F238E27FC236}">
                <a16:creationId xmlns:a16="http://schemas.microsoft.com/office/drawing/2014/main" id="{B54AE171-9FB0-DEAC-B943-387630E211E5}"/>
              </a:ext>
            </a:extLst>
          </p:cNvPr>
          <p:cNvGrpSpPr/>
          <p:nvPr/>
        </p:nvGrpSpPr>
        <p:grpSpPr>
          <a:xfrm>
            <a:off x="6784102" y="1853089"/>
            <a:ext cx="1174649" cy="863622"/>
            <a:chOff x="180443" y="846690"/>
            <a:chExt cx="1261173" cy="1081443"/>
          </a:xfrm>
        </p:grpSpPr>
        <p:sp>
          <p:nvSpPr>
            <p:cNvPr id="65" name="Freeform: Shape 52">
              <a:extLst>
                <a:ext uri="{FF2B5EF4-FFF2-40B4-BE49-F238E27FC236}">
                  <a16:creationId xmlns:a16="http://schemas.microsoft.com/office/drawing/2014/main" id="{C4B70705-66BD-6D17-64CE-69EA339EAAE8}"/>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chemeClr val="bg1"/>
                </a:solidFill>
                <a:latin typeface="Calibri" panose="020F0502020204030204" pitchFamily="34" charset="0"/>
                <a:cs typeface="Calibri" panose="020F0502020204030204" pitchFamily="34" charset="0"/>
              </a:endParaRPr>
            </a:p>
          </p:txBody>
        </p:sp>
        <p:sp>
          <p:nvSpPr>
            <p:cNvPr id="66" name="Isosceles Triangle 53">
              <a:extLst>
                <a:ext uri="{FF2B5EF4-FFF2-40B4-BE49-F238E27FC236}">
                  <a16:creationId xmlns:a16="http://schemas.microsoft.com/office/drawing/2014/main" id="{6A99B158-1BB2-CA3B-E5D9-0661E3691242}"/>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sp>
          <p:nvSpPr>
            <p:cNvPr id="67" name="Oval 66">
              <a:extLst>
                <a:ext uri="{FF2B5EF4-FFF2-40B4-BE49-F238E27FC236}">
                  <a16:creationId xmlns:a16="http://schemas.microsoft.com/office/drawing/2014/main" id="{0D7B583C-FB82-8D5F-538B-94A01F2B945C}"/>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grpSp>
      <p:sp>
        <p:nvSpPr>
          <p:cNvPr id="68" name="Rectangle 67">
            <a:extLst>
              <a:ext uri="{FF2B5EF4-FFF2-40B4-BE49-F238E27FC236}">
                <a16:creationId xmlns:a16="http://schemas.microsoft.com/office/drawing/2014/main" id="{0A557DBC-A4FC-FD45-9DA7-6106CB95811E}"/>
              </a:ext>
            </a:extLst>
          </p:cNvPr>
          <p:cNvSpPr/>
          <p:nvPr/>
        </p:nvSpPr>
        <p:spPr>
          <a:xfrm>
            <a:off x="6606256" y="1951702"/>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150+</a:t>
            </a:r>
          </a:p>
          <a:p>
            <a:pPr algn="ctr" defTabSz="801619">
              <a:defRPr/>
            </a:pPr>
            <a:r>
              <a:rPr lang="en-US" sz="876">
                <a:solidFill>
                  <a:schemeClr val="bg1"/>
                </a:solidFill>
                <a:latin typeface="Calibri" panose="020F0502020204030204" pitchFamily="34" charset="0"/>
                <a:cs typeface="Calibri" panose="020F0502020204030204" pitchFamily="34" charset="0"/>
              </a:rPr>
              <a:t>Cloud Certified</a:t>
            </a:r>
            <a:endParaRPr lang="en-IN" sz="876">
              <a:solidFill>
                <a:schemeClr val="bg1"/>
              </a:solidFill>
              <a:latin typeface="Calibri" panose="020F0502020204030204" pitchFamily="34" charset="0"/>
              <a:cs typeface="Calibri" panose="020F0502020204030204" pitchFamily="34" charset="0"/>
            </a:endParaRPr>
          </a:p>
        </p:txBody>
      </p:sp>
      <p:grpSp>
        <p:nvGrpSpPr>
          <p:cNvPr id="69" name="Group 68">
            <a:extLst>
              <a:ext uri="{FF2B5EF4-FFF2-40B4-BE49-F238E27FC236}">
                <a16:creationId xmlns:a16="http://schemas.microsoft.com/office/drawing/2014/main" id="{C15812A3-8C2B-E3E2-8F84-22902000E09B}"/>
              </a:ext>
            </a:extLst>
          </p:cNvPr>
          <p:cNvGrpSpPr/>
          <p:nvPr/>
        </p:nvGrpSpPr>
        <p:grpSpPr>
          <a:xfrm>
            <a:off x="8252054" y="1841469"/>
            <a:ext cx="1174649" cy="863622"/>
            <a:chOff x="180443" y="846690"/>
            <a:chExt cx="1261173" cy="1081443"/>
          </a:xfrm>
        </p:grpSpPr>
        <p:sp>
          <p:nvSpPr>
            <p:cNvPr id="70" name="Freeform: Shape 57">
              <a:extLst>
                <a:ext uri="{FF2B5EF4-FFF2-40B4-BE49-F238E27FC236}">
                  <a16:creationId xmlns:a16="http://schemas.microsoft.com/office/drawing/2014/main" id="{C9E6B8B8-D9DA-FEB0-EE26-4D17D2E4E7BF}"/>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chemeClr val="bg1"/>
                </a:solidFill>
                <a:latin typeface="Calibri" panose="020F0502020204030204" pitchFamily="34" charset="0"/>
                <a:cs typeface="Calibri" panose="020F0502020204030204" pitchFamily="34" charset="0"/>
              </a:endParaRPr>
            </a:p>
          </p:txBody>
        </p:sp>
        <p:sp>
          <p:nvSpPr>
            <p:cNvPr id="71" name="Isosceles Triangle 58">
              <a:extLst>
                <a:ext uri="{FF2B5EF4-FFF2-40B4-BE49-F238E27FC236}">
                  <a16:creationId xmlns:a16="http://schemas.microsoft.com/office/drawing/2014/main" id="{E727DF8E-2CD4-2D46-D964-CC75CB3E881E}"/>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sp>
          <p:nvSpPr>
            <p:cNvPr id="72" name="Oval 71">
              <a:extLst>
                <a:ext uri="{FF2B5EF4-FFF2-40B4-BE49-F238E27FC236}">
                  <a16:creationId xmlns:a16="http://schemas.microsoft.com/office/drawing/2014/main" id="{E2DD554A-87FC-CAD7-78EA-F660D8B622FD}"/>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grpSp>
      <p:sp>
        <p:nvSpPr>
          <p:cNvPr id="73" name="Rectangle 72">
            <a:extLst>
              <a:ext uri="{FF2B5EF4-FFF2-40B4-BE49-F238E27FC236}">
                <a16:creationId xmlns:a16="http://schemas.microsoft.com/office/drawing/2014/main" id="{8BEEC400-08B9-38D3-D6D7-E061FC34B84D}"/>
              </a:ext>
            </a:extLst>
          </p:cNvPr>
          <p:cNvSpPr/>
          <p:nvPr/>
        </p:nvSpPr>
        <p:spPr>
          <a:xfrm>
            <a:off x="8074587" y="1923993"/>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50+</a:t>
            </a:r>
          </a:p>
          <a:p>
            <a:pPr algn="ctr" defTabSz="801619">
              <a:defRPr/>
            </a:pPr>
            <a:r>
              <a:rPr lang="en-US" sz="876">
                <a:solidFill>
                  <a:schemeClr val="bg1"/>
                </a:solidFill>
                <a:latin typeface="Calibri" panose="020F0502020204030204" pitchFamily="34" charset="0"/>
                <a:cs typeface="Calibri" panose="020F0502020204030204" pitchFamily="34" charset="0"/>
              </a:rPr>
              <a:t>Cloud Cyber </a:t>
            </a:r>
          </a:p>
          <a:p>
            <a:pPr algn="ctr" defTabSz="801619">
              <a:defRPr/>
            </a:pPr>
            <a:r>
              <a:rPr lang="en-US" sz="876">
                <a:solidFill>
                  <a:schemeClr val="bg1"/>
                </a:solidFill>
                <a:latin typeface="Calibri" panose="020F0502020204030204" pitchFamily="34" charset="0"/>
                <a:cs typeface="Calibri" panose="020F0502020204030204" pitchFamily="34" charset="0"/>
              </a:rPr>
              <a:t>Engineers</a:t>
            </a:r>
            <a:endParaRPr lang="en-IN" sz="876">
              <a:solidFill>
                <a:schemeClr val="bg1"/>
              </a:solidFill>
              <a:latin typeface="Calibri" panose="020F0502020204030204" pitchFamily="34" charset="0"/>
              <a:cs typeface="Calibri" panose="020F0502020204030204" pitchFamily="34" charset="0"/>
            </a:endParaRPr>
          </a:p>
        </p:txBody>
      </p:sp>
      <p:sp>
        <p:nvSpPr>
          <p:cNvPr id="74" name="Rectangle 73">
            <a:extLst>
              <a:ext uri="{FF2B5EF4-FFF2-40B4-BE49-F238E27FC236}">
                <a16:creationId xmlns:a16="http://schemas.microsoft.com/office/drawing/2014/main" id="{0C260D39-E761-B024-20CA-135A886F620D}"/>
              </a:ext>
            </a:extLst>
          </p:cNvPr>
          <p:cNvSpPr/>
          <p:nvPr/>
        </p:nvSpPr>
        <p:spPr>
          <a:xfrm>
            <a:off x="9429166" y="1915323"/>
            <a:ext cx="1508160" cy="71297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r>
              <a:rPr lang="en-US" sz="2104" b="1">
                <a:solidFill>
                  <a:schemeClr val="bg1"/>
                </a:solidFill>
                <a:latin typeface="Calibri" panose="020F0502020204030204" pitchFamily="34" charset="0"/>
                <a:cs typeface="Calibri" panose="020F0502020204030204" pitchFamily="34" charset="0"/>
              </a:rPr>
              <a:t>25+</a:t>
            </a:r>
          </a:p>
          <a:p>
            <a:pPr algn="ctr" defTabSz="801619">
              <a:defRPr/>
            </a:pPr>
            <a:r>
              <a:rPr lang="en-US" sz="876">
                <a:solidFill>
                  <a:schemeClr val="bg1"/>
                </a:solidFill>
                <a:latin typeface="Calibri" panose="020F0502020204030204" pitchFamily="34" charset="0"/>
                <a:cs typeface="Calibri" panose="020F0502020204030204" pitchFamily="34" charset="0"/>
              </a:rPr>
              <a:t>Digital Assurance </a:t>
            </a:r>
          </a:p>
          <a:p>
            <a:pPr algn="ctr" defTabSz="801619">
              <a:defRPr/>
            </a:pPr>
            <a:r>
              <a:rPr lang="en-US" sz="876">
                <a:solidFill>
                  <a:schemeClr val="bg1"/>
                </a:solidFill>
                <a:latin typeface="Calibri" panose="020F0502020204030204" pitchFamily="34" charset="0"/>
                <a:cs typeface="Calibri" panose="020F0502020204030204" pitchFamily="34" charset="0"/>
              </a:rPr>
              <a:t>and Test</a:t>
            </a:r>
            <a:endParaRPr lang="en-IN" sz="876">
              <a:solidFill>
                <a:schemeClr val="bg1"/>
              </a:solidFill>
              <a:latin typeface="Calibri" panose="020F0502020204030204" pitchFamily="34" charset="0"/>
              <a:cs typeface="Calibri" panose="020F0502020204030204" pitchFamily="34" charset="0"/>
            </a:endParaRPr>
          </a:p>
        </p:txBody>
      </p:sp>
      <p:grpSp>
        <p:nvGrpSpPr>
          <p:cNvPr id="75" name="Group 74">
            <a:extLst>
              <a:ext uri="{FF2B5EF4-FFF2-40B4-BE49-F238E27FC236}">
                <a16:creationId xmlns:a16="http://schemas.microsoft.com/office/drawing/2014/main" id="{1FADE6FC-878F-5ACF-0A3C-DCAED2E5A1CD}"/>
              </a:ext>
            </a:extLst>
          </p:cNvPr>
          <p:cNvGrpSpPr/>
          <p:nvPr/>
        </p:nvGrpSpPr>
        <p:grpSpPr>
          <a:xfrm>
            <a:off x="9613657" y="1839998"/>
            <a:ext cx="1174649" cy="863622"/>
            <a:chOff x="180443" y="846690"/>
            <a:chExt cx="1261173" cy="1081443"/>
          </a:xfrm>
        </p:grpSpPr>
        <p:sp>
          <p:nvSpPr>
            <p:cNvPr id="76" name="Freeform: Shape 63">
              <a:extLst>
                <a:ext uri="{FF2B5EF4-FFF2-40B4-BE49-F238E27FC236}">
                  <a16:creationId xmlns:a16="http://schemas.microsoft.com/office/drawing/2014/main" id="{C83431BF-2BA0-9EAC-CCD0-C6CFD8F2544D}"/>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chemeClr val="bg1"/>
                </a:solidFill>
                <a:latin typeface="Calibri" panose="020F0502020204030204" pitchFamily="34" charset="0"/>
                <a:cs typeface="Calibri" panose="020F0502020204030204" pitchFamily="34" charset="0"/>
              </a:endParaRPr>
            </a:p>
          </p:txBody>
        </p:sp>
        <p:sp>
          <p:nvSpPr>
            <p:cNvPr id="77" name="Isosceles Triangle 64">
              <a:extLst>
                <a:ext uri="{FF2B5EF4-FFF2-40B4-BE49-F238E27FC236}">
                  <a16:creationId xmlns:a16="http://schemas.microsoft.com/office/drawing/2014/main" id="{8D03EEC6-5A1B-2513-DD79-7953F36C3229}"/>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sp>
          <p:nvSpPr>
            <p:cNvPr id="78" name="Oval 77">
              <a:extLst>
                <a:ext uri="{FF2B5EF4-FFF2-40B4-BE49-F238E27FC236}">
                  <a16:creationId xmlns:a16="http://schemas.microsoft.com/office/drawing/2014/main" id="{DB04E003-4C14-2240-9A88-E750F64A578D}"/>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grpSp>
      <p:grpSp>
        <p:nvGrpSpPr>
          <p:cNvPr id="79" name="Group 78">
            <a:extLst>
              <a:ext uri="{FF2B5EF4-FFF2-40B4-BE49-F238E27FC236}">
                <a16:creationId xmlns:a16="http://schemas.microsoft.com/office/drawing/2014/main" id="{8A56E465-1F8D-876F-70EB-F589B2EA2547}"/>
              </a:ext>
            </a:extLst>
          </p:cNvPr>
          <p:cNvGrpSpPr/>
          <p:nvPr/>
        </p:nvGrpSpPr>
        <p:grpSpPr>
          <a:xfrm>
            <a:off x="5284344" y="1853757"/>
            <a:ext cx="1174649" cy="863622"/>
            <a:chOff x="180443" y="846690"/>
            <a:chExt cx="1261173" cy="1081443"/>
          </a:xfrm>
        </p:grpSpPr>
        <p:sp>
          <p:nvSpPr>
            <p:cNvPr id="80" name="Freeform: Shape 69">
              <a:extLst>
                <a:ext uri="{FF2B5EF4-FFF2-40B4-BE49-F238E27FC236}">
                  <a16:creationId xmlns:a16="http://schemas.microsoft.com/office/drawing/2014/main" id="{D0DD315E-047F-3693-1F80-6E7A89E00E15}"/>
                </a:ext>
              </a:extLst>
            </p:cNvPr>
            <p:cNvSpPr/>
            <p:nvPr/>
          </p:nvSpPr>
          <p:spPr>
            <a:xfrm rot="5400000">
              <a:off x="251267" y="775866"/>
              <a:ext cx="1081443" cy="1223092"/>
            </a:xfrm>
            <a:custGeom>
              <a:avLst/>
              <a:gdLst>
                <a:gd name="connsiteX0" fmla="*/ 0 w 1320874"/>
                <a:gd name="connsiteY0" fmla="*/ 569342 h 1138684"/>
                <a:gd name="connsiteX1" fmla="*/ 318592 w 1320874"/>
                <a:gd name="connsiteY1" fmla="*/ 0 h 1138684"/>
                <a:gd name="connsiteX2" fmla="*/ 754623 w 1320874"/>
                <a:gd name="connsiteY2" fmla="*/ 0 h 1138684"/>
                <a:gd name="connsiteX3" fmla="*/ 754623 w 1320874"/>
                <a:gd name="connsiteY3" fmla="*/ 352425 h 1138684"/>
                <a:gd name="connsiteX4" fmla="*/ 1064186 w 1320874"/>
                <a:gd name="connsiteY4" fmla="*/ 228600 h 1138684"/>
                <a:gd name="connsiteX5" fmla="*/ 1114066 w 1320874"/>
                <a:gd name="connsiteY5" fmla="*/ 199764 h 1138684"/>
                <a:gd name="connsiteX6" fmla="*/ 1320874 w 1320874"/>
                <a:gd name="connsiteY6" fmla="*/ 569342 h 1138684"/>
                <a:gd name="connsiteX7" fmla="*/ 1002282 w 1320874"/>
                <a:gd name="connsiteY7" fmla="*/ 1138684 h 1138684"/>
                <a:gd name="connsiteX8" fmla="*/ 318592 w 1320874"/>
                <a:gd name="connsiteY8" fmla="*/ 1138684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9" fmla="*/ 846063 w 1320874"/>
                <a:gd name="connsiteY9" fmla="*/ 443865 h 1138684"/>
                <a:gd name="connsiteX0" fmla="*/ 754623 w 1320874"/>
                <a:gd name="connsiteY0" fmla="*/ 352425 h 1138684"/>
                <a:gd name="connsiteX1" fmla="*/ 1064186 w 1320874"/>
                <a:gd name="connsiteY1" fmla="*/ 228600 h 1138684"/>
                <a:gd name="connsiteX2" fmla="*/ 1114066 w 1320874"/>
                <a:gd name="connsiteY2" fmla="*/ 199764 h 1138684"/>
                <a:gd name="connsiteX3" fmla="*/ 1320874 w 1320874"/>
                <a:gd name="connsiteY3" fmla="*/ 569342 h 1138684"/>
                <a:gd name="connsiteX4" fmla="*/ 1002282 w 1320874"/>
                <a:gd name="connsiteY4" fmla="*/ 1138684 h 1138684"/>
                <a:gd name="connsiteX5" fmla="*/ 318592 w 1320874"/>
                <a:gd name="connsiteY5" fmla="*/ 1138684 h 1138684"/>
                <a:gd name="connsiteX6" fmla="*/ 0 w 1320874"/>
                <a:gd name="connsiteY6" fmla="*/ 569342 h 1138684"/>
                <a:gd name="connsiteX7" fmla="*/ 318592 w 1320874"/>
                <a:gd name="connsiteY7" fmla="*/ 0 h 1138684"/>
                <a:gd name="connsiteX8" fmla="*/ 754623 w 1320874"/>
                <a:gd name="connsiteY8" fmla="*/ 0 h 1138684"/>
                <a:gd name="connsiteX0" fmla="*/ 1064186 w 1320874"/>
                <a:gd name="connsiteY0" fmla="*/ 228600 h 1138684"/>
                <a:gd name="connsiteX1" fmla="*/ 1114066 w 1320874"/>
                <a:gd name="connsiteY1" fmla="*/ 199764 h 1138684"/>
                <a:gd name="connsiteX2" fmla="*/ 1320874 w 1320874"/>
                <a:gd name="connsiteY2" fmla="*/ 569342 h 1138684"/>
                <a:gd name="connsiteX3" fmla="*/ 1002282 w 1320874"/>
                <a:gd name="connsiteY3" fmla="*/ 1138684 h 1138684"/>
                <a:gd name="connsiteX4" fmla="*/ 318592 w 1320874"/>
                <a:gd name="connsiteY4" fmla="*/ 1138684 h 1138684"/>
                <a:gd name="connsiteX5" fmla="*/ 0 w 1320874"/>
                <a:gd name="connsiteY5" fmla="*/ 569342 h 1138684"/>
                <a:gd name="connsiteX6" fmla="*/ 318592 w 1320874"/>
                <a:gd name="connsiteY6" fmla="*/ 0 h 1138684"/>
                <a:gd name="connsiteX7" fmla="*/ 754623 w 1320874"/>
                <a:gd name="connsiteY7" fmla="*/ 0 h 1138684"/>
                <a:gd name="connsiteX0" fmla="*/ 1114066 w 1320874"/>
                <a:gd name="connsiteY0" fmla="*/ 199764 h 1138684"/>
                <a:gd name="connsiteX1" fmla="*/ 1320874 w 1320874"/>
                <a:gd name="connsiteY1" fmla="*/ 569342 h 1138684"/>
                <a:gd name="connsiteX2" fmla="*/ 1002282 w 1320874"/>
                <a:gd name="connsiteY2" fmla="*/ 1138684 h 1138684"/>
                <a:gd name="connsiteX3" fmla="*/ 318592 w 1320874"/>
                <a:gd name="connsiteY3" fmla="*/ 1138684 h 1138684"/>
                <a:gd name="connsiteX4" fmla="*/ 0 w 1320874"/>
                <a:gd name="connsiteY4" fmla="*/ 569342 h 1138684"/>
                <a:gd name="connsiteX5" fmla="*/ 318592 w 1320874"/>
                <a:gd name="connsiteY5" fmla="*/ 0 h 1138684"/>
                <a:gd name="connsiteX6" fmla="*/ 754623 w 1320874"/>
                <a:gd name="connsiteY6" fmla="*/ 0 h 113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0874" h="1138684">
                  <a:moveTo>
                    <a:pt x="1114066" y="199764"/>
                  </a:moveTo>
                  <a:lnTo>
                    <a:pt x="1320874" y="569342"/>
                  </a:lnTo>
                  <a:lnTo>
                    <a:pt x="1002282" y="1138684"/>
                  </a:lnTo>
                  <a:lnTo>
                    <a:pt x="318592" y="1138684"/>
                  </a:lnTo>
                  <a:lnTo>
                    <a:pt x="0" y="569342"/>
                  </a:lnTo>
                  <a:lnTo>
                    <a:pt x="318592" y="0"/>
                  </a:lnTo>
                  <a:lnTo>
                    <a:pt x="754623" y="0"/>
                  </a:lnTo>
                </a:path>
              </a:pathLst>
            </a:cu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219">
                <a:defRPr/>
              </a:pPr>
              <a:endParaRPr lang="en-IN" sz="876">
                <a:solidFill>
                  <a:schemeClr val="bg1"/>
                </a:solidFill>
                <a:latin typeface="Calibri" panose="020F0502020204030204" pitchFamily="34" charset="0"/>
                <a:cs typeface="Calibri" panose="020F0502020204030204" pitchFamily="34" charset="0"/>
              </a:endParaRPr>
            </a:p>
          </p:txBody>
        </p:sp>
        <p:sp>
          <p:nvSpPr>
            <p:cNvPr id="81" name="Isosceles Triangle 70">
              <a:extLst>
                <a:ext uri="{FF2B5EF4-FFF2-40B4-BE49-F238E27FC236}">
                  <a16:creationId xmlns:a16="http://schemas.microsoft.com/office/drawing/2014/main" id="{90A973F2-8772-270A-05C5-C450D5008650}"/>
                </a:ext>
              </a:extLst>
            </p:cNvPr>
            <p:cNvSpPr/>
            <p:nvPr/>
          </p:nvSpPr>
          <p:spPr>
            <a:xfrm rot="3782074">
              <a:off x="1162852" y="1695443"/>
              <a:ext cx="137160" cy="91440"/>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sp>
          <p:nvSpPr>
            <p:cNvPr id="82" name="Oval 81">
              <a:extLst>
                <a:ext uri="{FF2B5EF4-FFF2-40B4-BE49-F238E27FC236}">
                  <a16:creationId xmlns:a16="http://schemas.microsoft.com/office/drawing/2014/main" id="{8080769C-CC22-4258-19CD-B3B080D58376}"/>
                </a:ext>
              </a:extLst>
            </p:cNvPr>
            <p:cNvSpPr/>
            <p:nvPr/>
          </p:nvSpPr>
          <p:spPr>
            <a:xfrm>
              <a:off x="1368464" y="1448047"/>
              <a:ext cx="73152" cy="73152"/>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619">
                <a:defRPr/>
              </a:pPr>
              <a:endParaRPr lang="en-IN" sz="1052">
                <a:solidFill>
                  <a:schemeClr val="bg1"/>
                </a:solidFill>
                <a:latin typeface="Calibri" panose="020F0502020204030204" pitchFamily="34" charset="0"/>
                <a:cs typeface="Calibri" panose="020F0502020204030204" pitchFamily="34" charset="0"/>
              </a:endParaRPr>
            </a:p>
          </p:txBody>
        </p:sp>
      </p:grpSp>
      <p:pic>
        <p:nvPicPr>
          <p:cNvPr id="2" name="Picture 1">
            <a:extLst>
              <a:ext uri="{FF2B5EF4-FFF2-40B4-BE49-F238E27FC236}">
                <a16:creationId xmlns:a16="http://schemas.microsoft.com/office/drawing/2014/main" id="{F2F7AB9E-8356-911E-38DF-5B3E90224FF4}"/>
              </a:ext>
            </a:extLst>
          </p:cNvPr>
          <p:cNvPicPr>
            <a:picLocks noChangeAspect="1"/>
          </p:cNvPicPr>
          <p:nvPr/>
        </p:nvPicPr>
        <p:blipFill>
          <a:blip r:embed="rId12"/>
          <a:stretch>
            <a:fillRect/>
          </a:stretch>
        </p:blipFill>
        <p:spPr>
          <a:xfrm>
            <a:off x="9463805" y="1427394"/>
            <a:ext cx="1320405" cy="277122"/>
          </a:xfrm>
          <a:prstGeom prst="rect">
            <a:avLst/>
          </a:prstGeom>
        </p:spPr>
      </p:pic>
      <p:grpSp>
        <p:nvGrpSpPr>
          <p:cNvPr id="3" name="Group 4">
            <a:extLst>
              <a:ext uri="{FF2B5EF4-FFF2-40B4-BE49-F238E27FC236}">
                <a16:creationId xmlns:a16="http://schemas.microsoft.com/office/drawing/2014/main" id="{77DDD3EE-6E0E-A4EF-D421-8485781D2197}"/>
              </a:ext>
            </a:extLst>
          </p:cNvPr>
          <p:cNvGrpSpPr>
            <a:grpSpLocks noChangeAspect="1"/>
          </p:cNvGrpSpPr>
          <p:nvPr/>
        </p:nvGrpSpPr>
        <p:grpSpPr bwMode="auto">
          <a:xfrm>
            <a:off x="9017871" y="1271068"/>
            <a:ext cx="405878" cy="416503"/>
            <a:chOff x="7110" y="4004"/>
            <a:chExt cx="191" cy="196"/>
          </a:xfrm>
        </p:grpSpPr>
        <p:sp>
          <p:nvSpPr>
            <p:cNvPr id="4" name="Freeform 5">
              <a:extLst>
                <a:ext uri="{FF2B5EF4-FFF2-40B4-BE49-F238E27FC236}">
                  <a16:creationId xmlns:a16="http://schemas.microsoft.com/office/drawing/2014/main" id="{72D04554-C29B-ECFB-F925-7D6E5DE5C2B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5" name="Freeform 6">
              <a:extLst>
                <a:ext uri="{FF2B5EF4-FFF2-40B4-BE49-F238E27FC236}">
                  <a16:creationId xmlns:a16="http://schemas.microsoft.com/office/drawing/2014/main" id="{4A632DB0-627F-9359-DDCB-05C8D5D4434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6" name="Freeform 7">
              <a:extLst>
                <a:ext uri="{FF2B5EF4-FFF2-40B4-BE49-F238E27FC236}">
                  <a16:creationId xmlns:a16="http://schemas.microsoft.com/office/drawing/2014/main" id="{CFF92DC7-981F-A26F-2E9F-318F185AB90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508220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sz="2400">
                <a:solidFill>
                  <a:schemeClr val="bg1"/>
                </a:solidFill>
                <a:latin typeface="Calibri" panose="020F0502020204030204" pitchFamily="34" charset="0"/>
                <a:cs typeface="Calibri" panose="020F0502020204030204" pitchFamily="34" charset="0"/>
              </a:rPr>
              <a:t>B.2 – Introduction </a:t>
            </a:r>
            <a:r>
              <a:rPr lang="en-IN">
                <a:latin typeface="Calibri" panose="020F0502020204030204" pitchFamily="34" charset="0"/>
                <a:cs typeface="Calibri" panose="020F0502020204030204" pitchFamily="34" charset="0"/>
              </a:rPr>
              <a:t>to our </a:t>
            </a:r>
            <a:r>
              <a:rPr lang="en-IN" sz="2400">
                <a:solidFill>
                  <a:schemeClr val="bg1"/>
                </a:solidFill>
                <a:latin typeface="Calibri" panose="020F0502020204030204" pitchFamily="34" charset="0"/>
                <a:cs typeface="Calibri" panose="020F0502020204030204" pitchFamily="34" charset="0"/>
              </a:rPr>
              <a:t>Microsoft t</a:t>
            </a:r>
            <a:r>
              <a:rPr lang="en-IN">
                <a:latin typeface="Calibri" panose="020F0502020204030204" pitchFamily="34" charset="0"/>
                <a:cs typeface="Calibri" panose="020F0502020204030204" pitchFamily="34" charset="0"/>
              </a:rPr>
              <a:t>echnical </a:t>
            </a:r>
            <a:r>
              <a:rPr lang="en-IN" sz="2400">
                <a:solidFill>
                  <a:schemeClr val="bg1"/>
                </a:solidFill>
                <a:latin typeface="Calibri" panose="020F0502020204030204" pitchFamily="34" charset="0"/>
                <a:cs typeface="Calibri" panose="020F0502020204030204" pitchFamily="34" charset="0"/>
              </a:rPr>
              <a:t>capabilities</a:t>
            </a:r>
            <a:endParaRPr lang="en-IE">
              <a:latin typeface="Calibri" panose="020F0502020204030204" pitchFamily="34" charset="0"/>
              <a:cs typeface="Calibri" panose="020F0502020204030204" pitchFamily="34" charset="0"/>
            </a:endParaRPr>
          </a:p>
        </p:txBody>
      </p:sp>
      <p:sp>
        <p:nvSpPr>
          <p:cNvPr id="2" name="Oval 1">
            <a:extLst>
              <a:ext uri="{FF2B5EF4-FFF2-40B4-BE49-F238E27FC236}">
                <a16:creationId xmlns:a16="http://schemas.microsoft.com/office/drawing/2014/main" id="{9D96EE38-D510-5AA5-0944-80606CD69656}"/>
              </a:ext>
            </a:extLst>
          </p:cNvPr>
          <p:cNvSpPr/>
          <p:nvPr/>
        </p:nvSpPr>
        <p:spPr>
          <a:xfrm>
            <a:off x="1594374" y="3983058"/>
            <a:ext cx="1041974" cy="1041974"/>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01563"/>
            <a:r>
              <a:rPr lang="en-US" sz="1052">
                <a:solidFill>
                  <a:schemeClr val="bg1"/>
                </a:solidFill>
                <a:latin typeface="Calibri" panose="020F0502020204030204" pitchFamily="34" charset="0"/>
                <a:cs typeface="Calibri" panose="020F0502020204030204" pitchFamily="34" charset="0"/>
              </a:rPr>
              <a:t>EY Microsoft</a:t>
            </a:r>
            <a:br>
              <a:rPr lang="en-US" sz="1052">
                <a:solidFill>
                  <a:schemeClr val="bg1"/>
                </a:solidFill>
                <a:latin typeface="Calibri" panose="020F0502020204030204" pitchFamily="34" charset="0"/>
                <a:cs typeface="Calibri" panose="020F0502020204030204" pitchFamily="34" charset="0"/>
              </a:rPr>
            </a:br>
            <a:r>
              <a:rPr lang="en-US" sz="1052">
                <a:solidFill>
                  <a:schemeClr val="bg1"/>
                </a:solidFill>
                <a:latin typeface="Calibri" panose="020F0502020204030204" pitchFamily="34" charset="0"/>
                <a:cs typeface="Calibri" panose="020F0502020204030204" pitchFamily="34" charset="0"/>
              </a:rPr>
              <a:t>capabilities</a:t>
            </a:r>
          </a:p>
        </p:txBody>
      </p:sp>
      <p:sp>
        <p:nvSpPr>
          <p:cNvPr id="3" name="Rectangle 2">
            <a:extLst>
              <a:ext uri="{FF2B5EF4-FFF2-40B4-BE49-F238E27FC236}">
                <a16:creationId xmlns:a16="http://schemas.microsoft.com/office/drawing/2014/main" id="{1865326D-E7A7-1071-8637-6E72F21BF9D8}"/>
              </a:ext>
            </a:extLst>
          </p:cNvPr>
          <p:cNvSpPr>
            <a:spLocks/>
          </p:cNvSpPr>
          <p:nvPr/>
        </p:nvSpPr>
        <p:spPr>
          <a:xfrm>
            <a:off x="4952325" y="4116396"/>
            <a:ext cx="1669659" cy="130519"/>
          </a:xfrm>
          <a:prstGeom prst="rect">
            <a:avLst/>
          </a:prstGeom>
          <a:noFill/>
        </p:spPr>
        <p:txBody>
          <a:bodyPr wrap="square" lIns="0" tIns="0" rIns="0" bIns="0">
            <a:noAutofit/>
          </a:bodyPr>
          <a:lstStyle/>
          <a:p>
            <a:pPr defTabSz="800762">
              <a:spcAft>
                <a:spcPts val="526"/>
              </a:spcAft>
              <a:buClr>
                <a:srgbClr val="FFE600"/>
              </a:buClr>
              <a:buSzPct val="70000"/>
            </a:pPr>
            <a:r>
              <a:rPr lang="en-US" sz="1000" b="1">
                <a:solidFill>
                  <a:schemeClr val="bg1"/>
                </a:solidFill>
                <a:latin typeface="Calibri" panose="020F0502020204030204" pitchFamily="34" charset="0"/>
                <a:cs typeface="Calibri" panose="020F0502020204030204" pitchFamily="34" charset="0"/>
              </a:rPr>
              <a:t>Global capability </a:t>
            </a:r>
          </a:p>
          <a:p>
            <a:pPr defTabSz="800762">
              <a:spcBef>
                <a:spcPts val="1051"/>
              </a:spcBef>
              <a:spcAft>
                <a:spcPts val="526"/>
              </a:spcAft>
              <a:buClr>
                <a:srgbClr val="FFE600"/>
              </a:buClr>
              <a:buSzPct val="70000"/>
            </a:pPr>
            <a:endParaRPr lang="en-US" sz="1000">
              <a:solidFill>
                <a:schemeClr val="bg1"/>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AE55D033-30E7-5CF0-28CF-D6344ADF21BF}"/>
              </a:ext>
            </a:extLst>
          </p:cNvPr>
          <p:cNvSpPr>
            <a:spLocks/>
          </p:cNvSpPr>
          <p:nvPr/>
        </p:nvSpPr>
        <p:spPr>
          <a:xfrm>
            <a:off x="6621983" y="4289144"/>
            <a:ext cx="966819" cy="1368776"/>
          </a:xfrm>
          <a:prstGeom prst="rect">
            <a:avLst/>
          </a:prstGeom>
          <a:noFill/>
        </p:spPr>
        <p:txBody>
          <a:bodyPr wrap="square" lIns="0" tIns="0" rIns="0" bIns="0">
            <a:noAutofit/>
          </a:bodyPr>
          <a:lstStyle/>
          <a:p>
            <a:pPr defTabSz="800762">
              <a:spcAft>
                <a:spcPts val="263"/>
              </a:spcAft>
              <a:buClr>
                <a:srgbClr val="FFE600"/>
              </a:buClr>
              <a:buSzPct val="70000"/>
            </a:pPr>
            <a:r>
              <a:rPr lang="en-US" sz="1000">
                <a:solidFill>
                  <a:schemeClr val="bg1"/>
                </a:solidFill>
                <a:latin typeface="Calibri" panose="020F0502020204030204" pitchFamily="34" charset="0"/>
                <a:cs typeface="Calibri" panose="020F0502020204030204" pitchFamily="34" charset="0"/>
              </a:rPr>
              <a:t>1,000+</a:t>
            </a:r>
          </a:p>
          <a:p>
            <a:pPr defTabSz="800762">
              <a:spcAft>
                <a:spcPts val="1051"/>
              </a:spcAft>
              <a:buClr>
                <a:srgbClr val="FFE600"/>
              </a:buClr>
              <a:buSzPct val="70000"/>
            </a:pPr>
            <a:r>
              <a:rPr lang="en-US" sz="1000" b="1">
                <a:solidFill>
                  <a:schemeClr val="bg1"/>
                </a:solidFill>
                <a:latin typeface="Calibri" panose="020F0502020204030204" pitchFamily="34" charset="0"/>
                <a:cs typeface="Calibri" panose="020F0502020204030204" pitchFamily="34" charset="0"/>
              </a:rPr>
              <a:t>Asia-pacific</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Australia</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Japan</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Philippines</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Singapore</a:t>
            </a:r>
          </a:p>
          <a:p>
            <a:pPr defTabSz="800762">
              <a:spcAft>
                <a:spcPts val="263"/>
              </a:spcAft>
              <a:buClr>
                <a:srgbClr val="FFE600"/>
              </a:buClr>
              <a:buSzPct val="70000"/>
            </a:pPr>
            <a:endParaRPr lang="en-US" sz="1000">
              <a:solidFill>
                <a:schemeClr val="bg1"/>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9A6335-933D-F25A-6559-85EF6AF6E272}"/>
              </a:ext>
            </a:extLst>
          </p:cNvPr>
          <p:cNvSpPr>
            <a:spLocks/>
          </p:cNvSpPr>
          <p:nvPr/>
        </p:nvSpPr>
        <p:spPr>
          <a:xfrm>
            <a:off x="4956840" y="4317719"/>
            <a:ext cx="966819" cy="1248017"/>
          </a:xfrm>
          <a:prstGeom prst="rect">
            <a:avLst/>
          </a:prstGeom>
          <a:noFill/>
        </p:spPr>
        <p:txBody>
          <a:bodyPr wrap="square" lIns="0" tIns="0" rIns="0" bIns="0">
            <a:noAutofit/>
          </a:bodyPr>
          <a:lstStyle/>
          <a:p>
            <a:pPr defTabSz="800762">
              <a:spcAft>
                <a:spcPts val="263"/>
              </a:spcAft>
              <a:buClr>
                <a:srgbClr val="FFE600"/>
              </a:buClr>
              <a:buSzPct val="70000"/>
            </a:pPr>
            <a:r>
              <a:rPr lang="en-US" sz="1000">
                <a:solidFill>
                  <a:schemeClr val="bg1"/>
                </a:solidFill>
                <a:latin typeface="Calibri" panose="020F0502020204030204" pitchFamily="34" charset="0"/>
                <a:cs typeface="Calibri" panose="020F0502020204030204" pitchFamily="34" charset="0"/>
              </a:rPr>
              <a:t>5,000+</a:t>
            </a:r>
          </a:p>
          <a:p>
            <a:pPr defTabSz="800762">
              <a:spcAft>
                <a:spcPts val="1051"/>
              </a:spcAft>
              <a:buClr>
                <a:srgbClr val="FFE600"/>
              </a:buClr>
              <a:buSzPct val="70000"/>
            </a:pPr>
            <a:r>
              <a:rPr lang="en-US" sz="1000" b="1">
                <a:solidFill>
                  <a:schemeClr val="bg1"/>
                </a:solidFill>
                <a:latin typeface="Calibri" panose="020F0502020204030204" pitchFamily="34" charset="0"/>
                <a:cs typeface="Calibri" panose="020F0502020204030204" pitchFamily="34" charset="0"/>
              </a:rPr>
              <a:t>Americas</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US</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Canada</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Chile</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Costa Rica</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Brazil</a:t>
            </a:r>
          </a:p>
        </p:txBody>
      </p:sp>
      <p:sp>
        <p:nvSpPr>
          <p:cNvPr id="7" name="Rectangle 6">
            <a:extLst>
              <a:ext uri="{FF2B5EF4-FFF2-40B4-BE49-F238E27FC236}">
                <a16:creationId xmlns:a16="http://schemas.microsoft.com/office/drawing/2014/main" id="{C0A0C2BA-0C72-9902-C2E6-0A85E7F2BE32}"/>
              </a:ext>
            </a:extLst>
          </p:cNvPr>
          <p:cNvSpPr>
            <a:spLocks/>
          </p:cNvSpPr>
          <p:nvPr/>
        </p:nvSpPr>
        <p:spPr>
          <a:xfrm>
            <a:off x="5779564" y="4298670"/>
            <a:ext cx="842420" cy="1659441"/>
          </a:xfrm>
          <a:prstGeom prst="rect">
            <a:avLst/>
          </a:prstGeom>
          <a:noFill/>
        </p:spPr>
        <p:txBody>
          <a:bodyPr wrap="square" lIns="0" tIns="0" rIns="0" bIns="0">
            <a:noAutofit/>
          </a:bodyPr>
          <a:lstStyle/>
          <a:p>
            <a:pPr defTabSz="800762">
              <a:spcAft>
                <a:spcPts val="263"/>
              </a:spcAft>
              <a:buClr>
                <a:srgbClr val="FFE600"/>
              </a:buClr>
              <a:buSzPct val="70000"/>
            </a:pPr>
            <a:r>
              <a:rPr lang="en-US" sz="1000">
                <a:solidFill>
                  <a:schemeClr val="bg1"/>
                </a:solidFill>
                <a:latin typeface="Calibri" panose="020F0502020204030204" pitchFamily="34" charset="0"/>
                <a:cs typeface="Calibri" panose="020F0502020204030204" pitchFamily="34" charset="0"/>
              </a:rPr>
              <a:t>2,000+</a:t>
            </a:r>
          </a:p>
          <a:p>
            <a:pPr defTabSz="800762">
              <a:spcAft>
                <a:spcPts val="1051"/>
              </a:spcAft>
              <a:buClr>
                <a:srgbClr val="FFE600"/>
              </a:buClr>
              <a:buSzPct val="70000"/>
            </a:pPr>
            <a:r>
              <a:rPr lang="en-US" sz="1000" b="1">
                <a:solidFill>
                  <a:schemeClr val="bg1"/>
                </a:solidFill>
                <a:latin typeface="Calibri" panose="020F0502020204030204" pitchFamily="34" charset="0"/>
                <a:cs typeface="Calibri" panose="020F0502020204030204" pitchFamily="34" charset="0"/>
              </a:rPr>
              <a:t>EMEIA</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UK</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Ireland</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Italy</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India</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France</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Germany</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Netherlands</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Nordics</a:t>
            </a:r>
          </a:p>
          <a:p>
            <a:pPr marL="133594" indent="-133594" defTabSz="801563">
              <a:buClr>
                <a:srgbClr val="FFE600"/>
              </a:buClr>
              <a:buSzPct val="100000"/>
              <a:buFont typeface="EYInterstate Light" panose="02000506000000020004" pitchFamily="2" charset="0"/>
              <a:buChar char="•"/>
              <a:defRPr/>
            </a:pPr>
            <a:r>
              <a:rPr lang="en-US" sz="1000">
                <a:solidFill>
                  <a:schemeClr val="bg1"/>
                </a:solidFill>
                <a:latin typeface="Calibri" panose="020F0502020204030204" pitchFamily="34" charset="0"/>
                <a:cs typeface="Calibri" panose="020F0502020204030204" pitchFamily="34" charset="0"/>
              </a:rPr>
              <a:t>Poland</a:t>
            </a:r>
          </a:p>
          <a:p>
            <a:pPr defTabSz="800762">
              <a:spcAft>
                <a:spcPts val="263"/>
              </a:spcAft>
              <a:buClr>
                <a:srgbClr val="FFE600"/>
              </a:buClr>
              <a:buSzPct val="70000"/>
            </a:pPr>
            <a:endParaRPr lang="en-US" sz="1000">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2559B79A-5E09-9AD8-83B2-068452B641A0}"/>
              </a:ext>
            </a:extLst>
          </p:cNvPr>
          <p:cNvSpPr>
            <a:spLocks/>
          </p:cNvSpPr>
          <p:nvPr/>
        </p:nvSpPr>
        <p:spPr>
          <a:xfrm>
            <a:off x="8023872" y="4297371"/>
            <a:ext cx="1862594" cy="146865"/>
          </a:xfrm>
          <a:prstGeom prst="rect">
            <a:avLst/>
          </a:prstGeom>
          <a:noFill/>
        </p:spPr>
        <p:txBody>
          <a:bodyPr wrap="square" lIns="0" tIns="0" rIns="0" bIns="0">
            <a:noAutofit/>
          </a:bodyPr>
          <a:lstStyle/>
          <a:p>
            <a:pPr defTabSz="800762">
              <a:spcAft>
                <a:spcPts val="526"/>
              </a:spcAft>
              <a:buClr>
                <a:srgbClr val="FFE600"/>
              </a:buClr>
              <a:buSzPct val="70000"/>
            </a:pPr>
            <a:r>
              <a:rPr lang="en-US" sz="1000" b="1">
                <a:solidFill>
                  <a:schemeClr val="bg1"/>
                </a:solidFill>
                <a:latin typeface="Calibri" panose="020F0502020204030204" pitchFamily="34" charset="0"/>
                <a:cs typeface="Calibri" panose="020F0502020204030204" pitchFamily="34" charset="0"/>
              </a:rPr>
              <a:t>Co-innovation centers</a:t>
            </a:r>
          </a:p>
        </p:txBody>
      </p:sp>
      <p:sp>
        <p:nvSpPr>
          <p:cNvPr id="10" name="Rectangle 9">
            <a:extLst>
              <a:ext uri="{FF2B5EF4-FFF2-40B4-BE49-F238E27FC236}">
                <a16:creationId xmlns:a16="http://schemas.microsoft.com/office/drawing/2014/main" id="{5A020B04-B1A7-3B52-77CA-A651BF74604D}"/>
              </a:ext>
            </a:extLst>
          </p:cNvPr>
          <p:cNvSpPr>
            <a:spLocks/>
          </p:cNvSpPr>
          <p:nvPr/>
        </p:nvSpPr>
        <p:spPr>
          <a:xfrm>
            <a:off x="8023872" y="4593944"/>
            <a:ext cx="3088427" cy="1594167"/>
          </a:xfrm>
          <a:prstGeom prst="rect">
            <a:avLst/>
          </a:prstGeom>
          <a:noFill/>
        </p:spPr>
        <p:txBody>
          <a:bodyPr wrap="square" lIns="0" tIns="0" rIns="0" bIns="0">
            <a:noAutofit/>
          </a:bodyPr>
          <a:lstStyle/>
          <a:p>
            <a:pPr marL="133594" indent="-133594" defTabSz="801563">
              <a:buClr>
                <a:srgbClr val="FFE600"/>
              </a:buClr>
              <a:buSzPct val="100000"/>
              <a:buFont typeface="EYInterstate Light" panose="02000506000000020004" pitchFamily="2" charset="0"/>
              <a:buChar char="•"/>
              <a:defRPr/>
            </a:pPr>
            <a:r>
              <a:rPr lang="en-US" sz="1100">
                <a:solidFill>
                  <a:schemeClr val="bg1"/>
                </a:solidFill>
                <a:latin typeface="Calibri" panose="020F0502020204030204" pitchFamily="34" charset="0"/>
                <a:cs typeface="Calibri" panose="020F0502020204030204" pitchFamily="34" charset="0"/>
              </a:rPr>
              <a:t>The quantum space, Munich (Germany)</a:t>
            </a:r>
          </a:p>
          <a:p>
            <a:pPr marL="133594" indent="-133594" defTabSz="801563">
              <a:buClr>
                <a:srgbClr val="FFE600"/>
              </a:buClr>
              <a:buSzPct val="100000"/>
              <a:buFont typeface="EYInterstate Light" panose="02000506000000020004" pitchFamily="2" charset="0"/>
              <a:buChar char="•"/>
              <a:defRPr/>
            </a:pPr>
            <a:r>
              <a:rPr lang="en-US" sz="1100">
                <a:solidFill>
                  <a:schemeClr val="bg1"/>
                </a:solidFill>
                <a:latin typeface="Calibri" panose="020F0502020204030204" pitchFamily="34" charset="0"/>
                <a:cs typeface="Calibri" panose="020F0502020204030204" pitchFamily="34" charset="0"/>
              </a:rPr>
              <a:t>Cloud Centre of Enablement, Seattle (US)</a:t>
            </a:r>
          </a:p>
          <a:p>
            <a:pPr marL="150293" indent="-150293" defTabSz="800762">
              <a:spcAft>
                <a:spcPts val="263"/>
              </a:spcAft>
              <a:buClr>
                <a:srgbClr val="FFE600"/>
              </a:buClr>
              <a:buSzPct val="100000"/>
              <a:buFont typeface="EYInterstate Light" panose="02000506000000020004" pitchFamily="2" charset="0"/>
              <a:buChar char="•"/>
            </a:pPr>
            <a:endParaRPr lang="en-US" sz="1000">
              <a:solidFill>
                <a:schemeClr val="bg1"/>
              </a:solidFill>
              <a:latin typeface="Calibri" panose="020F0502020204030204" pitchFamily="34" charset="0"/>
              <a:cs typeface="Calibri" panose="020F0502020204030204" pitchFamily="34" charset="0"/>
            </a:endParaRPr>
          </a:p>
          <a:p>
            <a:pPr defTabSz="801162">
              <a:spcAft>
                <a:spcPts val="526"/>
              </a:spcAft>
              <a:buSzPct val="80000"/>
              <a:defRPr/>
            </a:pPr>
            <a:r>
              <a:rPr lang="en-US" sz="1100" kern="0" spc="-11">
                <a:solidFill>
                  <a:schemeClr val="bg1"/>
                </a:solidFill>
                <a:latin typeface="Calibri" panose="020F0502020204030204" pitchFamily="34" charset="0"/>
                <a:cs typeface="Calibri" panose="020F0502020204030204" pitchFamily="34" charset="0"/>
              </a:rPr>
              <a:t>Industry ecosystem innovation centers </a:t>
            </a:r>
          </a:p>
          <a:p>
            <a:pPr marL="133594" indent="-133594" defTabSz="801563">
              <a:spcAft>
                <a:spcPts val="263"/>
              </a:spcAft>
              <a:buClr>
                <a:srgbClr val="FFE600"/>
              </a:buClr>
              <a:buSzPct val="100000"/>
              <a:buFont typeface="EYInterstate Light" panose="02000506000000020004" pitchFamily="2" charset="0"/>
              <a:buChar char="•"/>
              <a:defRPr/>
            </a:pPr>
            <a:r>
              <a:rPr lang="en-US" sz="1100">
                <a:solidFill>
                  <a:schemeClr val="bg1"/>
                </a:solidFill>
                <a:latin typeface="Calibri" panose="020F0502020204030204" pitchFamily="34" charset="0"/>
                <a:cs typeface="Calibri" panose="020F0502020204030204" pitchFamily="34" charset="0"/>
              </a:rPr>
              <a:t>EY-Nottingham Spirk Innovation Hub</a:t>
            </a:r>
          </a:p>
          <a:p>
            <a:pPr marL="133594" indent="-133594" defTabSz="801563">
              <a:spcAft>
                <a:spcPts val="263"/>
              </a:spcAft>
              <a:buClr>
                <a:srgbClr val="FFE600"/>
              </a:buClr>
              <a:buSzPct val="100000"/>
              <a:buFont typeface="EYInterstate Light" panose="02000506000000020004" pitchFamily="2" charset="0"/>
              <a:buChar char="•"/>
              <a:defRPr/>
            </a:pPr>
            <a:r>
              <a:rPr lang="en-US" sz="1100">
                <a:solidFill>
                  <a:schemeClr val="bg1"/>
                </a:solidFill>
                <a:latin typeface="Calibri" panose="020F0502020204030204" pitchFamily="34" charset="0"/>
                <a:cs typeface="Calibri" panose="020F0502020204030204" pitchFamily="34" charset="0"/>
              </a:rPr>
              <a:t>40+ WaveSpace™ innovation labs</a:t>
            </a:r>
          </a:p>
        </p:txBody>
      </p:sp>
      <p:sp>
        <p:nvSpPr>
          <p:cNvPr id="11" name="Rectangle 10">
            <a:extLst>
              <a:ext uri="{FF2B5EF4-FFF2-40B4-BE49-F238E27FC236}">
                <a16:creationId xmlns:a16="http://schemas.microsoft.com/office/drawing/2014/main" id="{CC52BAA3-74A0-D43F-0346-9AE58659917C}"/>
              </a:ext>
            </a:extLst>
          </p:cNvPr>
          <p:cNvSpPr/>
          <p:nvPr/>
        </p:nvSpPr>
        <p:spPr>
          <a:xfrm>
            <a:off x="3685212" y="4593945"/>
            <a:ext cx="818861" cy="883535"/>
          </a:xfrm>
          <a:prstGeom prst="rect">
            <a:avLst/>
          </a:prstGeom>
          <a:noFill/>
        </p:spPr>
        <p:txBody>
          <a:bodyPr wrap="square" lIns="0" tIns="0" rIns="0" bIns="0">
            <a:noAutofit/>
          </a:bodyPr>
          <a:lstStyle/>
          <a:p>
            <a:pPr algn="r" defTabSz="800762">
              <a:spcAft>
                <a:spcPts val="263"/>
              </a:spcAft>
              <a:buClr>
                <a:srgbClr val="FFE600"/>
              </a:buClr>
              <a:buSzPct val="70000"/>
            </a:pPr>
            <a:r>
              <a:rPr lang="en-US" sz="1000">
                <a:solidFill>
                  <a:schemeClr val="bg1"/>
                </a:solidFill>
                <a:latin typeface="Calibri" panose="020F0502020204030204" pitchFamily="34" charset="0"/>
                <a:cs typeface="Calibri" panose="020F0502020204030204" pitchFamily="34" charset="0"/>
              </a:rPr>
              <a:t>Resources focused on Microsoft solution and services delivery</a:t>
            </a:r>
          </a:p>
        </p:txBody>
      </p:sp>
      <p:cxnSp>
        <p:nvCxnSpPr>
          <p:cNvPr id="12" name="Straight Connector 11">
            <a:extLst>
              <a:ext uri="{FF2B5EF4-FFF2-40B4-BE49-F238E27FC236}">
                <a16:creationId xmlns:a16="http://schemas.microsoft.com/office/drawing/2014/main" id="{04A76293-8F39-0E3E-2EBC-3D85E80E3241}"/>
              </a:ext>
            </a:extLst>
          </p:cNvPr>
          <p:cNvCxnSpPr>
            <a:cxnSpLocks/>
          </p:cNvCxnSpPr>
          <p:nvPr/>
        </p:nvCxnSpPr>
        <p:spPr>
          <a:xfrm>
            <a:off x="7699421" y="3942628"/>
            <a:ext cx="0" cy="2223026"/>
          </a:xfrm>
          <a:prstGeom prst="line">
            <a:avLst/>
          </a:prstGeom>
          <a:ln w="6350"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3109FB-769F-FDC2-A663-B89934A87DCC}"/>
              </a:ext>
            </a:extLst>
          </p:cNvPr>
          <p:cNvCxnSpPr>
            <a:cxnSpLocks/>
          </p:cNvCxnSpPr>
          <p:nvPr/>
        </p:nvCxnSpPr>
        <p:spPr>
          <a:xfrm>
            <a:off x="4638880" y="3923578"/>
            <a:ext cx="0" cy="2223026"/>
          </a:xfrm>
          <a:prstGeom prst="line">
            <a:avLst/>
          </a:prstGeom>
          <a:ln w="6350"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B38C833-1AB1-299C-1AF4-01EA83C6663C}"/>
              </a:ext>
            </a:extLst>
          </p:cNvPr>
          <p:cNvCxnSpPr>
            <a:cxnSpLocks/>
          </p:cNvCxnSpPr>
          <p:nvPr/>
        </p:nvCxnSpPr>
        <p:spPr>
          <a:xfrm>
            <a:off x="4638880" y="4618661"/>
            <a:ext cx="0" cy="307932"/>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15" name="Graphic 14">
            <a:extLst>
              <a:ext uri="{FF2B5EF4-FFF2-40B4-BE49-F238E27FC236}">
                <a16:creationId xmlns:a16="http://schemas.microsoft.com/office/drawing/2014/main" id="{8D1BAC58-C10F-102C-3455-AC8F5E705BF3}"/>
              </a:ext>
            </a:extLst>
          </p:cNvPr>
          <p:cNvSpPr/>
          <p:nvPr/>
        </p:nvSpPr>
        <p:spPr>
          <a:xfrm>
            <a:off x="4782440" y="4116419"/>
            <a:ext cx="109649" cy="146199"/>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000">
              <a:solidFill>
                <a:schemeClr val="bg1"/>
              </a:solidFill>
              <a:latin typeface="Calibri" panose="020F0502020204030204" pitchFamily="34" charset="0"/>
              <a:cs typeface="Calibri" panose="020F0502020204030204" pitchFamily="34" charset="0"/>
            </a:endParaRPr>
          </a:p>
        </p:txBody>
      </p:sp>
      <p:sp>
        <p:nvSpPr>
          <p:cNvPr id="16" name="Graphic 14">
            <a:extLst>
              <a:ext uri="{FF2B5EF4-FFF2-40B4-BE49-F238E27FC236}">
                <a16:creationId xmlns:a16="http://schemas.microsoft.com/office/drawing/2014/main" id="{A96E49DC-8ABC-968C-DDD5-C98C1573393C}"/>
              </a:ext>
            </a:extLst>
          </p:cNvPr>
          <p:cNvSpPr/>
          <p:nvPr/>
        </p:nvSpPr>
        <p:spPr>
          <a:xfrm>
            <a:off x="7826828" y="4321151"/>
            <a:ext cx="109649" cy="146199"/>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chemeClr val="bg1"/>
          </a:solidFill>
          <a:ln w="76200" cap="flat">
            <a:noFill/>
            <a:prstDash val="solid"/>
            <a:miter/>
          </a:ln>
        </p:spPr>
        <p:txBody>
          <a:bodyPr rtlCol="0" anchor="ctr"/>
          <a:lstStyle/>
          <a:p>
            <a:pPr defTabSz="801162"/>
            <a:endParaRPr lang="en-GB" sz="1000">
              <a:solidFill>
                <a:schemeClr val="bg1"/>
              </a:solidFill>
              <a:latin typeface="Calibri" panose="020F0502020204030204" pitchFamily="34" charset="0"/>
              <a:cs typeface="Calibri" panose="020F0502020204030204" pitchFamily="34" charset="0"/>
            </a:endParaRPr>
          </a:p>
        </p:txBody>
      </p:sp>
      <p:grpSp>
        <p:nvGrpSpPr>
          <p:cNvPr id="17" name="Group 16">
            <a:extLst>
              <a:ext uri="{FF2B5EF4-FFF2-40B4-BE49-F238E27FC236}">
                <a16:creationId xmlns:a16="http://schemas.microsoft.com/office/drawing/2014/main" id="{F94F68FC-9FD3-741E-674B-6B47C551A24F}"/>
              </a:ext>
            </a:extLst>
          </p:cNvPr>
          <p:cNvGrpSpPr/>
          <p:nvPr/>
        </p:nvGrpSpPr>
        <p:grpSpPr>
          <a:xfrm>
            <a:off x="726401" y="3076424"/>
            <a:ext cx="2815252" cy="2588758"/>
            <a:chOff x="508505" y="2508247"/>
            <a:chExt cx="4386844" cy="4145843"/>
          </a:xfrm>
          <a:solidFill>
            <a:schemeClr val="bg2"/>
          </a:solidFill>
        </p:grpSpPr>
        <p:sp>
          <p:nvSpPr>
            <p:cNvPr id="18" name="Oval 17">
              <a:extLst>
                <a:ext uri="{FF2B5EF4-FFF2-40B4-BE49-F238E27FC236}">
                  <a16:creationId xmlns:a16="http://schemas.microsoft.com/office/drawing/2014/main" id="{B070280E-DF3F-61BD-A92F-D9CBFD6C6270}"/>
                </a:ext>
              </a:extLst>
            </p:cNvPr>
            <p:cNvSpPr/>
            <p:nvPr/>
          </p:nvSpPr>
          <p:spPr>
            <a:xfrm>
              <a:off x="1117600" y="2971800"/>
              <a:ext cx="3124200" cy="3124200"/>
            </a:xfrm>
            <a:prstGeom prst="ellipse">
              <a:avLst/>
            </a:prstGeom>
            <a:noFill/>
            <a:ln w="76200" cap="flat" cmpd="sng" algn="ctr">
              <a:solidFill>
                <a:srgbClr val="FFE6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162"/>
              <a:endParaRPr lang="en-US" sz="877">
                <a:ln>
                  <a:solidFill>
                    <a:prstClr val="white"/>
                  </a:solidFill>
                </a:ln>
                <a:solidFill>
                  <a:schemeClr val="bg1"/>
                </a:solidFill>
                <a:latin typeface="Calibri" panose="020F0502020204030204" pitchFamily="34" charset="0"/>
                <a:cs typeface="Calibri" panose="020F0502020204030204" pitchFamily="34" charset="0"/>
              </a:endParaRPr>
            </a:p>
          </p:txBody>
        </p:sp>
        <p:sp>
          <p:nvSpPr>
            <p:cNvPr id="19" name="Hexagon 18">
              <a:extLst>
                <a:ext uri="{FF2B5EF4-FFF2-40B4-BE49-F238E27FC236}">
                  <a16:creationId xmlns:a16="http://schemas.microsoft.com/office/drawing/2014/main" id="{E4C2D6E8-C147-0F30-5579-057ECEFA2586}"/>
                </a:ext>
              </a:extLst>
            </p:cNvPr>
            <p:cNvSpPr>
              <a:spLocks/>
            </p:cNvSpPr>
            <p:nvPr/>
          </p:nvSpPr>
          <p:spPr>
            <a:xfrm>
              <a:off x="2052323" y="2508247"/>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Technology</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cloud)</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Strategy</a:t>
              </a:r>
            </a:p>
          </p:txBody>
        </p:sp>
        <p:sp>
          <p:nvSpPr>
            <p:cNvPr id="20" name="Hexagon 19">
              <a:extLst>
                <a:ext uri="{FF2B5EF4-FFF2-40B4-BE49-F238E27FC236}">
                  <a16:creationId xmlns:a16="http://schemas.microsoft.com/office/drawing/2014/main" id="{46EE1ABD-2F13-F6E3-3848-ADDBC1D56BF7}"/>
                </a:ext>
              </a:extLst>
            </p:cNvPr>
            <p:cNvSpPr>
              <a:spLocks/>
            </p:cNvSpPr>
            <p:nvPr/>
          </p:nvSpPr>
          <p:spPr>
            <a:xfrm>
              <a:off x="3220087" y="3130237"/>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Azure/</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Intelligent</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Cloud</a:t>
              </a:r>
            </a:p>
          </p:txBody>
        </p:sp>
        <p:sp>
          <p:nvSpPr>
            <p:cNvPr id="21" name="Hexagon 20">
              <a:extLst>
                <a:ext uri="{FF2B5EF4-FFF2-40B4-BE49-F238E27FC236}">
                  <a16:creationId xmlns:a16="http://schemas.microsoft.com/office/drawing/2014/main" id="{A8A340FF-584D-E1D0-562E-2D9FEAE30A0C}"/>
                </a:ext>
              </a:extLst>
            </p:cNvPr>
            <p:cNvSpPr>
              <a:spLocks/>
            </p:cNvSpPr>
            <p:nvPr/>
          </p:nvSpPr>
          <p:spPr>
            <a:xfrm>
              <a:off x="865013" y="3130237"/>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IoT/</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Intelligent</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edge</a:t>
              </a:r>
            </a:p>
          </p:txBody>
        </p:sp>
        <p:sp>
          <p:nvSpPr>
            <p:cNvPr id="22" name="Hexagon 21">
              <a:extLst>
                <a:ext uri="{FF2B5EF4-FFF2-40B4-BE49-F238E27FC236}">
                  <a16:creationId xmlns:a16="http://schemas.microsoft.com/office/drawing/2014/main" id="{60445A22-F7A3-56E0-D107-B779A5E86768}"/>
                </a:ext>
              </a:extLst>
            </p:cNvPr>
            <p:cNvSpPr>
              <a:spLocks/>
            </p:cNvSpPr>
            <p:nvPr/>
          </p:nvSpPr>
          <p:spPr>
            <a:xfrm>
              <a:off x="508505" y="4375019"/>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Cybersecurity</a:t>
              </a:r>
              <a:endParaRPr lang="en-US" sz="877" strike="sngStrike">
                <a:solidFill>
                  <a:schemeClr val="tx1"/>
                </a:solidFill>
                <a:latin typeface="Calibri" panose="020F0502020204030204" pitchFamily="34" charset="0"/>
                <a:cs typeface="Calibri" panose="020F0502020204030204" pitchFamily="34" charset="0"/>
              </a:endParaRPr>
            </a:p>
          </p:txBody>
        </p:sp>
        <p:sp>
          <p:nvSpPr>
            <p:cNvPr id="23" name="Hexagon 22">
              <a:extLst>
                <a:ext uri="{FF2B5EF4-FFF2-40B4-BE49-F238E27FC236}">
                  <a16:creationId xmlns:a16="http://schemas.microsoft.com/office/drawing/2014/main" id="{9F99D867-C44B-16F1-1DCE-901CA9D2AFEA}"/>
                </a:ext>
              </a:extLst>
            </p:cNvPr>
            <p:cNvSpPr>
              <a:spLocks/>
            </p:cNvSpPr>
            <p:nvPr/>
          </p:nvSpPr>
          <p:spPr>
            <a:xfrm>
              <a:off x="1330247" y="5556811"/>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M365</a:t>
              </a:r>
            </a:p>
          </p:txBody>
        </p:sp>
        <p:sp>
          <p:nvSpPr>
            <p:cNvPr id="24" name="Hexagon 23">
              <a:extLst>
                <a:ext uri="{FF2B5EF4-FFF2-40B4-BE49-F238E27FC236}">
                  <a16:creationId xmlns:a16="http://schemas.microsoft.com/office/drawing/2014/main" id="{83847262-E51B-AE80-D3A9-4237A3B90ABE}"/>
                </a:ext>
              </a:extLst>
            </p:cNvPr>
            <p:cNvSpPr>
              <a:spLocks/>
            </p:cNvSpPr>
            <p:nvPr/>
          </p:nvSpPr>
          <p:spPr>
            <a:xfrm>
              <a:off x="2782105" y="5556811"/>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D365 and</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Power</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Platform</a:t>
              </a:r>
            </a:p>
          </p:txBody>
        </p:sp>
        <p:sp>
          <p:nvSpPr>
            <p:cNvPr id="25" name="Hexagon 24">
              <a:extLst>
                <a:ext uri="{FF2B5EF4-FFF2-40B4-BE49-F238E27FC236}">
                  <a16:creationId xmlns:a16="http://schemas.microsoft.com/office/drawing/2014/main" id="{A41233A2-AC45-7CC2-B8A6-CD9BDC9BA383}"/>
                </a:ext>
              </a:extLst>
            </p:cNvPr>
            <p:cNvSpPr>
              <a:spLocks/>
            </p:cNvSpPr>
            <p:nvPr/>
          </p:nvSpPr>
          <p:spPr>
            <a:xfrm>
              <a:off x="3615189" y="4375019"/>
              <a:ext cx="1280160" cy="1097279"/>
            </a:xfrm>
            <a:prstGeom prst="hexagon">
              <a:avLst/>
            </a:prstGeom>
            <a:solidFill>
              <a:srgbClr val="74748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6F6F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801162"/>
              <a:r>
                <a:rPr lang="en-US" sz="877">
                  <a:solidFill>
                    <a:schemeClr val="tx1"/>
                  </a:solidFill>
                  <a:latin typeface="Calibri" panose="020F0502020204030204" pitchFamily="34" charset="0"/>
                  <a:cs typeface="Calibri" panose="020F0502020204030204" pitchFamily="34" charset="0"/>
                </a:rPr>
                <a:t>Data</a:t>
              </a:r>
              <a:br>
                <a:rPr lang="en-US" sz="877">
                  <a:solidFill>
                    <a:schemeClr val="tx1"/>
                  </a:solidFill>
                  <a:latin typeface="Calibri" panose="020F0502020204030204" pitchFamily="34" charset="0"/>
                  <a:cs typeface="Calibri" panose="020F0502020204030204" pitchFamily="34" charset="0"/>
                </a:rPr>
              </a:br>
              <a:r>
                <a:rPr lang="en-US" sz="877">
                  <a:solidFill>
                    <a:schemeClr val="tx1"/>
                  </a:solidFill>
                  <a:latin typeface="Calibri" panose="020F0502020204030204" pitchFamily="34" charset="0"/>
                  <a:cs typeface="Calibri" panose="020F0502020204030204" pitchFamily="34" charset="0"/>
                </a:rPr>
                <a:t>and AI</a:t>
              </a:r>
            </a:p>
          </p:txBody>
        </p:sp>
      </p:grpSp>
      <p:sp>
        <p:nvSpPr>
          <p:cNvPr id="26" name="TextBox 25">
            <a:extLst>
              <a:ext uri="{FF2B5EF4-FFF2-40B4-BE49-F238E27FC236}">
                <a16:creationId xmlns:a16="http://schemas.microsoft.com/office/drawing/2014/main" id="{EA6EF1EA-6E0A-BC30-D333-8868B523A242}"/>
              </a:ext>
            </a:extLst>
          </p:cNvPr>
          <p:cNvSpPr txBox="1">
            <a:spLocks/>
          </p:cNvSpPr>
          <p:nvPr/>
        </p:nvSpPr>
        <p:spPr>
          <a:xfrm>
            <a:off x="477092" y="1502338"/>
            <a:ext cx="4624140" cy="96180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4C4CD"/>
                </a:solidFill>
                <a:prstDash val="solid"/>
                <a:round/>
                <a:headEnd type="none" w="med" len="med"/>
                <a:tailEnd type="none" w="med" len="med"/>
              </a14:hiddenLine>
            </a:ext>
          </a:extLst>
        </p:spPr>
        <p:txBody>
          <a:bodyPr wrap="square" lIns="0" tIns="0" rIns="0" bIns="0" rtlCol="0" anchor="t">
            <a:spAutoFit/>
          </a:bodyPr>
          <a:lstStyle/>
          <a:p>
            <a:pPr marL="160313" indent="-160313" defTabSz="801162">
              <a:spcAft>
                <a:spcPts val="263"/>
              </a:spcAft>
              <a:buClr>
                <a:srgbClr val="FFE600"/>
              </a:buClr>
              <a:buSzPct val="100000"/>
              <a:buFont typeface="EYInterstate Light" panose="02000506000000020004" pitchFamily="2" charset="0"/>
              <a:buChar char="•"/>
            </a:pPr>
            <a:r>
              <a:rPr lang="en-US" sz="1100">
                <a:solidFill>
                  <a:schemeClr val="bg1"/>
                </a:solidFill>
                <a:latin typeface="Calibri" panose="020F0502020204030204" pitchFamily="34" charset="0"/>
                <a:cs typeface="Calibri" panose="020F0502020204030204" pitchFamily="34" charset="0"/>
              </a:rPr>
              <a:t>Global capability with local delivery team of 250+ Microsoft practitioners</a:t>
            </a:r>
          </a:p>
          <a:p>
            <a:pPr marL="160313" indent="-160313" defTabSz="801162">
              <a:spcAft>
                <a:spcPts val="263"/>
              </a:spcAft>
              <a:buClr>
                <a:srgbClr val="FFE600"/>
              </a:buClr>
              <a:buSzPct val="100000"/>
              <a:buFont typeface="EYInterstate Light" panose="02000506000000020004" pitchFamily="2" charset="0"/>
              <a:buChar char="•"/>
            </a:pPr>
            <a:r>
              <a:rPr lang="en-US" sz="1100">
                <a:solidFill>
                  <a:schemeClr val="bg1"/>
                </a:solidFill>
                <a:latin typeface="Calibri" panose="020F0502020204030204" pitchFamily="34" charset="0"/>
                <a:cs typeface="Calibri" panose="020F0502020204030204" pitchFamily="34" charset="0"/>
              </a:rPr>
              <a:t>Recently acquired Client Solutions in Ireland, Pythagoras and Seaton in the UK</a:t>
            </a:r>
          </a:p>
          <a:p>
            <a:pPr marL="160313" indent="-160313" defTabSz="801162">
              <a:spcAft>
                <a:spcPts val="263"/>
              </a:spcAft>
              <a:buClr>
                <a:srgbClr val="FFE600"/>
              </a:buClr>
              <a:buSzPct val="100000"/>
              <a:buFont typeface="EYInterstate Light" panose="02000506000000020004" pitchFamily="2" charset="0"/>
              <a:buChar char="•"/>
            </a:pPr>
            <a:r>
              <a:rPr lang="en-US" sz="1100">
                <a:solidFill>
                  <a:schemeClr val="bg1"/>
                </a:solidFill>
                <a:latin typeface="Calibri" panose="020F0502020204030204" pitchFamily="34" charset="0"/>
                <a:cs typeface="Calibri" panose="020F0502020204030204" pitchFamily="34" charset="0"/>
              </a:rPr>
              <a:t>25-50% headcount growth of Microsoft certified practitioners</a:t>
            </a:r>
          </a:p>
          <a:p>
            <a:pPr marL="160313" indent="-160313" defTabSz="801162">
              <a:spcAft>
                <a:spcPts val="263"/>
              </a:spcAft>
              <a:buClr>
                <a:srgbClr val="FFE600"/>
              </a:buClr>
              <a:buSzPct val="100000"/>
              <a:buFont typeface="EYInterstate Light" panose="02000506000000020004" pitchFamily="2" charset="0"/>
              <a:buChar char="•"/>
            </a:pPr>
            <a:r>
              <a:rPr lang="en-US" sz="1100">
                <a:solidFill>
                  <a:schemeClr val="bg1"/>
                </a:solidFill>
                <a:latin typeface="Calibri" panose="020F0502020204030204" pitchFamily="34" charset="0"/>
                <a:cs typeface="Calibri" panose="020F0502020204030204" pitchFamily="34" charset="0"/>
              </a:rPr>
              <a:t>Ongoing focus on acquisitions in the Azure, Data &amp; AI &amp; Biz Apps space in APAC, US and Western Europe </a:t>
            </a:r>
          </a:p>
        </p:txBody>
      </p:sp>
      <p:grpSp>
        <p:nvGrpSpPr>
          <p:cNvPr id="27" name="Group 26">
            <a:extLst>
              <a:ext uri="{FF2B5EF4-FFF2-40B4-BE49-F238E27FC236}">
                <a16:creationId xmlns:a16="http://schemas.microsoft.com/office/drawing/2014/main" id="{F64E630A-D529-43AF-26BC-C06366820867}"/>
              </a:ext>
            </a:extLst>
          </p:cNvPr>
          <p:cNvGrpSpPr/>
          <p:nvPr/>
        </p:nvGrpSpPr>
        <p:grpSpPr>
          <a:xfrm>
            <a:off x="5923659" y="1482902"/>
            <a:ext cx="4831186" cy="2381508"/>
            <a:chOff x="4283772" y="665503"/>
            <a:chExt cx="5943814" cy="2929603"/>
          </a:xfrm>
        </p:grpSpPr>
        <p:pic>
          <p:nvPicPr>
            <p:cNvPr id="28" name="Graphic 27">
              <a:extLst>
                <a:ext uri="{FF2B5EF4-FFF2-40B4-BE49-F238E27FC236}">
                  <a16:creationId xmlns:a16="http://schemas.microsoft.com/office/drawing/2014/main" id="{9EAF53BE-1D5D-EA3D-9F15-28043EBB8A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83772" y="665503"/>
              <a:ext cx="5943814" cy="2929603"/>
            </a:xfrm>
            <a:prstGeom prst="rect">
              <a:avLst/>
            </a:prstGeom>
          </p:spPr>
        </p:pic>
        <p:sp>
          <p:nvSpPr>
            <p:cNvPr id="29" name="Graphic 14">
              <a:extLst>
                <a:ext uri="{FF2B5EF4-FFF2-40B4-BE49-F238E27FC236}">
                  <a16:creationId xmlns:a16="http://schemas.microsoft.com/office/drawing/2014/main" id="{0D44F193-F82B-2648-B290-3DC8C86591D6}"/>
                </a:ext>
              </a:extLst>
            </p:cNvPr>
            <p:cNvSpPr/>
            <p:nvPr/>
          </p:nvSpPr>
          <p:spPr>
            <a:xfrm>
              <a:off x="5057925" y="1477442"/>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0" name="Graphic 14">
              <a:extLst>
                <a:ext uri="{FF2B5EF4-FFF2-40B4-BE49-F238E27FC236}">
                  <a16:creationId xmlns:a16="http://schemas.microsoft.com/office/drawing/2014/main" id="{8A009B05-273C-C7E5-718D-C621DA49ADF9}"/>
                </a:ext>
              </a:extLst>
            </p:cNvPr>
            <p:cNvSpPr/>
            <p:nvPr/>
          </p:nvSpPr>
          <p:spPr>
            <a:xfrm>
              <a:off x="5142062" y="1081838"/>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1" name="Graphic 14">
              <a:extLst>
                <a:ext uri="{FF2B5EF4-FFF2-40B4-BE49-F238E27FC236}">
                  <a16:creationId xmlns:a16="http://schemas.microsoft.com/office/drawing/2014/main" id="{788E4C5A-344F-6A2C-42E9-4CBFBCE2DE94}"/>
                </a:ext>
              </a:extLst>
            </p:cNvPr>
            <p:cNvSpPr/>
            <p:nvPr/>
          </p:nvSpPr>
          <p:spPr>
            <a:xfrm>
              <a:off x="5866841" y="2529213"/>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2" name="Graphic 14">
              <a:extLst>
                <a:ext uri="{FF2B5EF4-FFF2-40B4-BE49-F238E27FC236}">
                  <a16:creationId xmlns:a16="http://schemas.microsoft.com/office/drawing/2014/main" id="{9D8DEA55-A042-FA5E-9D8F-F38A414F2410}"/>
                </a:ext>
              </a:extLst>
            </p:cNvPr>
            <p:cNvSpPr/>
            <p:nvPr/>
          </p:nvSpPr>
          <p:spPr>
            <a:xfrm>
              <a:off x="6888807" y="1081838"/>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3" name="Graphic 14">
              <a:extLst>
                <a:ext uri="{FF2B5EF4-FFF2-40B4-BE49-F238E27FC236}">
                  <a16:creationId xmlns:a16="http://schemas.microsoft.com/office/drawing/2014/main" id="{91EA15A9-B35C-442C-AD87-DDB329F7794D}"/>
                </a:ext>
              </a:extLst>
            </p:cNvPr>
            <p:cNvSpPr/>
            <p:nvPr/>
          </p:nvSpPr>
          <p:spPr>
            <a:xfrm>
              <a:off x="7189487" y="1087415"/>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4" name="Graphic 14">
              <a:extLst>
                <a:ext uri="{FF2B5EF4-FFF2-40B4-BE49-F238E27FC236}">
                  <a16:creationId xmlns:a16="http://schemas.microsoft.com/office/drawing/2014/main" id="{DD43E488-F277-E2AD-DD35-B62A17828226}"/>
                </a:ext>
              </a:extLst>
            </p:cNvPr>
            <p:cNvSpPr/>
            <p:nvPr/>
          </p:nvSpPr>
          <p:spPr>
            <a:xfrm>
              <a:off x="7154818" y="907335"/>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5" name="Graphic 14">
              <a:extLst>
                <a:ext uri="{FF2B5EF4-FFF2-40B4-BE49-F238E27FC236}">
                  <a16:creationId xmlns:a16="http://schemas.microsoft.com/office/drawing/2014/main" id="{FE665B0B-F2EF-1CF5-AFCC-A2D8F1A31098}"/>
                </a:ext>
              </a:extLst>
            </p:cNvPr>
            <p:cNvSpPr/>
            <p:nvPr/>
          </p:nvSpPr>
          <p:spPr>
            <a:xfrm>
              <a:off x="7009943" y="1118249"/>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6" name="Graphic 14">
              <a:extLst>
                <a:ext uri="{FF2B5EF4-FFF2-40B4-BE49-F238E27FC236}">
                  <a16:creationId xmlns:a16="http://schemas.microsoft.com/office/drawing/2014/main" id="{4F926F75-D1DF-3BCA-244E-83C0FD264716}"/>
                </a:ext>
              </a:extLst>
            </p:cNvPr>
            <p:cNvSpPr/>
            <p:nvPr/>
          </p:nvSpPr>
          <p:spPr>
            <a:xfrm>
              <a:off x="6942717" y="1268302"/>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7" name="Graphic 14">
              <a:extLst>
                <a:ext uri="{FF2B5EF4-FFF2-40B4-BE49-F238E27FC236}">
                  <a16:creationId xmlns:a16="http://schemas.microsoft.com/office/drawing/2014/main" id="{62683542-A79D-DF47-AB5F-242453A36A8C}"/>
                </a:ext>
              </a:extLst>
            </p:cNvPr>
            <p:cNvSpPr/>
            <p:nvPr/>
          </p:nvSpPr>
          <p:spPr>
            <a:xfrm>
              <a:off x="9634384" y="2972160"/>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8" name="Graphic 14">
              <a:extLst>
                <a:ext uri="{FF2B5EF4-FFF2-40B4-BE49-F238E27FC236}">
                  <a16:creationId xmlns:a16="http://schemas.microsoft.com/office/drawing/2014/main" id="{2BA8FD79-71AA-66C1-49CA-6A4C7E53BDDA}"/>
                </a:ext>
              </a:extLst>
            </p:cNvPr>
            <p:cNvSpPr/>
            <p:nvPr/>
          </p:nvSpPr>
          <p:spPr>
            <a:xfrm>
              <a:off x="8936668" y="1640886"/>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39" name="Graphic 14">
              <a:extLst>
                <a:ext uri="{FF2B5EF4-FFF2-40B4-BE49-F238E27FC236}">
                  <a16:creationId xmlns:a16="http://schemas.microsoft.com/office/drawing/2014/main" id="{3E5AD0CD-27D6-9BF3-FB2A-E63E572BD5AD}"/>
                </a:ext>
              </a:extLst>
            </p:cNvPr>
            <p:cNvSpPr/>
            <p:nvPr/>
          </p:nvSpPr>
          <p:spPr>
            <a:xfrm>
              <a:off x="9437557" y="1419154"/>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40" name="Graphic 14">
              <a:extLst>
                <a:ext uri="{FF2B5EF4-FFF2-40B4-BE49-F238E27FC236}">
                  <a16:creationId xmlns:a16="http://schemas.microsoft.com/office/drawing/2014/main" id="{D7F201C6-9905-228A-7B18-916590525D7C}"/>
                </a:ext>
              </a:extLst>
            </p:cNvPr>
            <p:cNvSpPr/>
            <p:nvPr/>
          </p:nvSpPr>
          <p:spPr>
            <a:xfrm>
              <a:off x="8950306" y="2219269"/>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rgbClr val="FFE600"/>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41" name="Graphic 14">
              <a:extLst>
                <a:ext uri="{FF2B5EF4-FFF2-40B4-BE49-F238E27FC236}">
                  <a16:creationId xmlns:a16="http://schemas.microsoft.com/office/drawing/2014/main" id="{F9F4E98D-E83B-A333-CA71-85DD153B74D0}"/>
                </a:ext>
              </a:extLst>
            </p:cNvPr>
            <p:cNvSpPr/>
            <p:nvPr/>
          </p:nvSpPr>
          <p:spPr>
            <a:xfrm>
              <a:off x="4806876" y="1234785"/>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chemeClr val="bg1"/>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sp>
          <p:nvSpPr>
            <p:cNvPr id="42" name="Graphic 14">
              <a:extLst>
                <a:ext uri="{FF2B5EF4-FFF2-40B4-BE49-F238E27FC236}">
                  <a16:creationId xmlns:a16="http://schemas.microsoft.com/office/drawing/2014/main" id="{09B40223-072A-6D60-2AD4-8DE48AD50FA1}"/>
                </a:ext>
              </a:extLst>
            </p:cNvPr>
            <p:cNvSpPr/>
            <p:nvPr/>
          </p:nvSpPr>
          <p:spPr>
            <a:xfrm>
              <a:off x="7108217" y="1178173"/>
              <a:ext cx="125146" cy="166861"/>
            </a:xfrm>
            <a:custGeom>
              <a:avLst/>
              <a:gdLst>
                <a:gd name="connsiteX0" fmla="*/ 1828800 w 3657600"/>
                <a:gd name="connsiteY0" fmla="*/ 0 h 4876803"/>
                <a:gd name="connsiteX1" fmla="*/ 0 w 3657600"/>
                <a:gd name="connsiteY1" fmla="*/ 1828800 h 4876803"/>
                <a:gd name="connsiteX2" fmla="*/ 1776222 w 3657600"/>
                <a:gd name="connsiteY2" fmla="*/ 4855464 h 4876803"/>
                <a:gd name="connsiteX3" fmla="*/ 1881378 w 3657600"/>
                <a:gd name="connsiteY3" fmla="*/ 4855464 h 4876803"/>
                <a:gd name="connsiteX4" fmla="*/ 3657600 w 3657600"/>
                <a:gd name="connsiteY4" fmla="*/ 1828800 h 4876803"/>
                <a:gd name="connsiteX5" fmla="*/ 1828800 w 3657600"/>
                <a:gd name="connsiteY5" fmla="*/ 0 h 4876803"/>
                <a:gd name="connsiteX6" fmla="*/ 1828800 w 3657600"/>
                <a:gd name="connsiteY6" fmla="*/ 2667000 h 4876803"/>
                <a:gd name="connsiteX7" fmla="*/ 990600 w 3657600"/>
                <a:gd name="connsiteY7" fmla="*/ 1828800 h 4876803"/>
                <a:gd name="connsiteX8" fmla="*/ 1828800 w 3657600"/>
                <a:gd name="connsiteY8" fmla="*/ 990600 h 4876803"/>
                <a:gd name="connsiteX9" fmla="*/ 2667000 w 3657600"/>
                <a:gd name="connsiteY9" fmla="*/ 1828800 h 4876803"/>
                <a:gd name="connsiteX10" fmla="*/ 1828800 w 3657600"/>
                <a:gd name="connsiteY10" fmla="*/ 2667000 h 487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7600" h="4876803">
                  <a:moveTo>
                    <a:pt x="1828800" y="0"/>
                  </a:moveTo>
                  <a:cubicBezTo>
                    <a:pt x="819341" y="1339"/>
                    <a:pt x="1339" y="819340"/>
                    <a:pt x="0" y="1828800"/>
                  </a:cubicBezTo>
                  <a:cubicBezTo>
                    <a:pt x="0" y="3141726"/>
                    <a:pt x="1703832" y="4786122"/>
                    <a:pt x="1776222" y="4855464"/>
                  </a:cubicBezTo>
                  <a:cubicBezTo>
                    <a:pt x="1805498" y="4883917"/>
                    <a:pt x="1852102" y="4883917"/>
                    <a:pt x="1881378" y="4855464"/>
                  </a:cubicBezTo>
                  <a:cubicBezTo>
                    <a:pt x="1953768" y="4786122"/>
                    <a:pt x="3657600" y="3141726"/>
                    <a:pt x="3657600" y="1828800"/>
                  </a:cubicBezTo>
                  <a:cubicBezTo>
                    <a:pt x="3656259" y="819340"/>
                    <a:pt x="2838260" y="1339"/>
                    <a:pt x="1828800" y="0"/>
                  </a:cubicBezTo>
                  <a:close/>
                  <a:moveTo>
                    <a:pt x="1828800" y="2667000"/>
                  </a:moveTo>
                  <a:cubicBezTo>
                    <a:pt x="1365877" y="2667000"/>
                    <a:pt x="990600" y="2291723"/>
                    <a:pt x="990600" y="1828800"/>
                  </a:cubicBezTo>
                  <a:cubicBezTo>
                    <a:pt x="990600" y="1365877"/>
                    <a:pt x="1365877" y="990600"/>
                    <a:pt x="1828800" y="990600"/>
                  </a:cubicBezTo>
                  <a:cubicBezTo>
                    <a:pt x="2291723" y="990600"/>
                    <a:pt x="2667000" y="1365877"/>
                    <a:pt x="2667000" y="1828800"/>
                  </a:cubicBezTo>
                  <a:cubicBezTo>
                    <a:pt x="2666726" y="2291609"/>
                    <a:pt x="2291609" y="2666726"/>
                    <a:pt x="1828800" y="2667000"/>
                  </a:cubicBezTo>
                  <a:close/>
                </a:path>
              </a:pathLst>
            </a:custGeom>
            <a:solidFill>
              <a:schemeClr val="bg1"/>
            </a:solidFill>
            <a:ln w="76200" cap="flat">
              <a:noFill/>
              <a:prstDash val="solid"/>
              <a:miter/>
            </a:ln>
          </p:spPr>
          <p:txBody>
            <a:bodyPr rtlCol="0" anchor="ctr"/>
            <a:lstStyle/>
            <a:p>
              <a:pPr defTabSz="801162"/>
              <a:endParaRPr lang="en-GB" sz="1577">
                <a:solidFill>
                  <a:schemeClr val="bg1"/>
                </a:solidFill>
                <a:latin typeface="Calibri" panose="020F0502020204030204" pitchFamily="34" charset="0"/>
                <a:cs typeface="Calibri" panose="020F0502020204030204" pitchFamily="34" charset="0"/>
              </a:endParaRPr>
            </a:p>
          </p:txBody>
        </p:sp>
      </p:grpSp>
      <p:pic>
        <p:nvPicPr>
          <p:cNvPr id="43" name="Picture 42">
            <a:extLst>
              <a:ext uri="{FF2B5EF4-FFF2-40B4-BE49-F238E27FC236}">
                <a16:creationId xmlns:a16="http://schemas.microsoft.com/office/drawing/2014/main" id="{8A6BD983-84A0-B727-E92F-E776E0615638}"/>
              </a:ext>
            </a:extLst>
          </p:cNvPr>
          <p:cNvPicPr>
            <a:picLocks noChangeAspect="1"/>
          </p:cNvPicPr>
          <p:nvPr/>
        </p:nvPicPr>
        <p:blipFill>
          <a:blip r:embed="rId4"/>
          <a:stretch>
            <a:fillRect/>
          </a:stretch>
        </p:blipFill>
        <p:spPr>
          <a:xfrm flipH="1">
            <a:off x="6332995" y="3632445"/>
            <a:ext cx="101341" cy="133343"/>
          </a:xfrm>
          <a:prstGeom prst="rect">
            <a:avLst/>
          </a:prstGeom>
        </p:spPr>
      </p:pic>
      <p:pic>
        <p:nvPicPr>
          <p:cNvPr id="44" name="Picture 43">
            <a:extLst>
              <a:ext uri="{FF2B5EF4-FFF2-40B4-BE49-F238E27FC236}">
                <a16:creationId xmlns:a16="http://schemas.microsoft.com/office/drawing/2014/main" id="{B40C9ADD-0A94-D282-BF36-ABECC8D90BC1}"/>
              </a:ext>
            </a:extLst>
          </p:cNvPr>
          <p:cNvPicPr>
            <a:picLocks noChangeAspect="1"/>
          </p:cNvPicPr>
          <p:nvPr/>
        </p:nvPicPr>
        <p:blipFill>
          <a:blip r:embed="rId5"/>
          <a:stretch>
            <a:fillRect/>
          </a:stretch>
        </p:blipFill>
        <p:spPr>
          <a:xfrm>
            <a:off x="7587309" y="2305561"/>
            <a:ext cx="101543" cy="133609"/>
          </a:xfrm>
          <a:prstGeom prst="rect">
            <a:avLst/>
          </a:prstGeom>
        </p:spPr>
      </p:pic>
      <p:pic>
        <p:nvPicPr>
          <p:cNvPr id="45" name="Picture 44">
            <a:extLst>
              <a:ext uri="{FF2B5EF4-FFF2-40B4-BE49-F238E27FC236}">
                <a16:creationId xmlns:a16="http://schemas.microsoft.com/office/drawing/2014/main" id="{ACE10FBB-38F8-023D-2DB9-2822B2EBFC7B}"/>
              </a:ext>
            </a:extLst>
          </p:cNvPr>
          <p:cNvPicPr>
            <a:picLocks noChangeAspect="1"/>
          </p:cNvPicPr>
          <p:nvPr/>
        </p:nvPicPr>
        <p:blipFill>
          <a:blip r:embed="rId5"/>
          <a:stretch>
            <a:fillRect/>
          </a:stretch>
        </p:blipFill>
        <p:spPr>
          <a:xfrm>
            <a:off x="8572113" y="2718158"/>
            <a:ext cx="101543" cy="133609"/>
          </a:xfrm>
          <a:prstGeom prst="rect">
            <a:avLst/>
          </a:prstGeom>
        </p:spPr>
      </p:pic>
      <p:cxnSp>
        <p:nvCxnSpPr>
          <p:cNvPr id="46" name="Straight Connector 45">
            <a:extLst>
              <a:ext uri="{FF2B5EF4-FFF2-40B4-BE49-F238E27FC236}">
                <a16:creationId xmlns:a16="http://schemas.microsoft.com/office/drawing/2014/main" id="{B6F4A9EC-09B6-2F7A-8B19-CE81E5DFBC6C}"/>
              </a:ext>
            </a:extLst>
          </p:cNvPr>
          <p:cNvCxnSpPr/>
          <p:nvPr/>
        </p:nvCxnSpPr>
        <p:spPr>
          <a:xfrm>
            <a:off x="534671" y="1482902"/>
            <a:ext cx="4555409" cy="0"/>
          </a:xfrm>
          <a:prstGeom prst="line">
            <a:avLst/>
          </a:prstGeom>
          <a:ln w="6350"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0F73F7B-2C72-9AC2-B6DF-E423864A994C}"/>
              </a:ext>
            </a:extLst>
          </p:cNvPr>
          <p:cNvCxnSpPr/>
          <p:nvPr/>
        </p:nvCxnSpPr>
        <p:spPr>
          <a:xfrm>
            <a:off x="545823" y="2637605"/>
            <a:ext cx="4555409" cy="0"/>
          </a:xfrm>
          <a:prstGeom prst="line">
            <a:avLst/>
          </a:prstGeom>
          <a:ln w="6350"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F423DD7F-1A5A-129C-1939-A2C301E6E742}"/>
              </a:ext>
            </a:extLst>
          </p:cNvPr>
          <p:cNvPicPr>
            <a:picLocks noChangeAspect="1"/>
          </p:cNvPicPr>
          <p:nvPr/>
        </p:nvPicPr>
        <p:blipFill>
          <a:blip r:embed="rId6"/>
          <a:stretch>
            <a:fillRect/>
          </a:stretch>
        </p:blipFill>
        <p:spPr>
          <a:xfrm>
            <a:off x="4652373" y="3316350"/>
            <a:ext cx="2074253" cy="435337"/>
          </a:xfrm>
          <a:prstGeom prst="rect">
            <a:avLst/>
          </a:prstGeom>
        </p:spPr>
      </p:pic>
      <p:grpSp>
        <p:nvGrpSpPr>
          <p:cNvPr id="49" name="Group 4">
            <a:extLst>
              <a:ext uri="{FF2B5EF4-FFF2-40B4-BE49-F238E27FC236}">
                <a16:creationId xmlns:a16="http://schemas.microsoft.com/office/drawing/2014/main" id="{7728AC70-0B33-3EDE-9525-8A7B57FE554B}"/>
              </a:ext>
            </a:extLst>
          </p:cNvPr>
          <p:cNvGrpSpPr>
            <a:grpSpLocks noChangeAspect="1"/>
          </p:cNvGrpSpPr>
          <p:nvPr/>
        </p:nvGrpSpPr>
        <p:grpSpPr bwMode="auto">
          <a:xfrm>
            <a:off x="3826088" y="3058090"/>
            <a:ext cx="677985" cy="695733"/>
            <a:chOff x="7110" y="4004"/>
            <a:chExt cx="191" cy="196"/>
          </a:xfrm>
        </p:grpSpPr>
        <p:sp>
          <p:nvSpPr>
            <p:cNvPr id="50" name="Freeform 5">
              <a:extLst>
                <a:ext uri="{FF2B5EF4-FFF2-40B4-BE49-F238E27FC236}">
                  <a16:creationId xmlns:a16="http://schemas.microsoft.com/office/drawing/2014/main" id="{2F4A5B71-3AE4-E4B2-49BD-38FA0839EC8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51" name="Freeform 6">
              <a:extLst>
                <a:ext uri="{FF2B5EF4-FFF2-40B4-BE49-F238E27FC236}">
                  <a16:creationId xmlns:a16="http://schemas.microsoft.com/office/drawing/2014/main" id="{75FE1764-4640-7435-92BA-6C9A1652FFB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52" name="Freeform 7">
              <a:extLst>
                <a:ext uri="{FF2B5EF4-FFF2-40B4-BE49-F238E27FC236}">
                  <a16:creationId xmlns:a16="http://schemas.microsoft.com/office/drawing/2014/main" id="{ECEFC93B-F66A-DA60-8FD4-B7E3FC4BCCD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991878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sz="2400">
                <a:solidFill>
                  <a:schemeClr val="bg1"/>
                </a:solidFill>
                <a:latin typeface="Calibri" panose="020F0502020204030204" pitchFamily="34" charset="0"/>
                <a:cs typeface="Calibri" panose="020F0502020204030204" pitchFamily="34" charset="0"/>
              </a:rPr>
              <a:t>B.2 – Introduction </a:t>
            </a:r>
            <a:r>
              <a:rPr lang="en-IN">
                <a:latin typeface="Calibri" panose="020F0502020204030204" pitchFamily="34" charset="0"/>
                <a:cs typeface="Calibri" panose="020F0502020204030204" pitchFamily="34" charset="0"/>
              </a:rPr>
              <a:t>to our </a:t>
            </a:r>
            <a:r>
              <a:rPr lang="en-IN" sz="2400">
                <a:solidFill>
                  <a:schemeClr val="bg1"/>
                </a:solidFill>
                <a:latin typeface="Calibri" panose="020F0502020204030204" pitchFamily="34" charset="0"/>
                <a:cs typeface="Calibri" panose="020F0502020204030204" pitchFamily="34" charset="0"/>
              </a:rPr>
              <a:t>Microsoft t</a:t>
            </a:r>
            <a:r>
              <a:rPr lang="en-IN">
                <a:latin typeface="Calibri" panose="020F0502020204030204" pitchFamily="34" charset="0"/>
                <a:cs typeface="Calibri" panose="020F0502020204030204" pitchFamily="34" charset="0"/>
              </a:rPr>
              <a:t>echnical </a:t>
            </a:r>
            <a:r>
              <a:rPr lang="en-IN" sz="2400">
                <a:solidFill>
                  <a:schemeClr val="bg1"/>
                </a:solidFill>
                <a:latin typeface="Calibri" panose="020F0502020204030204" pitchFamily="34" charset="0"/>
                <a:cs typeface="Calibri" panose="020F0502020204030204" pitchFamily="34" charset="0"/>
              </a:rPr>
              <a:t>capabilities</a:t>
            </a:r>
            <a:endParaRPr lang="en-IE">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EF2A63A6-D728-A247-FA3F-38B9F0DE4E22}"/>
              </a:ext>
            </a:extLst>
          </p:cNvPr>
          <p:cNvSpPr txBox="1">
            <a:spLocks/>
          </p:cNvSpPr>
          <p:nvPr/>
        </p:nvSpPr>
        <p:spPr>
          <a:xfrm>
            <a:off x="3054929" y="4555793"/>
            <a:ext cx="7790675" cy="1280085"/>
          </a:xfrm>
          <a:prstGeom prst="rect">
            <a:avLst/>
          </a:prstGeom>
          <a:solidFill>
            <a:schemeClr val="bg2"/>
          </a:solidFill>
        </p:spPr>
        <p:txBody>
          <a:bodyPr wrap="square" lIns="126037" tIns="94528" rIns="126037" bIns="94528" rtlCol="0" anchor="ctr">
            <a:noAutofit/>
          </a:bodyPr>
          <a:lstStyle/>
          <a:p>
            <a:pPr defTabSz="544256" eaLnBrk="0" fontAlgn="base" hangingPunct="0">
              <a:spcBef>
                <a:spcPct val="0"/>
              </a:spcBef>
              <a:buClr>
                <a:srgbClr val="FFD200"/>
              </a:buClr>
              <a:buSzPct val="70000"/>
              <a:defRPr/>
            </a:pPr>
            <a:endParaRPr lang="en-US" sz="1400" kern="0">
              <a:solidFill>
                <a:srgbClr val="2E2E38"/>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7BC5C64F-0D25-B137-7A8F-C202E3B68BBD}"/>
              </a:ext>
            </a:extLst>
          </p:cNvPr>
          <p:cNvSpPr txBox="1">
            <a:spLocks/>
          </p:cNvSpPr>
          <p:nvPr/>
        </p:nvSpPr>
        <p:spPr>
          <a:xfrm>
            <a:off x="3054929" y="1765578"/>
            <a:ext cx="7790675" cy="2671184"/>
          </a:xfrm>
          <a:prstGeom prst="rect">
            <a:avLst/>
          </a:prstGeom>
          <a:solidFill>
            <a:srgbClr val="747480"/>
          </a:solidFill>
        </p:spPr>
        <p:txBody>
          <a:bodyPr wrap="square" lIns="126037" tIns="94528" rIns="126037" bIns="94528" rtlCol="0" anchor="ctr">
            <a:noAutofit/>
          </a:bodyPr>
          <a:lstStyle/>
          <a:p>
            <a:pPr defTabSz="544256" eaLnBrk="0" fontAlgn="base" hangingPunct="0">
              <a:spcBef>
                <a:spcPct val="0"/>
              </a:spcBef>
              <a:buClr>
                <a:srgbClr val="FFD200"/>
              </a:buClr>
              <a:buSzPct val="70000"/>
              <a:defRPr/>
            </a:pPr>
            <a:endParaRPr lang="en-US" sz="1400" kern="0">
              <a:solidFill>
                <a:srgbClr val="2E2E38"/>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FF3667C4-2B93-8833-BC70-EB566580C6BD}"/>
              </a:ext>
            </a:extLst>
          </p:cNvPr>
          <p:cNvSpPr txBox="1">
            <a:spLocks/>
          </p:cNvSpPr>
          <p:nvPr/>
        </p:nvSpPr>
        <p:spPr>
          <a:xfrm>
            <a:off x="1226553" y="4555793"/>
            <a:ext cx="1703128" cy="1280085"/>
          </a:xfrm>
          <a:prstGeom prst="rect">
            <a:avLst/>
          </a:prstGeom>
          <a:solidFill>
            <a:srgbClr val="747480"/>
          </a:solidFill>
        </p:spPr>
        <p:txBody>
          <a:bodyPr wrap="square" lIns="126037" tIns="94528" rIns="126037" bIns="94528" rtlCol="0" anchor="ctr">
            <a:noAutofit/>
          </a:bodyPr>
          <a:lstStyle/>
          <a:p>
            <a:pPr defTabSz="544256" eaLnBrk="0" fontAlgn="base" hangingPunct="0">
              <a:spcBef>
                <a:spcPct val="0"/>
              </a:spcBef>
              <a:buClr>
                <a:srgbClr val="FFD200"/>
              </a:buClr>
              <a:buSzPct val="70000"/>
              <a:defRPr/>
            </a:pPr>
            <a:r>
              <a:rPr lang="en-US" sz="1400" kern="0">
                <a:solidFill>
                  <a:prstClr val="white"/>
                </a:solidFill>
                <a:latin typeface="Calibri" panose="020F0502020204030204" pitchFamily="34" charset="0"/>
                <a:cs typeface="Calibri" panose="020F0502020204030204" pitchFamily="34" charset="0"/>
              </a:rPr>
              <a:t>EY leveraging Microsoft for our </a:t>
            </a:r>
            <a:r>
              <a:rPr lang="en-US" sz="1400" kern="0">
                <a:solidFill>
                  <a:srgbClr val="FFE600"/>
                </a:solidFill>
                <a:latin typeface="Calibri" panose="020F0502020204030204" pitchFamily="34" charset="0"/>
                <a:cs typeface="Calibri" panose="020F0502020204030204" pitchFamily="34" charset="0"/>
              </a:rPr>
              <a:t>platform-driven strategy </a:t>
            </a:r>
          </a:p>
        </p:txBody>
      </p:sp>
      <p:sp>
        <p:nvSpPr>
          <p:cNvPr id="26" name="Content Placeholder 2">
            <a:extLst>
              <a:ext uri="{FF2B5EF4-FFF2-40B4-BE49-F238E27FC236}">
                <a16:creationId xmlns:a16="http://schemas.microsoft.com/office/drawing/2014/main" id="{C40A3244-69DF-A354-7B4D-D5BC89C32C78}"/>
              </a:ext>
            </a:extLst>
          </p:cNvPr>
          <p:cNvSpPr txBox="1">
            <a:spLocks/>
          </p:cNvSpPr>
          <p:nvPr/>
        </p:nvSpPr>
        <p:spPr>
          <a:xfrm>
            <a:off x="3220848" y="4675535"/>
            <a:ext cx="1202085" cy="1040595"/>
          </a:xfrm>
          <a:prstGeom prst="rect">
            <a:avLst/>
          </a:prstGeom>
        </p:spPr>
        <p:txBody>
          <a:bodyPr vert="horz" wrap="square" lIns="0" tIns="0" rIns="0" bIns="0" rtlCol="0" anchor="ctr" anchorCtr="0">
            <a:noAutofit/>
          </a:bodyPr>
          <a:lstStyle>
            <a:defPPr>
              <a:defRPr lang="es-ES"/>
            </a:defPPr>
            <a:lvl1pPr marR="0" lvl="0" indent="0" algn="ctr" defTabSz="913943" fontAlgn="auto">
              <a:lnSpc>
                <a:spcPct val="80000"/>
              </a:lnSpc>
              <a:spcBef>
                <a:spcPts val="0"/>
              </a:spcBef>
              <a:spcAft>
                <a:spcPts val="0"/>
              </a:spcAft>
              <a:buClr>
                <a:srgbClr val="FFE600"/>
              </a:buClr>
              <a:buSzPct val="70000"/>
              <a:buFont typeface="Arial" pitchFamily="34" charset="0"/>
              <a:buNone/>
              <a:tabLst/>
              <a:defRPr kumimoji="0" sz="2800" b="0" i="0" u="none" strike="noStrike" cap="none" spc="0" normalizeH="0" baseline="0">
                <a:ln>
                  <a:noFill/>
                </a:ln>
                <a:solidFill>
                  <a:srgbClr val="FFFF00"/>
                </a:solidFill>
                <a:effectLst/>
                <a:uLnTx/>
                <a:uFillTx/>
                <a:latin typeface="EYInterstate Light" panose="02000506000000020004" pitchFamily="2" charset="0"/>
              </a:defRPr>
            </a:lvl1pPr>
            <a:lvl2pPr marL="713232" marR="0" indent="-356616" fontAlgn="auto">
              <a:lnSpc>
                <a:spcPct val="100000"/>
              </a:lnSpc>
              <a:spcBef>
                <a:spcPct val="20000"/>
              </a:spcBef>
              <a:spcAft>
                <a:spcPts val="0"/>
              </a:spcAft>
              <a:buClr>
                <a:srgbClr val="FFE600"/>
              </a:buClr>
              <a:buSzPct val="70000"/>
              <a:buFont typeface="Arial" pitchFamily="34" charset="0"/>
              <a:buChar char="►"/>
              <a:tabLst/>
              <a:defRPr>
                <a:solidFill>
                  <a:schemeClr val="bg1"/>
                </a:solidFill>
                <a:latin typeface="EYInterstate Light" panose="02000506000000020004" pitchFamily="2" charset="0"/>
              </a:defRPr>
            </a:lvl2pPr>
            <a:lvl3pPr marL="1069848" marR="0" indent="-356616" fontAlgn="auto">
              <a:lnSpc>
                <a:spcPct val="100000"/>
              </a:lnSpc>
              <a:spcBef>
                <a:spcPct val="20000"/>
              </a:spcBef>
              <a:spcAft>
                <a:spcPts val="0"/>
              </a:spcAft>
              <a:buClr>
                <a:srgbClr val="FFE600"/>
              </a:buClr>
              <a:buSzPct val="70000"/>
              <a:buFont typeface="Arial" pitchFamily="34" charset="0"/>
              <a:buChar char="►"/>
              <a:tabLst/>
              <a:defRPr sz="1600">
                <a:solidFill>
                  <a:schemeClr val="bg1"/>
                </a:solidFill>
                <a:latin typeface="EYInterstate Light" panose="02000506000000020004" pitchFamily="2" charset="0"/>
              </a:defRPr>
            </a:lvl3pPr>
            <a:lvl4pPr marL="1426464" marR="0" indent="-356616" fontAlgn="auto">
              <a:lnSpc>
                <a:spcPct val="100000"/>
              </a:lnSpc>
              <a:spcBef>
                <a:spcPct val="20000"/>
              </a:spcBef>
              <a:spcAft>
                <a:spcPts val="0"/>
              </a:spcAft>
              <a:buClr>
                <a:srgbClr val="FFE600"/>
              </a:buClr>
              <a:buSzPct val="70000"/>
              <a:buFont typeface="Arial" pitchFamily="34" charset="0"/>
              <a:buChar char="►"/>
              <a:tabLst/>
              <a:defRPr sz="1400">
                <a:solidFill>
                  <a:schemeClr val="bg1"/>
                </a:solidFill>
                <a:latin typeface="EYInterstate Light" panose="02000506000000020004" pitchFamily="2" charset="0"/>
              </a:defRPr>
            </a:lvl4pPr>
            <a:lvl5pPr marL="1783080" marR="0" indent="-356616" fontAlgn="auto">
              <a:lnSpc>
                <a:spcPct val="100000"/>
              </a:lnSpc>
              <a:spcBef>
                <a:spcPct val="20000"/>
              </a:spcBef>
              <a:spcAft>
                <a:spcPts val="0"/>
              </a:spcAft>
              <a:buClr>
                <a:srgbClr val="FFE600"/>
              </a:buClr>
              <a:buSzPct val="70000"/>
              <a:buFont typeface="Arial" pitchFamily="34" charset="0"/>
              <a:buChar char="►"/>
              <a:tabLst/>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defTabSz="544256" eaLnBrk="0" fontAlgn="base" hangingPunct="0">
              <a:lnSpc>
                <a:spcPct val="100000"/>
              </a:lnSpc>
              <a:buClr>
                <a:srgbClr val="FFD200"/>
              </a:buClr>
              <a:defRPr/>
            </a:pPr>
            <a:r>
              <a:rPr lang="en-US" sz="2803" kern="0">
                <a:solidFill>
                  <a:srgbClr val="FFE600"/>
                </a:solidFill>
                <a:latin typeface="Calibri" panose="020F0502020204030204" pitchFamily="34" charset="0"/>
                <a:cs typeface="Calibri" panose="020F0502020204030204" pitchFamily="34" charset="0"/>
              </a:rPr>
              <a:t>90%</a:t>
            </a:r>
          </a:p>
          <a:p>
            <a:pPr algn="l" defTabSz="799961">
              <a:lnSpc>
                <a:spcPct val="100000"/>
              </a:lnSpc>
              <a:defRPr/>
            </a:pPr>
            <a:r>
              <a:rPr lang="en-IN" sz="962" kern="0">
                <a:solidFill>
                  <a:srgbClr val="F6F6FA"/>
                </a:solidFill>
                <a:latin typeface="Calibri" panose="020F0502020204030204" pitchFamily="34" charset="0"/>
                <a:cs typeface="Calibri" panose="020F0502020204030204" pitchFamily="34" charset="0"/>
              </a:rPr>
              <a:t>of EY client service solutions on the Azure cloud</a:t>
            </a:r>
            <a:endParaRPr lang="en-US" sz="962" kern="0">
              <a:solidFill>
                <a:srgbClr val="F6F6FA"/>
              </a:solidFill>
              <a:latin typeface="Calibri" panose="020F0502020204030204" pitchFamily="34" charset="0"/>
              <a:cs typeface="Calibri" panose="020F0502020204030204" pitchFamily="34" charset="0"/>
            </a:endParaRPr>
          </a:p>
        </p:txBody>
      </p:sp>
      <p:sp>
        <p:nvSpPr>
          <p:cNvPr id="27" name="Content Placeholder 2">
            <a:extLst>
              <a:ext uri="{FF2B5EF4-FFF2-40B4-BE49-F238E27FC236}">
                <a16:creationId xmlns:a16="http://schemas.microsoft.com/office/drawing/2014/main" id="{883DDDC4-BF08-2B09-69FF-E8700A18DF66}"/>
              </a:ext>
            </a:extLst>
          </p:cNvPr>
          <p:cNvSpPr txBox="1">
            <a:spLocks/>
          </p:cNvSpPr>
          <p:nvPr/>
        </p:nvSpPr>
        <p:spPr>
          <a:xfrm>
            <a:off x="4985270" y="4675536"/>
            <a:ext cx="1711985" cy="1040595"/>
          </a:xfrm>
          <a:prstGeom prst="rect">
            <a:avLst/>
          </a:prstGeom>
        </p:spPr>
        <p:txBody>
          <a:bodyPr vert="horz" wrap="square"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544256" eaLnBrk="0" fontAlgn="base" hangingPunct="0">
              <a:spcBef>
                <a:spcPts val="0"/>
              </a:spcBef>
              <a:buClr>
                <a:srgbClr val="FFD200"/>
              </a:buClr>
              <a:buNone/>
              <a:defRPr/>
            </a:pPr>
            <a:r>
              <a:rPr lang="en-US" sz="2803" kern="0">
                <a:solidFill>
                  <a:srgbClr val="FFE600"/>
                </a:solidFill>
                <a:latin typeface="Calibri" panose="020F0502020204030204" pitchFamily="34" charset="0"/>
                <a:cs typeface="Calibri" panose="020F0502020204030204" pitchFamily="34" charset="0"/>
              </a:rPr>
              <a:t>&gt;$20t</a:t>
            </a:r>
          </a:p>
          <a:p>
            <a:pPr marL="0" indent="0" defTabSz="799961">
              <a:spcBef>
                <a:spcPts val="0"/>
              </a:spcBef>
              <a:buNone/>
              <a:defRPr/>
            </a:pPr>
            <a:r>
              <a:rPr lang="en-IN" sz="962" kern="0">
                <a:solidFill>
                  <a:srgbClr val="F6F6FA"/>
                </a:solidFill>
                <a:latin typeface="Calibri" panose="020F0502020204030204" pitchFamily="34" charset="0"/>
                <a:cs typeface="Calibri" panose="020F0502020204030204" pitchFamily="34" charset="0"/>
              </a:rPr>
              <a:t>of market capitalization running through EY Microsoft Azure-based platforms</a:t>
            </a:r>
            <a:endParaRPr lang="en-US" sz="962" kern="0">
              <a:solidFill>
                <a:srgbClr val="F6F6FA"/>
              </a:solidFill>
              <a:latin typeface="Calibri" panose="020F0502020204030204" pitchFamily="34" charset="0"/>
              <a:cs typeface="Calibri" panose="020F0502020204030204" pitchFamily="34" charset="0"/>
            </a:endParaRPr>
          </a:p>
        </p:txBody>
      </p:sp>
      <p:sp>
        <p:nvSpPr>
          <p:cNvPr id="28" name="Content Placeholder 2">
            <a:extLst>
              <a:ext uri="{FF2B5EF4-FFF2-40B4-BE49-F238E27FC236}">
                <a16:creationId xmlns:a16="http://schemas.microsoft.com/office/drawing/2014/main" id="{3277CE52-F588-DD72-0C8C-357908C12E26}"/>
              </a:ext>
            </a:extLst>
          </p:cNvPr>
          <p:cNvSpPr txBox="1">
            <a:spLocks/>
          </p:cNvSpPr>
          <p:nvPr/>
        </p:nvSpPr>
        <p:spPr>
          <a:xfrm>
            <a:off x="6998104" y="4675536"/>
            <a:ext cx="1370592" cy="1040595"/>
          </a:xfrm>
          <a:prstGeom prst="rect">
            <a:avLst/>
          </a:prstGeom>
        </p:spPr>
        <p:txBody>
          <a:bodyPr vert="horz" wrap="square"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544256" eaLnBrk="0" fontAlgn="base" hangingPunct="0">
              <a:spcBef>
                <a:spcPts val="0"/>
              </a:spcBef>
              <a:buClr>
                <a:srgbClr val="FFD200"/>
              </a:buClr>
              <a:buNone/>
              <a:defRPr/>
            </a:pPr>
            <a:r>
              <a:rPr lang="en-US" sz="2803" kern="0">
                <a:solidFill>
                  <a:srgbClr val="FFE600"/>
                </a:solidFill>
                <a:latin typeface="Calibri" panose="020F0502020204030204" pitchFamily="34" charset="0"/>
                <a:cs typeface="Calibri" panose="020F0502020204030204" pitchFamily="34" charset="0"/>
              </a:rPr>
              <a:t>+325k</a:t>
            </a:r>
          </a:p>
          <a:p>
            <a:pPr marL="0" indent="0" defTabSz="799961">
              <a:spcBef>
                <a:spcPts val="0"/>
              </a:spcBef>
              <a:buNone/>
              <a:defRPr/>
            </a:pPr>
            <a:r>
              <a:rPr lang="en-IN" sz="962" kern="0">
                <a:solidFill>
                  <a:srgbClr val="F6F6FA"/>
                </a:solidFill>
                <a:latin typeface="Calibri" panose="020F0502020204030204" pitchFamily="34" charset="0"/>
                <a:cs typeface="Calibri" panose="020F0502020204030204" pitchFamily="34" charset="0"/>
              </a:rPr>
              <a:t>EY personnel collaborating on Teams with over 8k clients</a:t>
            </a:r>
            <a:endParaRPr lang="en-US" sz="962" kern="0">
              <a:solidFill>
                <a:srgbClr val="F6F6FA"/>
              </a:solidFill>
              <a:latin typeface="Calibri" panose="020F0502020204030204" pitchFamily="34" charset="0"/>
              <a:cs typeface="Calibri" panose="020F0502020204030204" pitchFamily="34" charset="0"/>
            </a:endParaRPr>
          </a:p>
        </p:txBody>
      </p:sp>
      <p:sp>
        <p:nvSpPr>
          <p:cNvPr id="29" name="Content Placeholder 2">
            <a:extLst>
              <a:ext uri="{FF2B5EF4-FFF2-40B4-BE49-F238E27FC236}">
                <a16:creationId xmlns:a16="http://schemas.microsoft.com/office/drawing/2014/main" id="{7F45EB88-F9F2-5B9C-AF80-8B4B093179FC}"/>
              </a:ext>
            </a:extLst>
          </p:cNvPr>
          <p:cNvSpPr txBox="1">
            <a:spLocks/>
          </p:cNvSpPr>
          <p:nvPr/>
        </p:nvSpPr>
        <p:spPr>
          <a:xfrm>
            <a:off x="9017872" y="4592412"/>
            <a:ext cx="1283646" cy="1040595"/>
          </a:xfrm>
          <a:prstGeom prst="rect">
            <a:avLst/>
          </a:prstGeom>
        </p:spPr>
        <p:txBody>
          <a:bodyPr vert="horz" wrap="square"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544256" eaLnBrk="0" fontAlgn="base" hangingPunct="0">
              <a:spcBef>
                <a:spcPts val="0"/>
              </a:spcBef>
              <a:buClr>
                <a:srgbClr val="FFD200"/>
              </a:buClr>
              <a:buNone/>
              <a:defRPr/>
            </a:pPr>
            <a:r>
              <a:rPr lang="en-US" sz="2803" kern="0">
                <a:solidFill>
                  <a:srgbClr val="FFE600"/>
                </a:solidFill>
                <a:latin typeface="Calibri" panose="020F0502020204030204" pitchFamily="34" charset="0"/>
                <a:cs typeface="Calibri" panose="020F0502020204030204" pitchFamily="34" charset="0"/>
              </a:rPr>
              <a:t>Top 5</a:t>
            </a:r>
          </a:p>
          <a:p>
            <a:pPr marL="0" indent="0" defTabSz="799961">
              <a:spcBef>
                <a:spcPts val="0"/>
              </a:spcBef>
              <a:buNone/>
              <a:defRPr/>
            </a:pPr>
            <a:r>
              <a:rPr lang="en-US" sz="962" kern="0">
                <a:solidFill>
                  <a:srgbClr val="F6F6FA"/>
                </a:solidFill>
                <a:latin typeface="Calibri" panose="020F0502020204030204" pitchFamily="34" charset="0"/>
                <a:cs typeface="Calibri" panose="020F0502020204030204" pitchFamily="34" charset="0"/>
              </a:rPr>
              <a:t>Microsoft Azure consumer, globally</a:t>
            </a:r>
          </a:p>
        </p:txBody>
      </p:sp>
      <p:sp>
        <p:nvSpPr>
          <p:cNvPr id="30" name="TextBox 29">
            <a:extLst>
              <a:ext uri="{FF2B5EF4-FFF2-40B4-BE49-F238E27FC236}">
                <a16:creationId xmlns:a16="http://schemas.microsoft.com/office/drawing/2014/main" id="{EDEFF43A-B599-3C18-437C-4D4D2A641EBF}"/>
              </a:ext>
            </a:extLst>
          </p:cNvPr>
          <p:cNvSpPr txBox="1">
            <a:spLocks/>
          </p:cNvSpPr>
          <p:nvPr/>
        </p:nvSpPr>
        <p:spPr>
          <a:xfrm>
            <a:off x="1226553" y="1765578"/>
            <a:ext cx="3546091" cy="2671184"/>
          </a:xfrm>
          <a:prstGeom prst="rect">
            <a:avLst/>
          </a:prstGeom>
          <a:solidFill>
            <a:srgbClr val="FFE600"/>
          </a:solidFill>
        </p:spPr>
        <p:txBody>
          <a:bodyPr wrap="square" lIns="126037" tIns="94528" rIns="126037" bIns="94528" rtlCol="0" anchor="ctr">
            <a:noAutofit/>
          </a:bodyPr>
          <a:lstStyle/>
          <a:p>
            <a:pPr defTabSz="544256" eaLnBrk="0" fontAlgn="base" hangingPunct="0">
              <a:spcBef>
                <a:spcPct val="0"/>
              </a:spcBef>
              <a:buClr>
                <a:srgbClr val="FFD200"/>
              </a:buClr>
              <a:buSzPct val="70000"/>
              <a:defRPr/>
            </a:pPr>
            <a:r>
              <a:rPr lang="en-US" sz="1402" b="1" kern="0">
                <a:solidFill>
                  <a:srgbClr val="2E2E38"/>
                </a:solidFill>
                <a:latin typeface="Calibri" panose="020F0502020204030204" pitchFamily="34" charset="0"/>
                <a:cs typeface="Calibri" panose="020F0502020204030204" pitchFamily="34" charset="0"/>
              </a:rPr>
              <a:t>EY continues to be one of the fastest-growing providers in consulting services with EY and Microsoft as one of the top pillars of the EY NextWave strategy</a:t>
            </a:r>
          </a:p>
        </p:txBody>
      </p:sp>
      <p:sp>
        <p:nvSpPr>
          <p:cNvPr id="31" name="TextBox 30">
            <a:extLst>
              <a:ext uri="{FF2B5EF4-FFF2-40B4-BE49-F238E27FC236}">
                <a16:creationId xmlns:a16="http://schemas.microsoft.com/office/drawing/2014/main" id="{770214A3-C96B-62BD-3CEA-99066043E8BB}"/>
              </a:ext>
            </a:extLst>
          </p:cNvPr>
          <p:cNvSpPr txBox="1">
            <a:spLocks/>
          </p:cNvSpPr>
          <p:nvPr/>
        </p:nvSpPr>
        <p:spPr>
          <a:xfrm>
            <a:off x="9017872" y="3257225"/>
            <a:ext cx="1702486"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2803" kern="0">
                <a:solidFill>
                  <a:srgbClr val="FFE600"/>
                </a:solidFill>
                <a:latin typeface="Calibri" panose="020F0502020204030204" pitchFamily="34" charset="0"/>
                <a:cs typeface="Calibri" panose="020F0502020204030204" pitchFamily="34" charset="0"/>
              </a:rPr>
              <a:t>11</a:t>
            </a:r>
          </a:p>
          <a:p>
            <a:pPr defTabSz="544256" eaLnBrk="0" fontAlgn="base" hangingPunct="0">
              <a:buClr>
                <a:srgbClr val="FFD200"/>
              </a:buClr>
              <a:buSzPct val="70000"/>
              <a:defRPr/>
            </a:pPr>
            <a:r>
              <a:rPr lang="en-US" sz="962" kern="0">
                <a:solidFill>
                  <a:srgbClr val="FFFFFF"/>
                </a:solidFill>
                <a:latin typeface="Calibri" panose="020F0502020204030204" pitchFamily="34" charset="0"/>
                <a:cs typeface="Calibri" panose="020F0502020204030204" pitchFamily="34" charset="0"/>
              </a:rPr>
              <a:t>2022 Global Microsoft Partner of the Year Awards, including Global Advisory Partner of the Year third year in a row</a:t>
            </a:r>
          </a:p>
        </p:txBody>
      </p:sp>
      <p:sp>
        <p:nvSpPr>
          <p:cNvPr id="32" name="TextBox 31">
            <a:extLst>
              <a:ext uri="{FF2B5EF4-FFF2-40B4-BE49-F238E27FC236}">
                <a16:creationId xmlns:a16="http://schemas.microsoft.com/office/drawing/2014/main" id="{DEFCA9EB-6108-578F-E099-A0931769F40F}"/>
              </a:ext>
            </a:extLst>
          </p:cNvPr>
          <p:cNvSpPr txBox="1">
            <a:spLocks/>
          </p:cNvSpPr>
          <p:nvPr/>
        </p:nvSpPr>
        <p:spPr>
          <a:xfrm>
            <a:off x="6998105" y="1904518"/>
            <a:ext cx="1776792"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2803" kern="0">
                <a:solidFill>
                  <a:srgbClr val="FFE600"/>
                </a:solidFill>
                <a:latin typeface="Calibri" panose="020F0502020204030204" pitchFamily="34" charset="0"/>
                <a:cs typeface="Calibri" panose="020F0502020204030204" pitchFamily="34" charset="0"/>
              </a:rPr>
              <a:t>+60</a:t>
            </a:r>
          </a:p>
          <a:p>
            <a:pPr defTabSz="725768" fontAlgn="base">
              <a:buClr>
                <a:srgbClr val="FFD200"/>
              </a:buClr>
              <a:buSzPct val="70000"/>
              <a:defRPr/>
            </a:pPr>
            <a:r>
              <a:rPr lang="en-IN" sz="962">
                <a:solidFill>
                  <a:srgbClr val="F6F6FA"/>
                </a:solidFill>
                <a:latin typeface="Calibri" panose="020F0502020204030204" pitchFamily="34" charset="0"/>
                <a:cs typeface="Calibri" panose="020F0502020204030204" pitchFamily="34" charset="0"/>
              </a:rPr>
              <a:t>Addition of 15 Microsoft global co-sell solutions and 200+ accelerators, tools and enablers</a:t>
            </a:r>
            <a:endParaRPr lang="en-US" sz="962">
              <a:solidFill>
                <a:srgbClr val="F6F6FA"/>
              </a:solidFill>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FF85DABA-DF66-BA5B-4EFD-0BB565FA7AAD}"/>
              </a:ext>
            </a:extLst>
          </p:cNvPr>
          <p:cNvSpPr txBox="1">
            <a:spLocks/>
          </p:cNvSpPr>
          <p:nvPr/>
        </p:nvSpPr>
        <p:spPr>
          <a:xfrm>
            <a:off x="9017870" y="1904518"/>
            <a:ext cx="1766337"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3200" kern="0">
                <a:solidFill>
                  <a:srgbClr val="FFE600"/>
                </a:solidFill>
                <a:latin typeface="Calibri" panose="020F0502020204030204" pitchFamily="34" charset="0"/>
                <a:cs typeface="Calibri" panose="020F0502020204030204" pitchFamily="34" charset="0"/>
              </a:rPr>
              <a:t>#1 </a:t>
            </a:r>
            <a:r>
              <a:rPr lang="en-US" sz="2103" kern="0">
                <a:solidFill>
                  <a:srgbClr val="FFE600"/>
                </a:solidFill>
                <a:latin typeface="Calibri" panose="020F0502020204030204" pitchFamily="34" charset="0"/>
                <a:cs typeface="Calibri" panose="020F0502020204030204" pitchFamily="34" charset="0"/>
              </a:rPr>
              <a:t>Advisory &amp; Security Awards</a:t>
            </a:r>
          </a:p>
          <a:p>
            <a:pPr defTabSz="725768" fontAlgn="base">
              <a:buClr>
                <a:srgbClr val="FFD200"/>
              </a:buClr>
              <a:buSzPct val="70000"/>
              <a:defRPr/>
            </a:pPr>
            <a:r>
              <a:rPr lang="en-IN" sz="962">
                <a:solidFill>
                  <a:srgbClr val="F6F6FA"/>
                </a:solidFill>
                <a:latin typeface="Calibri" panose="020F0502020204030204" pitchFamily="34" charset="0"/>
                <a:cs typeface="Calibri" panose="020F0502020204030204" pitchFamily="34" charset="0"/>
              </a:rPr>
              <a:t>Recognized by Microsoft Ireland as the top partner in our categories</a:t>
            </a:r>
            <a:endParaRPr lang="en-US" sz="962">
              <a:solidFill>
                <a:srgbClr val="F6F6FA"/>
              </a:solidFill>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208098E1-A95F-E72A-87DE-D5FAFC31B9B3}"/>
              </a:ext>
            </a:extLst>
          </p:cNvPr>
          <p:cNvSpPr txBox="1">
            <a:spLocks/>
          </p:cNvSpPr>
          <p:nvPr/>
        </p:nvSpPr>
        <p:spPr>
          <a:xfrm>
            <a:off x="6998105" y="3257225"/>
            <a:ext cx="1776792"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2803" kern="0">
                <a:solidFill>
                  <a:srgbClr val="FFE600"/>
                </a:solidFill>
                <a:latin typeface="Calibri" panose="020F0502020204030204" pitchFamily="34" charset="0"/>
                <a:cs typeface="Calibri" panose="020F0502020204030204" pitchFamily="34" charset="0"/>
              </a:rPr>
              <a:t>5m lives</a:t>
            </a:r>
          </a:p>
          <a:p>
            <a:pPr defTabSz="544256" eaLnBrk="0" fontAlgn="base" hangingPunct="0">
              <a:buClr>
                <a:srgbClr val="FFD200"/>
              </a:buClr>
              <a:buSzPct val="70000"/>
              <a:defRPr/>
            </a:pPr>
            <a:r>
              <a:rPr lang="en-US" sz="962" kern="0">
                <a:solidFill>
                  <a:srgbClr val="F6F6FA"/>
                </a:solidFill>
                <a:latin typeface="Calibri" panose="020F0502020204030204" pitchFamily="34" charset="0"/>
                <a:cs typeface="Calibri" panose="020F0502020204030204" pitchFamily="34" charset="0"/>
              </a:rPr>
              <a:t>Social impact alliance will support 5 million people by 2025 whose race</a:t>
            </a:r>
            <a:r>
              <a:rPr lang="en-US" sz="963">
                <a:solidFill>
                  <a:prstClr val="white"/>
                </a:solidFill>
                <a:latin typeface="Calibri" panose="020F0502020204030204" pitchFamily="34" charset="0"/>
                <a:cs typeface="Calibri" panose="020F0502020204030204" pitchFamily="34" charset="0"/>
              </a:rPr>
              <a:t>, gender or geography currently are underreached </a:t>
            </a:r>
            <a:endParaRPr lang="en-US" sz="962" kern="0">
              <a:solidFill>
                <a:srgbClr val="F6F6FA"/>
              </a:solidFill>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DD79C4A8-0C51-F4B4-E4CC-4F3BD91959EC}"/>
              </a:ext>
            </a:extLst>
          </p:cNvPr>
          <p:cNvSpPr txBox="1">
            <a:spLocks/>
          </p:cNvSpPr>
          <p:nvPr/>
        </p:nvSpPr>
        <p:spPr>
          <a:xfrm>
            <a:off x="4910767" y="3257225"/>
            <a:ext cx="1860992"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2803" kern="0">
                <a:solidFill>
                  <a:srgbClr val="FFE600"/>
                </a:solidFill>
                <a:latin typeface="Calibri" panose="020F0502020204030204" pitchFamily="34" charset="0"/>
                <a:cs typeface="Calibri" panose="020F0502020204030204" pitchFamily="34" charset="0"/>
              </a:rPr>
              <a:t>320%</a:t>
            </a:r>
          </a:p>
          <a:p>
            <a:pPr defTabSz="544256" eaLnBrk="0" fontAlgn="base" hangingPunct="0">
              <a:buClr>
                <a:srgbClr val="FFD200"/>
              </a:buClr>
              <a:buSzPct val="70000"/>
              <a:defRPr/>
            </a:pPr>
            <a:r>
              <a:rPr lang="en-IN" sz="962" kern="0">
                <a:solidFill>
                  <a:srgbClr val="F6F6FA"/>
                </a:solidFill>
                <a:latin typeface="Calibri" panose="020F0502020204030204" pitchFamily="34" charset="0"/>
                <a:cs typeface="Calibri" panose="020F0502020204030204" pitchFamily="34" charset="0"/>
              </a:rPr>
              <a:t>YoY growth in Azure influence and 150% D365 revenue for FY22; overall #4 Business Apps partner Globally</a:t>
            </a:r>
            <a:endParaRPr lang="en-US" sz="962" kern="0">
              <a:solidFill>
                <a:srgbClr val="F6F6FA"/>
              </a:solidFill>
              <a:latin typeface="Calibri" panose="020F0502020204030204" pitchFamily="34" charset="0"/>
              <a:cs typeface="Calibri" panose="020F0502020204030204" pitchFamily="34" charset="0"/>
            </a:endParaRPr>
          </a:p>
        </p:txBody>
      </p:sp>
      <p:cxnSp>
        <p:nvCxnSpPr>
          <p:cNvPr id="36" name="Straight Connector 35">
            <a:extLst>
              <a:ext uri="{FF2B5EF4-FFF2-40B4-BE49-F238E27FC236}">
                <a16:creationId xmlns:a16="http://schemas.microsoft.com/office/drawing/2014/main" id="{8ED034B7-9918-E8AA-B828-A0469AB9C2B1}"/>
              </a:ext>
            </a:extLst>
          </p:cNvPr>
          <p:cNvCxnSpPr>
            <a:cxnSpLocks/>
          </p:cNvCxnSpPr>
          <p:nvPr/>
        </p:nvCxnSpPr>
        <p:spPr>
          <a:xfrm flipH="1">
            <a:off x="4772644" y="3101169"/>
            <a:ext cx="6072960" cy="0"/>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7CFD471-BB48-55C5-C397-6589A764F9D5}"/>
              </a:ext>
            </a:extLst>
          </p:cNvPr>
          <p:cNvCxnSpPr>
            <a:cxnSpLocks/>
          </p:cNvCxnSpPr>
          <p:nvPr/>
        </p:nvCxnSpPr>
        <p:spPr>
          <a:xfrm>
            <a:off x="6876615" y="1904518"/>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C05872A-8364-68EC-B96A-8553AD88E434}"/>
              </a:ext>
            </a:extLst>
          </p:cNvPr>
          <p:cNvCxnSpPr>
            <a:cxnSpLocks/>
          </p:cNvCxnSpPr>
          <p:nvPr/>
        </p:nvCxnSpPr>
        <p:spPr>
          <a:xfrm>
            <a:off x="8896384" y="1904518"/>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EFE29B7-AC7F-976C-01F3-264F6AF046D1}"/>
              </a:ext>
            </a:extLst>
          </p:cNvPr>
          <p:cNvCxnSpPr>
            <a:cxnSpLocks/>
          </p:cNvCxnSpPr>
          <p:nvPr/>
        </p:nvCxnSpPr>
        <p:spPr>
          <a:xfrm>
            <a:off x="6876615" y="3257225"/>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13813DC-ECF3-5794-3748-71C7D874F025}"/>
              </a:ext>
            </a:extLst>
          </p:cNvPr>
          <p:cNvCxnSpPr>
            <a:cxnSpLocks/>
          </p:cNvCxnSpPr>
          <p:nvPr/>
        </p:nvCxnSpPr>
        <p:spPr>
          <a:xfrm>
            <a:off x="8896384" y="3257225"/>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E5AFCFD-8F98-8375-4798-3E5D8BA39D7A}"/>
              </a:ext>
            </a:extLst>
          </p:cNvPr>
          <p:cNvCxnSpPr>
            <a:cxnSpLocks/>
          </p:cNvCxnSpPr>
          <p:nvPr/>
        </p:nvCxnSpPr>
        <p:spPr>
          <a:xfrm>
            <a:off x="4772647" y="4655216"/>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42D878-60CD-1829-4C41-5289B95FAD16}"/>
              </a:ext>
            </a:extLst>
          </p:cNvPr>
          <p:cNvCxnSpPr>
            <a:cxnSpLocks/>
          </p:cNvCxnSpPr>
          <p:nvPr/>
        </p:nvCxnSpPr>
        <p:spPr>
          <a:xfrm>
            <a:off x="6876615" y="4655216"/>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74D7424-0051-5BE8-DA92-91C1423DF1E3}"/>
              </a:ext>
            </a:extLst>
          </p:cNvPr>
          <p:cNvCxnSpPr>
            <a:cxnSpLocks/>
          </p:cNvCxnSpPr>
          <p:nvPr/>
        </p:nvCxnSpPr>
        <p:spPr>
          <a:xfrm>
            <a:off x="8896384" y="4655216"/>
            <a:ext cx="0" cy="1081235"/>
          </a:xfrm>
          <a:prstGeom prst="line">
            <a:avLst/>
          </a:prstGeom>
          <a:ln w="12700" cap="flat" cmpd="sng" algn="ctr">
            <a:solidFill>
              <a:srgbClr val="C4C4CD"/>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1B79D8F-3C6A-7BAB-3C3D-22F121D4EE7C}"/>
              </a:ext>
            </a:extLst>
          </p:cNvPr>
          <p:cNvSpPr txBox="1">
            <a:spLocks/>
          </p:cNvSpPr>
          <p:nvPr/>
        </p:nvSpPr>
        <p:spPr>
          <a:xfrm>
            <a:off x="4910767" y="1921633"/>
            <a:ext cx="1860992" cy="1040595"/>
          </a:xfrm>
          <a:prstGeom prst="rect">
            <a:avLst/>
          </a:prstGeom>
          <a:noFill/>
        </p:spPr>
        <p:txBody>
          <a:bodyPr wrap="square" lIns="0" tIns="0" rIns="0" bIns="0" rtlCol="0">
            <a:noAutofit/>
          </a:bodyPr>
          <a:lstStyle/>
          <a:p>
            <a:pPr defTabSz="544256" eaLnBrk="0" fontAlgn="base" hangingPunct="0">
              <a:buClr>
                <a:srgbClr val="FFD200"/>
              </a:buClr>
              <a:buSzPct val="70000"/>
              <a:defRPr/>
            </a:pPr>
            <a:r>
              <a:rPr lang="en-US" sz="2803" kern="0">
                <a:solidFill>
                  <a:srgbClr val="FFE600"/>
                </a:solidFill>
                <a:latin typeface="Calibri" panose="020F0502020204030204" pitchFamily="34" charset="0"/>
                <a:cs typeface="Calibri" panose="020F0502020204030204" pitchFamily="34" charset="0"/>
              </a:rPr>
              <a:t>+8,000</a:t>
            </a:r>
          </a:p>
          <a:p>
            <a:pPr defTabSz="544256" eaLnBrk="0" fontAlgn="base" hangingPunct="0">
              <a:buClr>
                <a:srgbClr val="FFD200"/>
              </a:buClr>
              <a:buSzPct val="70000"/>
              <a:defRPr/>
            </a:pPr>
            <a:r>
              <a:rPr lang="en-IN" sz="962" kern="0">
                <a:solidFill>
                  <a:srgbClr val="F6F6FA"/>
                </a:solidFill>
                <a:latin typeface="Calibri" panose="020F0502020204030204" pitchFamily="34" charset="0"/>
                <a:cs typeface="Calibri" panose="020F0502020204030204" pitchFamily="34" charset="0"/>
              </a:rPr>
              <a:t>EY Microsoft practitioners globally with 174% certification growth between FY20-FY22 and 15+ Microsoft MVPs and Fast- Track Architects</a:t>
            </a:r>
            <a:endParaRPr lang="en-US" sz="962" kern="0">
              <a:solidFill>
                <a:srgbClr val="F6F6FA"/>
              </a:solidFill>
              <a:latin typeface="Calibri" panose="020F0502020204030204" pitchFamily="34" charset="0"/>
              <a:cs typeface="Calibri" panose="020F0502020204030204" pitchFamily="34" charset="0"/>
            </a:endParaRPr>
          </a:p>
        </p:txBody>
      </p:sp>
      <p:pic>
        <p:nvPicPr>
          <p:cNvPr id="45" name="Picture 44">
            <a:extLst>
              <a:ext uri="{FF2B5EF4-FFF2-40B4-BE49-F238E27FC236}">
                <a16:creationId xmlns:a16="http://schemas.microsoft.com/office/drawing/2014/main" id="{9CDF4303-03A9-A86B-EAEB-A082CFEAE4CC}"/>
              </a:ext>
            </a:extLst>
          </p:cNvPr>
          <p:cNvPicPr>
            <a:picLocks noChangeAspect="1"/>
          </p:cNvPicPr>
          <p:nvPr/>
        </p:nvPicPr>
        <p:blipFill>
          <a:blip r:embed="rId2"/>
          <a:stretch>
            <a:fillRect/>
          </a:stretch>
        </p:blipFill>
        <p:spPr>
          <a:xfrm>
            <a:off x="9463805" y="1427394"/>
            <a:ext cx="1320405" cy="277122"/>
          </a:xfrm>
          <a:prstGeom prst="rect">
            <a:avLst/>
          </a:prstGeom>
        </p:spPr>
      </p:pic>
      <p:grpSp>
        <p:nvGrpSpPr>
          <p:cNvPr id="46" name="Group 4">
            <a:extLst>
              <a:ext uri="{FF2B5EF4-FFF2-40B4-BE49-F238E27FC236}">
                <a16:creationId xmlns:a16="http://schemas.microsoft.com/office/drawing/2014/main" id="{878DC71F-8BD9-DC11-FB01-7000226A896F}"/>
              </a:ext>
            </a:extLst>
          </p:cNvPr>
          <p:cNvGrpSpPr>
            <a:grpSpLocks noChangeAspect="1"/>
          </p:cNvGrpSpPr>
          <p:nvPr/>
        </p:nvGrpSpPr>
        <p:grpSpPr bwMode="auto">
          <a:xfrm>
            <a:off x="9017871" y="1271068"/>
            <a:ext cx="405878" cy="416503"/>
            <a:chOff x="7110" y="4004"/>
            <a:chExt cx="191" cy="196"/>
          </a:xfrm>
        </p:grpSpPr>
        <p:sp>
          <p:nvSpPr>
            <p:cNvPr id="47" name="Freeform 5">
              <a:extLst>
                <a:ext uri="{FF2B5EF4-FFF2-40B4-BE49-F238E27FC236}">
                  <a16:creationId xmlns:a16="http://schemas.microsoft.com/office/drawing/2014/main" id="{AFCC510E-B1EF-282C-3DA6-AAAA96D6CEA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48" name="Freeform 6">
              <a:extLst>
                <a:ext uri="{FF2B5EF4-FFF2-40B4-BE49-F238E27FC236}">
                  <a16:creationId xmlns:a16="http://schemas.microsoft.com/office/drawing/2014/main" id="{44819EE3-03ED-51A1-128E-4F3C3DDCE16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49" name="Freeform 7">
              <a:extLst>
                <a:ext uri="{FF2B5EF4-FFF2-40B4-BE49-F238E27FC236}">
                  <a16:creationId xmlns:a16="http://schemas.microsoft.com/office/drawing/2014/main" id="{6ACF94F5-4C4B-7170-B025-4AED116FEBC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356336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4C74AF-47A0-5692-D96F-577ED61E0DB8}"/>
              </a:ext>
            </a:extLst>
          </p:cNvPr>
          <p:cNvSpPr txBox="1"/>
          <p:nvPr/>
        </p:nvSpPr>
        <p:spPr>
          <a:xfrm>
            <a:off x="5963509" y="1372708"/>
            <a:ext cx="2551595" cy="817207"/>
          </a:xfrm>
          <a:prstGeom prst="rect">
            <a:avLst/>
          </a:prstGeom>
          <a:noFill/>
          <a:ln>
            <a:noFill/>
          </a:ln>
        </p:spPr>
        <p:txBody>
          <a:bodyPr wrap="square" lIns="0" tIns="32064" rIns="0" bIns="0" rtlCol="0">
            <a:spAutoFit/>
          </a:bodyPr>
          <a:lstStyle/>
          <a:p>
            <a:pPr defTabSz="801619">
              <a:lnSpc>
                <a:spcPct val="85000"/>
              </a:lnSpc>
              <a:spcAft>
                <a:spcPts val="526"/>
              </a:spcAft>
              <a:buClr>
                <a:srgbClr val="27ACAA"/>
              </a:buClr>
              <a:buSzPct val="70000"/>
              <a:defRPr/>
            </a:pPr>
            <a:r>
              <a:rPr lang="en-IE" sz="1100" b="1">
                <a:solidFill>
                  <a:schemeClr val="bg1"/>
                </a:solidFill>
                <a:latin typeface="Calibri" panose="020F0502020204030204" pitchFamily="34" charset="0"/>
                <a:cs typeface="Calibri" panose="020F0502020204030204" pitchFamily="34" charset="0"/>
              </a:rPr>
              <a:t>Deep technical delivery capability</a:t>
            </a:r>
          </a:p>
          <a:p>
            <a:pPr defTabSz="801619">
              <a:lnSpc>
                <a:spcPct val="85000"/>
              </a:lnSpc>
              <a:spcAft>
                <a:spcPts val="526"/>
              </a:spcAft>
              <a:buClr>
                <a:srgbClr val="27ACAA"/>
              </a:buClr>
              <a:buSzPct val="70000"/>
              <a:defRPr/>
            </a:pPr>
            <a:r>
              <a:rPr lang="en-IE" sz="1100">
                <a:solidFill>
                  <a:schemeClr val="bg1"/>
                </a:solidFill>
                <a:latin typeface="Calibri" panose="020F0502020204030204" pitchFamily="34" charset="0"/>
                <a:cs typeface="Calibri" panose="020F0502020204030204" pitchFamily="34" charset="0"/>
              </a:rPr>
              <a:t>Microsoft Azure, AWS, GCP and Oracle, Cloud native platform, data and software engineering as well as classic systems engineering including .NET &amp; Java. </a:t>
            </a:r>
          </a:p>
        </p:txBody>
      </p:sp>
      <p:sp>
        <p:nvSpPr>
          <p:cNvPr id="3" name="TextBox 2">
            <a:extLst>
              <a:ext uri="{FF2B5EF4-FFF2-40B4-BE49-F238E27FC236}">
                <a16:creationId xmlns:a16="http://schemas.microsoft.com/office/drawing/2014/main" id="{DC2F74A8-1A6C-5854-F4F1-1FAFAC98C003}"/>
              </a:ext>
            </a:extLst>
          </p:cNvPr>
          <p:cNvSpPr txBox="1"/>
          <p:nvPr/>
        </p:nvSpPr>
        <p:spPr>
          <a:xfrm>
            <a:off x="8804958" y="1372708"/>
            <a:ext cx="2551595" cy="817207"/>
          </a:xfrm>
          <a:prstGeom prst="rect">
            <a:avLst/>
          </a:prstGeom>
          <a:noFill/>
          <a:ln>
            <a:noFill/>
          </a:ln>
        </p:spPr>
        <p:txBody>
          <a:bodyPr wrap="square" lIns="0" tIns="32064" rIns="0" bIns="0" rtlCol="0">
            <a:spAutoFit/>
          </a:bodyPr>
          <a:lstStyle/>
          <a:p>
            <a:pPr defTabSz="801619">
              <a:lnSpc>
                <a:spcPct val="85000"/>
              </a:lnSpc>
              <a:spcAft>
                <a:spcPts val="526"/>
              </a:spcAft>
              <a:buClr>
                <a:srgbClr val="27ACAA"/>
              </a:buClr>
              <a:buSzPct val="70000"/>
              <a:defRPr/>
            </a:pPr>
            <a:r>
              <a:rPr lang="en-IE" sz="1100" b="1">
                <a:solidFill>
                  <a:schemeClr val="bg1"/>
                </a:solidFill>
                <a:latin typeface="Calibri" panose="020F0502020204030204" pitchFamily="34" charset="0"/>
                <a:cs typeface="Calibri" panose="020F0502020204030204" pitchFamily="34" charset="0"/>
              </a:rPr>
              <a:t>Leading methods and premium services</a:t>
            </a:r>
          </a:p>
          <a:p>
            <a:pPr defTabSz="801619">
              <a:lnSpc>
                <a:spcPct val="85000"/>
              </a:lnSpc>
              <a:spcAft>
                <a:spcPts val="526"/>
              </a:spcAft>
              <a:buClr>
                <a:srgbClr val="27ACAA"/>
              </a:buClr>
              <a:buSzPct val="70000"/>
              <a:defRPr/>
            </a:pPr>
            <a:r>
              <a:rPr lang="en-IE" sz="1100">
                <a:solidFill>
                  <a:schemeClr val="bg1"/>
                </a:solidFill>
                <a:latin typeface="Calibri" panose="020F0502020204030204" pitchFamily="34" charset="0"/>
                <a:cs typeface="Calibri" panose="020F0502020204030204" pitchFamily="34" charset="0"/>
              </a:rPr>
              <a:t>DevOps, </a:t>
            </a:r>
            <a:r>
              <a:rPr lang="en-IE" sz="1100" err="1">
                <a:solidFill>
                  <a:schemeClr val="bg1"/>
                </a:solidFill>
                <a:latin typeface="Calibri" panose="020F0502020204030204" pitchFamily="34" charset="0"/>
                <a:cs typeface="Calibri" panose="020F0502020204030204" pitchFamily="34" charset="0"/>
              </a:rPr>
              <a:t>DataOps</a:t>
            </a:r>
            <a:r>
              <a:rPr lang="en-IE" sz="1100">
                <a:solidFill>
                  <a:schemeClr val="bg1"/>
                </a:solidFill>
                <a:latin typeface="Calibri" panose="020F0502020204030204" pitchFamily="34" charset="0"/>
                <a:cs typeface="Calibri" panose="020F0502020204030204" pitchFamily="34" charset="0"/>
              </a:rPr>
              <a:t>, CI/CD, SRE platforms, accelerators and tools supported by experienced consultancy and engineering teams </a:t>
            </a:r>
          </a:p>
        </p:txBody>
      </p:sp>
      <p:sp>
        <p:nvSpPr>
          <p:cNvPr id="4" name="TextBox 3">
            <a:extLst>
              <a:ext uri="{FF2B5EF4-FFF2-40B4-BE49-F238E27FC236}">
                <a16:creationId xmlns:a16="http://schemas.microsoft.com/office/drawing/2014/main" id="{DC56FC81-B49D-1995-6A56-B970E9FB6BA8}"/>
              </a:ext>
            </a:extLst>
          </p:cNvPr>
          <p:cNvSpPr txBox="1"/>
          <p:nvPr/>
        </p:nvSpPr>
        <p:spPr>
          <a:xfrm>
            <a:off x="3266987" y="1372708"/>
            <a:ext cx="2551595" cy="815925"/>
          </a:xfrm>
          <a:prstGeom prst="rect">
            <a:avLst/>
          </a:prstGeom>
          <a:noFill/>
          <a:ln>
            <a:noFill/>
          </a:ln>
        </p:spPr>
        <p:txBody>
          <a:bodyPr wrap="square" lIns="0" tIns="32064" rIns="0" bIns="0" rtlCol="0">
            <a:spAutoFit/>
          </a:bodyPr>
          <a:lstStyle/>
          <a:p>
            <a:pPr defTabSz="801619">
              <a:lnSpc>
                <a:spcPct val="85000"/>
              </a:lnSpc>
              <a:spcAft>
                <a:spcPts val="526"/>
              </a:spcAft>
              <a:buClr>
                <a:srgbClr val="27ACAA"/>
              </a:buClr>
              <a:buSzPct val="70000"/>
              <a:defRPr/>
            </a:pPr>
            <a:r>
              <a:rPr lang="en-IE" sz="1100" b="1">
                <a:solidFill>
                  <a:schemeClr val="bg1"/>
                </a:solidFill>
                <a:latin typeface="Calibri" panose="020F0502020204030204" pitchFamily="34" charset="0"/>
                <a:cs typeface="Calibri" panose="020F0502020204030204" pitchFamily="34" charset="0"/>
              </a:rPr>
              <a:t>Multi- Sector</a:t>
            </a:r>
          </a:p>
          <a:p>
            <a:pPr defTabSz="801619">
              <a:lnSpc>
                <a:spcPct val="85000"/>
              </a:lnSpc>
              <a:spcAft>
                <a:spcPts val="526"/>
              </a:spcAft>
              <a:buClr>
                <a:srgbClr val="27ACAA"/>
              </a:buClr>
              <a:buSzPct val="70000"/>
              <a:defRPr/>
            </a:pPr>
            <a:r>
              <a:rPr lang="en-IE" sz="1100">
                <a:solidFill>
                  <a:schemeClr val="bg1"/>
                </a:solidFill>
                <a:latin typeface="Calibri" panose="020F0502020204030204" pitchFamily="34" charset="0"/>
                <a:cs typeface="Calibri" panose="020F0502020204030204" pitchFamily="34" charset="0"/>
              </a:rPr>
              <a:t>Power and Utilities, Financial Services, Manufacturing, Government, Health, Telecommunications, Transport, Agriculture, Life-Sciences and Pharma</a:t>
            </a:r>
          </a:p>
        </p:txBody>
      </p:sp>
      <p:sp>
        <p:nvSpPr>
          <p:cNvPr id="6" name="TextBox 5">
            <a:extLst>
              <a:ext uri="{FF2B5EF4-FFF2-40B4-BE49-F238E27FC236}">
                <a16:creationId xmlns:a16="http://schemas.microsoft.com/office/drawing/2014/main" id="{D6B3904C-298A-03C4-17A9-9F7CC2E8F5BA}"/>
              </a:ext>
            </a:extLst>
          </p:cNvPr>
          <p:cNvSpPr txBox="1"/>
          <p:nvPr/>
        </p:nvSpPr>
        <p:spPr>
          <a:xfrm>
            <a:off x="631967" y="1372708"/>
            <a:ext cx="2551595" cy="815925"/>
          </a:xfrm>
          <a:prstGeom prst="rect">
            <a:avLst/>
          </a:prstGeom>
          <a:noFill/>
          <a:ln>
            <a:noFill/>
          </a:ln>
        </p:spPr>
        <p:txBody>
          <a:bodyPr wrap="square" lIns="0" tIns="32064" rIns="0" bIns="0" rtlCol="0">
            <a:spAutoFit/>
          </a:bodyPr>
          <a:lstStyle/>
          <a:p>
            <a:pPr defTabSz="801619">
              <a:lnSpc>
                <a:spcPct val="85000"/>
              </a:lnSpc>
              <a:spcAft>
                <a:spcPts val="526"/>
              </a:spcAft>
              <a:buClr>
                <a:srgbClr val="27ACAA"/>
              </a:buClr>
              <a:buSzPct val="70000"/>
              <a:defRPr/>
            </a:pPr>
            <a:r>
              <a:rPr lang="en-IE" sz="1100" b="1">
                <a:solidFill>
                  <a:schemeClr val="bg1"/>
                </a:solidFill>
                <a:latin typeface="Calibri" panose="020F0502020204030204" pitchFamily="34" charset="0"/>
                <a:cs typeface="Calibri" panose="020F0502020204030204" pitchFamily="34" charset="0"/>
              </a:rPr>
              <a:t>Ireland based, global reach</a:t>
            </a:r>
          </a:p>
          <a:p>
            <a:pPr defTabSz="801619">
              <a:lnSpc>
                <a:spcPct val="85000"/>
              </a:lnSpc>
              <a:spcAft>
                <a:spcPts val="526"/>
              </a:spcAft>
              <a:buClr>
                <a:srgbClr val="27ACAA"/>
              </a:buClr>
              <a:buSzPct val="70000"/>
              <a:defRPr/>
            </a:pPr>
            <a:r>
              <a:rPr lang="en-IE" sz="1100">
                <a:solidFill>
                  <a:schemeClr val="bg1"/>
                </a:solidFill>
                <a:latin typeface="Calibri" panose="020F0502020204030204" pitchFamily="34" charset="0"/>
                <a:cs typeface="Calibri" panose="020F0502020204030204" pitchFamily="34" charset="0"/>
              </a:rPr>
              <a:t>Over 250 Ireland-based Cloud Architects,  DevOps &amp; Cyber engineers. Client engagements in Ireland, UK and across the EU and US</a:t>
            </a:r>
          </a:p>
        </p:txBody>
      </p:sp>
      <p:sp>
        <p:nvSpPr>
          <p:cNvPr id="22" name="TextBox 21">
            <a:extLst>
              <a:ext uri="{FF2B5EF4-FFF2-40B4-BE49-F238E27FC236}">
                <a16:creationId xmlns:a16="http://schemas.microsoft.com/office/drawing/2014/main" id="{4C2AC5F6-CF95-1618-7D88-46523137B4BA}"/>
              </a:ext>
            </a:extLst>
          </p:cNvPr>
          <p:cNvSpPr txBox="1"/>
          <p:nvPr/>
        </p:nvSpPr>
        <p:spPr>
          <a:xfrm>
            <a:off x="603343" y="3416025"/>
            <a:ext cx="1559801" cy="650785"/>
          </a:xfrm>
          <a:prstGeom prst="rect">
            <a:avLst/>
          </a:prstGeom>
          <a:noFill/>
          <a:ln>
            <a:noFill/>
          </a:ln>
        </p:spPr>
        <p:txBody>
          <a:bodyPr wrap="square" lIns="0" tIns="32064" rIns="0" bIns="0" rtlCol="0" anchor="ctr">
            <a:noAutofit/>
          </a:bodyPr>
          <a:lstStyle/>
          <a:p>
            <a:pPr defTabSz="801619">
              <a:lnSpc>
                <a:spcPct val="85000"/>
              </a:lnSpc>
              <a:buClr>
                <a:srgbClr val="FFE600"/>
              </a:buClr>
              <a:buSzPct val="70000"/>
              <a:defRPr/>
            </a:pPr>
            <a:r>
              <a:rPr lang="en-US" sz="1000" b="1">
                <a:solidFill>
                  <a:schemeClr val="bg1"/>
                </a:solidFill>
                <a:latin typeface="Calibri" panose="020F0502020204030204" pitchFamily="34" charset="0"/>
                <a:cs typeface="Calibri" panose="020F0502020204030204" pitchFamily="34" charset="0"/>
              </a:rPr>
              <a:t>Enterprise Landing Zone</a:t>
            </a:r>
          </a:p>
          <a:p>
            <a:pPr defTabSz="801619">
              <a:lnSpc>
                <a:spcPct val="85000"/>
              </a:lnSpc>
              <a:buClr>
                <a:srgbClr val="FFE600"/>
              </a:buClr>
              <a:buSzPct val="70000"/>
              <a:defRPr/>
            </a:pPr>
            <a:r>
              <a:rPr lang="en-US" sz="1000">
                <a:solidFill>
                  <a:schemeClr val="bg1"/>
                </a:solidFill>
                <a:latin typeface="Calibri" panose="020F0502020204030204" pitchFamily="34" charset="0"/>
                <a:cs typeface="Calibri" panose="020F0502020204030204" pitchFamily="34" charset="0"/>
              </a:rPr>
              <a:t>Enabling the building blocks and platform</a:t>
            </a:r>
          </a:p>
        </p:txBody>
      </p:sp>
      <p:sp>
        <p:nvSpPr>
          <p:cNvPr id="25" name="TextBox 1">
            <a:extLst>
              <a:ext uri="{FF2B5EF4-FFF2-40B4-BE49-F238E27FC236}">
                <a16:creationId xmlns:a16="http://schemas.microsoft.com/office/drawing/2014/main" id="{0B1B1B95-F9CB-7D63-1A68-246D665B11C4}"/>
              </a:ext>
            </a:extLst>
          </p:cNvPr>
          <p:cNvSpPr txBox="1"/>
          <p:nvPr/>
        </p:nvSpPr>
        <p:spPr>
          <a:xfrm>
            <a:off x="616727" y="4719199"/>
            <a:ext cx="1559801" cy="650785"/>
          </a:xfrm>
          <a:prstGeom prst="rect">
            <a:avLst/>
          </a:prstGeom>
          <a:noFill/>
          <a:ln>
            <a:noFill/>
          </a:ln>
        </p:spPr>
        <p:txBody>
          <a:bodyPr wrap="square" lIns="0" tIns="32064" rIns="0" bIns="0" rtlCol="0" anchor="ctr">
            <a:noAutofit/>
          </a:bodyPr>
          <a:lstStyle>
            <a:defPPr>
              <a:defRPr lang="en-US"/>
            </a:defPPr>
            <a:lvl1pPr>
              <a:lnSpc>
                <a:spcPct val="85000"/>
              </a:lnSpc>
              <a:buClr>
                <a:srgbClr val="FFE600"/>
              </a:buClr>
              <a:buSzPct val="70000"/>
              <a:defRPr sz="1200" b="1">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1619">
              <a:defRPr/>
            </a:pPr>
            <a:r>
              <a:rPr lang="en-US" sz="1000">
                <a:solidFill>
                  <a:schemeClr val="bg1"/>
                </a:solidFill>
                <a:latin typeface="Calibri" panose="020F0502020204030204" pitchFamily="34" charset="0"/>
                <a:cs typeface="Calibri" panose="020F0502020204030204" pitchFamily="34" charset="0"/>
              </a:rPr>
              <a:t>AD, IAM, Security</a:t>
            </a:r>
          </a:p>
          <a:p>
            <a:pPr defTabSz="801619">
              <a:defRPr/>
            </a:pPr>
            <a:r>
              <a:rPr lang="en-US" sz="1000" b="0">
                <a:solidFill>
                  <a:schemeClr val="bg1"/>
                </a:solidFill>
                <a:latin typeface="Calibri" panose="020F0502020204030204" pitchFamily="34" charset="0"/>
                <a:cs typeface="Calibri" panose="020F0502020204030204" pitchFamily="34" charset="0"/>
              </a:rPr>
              <a:t>Design and Identity Management</a:t>
            </a:r>
          </a:p>
        </p:txBody>
      </p:sp>
      <p:sp>
        <p:nvSpPr>
          <p:cNvPr id="84" name="TextBox 83">
            <a:extLst>
              <a:ext uri="{FF2B5EF4-FFF2-40B4-BE49-F238E27FC236}">
                <a16:creationId xmlns:a16="http://schemas.microsoft.com/office/drawing/2014/main" id="{3AA80988-7035-7D9B-E455-D932FFBD19E2}"/>
              </a:ext>
            </a:extLst>
          </p:cNvPr>
          <p:cNvSpPr txBox="1"/>
          <p:nvPr/>
        </p:nvSpPr>
        <p:spPr>
          <a:xfrm>
            <a:off x="4355187" y="4266769"/>
            <a:ext cx="1559801" cy="650785"/>
          </a:xfrm>
          <a:prstGeom prst="rect">
            <a:avLst/>
          </a:prstGeom>
          <a:noFill/>
          <a:ln>
            <a:noFill/>
          </a:ln>
        </p:spPr>
        <p:txBody>
          <a:bodyPr wrap="square" lIns="0" tIns="32064" rIns="0" bIns="0" rtlCol="0" anchor="ctr">
            <a:noAutofit/>
          </a:bodyPr>
          <a:lstStyle/>
          <a:p>
            <a:pPr defTabSz="801619">
              <a:lnSpc>
                <a:spcPct val="85000"/>
              </a:lnSpc>
              <a:buClr>
                <a:srgbClr val="FFE600"/>
              </a:buClr>
              <a:buSzPct val="70000"/>
              <a:defRPr/>
            </a:pPr>
            <a:r>
              <a:rPr lang="en-US" sz="1000" b="1">
                <a:solidFill>
                  <a:schemeClr val="bg1"/>
                </a:solidFill>
                <a:latin typeface="Calibri" panose="020F0502020204030204" pitchFamily="34" charset="0"/>
                <a:cs typeface="Calibri" panose="020F0502020204030204" pitchFamily="34" charset="0"/>
              </a:rPr>
              <a:t>DevOps Platform</a:t>
            </a:r>
          </a:p>
          <a:p>
            <a:pPr defTabSz="801619">
              <a:lnSpc>
                <a:spcPct val="85000"/>
              </a:lnSpc>
              <a:buClr>
                <a:srgbClr val="FFE600"/>
              </a:buClr>
              <a:buSzPct val="70000"/>
              <a:defRPr/>
            </a:pPr>
            <a:r>
              <a:rPr lang="en-US" sz="1000">
                <a:solidFill>
                  <a:schemeClr val="bg1"/>
                </a:solidFill>
                <a:latin typeface="Calibri" panose="020F0502020204030204" pitchFamily="34" charset="0"/>
                <a:cs typeface="Calibri" panose="020F0502020204030204" pitchFamily="34" charset="0"/>
              </a:rPr>
              <a:t>Supporting quality engineering</a:t>
            </a:r>
          </a:p>
        </p:txBody>
      </p:sp>
      <p:sp>
        <p:nvSpPr>
          <p:cNvPr id="85" name="TextBox 1">
            <a:extLst>
              <a:ext uri="{FF2B5EF4-FFF2-40B4-BE49-F238E27FC236}">
                <a16:creationId xmlns:a16="http://schemas.microsoft.com/office/drawing/2014/main" id="{2782282D-A7E6-F0C8-3181-F5865C64F47E}"/>
              </a:ext>
            </a:extLst>
          </p:cNvPr>
          <p:cNvSpPr txBox="1"/>
          <p:nvPr/>
        </p:nvSpPr>
        <p:spPr>
          <a:xfrm>
            <a:off x="4318820" y="3416937"/>
            <a:ext cx="1559801" cy="650785"/>
          </a:xfrm>
          <a:prstGeom prst="rect">
            <a:avLst/>
          </a:prstGeom>
          <a:noFill/>
          <a:ln>
            <a:noFill/>
          </a:ln>
        </p:spPr>
        <p:txBody>
          <a:bodyPr wrap="square" lIns="0" tIns="32064" rIns="0" bIns="0" rtlCol="0" anchor="ctr">
            <a:noAutofit/>
          </a:bodyPr>
          <a:lstStyle>
            <a:defPPr>
              <a:defRPr lang="en-US"/>
            </a:defPPr>
            <a:lvl1pPr>
              <a:lnSpc>
                <a:spcPct val="85000"/>
              </a:lnSpc>
              <a:buClr>
                <a:srgbClr val="FFE600"/>
              </a:buClr>
              <a:buSzPct val="70000"/>
              <a:defRPr sz="1200" b="1">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1619">
              <a:defRPr/>
            </a:pPr>
            <a:r>
              <a:rPr lang="en-US" sz="1000">
                <a:solidFill>
                  <a:schemeClr val="bg1"/>
                </a:solidFill>
                <a:latin typeface="Calibri" panose="020F0502020204030204" pitchFamily="34" charset="0"/>
                <a:cs typeface="Calibri" panose="020F0502020204030204" pitchFamily="34" charset="0"/>
              </a:rPr>
              <a:t>Cloud Migration Factory</a:t>
            </a:r>
          </a:p>
          <a:p>
            <a:pPr defTabSz="801619">
              <a:defRPr/>
            </a:pPr>
            <a:r>
              <a:rPr lang="en-US" sz="1000" b="0">
                <a:solidFill>
                  <a:schemeClr val="bg1"/>
                </a:solidFill>
                <a:latin typeface="Calibri" panose="020F0502020204030204" pitchFamily="34" charset="0"/>
                <a:cs typeface="Calibri" panose="020F0502020204030204" pitchFamily="34" charset="0"/>
              </a:rPr>
              <a:t>Enabling migration to the cloud of &gt;1000 VMs</a:t>
            </a:r>
          </a:p>
        </p:txBody>
      </p:sp>
      <p:sp>
        <p:nvSpPr>
          <p:cNvPr id="86" name="TextBox 85">
            <a:extLst>
              <a:ext uri="{FF2B5EF4-FFF2-40B4-BE49-F238E27FC236}">
                <a16:creationId xmlns:a16="http://schemas.microsoft.com/office/drawing/2014/main" id="{A846DC34-89F2-7D0D-B0CC-52BEE862B45B}"/>
              </a:ext>
            </a:extLst>
          </p:cNvPr>
          <p:cNvSpPr txBox="1"/>
          <p:nvPr/>
        </p:nvSpPr>
        <p:spPr>
          <a:xfrm>
            <a:off x="7890679" y="3536390"/>
            <a:ext cx="2705161" cy="494864"/>
          </a:xfrm>
          <a:prstGeom prst="rect">
            <a:avLst/>
          </a:prstGeom>
          <a:noFill/>
          <a:ln>
            <a:noFill/>
          </a:ln>
        </p:spPr>
        <p:txBody>
          <a:bodyPr wrap="square" lIns="0" tIns="32064" rIns="0" bIns="0" rtlCol="0" anchor="t" anchorCtr="0">
            <a:noAutofit/>
          </a:bodyPr>
          <a:lstStyle/>
          <a:p>
            <a:pPr defTabSz="801619">
              <a:lnSpc>
                <a:spcPct val="85000"/>
              </a:lnSpc>
              <a:buClr>
                <a:srgbClr val="FFE600"/>
              </a:buClr>
              <a:buSzPct val="70000"/>
              <a:defRPr/>
            </a:pPr>
            <a:r>
              <a:rPr lang="en-US" sz="1000" b="1">
                <a:solidFill>
                  <a:schemeClr val="bg1"/>
                </a:solidFill>
                <a:latin typeface="Calibri" panose="020F0502020204030204" pitchFamily="34" charset="0"/>
                <a:cs typeface="Calibri" panose="020F0502020204030204" pitchFamily="34" charset="0"/>
              </a:rPr>
              <a:t>Integration Layer</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API management enablement</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Integration services provision</a:t>
            </a:r>
          </a:p>
          <a:p>
            <a:pPr defTabSz="801619">
              <a:lnSpc>
                <a:spcPct val="85000"/>
              </a:lnSpc>
              <a:buClr>
                <a:srgbClr val="FFE600"/>
              </a:buClr>
              <a:buSzPct val="70000"/>
              <a:defRPr/>
            </a:pPr>
            <a:endParaRPr lang="en-US" sz="1000" b="1">
              <a:solidFill>
                <a:schemeClr val="bg1"/>
              </a:solidFill>
              <a:latin typeface="Calibri" panose="020F050202020403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id="{18D81DCF-CEC6-90F5-3FF9-29D3A0AD63D6}"/>
              </a:ext>
            </a:extLst>
          </p:cNvPr>
          <p:cNvSpPr/>
          <p:nvPr/>
        </p:nvSpPr>
        <p:spPr>
          <a:xfrm>
            <a:off x="1920029" y="3559795"/>
            <a:ext cx="2080138" cy="888662"/>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Platform adoption accelerator</a:t>
            </a: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Extensible and Customisable </a:t>
            </a: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Fully coded templates</a:t>
            </a: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Ensures configuration consistency, scalability and secure deployment</a:t>
            </a:r>
            <a:endParaRPr lang="en-US" sz="1000" kern="0">
              <a:solidFill>
                <a:schemeClr val="bg1"/>
              </a:solidFill>
              <a:latin typeface="Calibri" panose="020F0502020204030204" pitchFamily="34" charset="0"/>
              <a:cs typeface="Calibri" panose="020F0502020204030204" pitchFamily="34" charset="0"/>
            </a:endParaRPr>
          </a:p>
        </p:txBody>
      </p:sp>
      <p:sp>
        <p:nvSpPr>
          <p:cNvPr id="88" name="Rectangle 87">
            <a:extLst>
              <a:ext uri="{FF2B5EF4-FFF2-40B4-BE49-F238E27FC236}">
                <a16:creationId xmlns:a16="http://schemas.microsoft.com/office/drawing/2014/main" id="{5A069DB5-F07D-54B5-FD0C-097FA0C8EFBE}"/>
              </a:ext>
            </a:extLst>
          </p:cNvPr>
          <p:cNvSpPr/>
          <p:nvPr/>
        </p:nvSpPr>
        <p:spPr>
          <a:xfrm>
            <a:off x="1944463" y="4669612"/>
            <a:ext cx="2107341" cy="708350"/>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Identity design and configuration</a:t>
            </a: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Azure AD B2B and B2C</a:t>
            </a:r>
            <a:endParaRPr lang="en-US" sz="1000" kern="0">
              <a:solidFill>
                <a:schemeClr val="bg1"/>
              </a:solidFill>
              <a:latin typeface="Calibri" panose="020F0502020204030204" pitchFamily="34" charset="0"/>
              <a:cs typeface="Calibri" panose="020F0502020204030204" pitchFamily="34" charset="0"/>
            </a:endParaRPr>
          </a:p>
        </p:txBody>
      </p:sp>
      <p:sp>
        <p:nvSpPr>
          <p:cNvPr id="89" name="Rectangle 88">
            <a:extLst>
              <a:ext uri="{FF2B5EF4-FFF2-40B4-BE49-F238E27FC236}">
                <a16:creationId xmlns:a16="http://schemas.microsoft.com/office/drawing/2014/main" id="{147651C7-2097-C707-A820-0D54E5DAEDE0}"/>
              </a:ext>
            </a:extLst>
          </p:cNvPr>
          <p:cNvSpPr/>
          <p:nvPr/>
        </p:nvSpPr>
        <p:spPr>
          <a:xfrm>
            <a:off x="5724945" y="4374352"/>
            <a:ext cx="2107341" cy="708350"/>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Configuration Automation</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Continuous Integration\Deployment</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Quality Engineering</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DevOps Platform</a:t>
            </a:r>
          </a:p>
        </p:txBody>
      </p:sp>
      <p:sp>
        <p:nvSpPr>
          <p:cNvPr id="90" name="Rectangle 89">
            <a:extLst>
              <a:ext uri="{FF2B5EF4-FFF2-40B4-BE49-F238E27FC236}">
                <a16:creationId xmlns:a16="http://schemas.microsoft.com/office/drawing/2014/main" id="{2E18EDA6-2361-B88F-62AE-F5A630B9F6C0}"/>
              </a:ext>
            </a:extLst>
          </p:cNvPr>
          <p:cNvSpPr/>
          <p:nvPr/>
        </p:nvSpPr>
        <p:spPr>
          <a:xfrm>
            <a:off x="5724945" y="3446371"/>
            <a:ext cx="2107341" cy="708350"/>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Discovery and Assessment Framework</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Repeatable and consistent migration patterns</a:t>
            </a:r>
          </a:p>
        </p:txBody>
      </p:sp>
      <p:cxnSp>
        <p:nvCxnSpPr>
          <p:cNvPr id="91" name="Straight Connector 90">
            <a:extLst>
              <a:ext uri="{FF2B5EF4-FFF2-40B4-BE49-F238E27FC236}">
                <a16:creationId xmlns:a16="http://schemas.microsoft.com/office/drawing/2014/main" id="{53DE1774-AAED-EC0F-A377-92EA31460A15}"/>
              </a:ext>
            </a:extLst>
          </p:cNvPr>
          <p:cNvCxnSpPr>
            <a:cxnSpLocks/>
          </p:cNvCxnSpPr>
          <p:nvPr/>
        </p:nvCxnSpPr>
        <p:spPr>
          <a:xfrm>
            <a:off x="4045932" y="3593639"/>
            <a:ext cx="0" cy="2872478"/>
          </a:xfrm>
          <a:prstGeom prst="line">
            <a:avLst/>
          </a:prstGeom>
          <a:ln w="952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692EC76-3F90-E166-AAD1-3CE5D24C03DA}"/>
              </a:ext>
            </a:extLst>
          </p:cNvPr>
          <p:cNvCxnSpPr>
            <a:cxnSpLocks/>
          </p:cNvCxnSpPr>
          <p:nvPr/>
        </p:nvCxnSpPr>
        <p:spPr>
          <a:xfrm>
            <a:off x="7691826" y="3429710"/>
            <a:ext cx="0" cy="3036407"/>
          </a:xfrm>
          <a:prstGeom prst="line">
            <a:avLst/>
          </a:prstGeom>
          <a:ln w="952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15020061-B5B6-8EE7-D7EF-DD6DB07B8D17}"/>
              </a:ext>
            </a:extLst>
          </p:cNvPr>
          <p:cNvSpPr txBox="1"/>
          <p:nvPr/>
        </p:nvSpPr>
        <p:spPr>
          <a:xfrm>
            <a:off x="7893273" y="4137193"/>
            <a:ext cx="3279516" cy="494864"/>
          </a:xfrm>
          <a:prstGeom prst="rect">
            <a:avLst/>
          </a:prstGeom>
          <a:noFill/>
          <a:ln>
            <a:noFill/>
          </a:ln>
        </p:spPr>
        <p:txBody>
          <a:bodyPr wrap="square" lIns="0" tIns="32064" rIns="0" bIns="0" rtlCol="0" anchor="t" anchorCtr="0">
            <a:noAutofit/>
          </a:bodyPr>
          <a:lstStyle/>
          <a:p>
            <a:pPr defTabSz="801619">
              <a:lnSpc>
                <a:spcPct val="85000"/>
              </a:lnSpc>
              <a:buClr>
                <a:srgbClr val="FFE600"/>
              </a:buClr>
              <a:buSzPct val="70000"/>
              <a:defRPr/>
            </a:pPr>
            <a:r>
              <a:rPr lang="en-US" sz="1000" b="1">
                <a:solidFill>
                  <a:schemeClr val="bg1"/>
                </a:solidFill>
                <a:latin typeface="Calibri" panose="020F0502020204030204" pitchFamily="34" charset="0"/>
                <a:cs typeface="Calibri" panose="020F0502020204030204" pitchFamily="34" charset="0"/>
              </a:rPr>
              <a:t>Containers</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K8, Azure Kubernetes, Azure Red Hat OpenShift</a:t>
            </a:r>
          </a:p>
          <a:p>
            <a:pPr defTabSz="801619">
              <a:lnSpc>
                <a:spcPct val="85000"/>
              </a:lnSpc>
              <a:buClr>
                <a:srgbClr val="FFE600"/>
              </a:buClr>
              <a:buSzPct val="70000"/>
              <a:defRPr/>
            </a:pPr>
            <a:endParaRPr lang="en-US" sz="1000" b="1">
              <a:solidFill>
                <a:schemeClr val="bg1"/>
              </a:solidFill>
              <a:latin typeface="Calibri" panose="020F0502020204030204" pitchFamily="34" charset="0"/>
              <a:cs typeface="Calibri" panose="020F0502020204030204" pitchFamily="34" charset="0"/>
            </a:endParaRPr>
          </a:p>
        </p:txBody>
      </p:sp>
      <p:sp>
        <p:nvSpPr>
          <p:cNvPr id="94" name="TextBox 93">
            <a:extLst>
              <a:ext uri="{FF2B5EF4-FFF2-40B4-BE49-F238E27FC236}">
                <a16:creationId xmlns:a16="http://schemas.microsoft.com/office/drawing/2014/main" id="{51504E8A-EE17-7913-62B9-8C1B70C3F189}"/>
              </a:ext>
            </a:extLst>
          </p:cNvPr>
          <p:cNvSpPr txBox="1"/>
          <p:nvPr/>
        </p:nvSpPr>
        <p:spPr>
          <a:xfrm>
            <a:off x="7908513" y="4640558"/>
            <a:ext cx="3279516" cy="494864"/>
          </a:xfrm>
          <a:prstGeom prst="rect">
            <a:avLst/>
          </a:prstGeom>
          <a:noFill/>
          <a:ln>
            <a:noFill/>
          </a:ln>
        </p:spPr>
        <p:txBody>
          <a:bodyPr wrap="square" lIns="0" tIns="32064" rIns="0" bIns="0" rtlCol="0" anchor="t" anchorCtr="0">
            <a:noAutofit/>
          </a:bodyPr>
          <a:lstStyle/>
          <a:p>
            <a:pPr defTabSz="801619">
              <a:lnSpc>
                <a:spcPct val="85000"/>
              </a:lnSpc>
              <a:buClr>
                <a:srgbClr val="FFE600"/>
              </a:buClr>
              <a:buSzPct val="70000"/>
              <a:defRPr/>
            </a:pPr>
            <a:r>
              <a:rPr lang="en-US" sz="1000" b="1">
                <a:solidFill>
                  <a:schemeClr val="bg1"/>
                </a:solidFill>
                <a:latin typeface="Calibri" panose="020F0502020204030204" pitchFamily="34" charset="0"/>
                <a:cs typeface="Calibri" panose="020F0502020204030204" pitchFamily="34" charset="0"/>
              </a:rPr>
              <a:t>SAP 4 Hana / Rise</a:t>
            </a:r>
          </a:p>
          <a:p>
            <a:pPr marL="311741" indent="-155870" defTabSz="1178771" fontAlgn="ctr">
              <a:lnSpc>
                <a:spcPct val="125000"/>
              </a:lnSpc>
              <a:buClr>
                <a:srgbClr val="FFE600"/>
              </a:buClr>
              <a:buSzPct val="75000"/>
              <a:buFont typeface="Arial" panose="020B0604020202020204" pitchFamily="34" charset="0"/>
              <a:buChar char="►"/>
              <a:defRPr/>
            </a:pPr>
            <a:r>
              <a:rPr lang="en-US" sz="1000" kern="0">
                <a:solidFill>
                  <a:schemeClr val="bg1"/>
                </a:solidFill>
                <a:latin typeface="Calibri" panose="020F0502020204030204" pitchFamily="34" charset="0"/>
                <a:cs typeface="Calibri" panose="020F0502020204030204" pitchFamily="34" charset="0"/>
              </a:rPr>
              <a:t>Azure and AWS Approved patterns and templates</a:t>
            </a:r>
          </a:p>
          <a:p>
            <a:pPr defTabSz="801619">
              <a:lnSpc>
                <a:spcPct val="85000"/>
              </a:lnSpc>
              <a:buClr>
                <a:srgbClr val="FFE600"/>
              </a:buClr>
              <a:buSzPct val="70000"/>
              <a:defRPr/>
            </a:pPr>
            <a:endParaRPr lang="en-US" sz="1052" b="1">
              <a:solidFill>
                <a:schemeClr val="bg1"/>
              </a:solidFill>
              <a:latin typeface="Calibri" panose="020F0502020204030204" pitchFamily="34" charset="0"/>
              <a:cs typeface="Calibri" panose="020F0502020204030204" pitchFamily="34" charset="0"/>
            </a:endParaRPr>
          </a:p>
        </p:txBody>
      </p:sp>
      <p:sp>
        <p:nvSpPr>
          <p:cNvPr id="95" name="TextBox 1">
            <a:extLst>
              <a:ext uri="{FF2B5EF4-FFF2-40B4-BE49-F238E27FC236}">
                <a16:creationId xmlns:a16="http://schemas.microsoft.com/office/drawing/2014/main" id="{19037155-574F-6C9E-E167-D3152639D5B1}"/>
              </a:ext>
            </a:extLst>
          </p:cNvPr>
          <p:cNvSpPr txBox="1"/>
          <p:nvPr/>
        </p:nvSpPr>
        <p:spPr>
          <a:xfrm>
            <a:off x="607677" y="5374481"/>
            <a:ext cx="1559801" cy="650785"/>
          </a:xfrm>
          <a:prstGeom prst="rect">
            <a:avLst/>
          </a:prstGeom>
          <a:noFill/>
          <a:ln>
            <a:noFill/>
          </a:ln>
        </p:spPr>
        <p:txBody>
          <a:bodyPr wrap="square" lIns="0" tIns="32064" rIns="0" bIns="0" rtlCol="0" anchor="ctr">
            <a:noAutofit/>
          </a:bodyPr>
          <a:lstStyle>
            <a:defPPr>
              <a:defRPr lang="en-US"/>
            </a:defPPr>
            <a:lvl1pPr>
              <a:lnSpc>
                <a:spcPct val="85000"/>
              </a:lnSpc>
              <a:buClr>
                <a:srgbClr val="FFE600"/>
              </a:buClr>
              <a:buSzPct val="70000"/>
              <a:defRPr sz="1200" b="1">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1619">
              <a:defRPr/>
            </a:pPr>
            <a:r>
              <a:rPr lang="en-US" sz="1000">
                <a:solidFill>
                  <a:schemeClr val="bg1"/>
                </a:solidFill>
                <a:latin typeface="Calibri" panose="020F0502020204030204" pitchFamily="34" charset="0"/>
                <a:cs typeface="Calibri" panose="020F0502020204030204" pitchFamily="34" charset="0"/>
              </a:rPr>
              <a:t>Dynamics CE</a:t>
            </a:r>
          </a:p>
          <a:p>
            <a:pPr defTabSz="801619">
              <a:defRPr/>
            </a:pPr>
            <a:r>
              <a:rPr lang="en-US" sz="1000" b="0">
                <a:solidFill>
                  <a:schemeClr val="bg1"/>
                </a:solidFill>
                <a:latin typeface="Calibri" panose="020F0502020204030204" pitchFamily="34" charset="0"/>
                <a:cs typeface="Calibri" panose="020F0502020204030204" pitchFamily="34" charset="0"/>
              </a:rPr>
              <a:t>Systems Integrator</a:t>
            </a:r>
          </a:p>
        </p:txBody>
      </p:sp>
      <p:sp>
        <p:nvSpPr>
          <p:cNvPr id="96" name="Rectangle 95">
            <a:extLst>
              <a:ext uri="{FF2B5EF4-FFF2-40B4-BE49-F238E27FC236}">
                <a16:creationId xmlns:a16="http://schemas.microsoft.com/office/drawing/2014/main" id="{AC490D6B-5A61-09BE-BDE1-ACC718BEE4B0}"/>
              </a:ext>
            </a:extLst>
          </p:cNvPr>
          <p:cNvSpPr/>
          <p:nvPr/>
        </p:nvSpPr>
        <p:spPr>
          <a:xfrm>
            <a:off x="1944463" y="5450409"/>
            <a:ext cx="1882142" cy="708350"/>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Requirements, Design, Build, Test, Deploy and Operate</a:t>
            </a:r>
          </a:p>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p:txBody>
      </p:sp>
      <p:sp>
        <p:nvSpPr>
          <p:cNvPr id="97" name="TextBox 1">
            <a:extLst>
              <a:ext uri="{FF2B5EF4-FFF2-40B4-BE49-F238E27FC236}">
                <a16:creationId xmlns:a16="http://schemas.microsoft.com/office/drawing/2014/main" id="{841C8C37-BA9E-F58D-3325-F36475E6CFF2}"/>
              </a:ext>
            </a:extLst>
          </p:cNvPr>
          <p:cNvSpPr txBox="1"/>
          <p:nvPr/>
        </p:nvSpPr>
        <p:spPr>
          <a:xfrm>
            <a:off x="4340296" y="5375309"/>
            <a:ext cx="1559801" cy="650785"/>
          </a:xfrm>
          <a:prstGeom prst="rect">
            <a:avLst/>
          </a:prstGeom>
          <a:noFill/>
          <a:ln>
            <a:noFill/>
          </a:ln>
        </p:spPr>
        <p:txBody>
          <a:bodyPr wrap="square" lIns="0" tIns="32064" rIns="0" bIns="0" rtlCol="0" anchor="ctr">
            <a:noAutofit/>
          </a:bodyPr>
          <a:lstStyle>
            <a:defPPr>
              <a:defRPr lang="en-US"/>
            </a:defPPr>
            <a:lvl1pPr>
              <a:lnSpc>
                <a:spcPct val="85000"/>
              </a:lnSpc>
              <a:buClr>
                <a:srgbClr val="FFE600"/>
              </a:buClr>
              <a:buSzPct val="70000"/>
              <a:defRPr sz="1200" b="1">
                <a:solidFill>
                  <a:schemeClr val="tx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1619">
              <a:defRPr/>
            </a:pPr>
            <a:r>
              <a:rPr lang="en-US" sz="1000">
                <a:solidFill>
                  <a:schemeClr val="bg1"/>
                </a:solidFill>
                <a:latin typeface="Calibri" panose="020F0502020204030204" pitchFamily="34" charset="0"/>
                <a:cs typeface="Calibri" panose="020F0502020204030204" pitchFamily="34" charset="0"/>
              </a:rPr>
              <a:t>Power Platform</a:t>
            </a:r>
          </a:p>
          <a:p>
            <a:pPr defTabSz="801619">
              <a:defRPr/>
            </a:pPr>
            <a:r>
              <a:rPr lang="en-US" sz="1000" b="0">
                <a:solidFill>
                  <a:schemeClr val="bg1"/>
                </a:solidFill>
                <a:latin typeface="Calibri" panose="020F0502020204030204" pitchFamily="34" charset="0"/>
                <a:cs typeface="Calibri" panose="020F0502020204030204" pitchFamily="34" charset="0"/>
              </a:rPr>
              <a:t>Systems Integrator</a:t>
            </a:r>
          </a:p>
        </p:txBody>
      </p:sp>
      <p:sp>
        <p:nvSpPr>
          <p:cNvPr id="98" name="Rectangle 97">
            <a:extLst>
              <a:ext uri="{FF2B5EF4-FFF2-40B4-BE49-F238E27FC236}">
                <a16:creationId xmlns:a16="http://schemas.microsoft.com/office/drawing/2014/main" id="{372B0A1A-952B-7666-89D3-5995DDF04D9F}"/>
              </a:ext>
            </a:extLst>
          </p:cNvPr>
          <p:cNvSpPr/>
          <p:nvPr/>
        </p:nvSpPr>
        <p:spPr>
          <a:xfrm>
            <a:off x="5724945" y="5450714"/>
            <a:ext cx="1803640" cy="708350"/>
          </a:xfrm>
          <a:prstGeom prst="rect">
            <a:avLst/>
          </a:prstGeom>
          <a:noFill/>
          <a:ln w="3175" cap="flat" cmpd="sng" algn="ctr">
            <a:noFill/>
            <a:prstDash val="solid"/>
          </a:ln>
          <a:effectLst/>
        </p:spPr>
        <p:txBody>
          <a:bodyPr lIns="80158" tIns="40079" rIns="80158" bIns="40079"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11741" indent="-155870" defTabSz="1178771" fontAlgn="ctr">
              <a:lnSpc>
                <a:spcPct val="125000"/>
              </a:lnSpc>
              <a:buClr>
                <a:srgbClr val="FFE600"/>
              </a:buClr>
              <a:buSzPct val="75000"/>
              <a:buFont typeface="Arial" panose="020B0604020202020204" pitchFamily="34" charset="0"/>
              <a:buChar char="►"/>
              <a:defRPr/>
            </a:pPr>
            <a:endParaRPr lang="en-US" sz="1000" kern="0">
              <a:solidFill>
                <a:schemeClr val="bg1"/>
              </a:solidFill>
              <a:latin typeface="Calibri" panose="020F0502020204030204" pitchFamily="34" charset="0"/>
              <a:cs typeface="Calibri" panose="020F0502020204030204" pitchFamily="34" charset="0"/>
            </a:endParaRPr>
          </a:p>
          <a:p>
            <a:pPr marL="311741" indent="-155870" defTabSz="1178771" fontAlgn="ctr">
              <a:lnSpc>
                <a:spcPct val="125000"/>
              </a:lnSpc>
              <a:buClr>
                <a:srgbClr val="FFE600"/>
              </a:buClr>
              <a:buSzPct val="75000"/>
              <a:buFont typeface="Arial" panose="020B0604020202020204" pitchFamily="34" charset="0"/>
              <a:buChar char="►"/>
              <a:defRPr/>
            </a:pPr>
            <a:r>
              <a:rPr lang="en-IE" sz="1000" kern="0">
                <a:solidFill>
                  <a:schemeClr val="bg1"/>
                </a:solidFill>
                <a:latin typeface="Calibri" panose="020F0502020204030204" pitchFamily="34" charset="0"/>
                <a:cs typeface="Calibri" panose="020F0502020204030204" pitchFamily="34" charset="0"/>
              </a:rPr>
              <a:t>Intelligent applications </a:t>
            </a:r>
            <a:r>
              <a:rPr lang="en-US" sz="1000" kern="0">
                <a:solidFill>
                  <a:schemeClr val="bg1"/>
                </a:solidFill>
                <a:latin typeface="Calibri" panose="020F0502020204030204" pitchFamily="34" charset="0"/>
                <a:cs typeface="Calibri" panose="020F0502020204030204" pitchFamily="34" charset="0"/>
              </a:rPr>
              <a:t>unifying the capabilities of CRM business software and ERP systems</a:t>
            </a:r>
          </a:p>
        </p:txBody>
      </p:sp>
      <p:pic>
        <p:nvPicPr>
          <p:cNvPr id="104" name="Picture 103">
            <a:extLst>
              <a:ext uri="{FF2B5EF4-FFF2-40B4-BE49-F238E27FC236}">
                <a16:creationId xmlns:a16="http://schemas.microsoft.com/office/drawing/2014/main" id="{027C4C63-F342-7D6E-BC02-1ABF36A7B180}"/>
              </a:ext>
            </a:extLst>
          </p:cNvPr>
          <p:cNvPicPr>
            <a:picLocks noChangeAspect="1"/>
          </p:cNvPicPr>
          <p:nvPr/>
        </p:nvPicPr>
        <p:blipFill>
          <a:blip r:embed="rId3"/>
          <a:stretch>
            <a:fillRect/>
          </a:stretch>
        </p:blipFill>
        <p:spPr>
          <a:xfrm>
            <a:off x="545463" y="2297964"/>
            <a:ext cx="11045963" cy="1000242"/>
          </a:xfrm>
          <a:prstGeom prst="rect">
            <a:avLst/>
          </a:prstGeom>
        </p:spPr>
      </p:pic>
      <p:sp>
        <p:nvSpPr>
          <p:cNvPr id="34" name="Text Placeholder 7">
            <a:extLst>
              <a:ext uri="{FF2B5EF4-FFF2-40B4-BE49-F238E27FC236}">
                <a16:creationId xmlns:a16="http://schemas.microsoft.com/office/drawing/2014/main" id="{810BA9CC-2C5C-4AE6-AD9A-085AE329CD3B}"/>
              </a:ext>
            </a:extLst>
          </p:cNvPr>
          <p:cNvSpPr txBox="1">
            <a:spLocks/>
          </p:cNvSpPr>
          <p:nvPr/>
        </p:nvSpPr>
        <p:spPr>
          <a:xfrm>
            <a:off x="550003" y="628385"/>
            <a:ext cx="10974388" cy="523983"/>
          </a:xfrm>
          <a:prstGeom prst="rect">
            <a:avLst/>
          </a:prstGeom>
        </p:spPr>
        <p:txBody>
          <a:bodyPr vert="horz" lIns="0" tIns="0" rIns="0" bIns="0" rtlCol="0" anchor="b"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2400" kern="1200">
                <a:solidFill>
                  <a:schemeClr val="bg1"/>
                </a:solidFill>
                <a:latin typeface="EYInterstate Light" panose="02000506000000020004" pitchFamily="2" charset="0"/>
                <a:ea typeface="+mn-ea"/>
                <a:cs typeface="+mn-cs"/>
              </a:defRPr>
            </a:lvl1pPr>
            <a:lvl2pPr marL="356437"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IN">
                <a:latin typeface="Calibri" panose="020F0502020204030204" pitchFamily="34" charset="0"/>
                <a:cs typeface="Calibri" panose="020F0502020204030204" pitchFamily="34" charset="0"/>
              </a:rPr>
              <a:t>B.2 – Introduction to our EY Ireland Microsoft technical capabilities</a:t>
            </a:r>
            <a:endParaRPr lang="en-IE">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715D060-1968-C2F4-4D08-BDAFEF29A1DC}"/>
              </a:ext>
            </a:extLst>
          </p:cNvPr>
          <p:cNvPicPr>
            <a:picLocks noChangeAspect="1"/>
          </p:cNvPicPr>
          <p:nvPr/>
        </p:nvPicPr>
        <p:blipFill>
          <a:blip r:embed="rId4"/>
          <a:stretch>
            <a:fillRect/>
          </a:stretch>
        </p:blipFill>
        <p:spPr>
          <a:xfrm>
            <a:off x="10263918" y="5908164"/>
            <a:ext cx="1320405" cy="277122"/>
          </a:xfrm>
          <a:prstGeom prst="rect">
            <a:avLst/>
          </a:prstGeom>
        </p:spPr>
      </p:pic>
    </p:spTree>
    <p:extLst>
      <p:ext uri="{BB962C8B-B14F-4D97-AF65-F5344CB8AC3E}">
        <p14:creationId xmlns:p14="http://schemas.microsoft.com/office/powerpoint/2010/main" val="3270732291"/>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sz="2400">
                <a:solidFill>
                  <a:schemeClr val="bg1"/>
                </a:solidFill>
                <a:latin typeface="Calibri" panose="020F0502020204030204" pitchFamily="34" charset="0"/>
                <a:cs typeface="Calibri" panose="020F0502020204030204" pitchFamily="34" charset="0"/>
              </a:rPr>
              <a:t>B.2 – Introduction </a:t>
            </a:r>
            <a:r>
              <a:rPr lang="en-IN">
                <a:latin typeface="Calibri" panose="020F0502020204030204" pitchFamily="34" charset="0"/>
                <a:cs typeface="Calibri" panose="020F0502020204030204" pitchFamily="34" charset="0"/>
              </a:rPr>
              <a:t>to our </a:t>
            </a:r>
            <a:r>
              <a:rPr lang="en-IN" sz="2400">
                <a:solidFill>
                  <a:schemeClr val="bg1"/>
                </a:solidFill>
                <a:latin typeface="Calibri" panose="020F0502020204030204" pitchFamily="34" charset="0"/>
                <a:cs typeface="Calibri" panose="020F0502020204030204" pitchFamily="34" charset="0"/>
              </a:rPr>
              <a:t>Microsoft t</a:t>
            </a:r>
            <a:r>
              <a:rPr lang="en-IN">
                <a:latin typeface="Calibri" panose="020F0502020204030204" pitchFamily="34" charset="0"/>
                <a:cs typeface="Calibri" panose="020F0502020204030204" pitchFamily="34" charset="0"/>
              </a:rPr>
              <a:t>echnical </a:t>
            </a:r>
            <a:r>
              <a:rPr lang="en-IN" sz="2400">
                <a:solidFill>
                  <a:schemeClr val="bg1"/>
                </a:solidFill>
                <a:latin typeface="Calibri" panose="020F0502020204030204" pitchFamily="34" charset="0"/>
                <a:cs typeface="Calibri" panose="020F0502020204030204" pitchFamily="34" charset="0"/>
              </a:rPr>
              <a:t>capabilities</a:t>
            </a:r>
            <a:endParaRPr lang="en-IE">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F65B56CD-8D65-D5F0-89D0-30A61438FAA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390" t="2848" b="10703"/>
          <a:stretch/>
        </p:blipFill>
        <p:spPr>
          <a:xfrm>
            <a:off x="899746" y="1786780"/>
            <a:ext cx="10158729" cy="4055121"/>
          </a:xfrm>
          <a:prstGeom prst="rect">
            <a:avLst/>
          </a:prstGeom>
        </p:spPr>
      </p:pic>
      <p:sp>
        <p:nvSpPr>
          <p:cNvPr id="3" name="Rectangle 2">
            <a:extLst>
              <a:ext uri="{FF2B5EF4-FFF2-40B4-BE49-F238E27FC236}">
                <a16:creationId xmlns:a16="http://schemas.microsoft.com/office/drawing/2014/main" id="{9951EFB0-7B3D-96BC-83B4-3B960443107D}"/>
              </a:ext>
            </a:extLst>
          </p:cNvPr>
          <p:cNvSpPr/>
          <p:nvPr/>
        </p:nvSpPr>
        <p:spPr>
          <a:xfrm>
            <a:off x="917312" y="1766142"/>
            <a:ext cx="10158729" cy="4271243"/>
          </a:xfrm>
          <a:prstGeom prst="rect">
            <a:avLst/>
          </a:prstGeom>
          <a:gradFill>
            <a:gsLst>
              <a:gs pos="0">
                <a:schemeClr val="bg2">
                  <a:lumMod val="0"/>
                  <a:alpha val="90000"/>
                </a:schemeClr>
              </a:gs>
              <a:gs pos="100000">
                <a:schemeClr val="bg2">
                  <a:lumMod val="0"/>
                  <a:alpha val="5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563"/>
            <a:endParaRPr lang="en-US" sz="1052">
              <a:solidFill>
                <a:schemeClr val="bg1"/>
              </a:solidFill>
              <a:latin typeface="Calibri" panose="020F0502020204030204" pitchFamily="34" charset="0"/>
              <a:cs typeface="Calibri" panose="020F0502020204030204" pitchFamily="34" charset="0"/>
            </a:endParaRPr>
          </a:p>
        </p:txBody>
      </p:sp>
      <p:sp>
        <p:nvSpPr>
          <p:cNvPr id="4" name="Rectangle 14">
            <a:extLst>
              <a:ext uri="{FF2B5EF4-FFF2-40B4-BE49-F238E27FC236}">
                <a16:creationId xmlns:a16="http://schemas.microsoft.com/office/drawing/2014/main" id="{B716F3FF-38A4-035F-27E5-715A2567EBBE}"/>
              </a:ext>
            </a:extLst>
          </p:cNvPr>
          <p:cNvSpPr/>
          <p:nvPr/>
        </p:nvSpPr>
        <p:spPr>
          <a:xfrm>
            <a:off x="1115959" y="1967848"/>
            <a:ext cx="1493043" cy="1249568"/>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Advisory </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 −  </a:t>
            </a:r>
            <a:br>
              <a:rPr lang="en-US" sz="1052">
                <a:solidFill>
                  <a:schemeClr val="bg1"/>
                </a:solidFill>
                <a:latin typeface="Calibri" panose="020F0502020204030204" pitchFamily="34" charset="0"/>
                <a:cs typeface="Calibri" panose="020F0502020204030204" pitchFamily="34" charset="0"/>
              </a:rPr>
            </a:br>
            <a:r>
              <a:rPr lang="en-US" sz="1052">
                <a:solidFill>
                  <a:schemeClr val="bg1"/>
                </a:solidFill>
                <a:latin typeface="Calibri" panose="020F0502020204030204" pitchFamily="34" charset="0"/>
                <a:cs typeface="Calibri" panose="020F0502020204030204" pitchFamily="34" charset="0"/>
              </a:rPr>
              <a:t>3nd year in a row</a:t>
            </a:r>
            <a:endParaRPr lang="en-US" sz="1227">
              <a:solidFill>
                <a:schemeClr val="bg1"/>
              </a:solidFill>
              <a:latin typeface="Calibri" panose="020F0502020204030204" pitchFamily="34" charset="0"/>
              <a:cs typeface="Calibri" panose="020F0502020204030204" pitchFamily="34" charset="0"/>
            </a:endParaRPr>
          </a:p>
        </p:txBody>
      </p:sp>
      <p:sp>
        <p:nvSpPr>
          <p:cNvPr id="5" name="Rectangle 14">
            <a:extLst>
              <a:ext uri="{FF2B5EF4-FFF2-40B4-BE49-F238E27FC236}">
                <a16:creationId xmlns:a16="http://schemas.microsoft.com/office/drawing/2014/main" id="{0ECED729-D269-16E8-1F43-FB004AD16204}"/>
              </a:ext>
            </a:extLst>
          </p:cNvPr>
          <p:cNvSpPr/>
          <p:nvPr/>
        </p:nvSpPr>
        <p:spPr>
          <a:xfrm>
            <a:off x="3143674" y="1967847"/>
            <a:ext cx="1496951" cy="1249567"/>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AI</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a:t>
            </a:r>
            <a:endParaRPr lang="en-US" sz="1227">
              <a:solidFill>
                <a:schemeClr val="bg1"/>
              </a:solidFill>
              <a:latin typeface="Calibri" panose="020F0502020204030204" pitchFamily="34" charset="0"/>
              <a:cs typeface="Calibri" panose="020F0502020204030204" pitchFamily="34" charset="0"/>
            </a:endParaRPr>
          </a:p>
        </p:txBody>
      </p:sp>
      <p:sp>
        <p:nvSpPr>
          <p:cNvPr id="6" name="Rectangle 14">
            <a:extLst>
              <a:ext uri="{FF2B5EF4-FFF2-40B4-BE49-F238E27FC236}">
                <a16:creationId xmlns:a16="http://schemas.microsoft.com/office/drawing/2014/main" id="{DF5F0DCD-0A2F-AF21-8964-03873B1C2E9B}"/>
              </a:ext>
            </a:extLst>
          </p:cNvPr>
          <p:cNvSpPr/>
          <p:nvPr/>
        </p:nvSpPr>
        <p:spPr>
          <a:xfrm>
            <a:off x="7130714" y="2044048"/>
            <a:ext cx="3393091" cy="3381544"/>
          </a:xfrm>
          <a:prstGeom prst="rect">
            <a:avLst/>
          </a:prstGeom>
          <a:solidFill>
            <a:schemeClr val="bg1">
              <a:lumMod val="50000"/>
            </a:schemeClr>
          </a:solidFill>
        </p:spPr>
        <p:txBody>
          <a:bodyPr wrap="square" tIns="80159" bIns="80159" anchor="ctr" anchorCtr="0">
            <a:noAutofit/>
          </a:bodyPr>
          <a:lstStyle/>
          <a:p>
            <a:pPr algn="ctr" defTabSz="801162">
              <a:spcAft>
                <a:spcPts val="526"/>
              </a:spcAft>
              <a:buClr>
                <a:srgbClr val="FFE600"/>
              </a:buClr>
            </a:pPr>
            <a:r>
              <a:rPr lang="en-US" sz="1052">
                <a:latin typeface="Calibri" panose="020F0502020204030204" pitchFamily="34" charset="0"/>
                <a:cs typeface="Calibri" panose="020F0502020204030204" pitchFamily="34" charset="0"/>
              </a:rPr>
              <a:t>Microsoft 2021 and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Country/Region Awards</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Ireland, Advisory and Azure Analytics Partner </a:t>
            </a:r>
            <a:br>
              <a:rPr lang="en-US" sz="1052">
                <a:latin typeface="Calibri" panose="020F0502020204030204" pitchFamily="34" charset="0"/>
                <a:cs typeface="Calibri" panose="020F0502020204030204" pitchFamily="34" charset="0"/>
              </a:rPr>
            </a:br>
            <a:r>
              <a:rPr lang="en-US" sz="1052">
                <a:latin typeface="Calibri" panose="020F0502020204030204" pitchFamily="34" charset="0"/>
                <a:cs typeface="Calibri" panose="020F0502020204030204" pitchFamily="34" charset="0"/>
              </a:rPr>
              <a:t>of the Year — 2021</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Australia, Hong Kong Partner of the year – 2022</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US Inclusion Changemaker – 2022</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India Top Tech Intensity - 2022</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Nordic Advisory Partner of the Year – 2022</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Sweden Transformation Partner of the Year - 2022</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US, Chile, Lithuania Partner of the Year — 2021</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India, Game Changer of the Year — 2021</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Canada, Industry Innovation Impact Award — 2021</a:t>
            </a:r>
          </a:p>
          <a:p>
            <a:pPr algn="ctr" defTabSz="801162">
              <a:spcAft>
                <a:spcPts val="789"/>
              </a:spcAft>
              <a:buClr>
                <a:srgbClr val="FFE600"/>
              </a:buClr>
            </a:pPr>
            <a:r>
              <a:rPr lang="en-US" sz="1052">
                <a:latin typeface="Calibri" panose="020F0502020204030204" pitchFamily="34" charset="0"/>
                <a:cs typeface="Calibri" panose="020F0502020204030204" pitchFamily="34" charset="0"/>
              </a:rPr>
              <a:t>Nordics, Sustainability Partner – 2021</a:t>
            </a:r>
          </a:p>
        </p:txBody>
      </p:sp>
      <p:sp>
        <p:nvSpPr>
          <p:cNvPr id="9" name="Rectangle 14">
            <a:extLst>
              <a:ext uri="{FF2B5EF4-FFF2-40B4-BE49-F238E27FC236}">
                <a16:creationId xmlns:a16="http://schemas.microsoft.com/office/drawing/2014/main" id="{1AA8578C-FC01-73BD-A1D1-DA0222EE8BAD}"/>
              </a:ext>
            </a:extLst>
          </p:cNvPr>
          <p:cNvSpPr/>
          <p:nvPr/>
        </p:nvSpPr>
        <p:spPr>
          <a:xfrm>
            <a:off x="5099091" y="1967848"/>
            <a:ext cx="1496951" cy="1249565"/>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Security</a:t>
            </a:r>
          </a:p>
          <a:p>
            <a:pPr algn="ctr" defTabSz="801162">
              <a:spcAft>
                <a:spcPts val="526"/>
              </a:spcAft>
              <a:buClr>
                <a:srgbClr val="FFE600"/>
              </a:buClr>
            </a:pPr>
            <a:r>
              <a:rPr lang="en-US" sz="964">
                <a:solidFill>
                  <a:schemeClr val="bg1"/>
                </a:solidFill>
                <a:latin typeface="Calibri" panose="020F0502020204030204" pitchFamily="34" charset="0"/>
                <a:cs typeface="Calibri" panose="020F0502020204030204" pitchFamily="34" charset="0"/>
              </a:rPr>
              <a:t>Partner of the Year</a:t>
            </a:r>
            <a:endParaRPr lang="en-US" sz="614">
              <a:solidFill>
                <a:schemeClr val="bg1"/>
              </a:solidFill>
              <a:latin typeface="Calibri" panose="020F0502020204030204" pitchFamily="34" charset="0"/>
              <a:cs typeface="Calibri" panose="020F0502020204030204" pitchFamily="34" charset="0"/>
            </a:endParaRPr>
          </a:p>
        </p:txBody>
      </p:sp>
      <p:sp>
        <p:nvSpPr>
          <p:cNvPr id="10" name="Rectangle 14">
            <a:extLst>
              <a:ext uri="{FF2B5EF4-FFF2-40B4-BE49-F238E27FC236}">
                <a16:creationId xmlns:a16="http://schemas.microsoft.com/office/drawing/2014/main" id="{33168099-D8CE-DD57-1E4B-F3A2399F2DD0}"/>
              </a:ext>
            </a:extLst>
          </p:cNvPr>
          <p:cNvSpPr/>
          <p:nvPr/>
        </p:nvSpPr>
        <p:spPr>
          <a:xfrm>
            <a:off x="5099090" y="4638048"/>
            <a:ext cx="1496953" cy="1249569"/>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3</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Finalist</a:t>
            </a:r>
          </a:p>
          <a:p>
            <a:pPr algn="ctr" defTabSz="801162">
              <a:spcAft>
                <a:spcPts val="526"/>
              </a:spcAft>
              <a:buClr>
                <a:srgbClr val="FFE600"/>
              </a:buClr>
            </a:pPr>
            <a:r>
              <a:rPr lang="en-US" sz="964">
                <a:solidFill>
                  <a:schemeClr val="bg1"/>
                </a:solidFill>
                <a:latin typeface="Calibri" panose="020F0502020204030204" pitchFamily="34" charset="0"/>
                <a:cs typeface="Calibri" panose="020F0502020204030204" pitchFamily="34" charset="0"/>
              </a:rPr>
              <a:t>Artificial Intelligence</a:t>
            </a:r>
          </a:p>
          <a:p>
            <a:pPr algn="ctr" defTabSz="801162">
              <a:spcAft>
                <a:spcPts val="526"/>
              </a:spcAft>
              <a:buClr>
                <a:srgbClr val="FFE600"/>
              </a:buClr>
            </a:pPr>
            <a:r>
              <a:rPr lang="en-US" sz="964">
                <a:solidFill>
                  <a:schemeClr val="bg1"/>
                </a:solidFill>
                <a:latin typeface="Calibri" panose="020F0502020204030204" pitchFamily="34" charset="0"/>
                <a:cs typeface="Calibri" panose="020F0502020204030204" pitchFamily="34" charset="0"/>
              </a:rPr>
              <a:t>Dynamics 365 Finance</a:t>
            </a:r>
          </a:p>
          <a:p>
            <a:pPr algn="ctr" defTabSz="801162">
              <a:spcAft>
                <a:spcPts val="526"/>
              </a:spcAft>
              <a:buClr>
                <a:srgbClr val="FFE600"/>
              </a:buClr>
            </a:pPr>
            <a:r>
              <a:rPr lang="en-US" sz="960">
                <a:solidFill>
                  <a:schemeClr val="bg1"/>
                </a:solidFill>
                <a:latin typeface="Calibri" panose="020F0502020204030204" pitchFamily="34" charset="0"/>
                <a:cs typeface="Calibri" panose="020F0502020204030204" pitchFamily="34" charset="0"/>
              </a:rPr>
              <a:t>Industry</a:t>
            </a:r>
            <a:r>
              <a:rPr lang="en-US" sz="1052">
                <a:solidFill>
                  <a:schemeClr val="bg1"/>
                </a:solidFill>
                <a:latin typeface="Calibri" panose="020F0502020204030204" pitchFamily="34" charset="0"/>
                <a:cs typeface="Calibri" panose="020F0502020204030204" pitchFamily="34" charset="0"/>
              </a:rPr>
              <a:t> </a:t>
            </a:r>
            <a:r>
              <a:rPr lang="en-US" sz="960">
                <a:solidFill>
                  <a:schemeClr val="bg1"/>
                </a:solidFill>
                <a:latin typeface="Calibri" panose="020F0502020204030204" pitchFamily="34" charset="0"/>
                <a:cs typeface="Calibri" panose="020F0502020204030204" pitchFamily="34" charset="0"/>
              </a:rPr>
              <a:t>Solution Advisory</a:t>
            </a:r>
          </a:p>
        </p:txBody>
      </p:sp>
      <p:sp>
        <p:nvSpPr>
          <p:cNvPr id="11" name="Rectangle 14">
            <a:extLst>
              <a:ext uri="{FF2B5EF4-FFF2-40B4-BE49-F238E27FC236}">
                <a16:creationId xmlns:a16="http://schemas.microsoft.com/office/drawing/2014/main" id="{94845A60-586B-F3C3-AB90-0CF1122CAAB4}"/>
              </a:ext>
            </a:extLst>
          </p:cNvPr>
          <p:cNvSpPr/>
          <p:nvPr/>
        </p:nvSpPr>
        <p:spPr>
          <a:xfrm>
            <a:off x="3143674" y="4638048"/>
            <a:ext cx="1496951" cy="1249569"/>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3</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Cloud-Native App Developer</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a:t>
            </a:r>
          </a:p>
        </p:txBody>
      </p:sp>
      <p:sp>
        <p:nvSpPr>
          <p:cNvPr id="12" name="Rectangle 14">
            <a:extLst>
              <a:ext uri="{FF2B5EF4-FFF2-40B4-BE49-F238E27FC236}">
                <a16:creationId xmlns:a16="http://schemas.microsoft.com/office/drawing/2014/main" id="{E94DEAE3-7687-AA25-DA27-B9EA77B9AAB7}"/>
              </a:ext>
            </a:extLst>
          </p:cNvPr>
          <p:cNvSpPr/>
          <p:nvPr/>
        </p:nvSpPr>
        <p:spPr>
          <a:xfrm>
            <a:off x="1115959" y="4638048"/>
            <a:ext cx="1493043" cy="1249569"/>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3</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Sustainability</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 </a:t>
            </a:r>
            <a:endParaRPr lang="en-US" sz="1227">
              <a:solidFill>
                <a:schemeClr val="bg1"/>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70E2E236-8634-83B5-B7B2-C13753C203AD}"/>
              </a:ext>
            </a:extLst>
          </p:cNvPr>
          <p:cNvPicPr>
            <a:picLocks noChangeAspect="1"/>
          </p:cNvPicPr>
          <p:nvPr/>
        </p:nvPicPr>
        <p:blipFill>
          <a:blip r:embed="rId3"/>
          <a:stretch>
            <a:fillRect/>
          </a:stretch>
        </p:blipFill>
        <p:spPr>
          <a:xfrm>
            <a:off x="9463805" y="1427394"/>
            <a:ext cx="1320405" cy="277122"/>
          </a:xfrm>
          <a:prstGeom prst="rect">
            <a:avLst/>
          </a:prstGeom>
        </p:spPr>
      </p:pic>
      <p:grpSp>
        <p:nvGrpSpPr>
          <p:cNvPr id="13" name="Group 4">
            <a:extLst>
              <a:ext uri="{FF2B5EF4-FFF2-40B4-BE49-F238E27FC236}">
                <a16:creationId xmlns:a16="http://schemas.microsoft.com/office/drawing/2014/main" id="{2BE8908F-68B8-76FF-171E-7D48BC934E30}"/>
              </a:ext>
            </a:extLst>
          </p:cNvPr>
          <p:cNvGrpSpPr>
            <a:grpSpLocks noChangeAspect="1"/>
          </p:cNvGrpSpPr>
          <p:nvPr/>
        </p:nvGrpSpPr>
        <p:grpSpPr bwMode="auto">
          <a:xfrm>
            <a:off x="9017871" y="1271068"/>
            <a:ext cx="405878" cy="416503"/>
            <a:chOff x="7110" y="4004"/>
            <a:chExt cx="191" cy="196"/>
          </a:xfrm>
        </p:grpSpPr>
        <p:sp>
          <p:nvSpPr>
            <p:cNvPr id="14" name="Freeform 5">
              <a:extLst>
                <a:ext uri="{FF2B5EF4-FFF2-40B4-BE49-F238E27FC236}">
                  <a16:creationId xmlns:a16="http://schemas.microsoft.com/office/drawing/2014/main" id="{7A7C71AA-16C9-0010-4283-CB4B98036E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15" name="Freeform 6">
              <a:extLst>
                <a:ext uri="{FF2B5EF4-FFF2-40B4-BE49-F238E27FC236}">
                  <a16:creationId xmlns:a16="http://schemas.microsoft.com/office/drawing/2014/main" id="{B1B1A010-AADC-DCBC-6253-F5FF6D95DD1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sp>
          <p:nvSpPr>
            <p:cNvPr id="16" name="Freeform 7">
              <a:extLst>
                <a:ext uri="{FF2B5EF4-FFF2-40B4-BE49-F238E27FC236}">
                  <a16:creationId xmlns:a16="http://schemas.microsoft.com/office/drawing/2014/main" id="{F51D602B-EDCF-FB36-C3EA-891F15F5EF1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panose="020F0502020204030204" pitchFamily="34" charset="0"/>
                <a:cs typeface="Calibri" panose="020F0502020204030204" pitchFamily="34" charset="0"/>
              </a:endParaRPr>
            </a:p>
          </p:txBody>
        </p:sp>
      </p:grpSp>
      <p:sp>
        <p:nvSpPr>
          <p:cNvPr id="17" name="Rectangle 14">
            <a:extLst>
              <a:ext uri="{FF2B5EF4-FFF2-40B4-BE49-F238E27FC236}">
                <a16:creationId xmlns:a16="http://schemas.microsoft.com/office/drawing/2014/main" id="{9E3DE483-722F-4D76-B982-0190AE0CE482}"/>
              </a:ext>
            </a:extLst>
          </p:cNvPr>
          <p:cNvSpPr/>
          <p:nvPr/>
        </p:nvSpPr>
        <p:spPr>
          <a:xfrm>
            <a:off x="5099091" y="3313099"/>
            <a:ext cx="1496952" cy="1249564"/>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3</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Advisory </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 −  </a:t>
            </a:r>
            <a:br>
              <a:rPr lang="en-US" sz="1052">
                <a:solidFill>
                  <a:schemeClr val="bg1"/>
                </a:solidFill>
                <a:latin typeface="Calibri" panose="020F0502020204030204" pitchFamily="34" charset="0"/>
                <a:cs typeface="Calibri" panose="020F0502020204030204" pitchFamily="34" charset="0"/>
              </a:rPr>
            </a:br>
            <a:r>
              <a:rPr lang="en-US" sz="1052">
                <a:solidFill>
                  <a:schemeClr val="bg1"/>
                </a:solidFill>
                <a:latin typeface="Calibri" panose="020F0502020204030204" pitchFamily="34" charset="0"/>
                <a:cs typeface="Calibri" panose="020F0502020204030204" pitchFamily="34" charset="0"/>
              </a:rPr>
              <a:t>4th year in a row</a:t>
            </a:r>
            <a:endParaRPr lang="en-US" sz="1227">
              <a:solidFill>
                <a:schemeClr val="bg1"/>
              </a:solidFill>
              <a:latin typeface="Calibri" panose="020F0502020204030204" pitchFamily="34" charset="0"/>
              <a:cs typeface="Calibri" panose="020F0502020204030204" pitchFamily="34" charset="0"/>
            </a:endParaRPr>
          </a:p>
        </p:txBody>
      </p:sp>
      <p:sp>
        <p:nvSpPr>
          <p:cNvPr id="18" name="Rectangle 14">
            <a:extLst>
              <a:ext uri="{FF2B5EF4-FFF2-40B4-BE49-F238E27FC236}">
                <a16:creationId xmlns:a16="http://schemas.microsoft.com/office/drawing/2014/main" id="{F5694277-828A-48AE-BEF0-E7127EF232CC}"/>
              </a:ext>
            </a:extLst>
          </p:cNvPr>
          <p:cNvSpPr/>
          <p:nvPr/>
        </p:nvSpPr>
        <p:spPr>
          <a:xfrm>
            <a:off x="3143674" y="3313098"/>
            <a:ext cx="1496951" cy="1249567"/>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Power Automate</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a:t>
            </a:r>
          </a:p>
        </p:txBody>
      </p:sp>
      <p:sp>
        <p:nvSpPr>
          <p:cNvPr id="19" name="Rectangle 14">
            <a:extLst>
              <a:ext uri="{FF2B5EF4-FFF2-40B4-BE49-F238E27FC236}">
                <a16:creationId xmlns:a16="http://schemas.microsoft.com/office/drawing/2014/main" id="{2EAFE425-BECE-4548-9A92-2778C93E9E88}"/>
              </a:ext>
            </a:extLst>
          </p:cNvPr>
          <p:cNvSpPr/>
          <p:nvPr/>
        </p:nvSpPr>
        <p:spPr>
          <a:xfrm>
            <a:off x="1115959" y="3313098"/>
            <a:ext cx="1493043" cy="1249569"/>
          </a:xfrm>
          <a:prstGeom prst="rect">
            <a:avLst/>
          </a:prstGeom>
          <a:solidFill>
            <a:schemeClr val="tx1">
              <a:lumMod val="65000"/>
            </a:schemeClr>
          </a:solidFill>
        </p:spPr>
        <p:txBody>
          <a:bodyPr wrap="square" tIns="80159" bIns="80159" anchor="ctr" anchorCtr="0">
            <a:noAutofit/>
          </a:bodyPr>
          <a:lstStyle/>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Microsoft 2022</a:t>
            </a:r>
          </a:p>
          <a:p>
            <a:pPr algn="ctr" defTabSz="801162">
              <a:spcAft>
                <a:spcPts val="526"/>
              </a:spcAft>
              <a:buClr>
                <a:srgbClr val="FFE600"/>
              </a:buClr>
            </a:pPr>
            <a:r>
              <a:rPr lang="en-US" sz="1403" b="1">
                <a:solidFill>
                  <a:schemeClr val="tx2"/>
                </a:solidFill>
                <a:latin typeface="Calibri" panose="020F0502020204030204" pitchFamily="34" charset="0"/>
                <a:cs typeface="Calibri" panose="020F0502020204030204" pitchFamily="34" charset="0"/>
              </a:rPr>
              <a:t>Global D365 Sales</a:t>
            </a:r>
          </a:p>
          <a:p>
            <a:pPr algn="ctr" defTabSz="801162">
              <a:spcAft>
                <a:spcPts val="526"/>
              </a:spcAft>
              <a:buClr>
                <a:srgbClr val="FFE600"/>
              </a:buClr>
            </a:pPr>
            <a:r>
              <a:rPr lang="en-US" sz="1052">
                <a:solidFill>
                  <a:schemeClr val="bg1"/>
                </a:solidFill>
                <a:latin typeface="Calibri" panose="020F0502020204030204" pitchFamily="34" charset="0"/>
                <a:cs typeface="Calibri" panose="020F0502020204030204" pitchFamily="34" charset="0"/>
              </a:rPr>
              <a:t>Partner of the Year </a:t>
            </a:r>
            <a:endParaRPr lang="en-US" sz="1227">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95362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400711" y="1265205"/>
            <a:ext cx="5486399" cy="676788"/>
          </a:xfrm>
        </p:spPr>
        <p:txBody>
          <a:bodyPr/>
          <a:lstStyle/>
          <a:p>
            <a:r>
              <a:rPr lang="en-IE">
                <a:latin typeface="Calibri" panose="020F0502020204030204" pitchFamily="34" charset="0"/>
                <a:cs typeface="Calibri" panose="020F0502020204030204" pitchFamily="34" charset="0"/>
              </a:rPr>
              <a:t>Proposal</a:t>
            </a: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C.</a:t>
            </a:r>
          </a:p>
        </p:txBody>
      </p:sp>
      <p:sp>
        <p:nvSpPr>
          <p:cNvPr id="3" name="TextBox 2">
            <a:extLst>
              <a:ext uri="{FF2B5EF4-FFF2-40B4-BE49-F238E27FC236}">
                <a16:creationId xmlns:a16="http://schemas.microsoft.com/office/drawing/2014/main" id="{54653C93-EE7D-BEDF-D2B4-67B3FBB2F9ED}"/>
              </a:ext>
            </a:extLst>
          </p:cNvPr>
          <p:cNvSpPr txBox="1"/>
          <p:nvPr/>
        </p:nvSpPr>
        <p:spPr>
          <a:xfrm>
            <a:off x="609600" y="3713593"/>
            <a:ext cx="6096000" cy="369332"/>
          </a:xfrm>
          <a:prstGeom prst="rect">
            <a:avLst/>
          </a:prstGeom>
          <a:noFill/>
        </p:spPr>
        <p:txBody>
          <a:bodyPr wrap="square" lIns="91440" tIns="45720" rIns="91440" bIns="45720" anchor="t">
            <a:spAutoFit/>
          </a:bodyPr>
          <a:lstStyle/>
          <a:p>
            <a:pPr>
              <a:spcAft>
                <a:spcPts val="600"/>
              </a:spcAft>
              <a:buClr>
                <a:srgbClr val="FFFFFF"/>
              </a:buClr>
            </a:pPr>
            <a:r>
              <a:rPr lang="en-GB" sz="1800" b="0">
                <a:latin typeface="Calibri" panose="020F0502020204030204" pitchFamily="34" charset="0"/>
                <a:cs typeface="Calibri" panose="020F0502020204030204" pitchFamily="34" charset="0"/>
              </a:rPr>
              <a:t>C.1 – </a:t>
            </a:r>
            <a:r>
              <a:rPr lang="en-GB">
                <a:latin typeface="Calibri" panose="020F0502020204030204" pitchFamily="34" charset="0"/>
                <a:cs typeface="Calibri" panose="020F0502020204030204" pitchFamily="34" charset="0"/>
              </a:rPr>
              <a:t>Proposed Solutions</a:t>
            </a:r>
          </a:p>
        </p:txBody>
      </p:sp>
    </p:spTree>
    <p:extLst>
      <p:ext uri="{BB962C8B-B14F-4D97-AF65-F5344CB8AC3E}">
        <p14:creationId xmlns:p14="http://schemas.microsoft.com/office/powerpoint/2010/main" val="3781609366"/>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8371113" cy="676788"/>
          </a:xfrm>
        </p:spPr>
        <p:txBody>
          <a:bodyPr/>
          <a:lstStyle/>
          <a:p>
            <a:r>
              <a:rPr lang="en-IE">
                <a:latin typeface="Calibri" panose="020F0502020204030204" pitchFamily="34" charset="0"/>
                <a:cs typeface="Calibri" panose="020F0502020204030204" pitchFamily="34" charset="0"/>
              </a:rPr>
              <a:t>C.1– Proposed Solutions</a:t>
            </a:r>
          </a:p>
        </p:txBody>
      </p:sp>
    </p:spTree>
    <p:extLst>
      <p:ext uri="{BB962C8B-B14F-4D97-AF65-F5344CB8AC3E}">
        <p14:creationId xmlns:p14="http://schemas.microsoft.com/office/powerpoint/2010/main" val="3310043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0"/>
          <p:cNvSpPr txBox="1">
            <a:spLocks/>
          </p:cNvSpPr>
          <p:nvPr/>
        </p:nvSpPr>
        <p:spPr>
          <a:xfrm>
            <a:off x="4404708" y="1071792"/>
            <a:ext cx="4984388" cy="196934"/>
          </a:xfrm>
          <a:prstGeom prst="rect">
            <a:avLst/>
          </a:prstGeom>
        </p:spPr>
        <p:txBody>
          <a:bodyPr lIns="0" tIns="0" rIns="0" bIns="0" anchor="t"/>
          <a:lstStyle>
            <a:lvl1pPr marL="0" indent="0" algn="r" defTabSz="754003" rtl="0" eaLnBrk="1" latinLnBrk="0" hangingPunct="1">
              <a:lnSpc>
                <a:spcPct val="85000"/>
              </a:lnSpc>
              <a:spcBef>
                <a:spcPts val="495"/>
              </a:spcBef>
              <a:buClr>
                <a:schemeClr val="accent2"/>
              </a:buClr>
              <a:buSzPct val="70000"/>
              <a:buFont typeface="Arial" pitchFamily="34" charset="0"/>
              <a:buNone/>
              <a:defRPr sz="1131" kern="1200">
                <a:solidFill>
                  <a:schemeClr val="bg1"/>
                </a:solidFill>
                <a:latin typeface="EYInterstate Light" panose="02000506000000020004" pitchFamily="2" charset="0"/>
                <a:ea typeface="+mn-ea"/>
                <a:cs typeface="+mn-cs"/>
              </a:defRPr>
            </a:lvl1pPr>
            <a:lvl2pPr marL="588122" indent="-294061" algn="l" defTabSz="754003" rtl="0" eaLnBrk="1" latinLnBrk="0" hangingPunct="1">
              <a:lnSpc>
                <a:spcPct val="85000"/>
              </a:lnSpc>
              <a:spcBef>
                <a:spcPts val="495"/>
              </a:spcBef>
              <a:buClr>
                <a:schemeClr val="accent2"/>
              </a:buClr>
              <a:buSzPct val="70000"/>
              <a:buFont typeface="Arial" pitchFamily="34" charset="0"/>
              <a:buChar char="►"/>
              <a:defRPr sz="1649" kern="1200">
                <a:solidFill>
                  <a:schemeClr val="bg1"/>
                </a:solidFill>
                <a:latin typeface="EYInterstate" panose="02000503020000020004" pitchFamily="2" charset="0"/>
                <a:ea typeface="+mn-ea"/>
                <a:cs typeface="+mn-cs"/>
              </a:defRPr>
            </a:lvl2pPr>
            <a:lvl3pPr marL="882183" indent="-294061" algn="l" defTabSz="754003" rtl="0" eaLnBrk="1" latinLnBrk="0" hangingPunct="1">
              <a:lnSpc>
                <a:spcPct val="85000"/>
              </a:lnSpc>
              <a:spcBef>
                <a:spcPts val="495"/>
              </a:spcBef>
              <a:buClr>
                <a:schemeClr val="accent2"/>
              </a:buClr>
              <a:buSzPct val="70000"/>
              <a:buFont typeface="Arial" pitchFamily="34" charset="0"/>
              <a:buChar char="►"/>
              <a:defRPr sz="1484" kern="1200">
                <a:solidFill>
                  <a:schemeClr val="bg1"/>
                </a:solidFill>
                <a:latin typeface="EYInterstate" panose="02000503020000020004" pitchFamily="2" charset="0"/>
                <a:ea typeface="+mn-ea"/>
                <a:cs typeface="+mn-cs"/>
              </a:defRPr>
            </a:lvl3pPr>
            <a:lvl4pPr marL="1176245" indent="-294061" algn="l" defTabSz="754003" rtl="0" eaLnBrk="1" latinLnBrk="0" hangingPunct="1">
              <a:lnSpc>
                <a:spcPct val="85000"/>
              </a:lnSpc>
              <a:spcBef>
                <a:spcPts val="495"/>
              </a:spcBef>
              <a:buClr>
                <a:schemeClr val="accent2"/>
              </a:buClr>
              <a:buSzPct val="70000"/>
              <a:buFont typeface="Arial" pitchFamily="34" charset="0"/>
              <a:buChar char="►"/>
              <a:defRPr sz="1319" kern="1200">
                <a:solidFill>
                  <a:schemeClr val="bg1"/>
                </a:solidFill>
                <a:latin typeface="EYInterstate" panose="02000503020000020004" pitchFamily="2" charset="0"/>
                <a:ea typeface="+mn-ea"/>
                <a:cs typeface="+mn-cs"/>
              </a:defRPr>
            </a:lvl4pPr>
            <a:lvl5pPr marL="1470305" indent="-294061" algn="l" defTabSz="754003" rtl="0" eaLnBrk="1" latinLnBrk="0" hangingPunct="1">
              <a:lnSpc>
                <a:spcPct val="85000"/>
              </a:lnSpc>
              <a:spcBef>
                <a:spcPts val="495"/>
              </a:spcBef>
              <a:buClr>
                <a:schemeClr val="accent2"/>
              </a:buClr>
              <a:buSzPct val="70000"/>
              <a:buFont typeface="Arial" pitchFamily="34" charset="0"/>
              <a:buChar char="►"/>
              <a:defRPr sz="1319" kern="1200">
                <a:solidFill>
                  <a:schemeClr val="bg1"/>
                </a:solidFill>
                <a:latin typeface="EYInterstate" panose="02000503020000020004" pitchFamily="2" charset="0"/>
                <a:ea typeface="+mn-ea"/>
                <a:cs typeface="+mn-cs"/>
              </a:defRPr>
            </a:lvl5pPr>
            <a:lvl6pPr marL="2073508"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6pPr>
            <a:lvl7pPr marL="2450509"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7pPr>
            <a:lvl8pPr marL="2827511"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8pPr>
            <a:lvl9pPr marL="3204512"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9pPr>
          </a:lstStyle>
          <a:p>
            <a:pPr defTabSz="664999">
              <a:spcBef>
                <a:spcPts val="437"/>
              </a:spcBef>
              <a:buClr>
                <a:srgbClr val="FFE600"/>
              </a:buClr>
              <a:defRPr/>
            </a:pPr>
            <a:r>
              <a:rPr lang="nl-NL" sz="1100">
                <a:solidFill>
                  <a:srgbClr val="646464"/>
                </a:solidFill>
                <a:latin typeface="EY interstate light"/>
              </a:rPr>
              <a:t>17th August</a:t>
            </a:r>
            <a:r>
              <a:rPr kumimoji="0" lang="nl-NL" sz="1100" b="0" i="0" u="none" strike="noStrike" kern="1200" cap="none" spc="0" normalizeH="0" baseline="0" noProof="0">
                <a:ln>
                  <a:noFill/>
                </a:ln>
                <a:solidFill>
                  <a:srgbClr val="646464"/>
                </a:solidFill>
                <a:effectLst/>
                <a:uLnTx/>
                <a:uFillTx/>
                <a:latin typeface="EY interstate light"/>
                <a:ea typeface="+mn-ea"/>
                <a:cs typeface="+mn-cs"/>
              </a:rPr>
              <a:t> </a:t>
            </a:r>
            <a:r>
              <a:rPr lang="nl-NL" sz="1100">
                <a:solidFill>
                  <a:srgbClr val="646464"/>
                </a:solidFill>
                <a:latin typeface="EY interstate light"/>
              </a:rPr>
              <a:t>2023</a:t>
            </a:r>
            <a:endParaRPr kumimoji="0" lang="nl-NL" sz="1100" b="0" i="0" u="none" strike="noStrike" kern="1200" cap="none" spc="0" normalizeH="0" baseline="0" noProof="0">
              <a:ln>
                <a:noFill/>
              </a:ln>
              <a:solidFill>
                <a:srgbClr val="646464"/>
              </a:solidFill>
              <a:effectLst/>
              <a:uLnTx/>
              <a:uFillTx/>
              <a:latin typeface="EY interstate light"/>
              <a:ea typeface="+mn-ea"/>
              <a:cs typeface="+mn-cs"/>
            </a:endParaRPr>
          </a:p>
        </p:txBody>
      </p:sp>
      <p:sp>
        <p:nvSpPr>
          <p:cNvPr id="9" name="Text Placeholder 10"/>
          <p:cNvSpPr txBox="1">
            <a:spLocks/>
          </p:cNvSpPr>
          <p:nvPr/>
        </p:nvSpPr>
        <p:spPr>
          <a:xfrm>
            <a:off x="669303" y="1238825"/>
            <a:ext cx="8719793" cy="4251342"/>
          </a:xfrm>
          <a:prstGeom prst="rect">
            <a:avLst/>
          </a:prstGeom>
        </p:spPr>
        <p:txBody>
          <a:bodyPr lIns="0" tIns="0" rIns="0" bIns="0" anchor="t"/>
          <a:lstStyle>
            <a:lvl1pPr marL="0" marR="0" indent="0" algn="l" defTabSz="1347809" rtl="0" eaLnBrk="1" fontAlgn="auto" latinLnBrk="0" hangingPunct="1">
              <a:lnSpc>
                <a:spcPts val="1680"/>
              </a:lnSpc>
              <a:spcBef>
                <a:spcPts val="0"/>
              </a:spcBef>
              <a:spcAft>
                <a:spcPts val="0"/>
              </a:spcAft>
              <a:buClr>
                <a:srgbClr val="FFE600"/>
              </a:buClr>
              <a:buSzPct val="70000"/>
              <a:buFont typeface="Arial" pitchFamily="34" charset="0"/>
              <a:buNone/>
              <a:tabLst>
                <a:tab pos="590781" algn="l"/>
              </a:tabLst>
              <a:defRPr lang="en-GB" sz="1131" kern="1200" baseline="0" noProof="0" dirty="0" smtClean="0">
                <a:solidFill>
                  <a:schemeClr val="bg1"/>
                </a:solidFill>
                <a:latin typeface="EYInterstate Light" panose="02000506000000020004" pitchFamily="2" charset="0"/>
                <a:ea typeface="+mn-ea"/>
                <a:cs typeface="+mn-cs"/>
              </a:defRPr>
            </a:lvl1pPr>
            <a:lvl2pPr marL="588122" indent="-294061" algn="l" defTabSz="754003" rtl="0" eaLnBrk="1" latinLnBrk="0" hangingPunct="1">
              <a:lnSpc>
                <a:spcPct val="85000"/>
              </a:lnSpc>
              <a:spcBef>
                <a:spcPts val="495"/>
              </a:spcBef>
              <a:buClr>
                <a:schemeClr val="accent2"/>
              </a:buClr>
              <a:buSzPct val="70000"/>
              <a:buFont typeface="Arial" pitchFamily="34" charset="0"/>
              <a:buChar char="►"/>
              <a:defRPr sz="1649" kern="1200">
                <a:solidFill>
                  <a:schemeClr val="bg1"/>
                </a:solidFill>
                <a:latin typeface="EYInterstate" panose="02000503020000020004" pitchFamily="2" charset="0"/>
                <a:ea typeface="+mn-ea"/>
                <a:cs typeface="+mn-cs"/>
              </a:defRPr>
            </a:lvl2pPr>
            <a:lvl3pPr marL="882183" indent="-294061" algn="l" defTabSz="754003" rtl="0" eaLnBrk="1" latinLnBrk="0" hangingPunct="1">
              <a:lnSpc>
                <a:spcPct val="85000"/>
              </a:lnSpc>
              <a:spcBef>
                <a:spcPts val="495"/>
              </a:spcBef>
              <a:buClr>
                <a:schemeClr val="accent2"/>
              </a:buClr>
              <a:buSzPct val="70000"/>
              <a:buFont typeface="Arial" pitchFamily="34" charset="0"/>
              <a:buChar char="►"/>
              <a:defRPr sz="1484" kern="1200">
                <a:solidFill>
                  <a:schemeClr val="bg1"/>
                </a:solidFill>
                <a:latin typeface="EYInterstate" panose="02000503020000020004" pitchFamily="2" charset="0"/>
                <a:ea typeface="+mn-ea"/>
                <a:cs typeface="+mn-cs"/>
              </a:defRPr>
            </a:lvl3pPr>
            <a:lvl4pPr marL="1176245" indent="-294061" algn="l" defTabSz="754003" rtl="0" eaLnBrk="1" latinLnBrk="0" hangingPunct="1">
              <a:lnSpc>
                <a:spcPct val="85000"/>
              </a:lnSpc>
              <a:spcBef>
                <a:spcPts val="495"/>
              </a:spcBef>
              <a:buClr>
                <a:schemeClr val="accent2"/>
              </a:buClr>
              <a:buSzPct val="70000"/>
              <a:buFont typeface="Arial" pitchFamily="34" charset="0"/>
              <a:buChar char="►"/>
              <a:defRPr sz="1319" kern="1200">
                <a:solidFill>
                  <a:schemeClr val="bg1"/>
                </a:solidFill>
                <a:latin typeface="EYInterstate" panose="02000503020000020004" pitchFamily="2" charset="0"/>
                <a:ea typeface="+mn-ea"/>
                <a:cs typeface="+mn-cs"/>
              </a:defRPr>
            </a:lvl4pPr>
            <a:lvl5pPr marL="1470305" indent="-294061" algn="l" defTabSz="754003" rtl="0" eaLnBrk="1" latinLnBrk="0" hangingPunct="1">
              <a:lnSpc>
                <a:spcPct val="85000"/>
              </a:lnSpc>
              <a:spcBef>
                <a:spcPts val="495"/>
              </a:spcBef>
              <a:buClr>
                <a:schemeClr val="accent2"/>
              </a:buClr>
              <a:buSzPct val="70000"/>
              <a:buFont typeface="Arial" pitchFamily="34" charset="0"/>
              <a:buChar char="►"/>
              <a:defRPr sz="1319" kern="1200">
                <a:solidFill>
                  <a:schemeClr val="bg1"/>
                </a:solidFill>
                <a:latin typeface="EYInterstate" panose="02000503020000020004" pitchFamily="2" charset="0"/>
                <a:ea typeface="+mn-ea"/>
                <a:cs typeface="+mn-cs"/>
              </a:defRPr>
            </a:lvl5pPr>
            <a:lvl6pPr marL="2073508"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6pPr>
            <a:lvl7pPr marL="2450509"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7pPr>
            <a:lvl8pPr marL="2827511"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8pPr>
            <a:lvl9pPr marL="3204512" indent="-188501" algn="l" defTabSz="754003" rtl="0" eaLnBrk="1" latinLnBrk="0" hangingPunct="1">
              <a:spcBef>
                <a:spcPct val="20000"/>
              </a:spcBef>
              <a:buFont typeface="Arial" pitchFamily="34" charset="0"/>
              <a:buChar char="•"/>
              <a:defRPr sz="1649" kern="1200">
                <a:solidFill>
                  <a:schemeClr val="tx1"/>
                </a:solidFill>
                <a:latin typeface="+mn-lt"/>
                <a:ea typeface="+mn-ea"/>
                <a:cs typeface="+mn-cs"/>
              </a:defRPr>
            </a:lvl9pPr>
          </a:lstStyle>
          <a:p>
            <a:pPr algn="just">
              <a:lnSpc>
                <a:spcPct val="100000"/>
              </a:lnSpc>
              <a:spcAft>
                <a:spcPts val="500"/>
              </a:spcAft>
            </a:pPr>
            <a:r>
              <a:rPr lang="en-US" sz="1100">
                <a:latin typeface="Calibri"/>
                <a:ea typeface="Segoe UI"/>
                <a:cs typeface="Segoe UI"/>
              </a:rPr>
              <a:t>Dear Patrick, </a:t>
            </a:r>
            <a:endParaRPr lang="en-US" sz="1100">
              <a:latin typeface="Calibri"/>
              <a:cs typeface="Calibri"/>
            </a:endParaRPr>
          </a:p>
          <a:p>
            <a:pPr algn="just">
              <a:lnSpc>
                <a:spcPct val="100000"/>
              </a:lnSpc>
              <a:spcAft>
                <a:spcPts val="100"/>
              </a:spcAft>
            </a:pPr>
            <a:endParaRPr lang="en-US" sz="1100">
              <a:latin typeface="Calibri"/>
              <a:cs typeface="Calibri"/>
            </a:endParaRPr>
          </a:p>
          <a:p>
            <a:pPr algn="just">
              <a:lnSpc>
                <a:spcPct val="100000"/>
              </a:lnSpc>
              <a:spcAft>
                <a:spcPts val="100"/>
              </a:spcAft>
            </a:pPr>
            <a:r>
              <a:rPr lang="en-US" sz="1100">
                <a:latin typeface="Calibri"/>
                <a:ea typeface="Segoe UI"/>
                <a:cs typeface="Segoe UI"/>
              </a:rPr>
              <a:t>Thank you for giving us the opportunity to submit this proposal and to describe how we as a firm can assist you. The Health sector is one of the primary focuses for EY and we are fully dedicated to supporting your needs. We have supported numerous </a:t>
            </a:r>
            <a:r>
              <a:rPr lang="en-US" sz="1100" err="1">
                <a:latin typeface="Calibri"/>
                <a:ea typeface="Segoe UI"/>
                <a:cs typeface="Segoe UI"/>
              </a:rPr>
              <a:t>programmes</a:t>
            </a:r>
            <a:r>
              <a:rPr lang="en-US" sz="1100">
                <a:latin typeface="Calibri"/>
                <a:ea typeface="Segoe UI"/>
                <a:cs typeface="Segoe UI"/>
              </a:rPr>
              <a:t> across the Health sector, and we are keen to deepen our partnership with St. James's Hospital in this aspect, by assisting you in providing a Cloud Storage Technology Solution for the Pathology Laboratory.</a:t>
            </a:r>
            <a:endParaRPr lang="en-US" sz="1100">
              <a:latin typeface="Calibri"/>
              <a:cs typeface="Calibri"/>
            </a:endParaRPr>
          </a:p>
          <a:p>
            <a:pPr algn="just">
              <a:lnSpc>
                <a:spcPct val="100000"/>
              </a:lnSpc>
              <a:spcAft>
                <a:spcPts val="100"/>
              </a:spcAft>
            </a:pPr>
            <a:endParaRPr lang="en-US" sz="1100">
              <a:latin typeface="Calibri"/>
              <a:ea typeface="Segoe UI"/>
              <a:cs typeface="Segoe UI"/>
            </a:endParaRPr>
          </a:p>
          <a:p>
            <a:pPr algn="just">
              <a:lnSpc>
                <a:spcPct val="100000"/>
              </a:lnSpc>
              <a:spcAft>
                <a:spcPts val="100"/>
              </a:spcAft>
            </a:pPr>
            <a:r>
              <a:rPr lang="en-US" sz="1100">
                <a:latin typeface="Calibri"/>
                <a:ea typeface="Segoe UI"/>
                <a:cs typeface="Segoe UI"/>
              </a:rPr>
              <a:t>We are approaching this engagement from the perspective of the best technical solution to meet your needs, with rapid value delivery to the organization as a key objective. Our solution will implement a fully managed future proofed solution that aligns to St. James's Hospital's requirement. We are proposing the use of Microsoft Azure services adhering to industry standards to build a viable solution. This will enable your teams to manage your operations by reducing the dependency on legacy systems and migrate to a platform that can deliver the right level of support at the right time at all instances. </a:t>
            </a:r>
            <a:endParaRPr lang="en-US" sz="1100">
              <a:latin typeface="Calibri"/>
              <a:cs typeface="Calibri"/>
            </a:endParaRPr>
          </a:p>
          <a:p>
            <a:pPr algn="just">
              <a:lnSpc>
                <a:spcPct val="100000"/>
              </a:lnSpc>
              <a:spcAft>
                <a:spcPts val="100"/>
              </a:spcAft>
            </a:pPr>
            <a:endParaRPr lang="en-US" sz="1100">
              <a:latin typeface="Calibri"/>
              <a:cs typeface="Calibri"/>
            </a:endParaRPr>
          </a:p>
          <a:p>
            <a:pPr algn="just">
              <a:lnSpc>
                <a:spcPct val="100000"/>
              </a:lnSpc>
              <a:spcAft>
                <a:spcPts val="100"/>
              </a:spcAft>
            </a:pPr>
            <a:r>
              <a:rPr lang="en-US" sz="1100">
                <a:latin typeface="Calibri"/>
                <a:ea typeface="Segoe UI"/>
                <a:cs typeface="Segoe UI"/>
              </a:rPr>
              <a:t>Given our strong desire to further develop this partnership we are investing in a keenly-priced offer. We believe that this offer represents significant value to St. James's Hospital, and we’re confident that our team will deliver on time and within budget to the level of quality that St. James's Hospital expects. We trust that you see this quality reflected in our submission. </a:t>
            </a:r>
            <a:endParaRPr lang="en-US" sz="1100">
              <a:latin typeface="Calibri"/>
              <a:cs typeface="Calibri"/>
            </a:endParaRPr>
          </a:p>
          <a:p>
            <a:pPr algn="just">
              <a:lnSpc>
                <a:spcPct val="100000"/>
              </a:lnSpc>
              <a:spcAft>
                <a:spcPts val="100"/>
              </a:spcAft>
            </a:pPr>
            <a:endParaRPr lang="en-US" sz="1100">
              <a:latin typeface="Calibri"/>
              <a:ea typeface="Segoe UI"/>
              <a:cs typeface="Segoe UI"/>
            </a:endParaRPr>
          </a:p>
          <a:p>
            <a:pPr algn="just">
              <a:lnSpc>
                <a:spcPct val="100000"/>
              </a:lnSpc>
              <a:spcAft>
                <a:spcPts val="100"/>
              </a:spcAft>
            </a:pPr>
            <a:r>
              <a:rPr lang="en-US" sz="1100">
                <a:latin typeface="Calibri"/>
                <a:ea typeface="Segoe UI"/>
                <a:cs typeface="Segoe UI"/>
              </a:rPr>
              <a:t>We are looking forward to your response and we are happy to discuss further how we can assist you. Please feel free to contact us if you have any questions or would like to explore any element of our proposal. </a:t>
            </a:r>
          </a:p>
          <a:p>
            <a:pPr algn="just">
              <a:lnSpc>
                <a:spcPct val="100000"/>
              </a:lnSpc>
              <a:spcAft>
                <a:spcPts val="500"/>
              </a:spcAft>
            </a:pPr>
            <a:endParaRPr lang="en-US" sz="1100">
              <a:latin typeface="Calibri"/>
              <a:cs typeface="Calibri"/>
            </a:endParaRPr>
          </a:p>
          <a:p>
            <a:r>
              <a:rPr lang="en-US" sz="1100">
                <a:latin typeface="Calibri"/>
                <a:ea typeface="Segoe UI"/>
                <a:cs typeface="Segoe UI"/>
              </a:rPr>
              <a:t>Kind regards </a:t>
            </a:r>
            <a:endParaRPr lang="en-US" sz="1100">
              <a:latin typeface="Calibri"/>
              <a:cs typeface="Calibri"/>
            </a:endParaRPr>
          </a:p>
          <a:p>
            <a:r>
              <a:rPr lang="en-US" sz="1100">
                <a:solidFill>
                  <a:srgbClr val="2E2E38"/>
                </a:solidFill>
                <a:latin typeface="Calibri"/>
                <a:cs typeface="Segoe UI"/>
              </a:rPr>
              <a:t>Ronan Walsh            Brian Moroney                  Paul Browne           </a:t>
            </a:r>
          </a:p>
        </p:txBody>
      </p:sp>
      <p:sp>
        <p:nvSpPr>
          <p:cNvPr id="12" name="Rectangle 11">
            <a:extLst>
              <a:ext uri="{FF2B5EF4-FFF2-40B4-BE49-F238E27FC236}">
                <a16:creationId xmlns:a16="http://schemas.microsoft.com/office/drawing/2014/main" id="{75AB7774-F316-44FD-BA2B-5CD004DB40F0}"/>
              </a:ext>
            </a:extLst>
          </p:cNvPr>
          <p:cNvSpPr/>
          <p:nvPr/>
        </p:nvSpPr>
        <p:spPr>
          <a:xfrm>
            <a:off x="9896825" y="19112"/>
            <a:ext cx="2238315" cy="253787"/>
          </a:xfrm>
          <a:prstGeom prst="rect">
            <a:avLst/>
          </a:prstGeom>
        </p:spPr>
        <p:txBody>
          <a:bodyPr wrap="square">
            <a:spAutoFit/>
          </a:bodyPr>
          <a:lstStyle/>
          <a:p>
            <a:pPr marL="0" marR="0" lvl="0" indent="0" algn="l" defTabSz="907064" rtl="0" eaLnBrk="1" fontAlgn="auto" latinLnBrk="0" hangingPunct="1">
              <a:lnSpc>
                <a:spcPct val="100000"/>
              </a:lnSpc>
              <a:spcBef>
                <a:spcPts val="0"/>
              </a:spcBef>
              <a:spcAft>
                <a:spcPct val="30000"/>
              </a:spcAft>
              <a:buClr>
                <a:srgbClr val="FFE600"/>
              </a:buClr>
              <a:buSzTx/>
              <a:buFontTx/>
              <a:buNone/>
              <a:tabLst>
                <a:tab pos="407961" algn="l"/>
              </a:tabLst>
              <a:defRPr/>
            </a:pPr>
            <a:r>
              <a:rPr kumimoji="0" lang="en-US" sz="1049" b="1" i="0" u="none" strike="noStrike" kern="1200" cap="none" spc="0" normalizeH="0" baseline="0" noProof="0">
                <a:ln>
                  <a:noFill/>
                </a:ln>
                <a:solidFill>
                  <a:srgbClr val="FFE600"/>
                </a:solidFill>
                <a:effectLst/>
                <a:uLnTx/>
                <a:uFillTx/>
                <a:latin typeface="EYInterstate Light"/>
                <a:ea typeface="+mn-ea"/>
                <a:cs typeface="Arial"/>
              </a:rPr>
              <a:t>Engagement Leadership</a:t>
            </a:r>
          </a:p>
        </p:txBody>
      </p:sp>
      <p:sp>
        <p:nvSpPr>
          <p:cNvPr id="17" name="Rectangle 16">
            <a:extLst>
              <a:ext uri="{FF2B5EF4-FFF2-40B4-BE49-F238E27FC236}">
                <a16:creationId xmlns:a16="http://schemas.microsoft.com/office/drawing/2014/main" id="{D0E9ED39-559F-4069-AF9D-6D42599F6622}"/>
              </a:ext>
            </a:extLst>
          </p:cNvPr>
          <p:cNvSpPr/>
          <p:nvPr/>
        </p:nvSpPr>
        <p:spPr>
          <a:xfrm>
            <a:off x="9934721" y="2596853"/>
            <a:ext cx="2124596" cy="729430"/>
          </a:xfrm>
          <a:prstGeom prst="rect">
            <a:avLst/>
          </a:prstGeom>
        </p:spPr>
        <p:txBody>
          <a:bodyPr wrap="square" lIns="91440" tIns="45720" rIns="71963" bIns="45720" anchor="t">
            <a:spAutoFit/>
          </a:bodyPr>
          <a:lstStyle/>
          <a:p>
            <a:pPr defTabSz="907064">
              <a:spcAft>
                <a:spcPct val="30000"/>
              </a:spcAft>
              <a:tabLst>
                <a:tab pos="407961" algn="l"/>
              </a:tabLst>
              <a:defRPr/>
            </a:pPr>
            <a:r>
              <a:rPr lang="en-US" sz="900" b="1">
                <a:solidFill>
                  <a:srgbClr val="FFE600"/>
                </a:solidFill>
                <a:latin typeface="EYInterstate Light"/>
                <a:cs typeface="Arial"/>
              </a:rPr>
              <a:t>Paul Browne</a:t>
            </a:r>
            <a:endParaRPr lang="en-US">
              <a:solidFill>
                <a:srgbClr val="FFFFFF"/>
              </a:solidFill>
              <a:latin typeface="EYInterstate Light"/>
              <a:cs typeface="Arial"/>
            </a:endParaRPr>
          </a:p>
          <a:p>
            <a:pPr defTabSz="907064">
              <a:spcAft>
                <a:spcPct val="30000"/>
              </a:spcAft>
              <a:tabLst>
                <a:tab pos="407961" algn="l"/>
              </a:tabLst>
              <a:defRPr/>
            </a:pPr>
            <a:r>
              <a:rPr lang="en-US" sz="900" b="1">
                <a:solidFill>
                  <a:srgbClr val="FFFFFF"/>
                </a:solidFill>
                <a:latin typeface="EYInterstate Light"/>
                <a:cs typeface="Arial"/>
              </a:rPr>
              <a:t>Head</a:t>
            </a:r>
            <a:r>
              <a:rPr kumimoji="0" lang="en-US" sz="900" b="1" i="0" u="none" strike="noStrike" kern="1200" cap="none" spc="0" normalizeH="0" baseline="0" noProof="0">
                <a:ln>
                  <a:noFill/>
                </a:ln>
                <a:effectLst/>
                <a:uLnTx/>
                <a:uFillTx/>
                <a:latin typeface="EYInterstate Light"/>
                <a:ea typeface="+mn-ea"/>
                <a:cs typeface="Arial"/>
              </a:rPr>
              <a:t> of </a:t>
            </a:r>
            <a:r>
              <a:rPr lang="en-US" sz="900" b="1">
                <a:latin typeface="EYInterstate Light"/>
                <a:cs typeface="Arial"/>
              </a:rPr>
              <a:t>Microsoft &amp; Cloud Services </a:t>
            </a:r>
            <a:endParaRPr lang="en-US"/>
          </a:p>
          <a:p>
            <a:pPr defTabSz="907064">
              <a:spcAft>
                <a:spcPct val="30000"/>
              </a:spcAft>
              <a:buClr>
                <a:srgbClr val="FFE600"/>
              </a:buClr>
              <a:tabLst>
                <a:tab pos="407961" algn="l"/>
              </a:tabLst>
              <a:defRPr/>
            </a:pPr>
            <a:r>
              <a:rPr kumimoji="0" lang="en-US" sz="900" b="1" i="0" u="none" strike="noStrike" kern="1200" cap="none" spc="0" normalizeH="0" baseline="0" noProof="0">
                <a:ln>
                  <a:noFill/>
                </a:ln>
                <a:solidFill>
                  <a:srgbClr val="FFFFFF"/>
                </a:solidFill>
                <a:effectLst/>
                <a:uLnTx/>
                <a:uFillTx/>
                <a:latin typeface="EYInterstate Light"/>
                <a:ea typeface="+mn-ea"/>
                <a:cs typeface="Arial"/>
              </a:rPr>
              <a:t>Email: </a:t>
            </a:r>
            <a:r>
              <a:rPr lang="en-US" sz="900" b="1">
                <a:solidFill>
                  <a:srgbClr val="FFFFFF"/>
                </a:solidFill>
                <a:latin typeface="EYInterstate Light"/>
                <a:cs typeface="Arial"/>
              </a:rPr>
              <a:t>paul</a:t>
            </a:r>
            <a:r>
              <a:rPr kumimoji="0" lang="en-US" sz="900" b="1" i="0" u="none" strike="noStrike" kern="1200" cap="none" spc="0" normalizeH="0" baseline="0" noProof="0">
                <a:ln>
                  <a:noFill/>
                </a:ln>
                <a:solidFill>
                  <a:srgbClr val="FFFFFF"/>
                </a:solidFill>
                <a:effectLst/>
                <a:uLnTx/>
                <a:uFillTx/>
                <a:latin typeface="EYInterstate Light"/>
                <a:ea typeface="+mn-ea"/>
                <a:cs typeface="Arial"/>
              </a:rPr>
              <a:t>.</a:t>
            </a:r>
            <a:r>
              <a:rPr lang="en-US" sz="900" b="1">
                <a:solidFill>
                  <a:srgbClr val="FFFFFF"/>
                </a:solidFill>
                <a:latin typeface="EYInterstate Light"/>
                <a:cs typeface="Arial"/>
              </a:rPr>
              <a:t>browne</a:t>
            </a:r>
            <a:r>
              <a:rPr kumimoji="0" lang="en-US" sz="900" b="1" i="0" u="none" strike="noStrike" kern="1200" cap="none" spc="0" normalizeH="0" baseline="0" noProof="0">
                <a:ln>
                  <a:noFill/>
                </a:ln>
                <a:solidFill>
                  <a:srgbClr val="FFFFFF"/>
                </a:solidFill>
                <a:effectLst/>
                <a:uLnTx/>
                <a:uFillTx/>
                <a:latin typeface="EYInterstate Light"/>
                <a:ea typeface="+mn-ea"/>
                <a:cs typeface="Arial"/>
              </a:rPr>
              <a:t>@ie.ey.com</a:t>
            </a:r>
            <a:br>
              <a:rPr lang="en-US" sz="900" b="1" i="0" u="none" strike="noStrike" kern="1200" cap="none" spc="0" normalizeH="0" baseline="0" noProof="0">
                <a:ln>
                  <a:noFill/>
                </a:ln>
                <a:effectLst/>
                <a:uLnTx/>
                <a:uFillTx/>
                <a:latin typeface="EYInterstate Light"/>
                <a:cs typeface="Arial"/>
              </a:rPr>
            </a:br>
            <a:r>
              <a:rPr kumimoji="0" lang="en-US" sz="900" b="1" i="0" u="none" strike="noStrike" kern="1200" cap="none" spc="0" normalizeH="0" baseline="0" noProof="0">
                <a:ln>
                  <a:noFill/>
                </a:ln>
                <a:solidFill>
                  <a:srgbClr val="FFFFFF"/>
                </a:solidFill>
                <a:effectLst/>
                <a:uLnTx/>
                <a:uFillTx/>
                <a:latin typeface="EYInterstate Light"/>
                <a:ea typeface="+mn-ea"/>
                <a:cs typeface="Arial"/>
              </a:rPr>
              <a:t>Phone: +353</a:t>
            </a:r>
            <a:r>
              <a:rPr lang="en-US" sz="900" b="1">
                <a:solidFill>
                  <a:srgbClr val="FFFFFF"/>
                </a:solidFill>
                <a:latin typeface="EYInterstate Light"/>
                <a:cs typeface="Arial"/>
              </a:rPr>
              <a:t> 87 461 4137</a:t>
            </a:r>
            <a:endParaRPr lang="en-US" sz="900" b="1" i="0" u="none" strike="noStrike" kern="1200" cap="none" spc="0" normalizeH="0" baseline="0" noProof="0">
              <a:ln>
                <a:noFill/>
              </a:ln>
              <a:effectLst/>
              <a:uLnTx/>
              <a:uFillTx/>
              <a:latin typeface="EYInterstate Light"/>
              <a:cs typeface="Arial"/>
            </a:endParaRPr>
          </a:p>
        </p:txBody>
      </p:sp>
      <p:sp>
        <p:nvSpPr>
          <p:cNvPr id="5" name="Rectangle 17">
            <a:extLst>
              <a:ext uri="{FF2B5EF4-FFF2-40B4-BE49-F238E27FC236}">
                <a16:creationId xmlns:a16="http://schemas.microsoft.com/office/drawing/2014/main" id="{45825331-530C-461D-8A14-E6577811EA19}"/>
              </a:ext>
            </a:extLst>
          </p:cNvPr>
          <p:cNvSpPr/>
          <p:nvPr/>
        </p:nvSpPr>
        <p:spPr>
          <a:xfrm>
            <a:off x="9938047" y="5724007"/>
            <a:ext cx="2124596" cy="646331"/>
          </a:xfrm>
          <a:prstGeom prst="rect">
            <a:avLst/>
          </a:prstGeom>
        </p:spPr>
        <p:txBody>
          <a:bodyPr wrap="square">
            <a:spAutoFit/>
          </a:bodyPr>
          <a:lstStyle/>
          <a:p>
            <a:pPr marL="0" marR="0" lvl="0" indent="0" algn="l" defTabSz="907064" rtl="0" eaLnBrk="1" fontAlgn="auto" latinLnBrk="0" hangingPunct="1">
              <a:lnSpc>
                <a:spcPct val="100000"/>
              </a:lnSpc>
              <a:spcBef>
                <a:spcPts val="0"/>
              </a:spcBef>
              <a:spcAft>
                <a:spcPct val="30000"/>
              </a:spcAft>
              <a:buClr>
                <a:srgbClr val="FFE600"/>
              </a:buClr>
              <a:buSzTx/>
              <a:buFontTx/>
              <a:buNone/>
              <a:tabLst>
                <a:tab pos="407961" algn="l"/>
              </a:tabLst>
              <a:defRPr/>
            </a:pPr>
            <a:r>
              <a:rPr kumimoji="0" lang="en-US" sz="900" b="1" i="0" u="none" strike="noStrike" kern="1200" cap="none" spc="0" normalizeH="0" baseline="0" noProof="0">
                <a:ln>
                  <a:noFill/>
                </a:ln>
                <a:solidFill>
                  <a:srgbClr val="FFE600"/>
                </a:solidFill>
                <a:effectLst/>
                <a:uLnTx/>
                <a:uFillTx/>
                <a:latin typeface="EYInterstate Light"/>
                <a:ea typeface="+mn-ea"/>
                <a:cs typeface="Arial"/>
              </a:rPr>
              <a:t>Ronan Walsh</a:t>
            </a:r>
            <a:br>
              <a:rPr kumimoji="0" lang="en-US" sz="900" b="1" i="0" u="none" strike="noStrike" kern="1200" cap="none" spc="0" normalizeH="0" baseline="0" noProof="0">
                <a:ln>
                  <a:noFill/>
                </a:ln>
                <a:solidFill>
                  <a:srgbClr val="FFE600"/>
                </a:solidFill>
                <a:effectLst/>
                <a:uLnTx/>
                <a:uFillTx/>
                <a:latin typeface="EYInterstate Light"/>
                <a:ea typeface="+mn-ea"/>
                <a:cs typeface="Arial"/>
              </a:rPr>
            </a:br>
            <a:r>
              <a:rPr kumimoji="0" lang="en-US" sz="900" b="1" i="0" u="none" strike="noStrike" kern="1200" cap="none" spc="0" normalizeH="0" baseline="0" noProof="0">
                <a:ln>
                  <a:noFill/>
                </a:ln>
                <a:effectLst/>
                <a:uLnTx/>
                <a:uFillTx/>
                <a:latin typeface="EYInterstate Light"/>
                <a:ea typeface="+mn-ea"/>
                <a:cs typeface="Arial"/>
              </a:rPr>
              <a:t>Head of Technology Consulting</a:t>
            </a:r>
            <a:br>
              <a:rPr kumimoji="0" lang="en-US" sz="900" b="1" i="0" u="none" strike="noStrike" kern="1200" cap="none" spc="0" normalizeH="0" baseline="0" noProof="0">
                <a:ln>
                  <a:noFill/>
                </a:ln>
                <a:solidFill>
                  <a:srgbClr val="FFE600"/>
                </a:solidFill>
                <a:effectLst/>
                <a:uLnTx/>
                <a:uFillTx/>
                <a:latin typeface="EYInterstate Light"/>
                <a:ea typeface="+mn-ea"/>
                <a:cs typeface="Arial"/>
              </a:rPr>
            </a:br>
            <a:r>
              <a:rPr kumimoji="0" lang="en-US" sz="900" b="1" i="0" u="none" strike="noStrike" kern="1200" cap="none" spc="0" normalizeH="0" baseline="0" noProof="0">
                <a:ln>
                  <a:noFill/>
                </a:ln>
                <a:solidFill>
                  <a:srgbClr val="FFFFFF"/>
                </a:solidFill>
                <a:effectLst/>
                <a:uLnTx/>
                <a:uFillTx/>
                <a:latin typeface="EYInterstate Light"/>
                <a:ea typeface="+mn-ea"/>
                <a:cs typeface="Arial"/>
              </a:rPr>
              <a:t>Email: ronan.walsh@ie.ey.com</a:t>
            </a:r>
            <a:br>
              <a:rPr kumimoji="0" lang="en-US" sz="900" b="1" i="0" u="none" strike="noStrike" kern="1200" cap="none" spc="0" normalizeH="0" baseline="0" noProof="0">
                <a:ln>
                  <a:noFill/>
                </a:ln>
                <a:solidFill>
                  <a:srgbClr val="FFFFFF"/>
                </a:solidFill>
                <a:effectLst/>
                <a:uLnTx/>
                <a:uFillTx/>
                <a:latin typeface="EYInterstate Light"/>
                <a:ea typeface="+mn-ea"/>
                <a:cs typeface="Arial"/>
              </a:rPr>
            </a:br>
            <a:r>
              <a:rPr kumimoji="0" lang="en-US" sz="900" b="1" i="0" u="none" strike="noStrike" kern="1200" cap="none" spc="0" normalizeH="0" baseline="0" noProof="0">
                <a:ln>
                  <a:noFill/>
                </a:ln>
                <a:solidFill>
                  <a:srgbClr val="FFFFFF"/>
                </a:solidFill>
                <a:effectLst/>
                <a:uLnTx/>
                <a:uFillTx/>
                <a:latin typeface="EYInterstate Light"/>
                <a:ea typeface="+mn-ea"/>
                <a:cs typeface="Arial"/>
              </a:rPr>
              <a:t>Phone: +353 87 373 3157</a:t>
            </a:r>
          </a:p>
        </p:txBody>
      </p:sp>
      <p:pic>
        <p:nvPicPr>
          <p:cNvPr id="19" name="Picture 2" descr="Ronan Walsh">
            <a:extLst>
              <a:ext uri="{FF2B5EF4-FFF2-40B4-BE49-F238E27FC236}">
                <a16:creationId xmlns:a16="http://schemas.microsoft.com/office/drawing/2014/main" id="{1C522279-CFB9-4CED-9971-215D55C70DF6}"/>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087320" y="5118937"/>
            <a:ext cx="540000" cy="540000"/>
          </a:xfrm>
          <a:prstGeom prst="ellipse">
            <a:avLst/>
          </a:prstGeom>
          <a:ln>
            <a:solidFill>
              <a:srgbClr val="F6F5FA"/>
            </a:solidFill>
          </a:ln>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BEB5F22-FDCD-EE64-BE20-0A95020E10F9}"/>
              </a:ext>
            </a:extLst>
          </p:cNvPr>
          <p:cNvSpPr/>
          <p:nvPr/>
        </p:nvSpPr>
        <p:spPr>
          <a:xfrm>
            <a:off x="9897551" y="1100730"/>
            <a:ext cx="2124596" cy="687881"/>
          </a:xfrm>
          <a:prstGeom prst="rect">
            <a:avLst/>
          </a:prstGeom>
        </p:spPr>
        <p:txBody>
          <a:bodyPr wrap="square" rIns="71963">
            <a:spAutoFit/>
          </a:bodyPr>
          <a:lstStyle/>
          <a:p>
            <a:pPr marL="0" marR="0" lvl="0" indent="0" algn="l" defTabSz="907064" rtl="0" eaLnBrk="1" fontAlgn="auto" latinLnBrk="0" hangingPunct="1">
              <a:spcBef>
                <a:spcPts val="0"/>
              </a:spcBef>
              <a:spcAft>
                <a:spcPct val="30000"/>
              </a:spcAft>
              <a:buClr>
                <a:srgbClr val="FFE600"/>
              </a:buClr>
              <a:buSzTx/>
              <a:buFontTx/>
              <a:buNone/>
              <a:tabLst>
                <a:tab pos="407961" algn="l"/>
              </a:tabLst>
              <a:defRPr/>
            </a:pPr>
            <a:r>
              <a:rPr kumimoji="0" lang="en-US" sz="900" b="1" i="0" u="none" strike="noStrike" kern="1200" cap="none" spc="0" normalizeH="0" baseline="0" noProof="0">
                <a:ln>
                  <a:noFill/>
                </a:ln>
                <a:solidFill>
                  <a:srgbClr val="FFE600"/>
                </a:solidFill>
                <a:effectLst/>
                <a:uLnTx/>
                <a:uFillTx/>
                <a:latin typeface="EYInterstate Light"/>
                <a:ea typeface="+mn-ea"/>
                <a:cs typeface="Arial"/>
              </a:rPr>
              <a:t>Brian Moroney</a:t>
            </a:r>
            <a:br>
              <a:rPr kumimoji="0" lang="en-US" sz="900" b="1" i="0" u="none" strike="noStrike" kern="1200" cap="none" spc="0" normalizeH="0" baseline="0" noProof="0">
                <a:ln>
                  <a:noFill/>
                </a:ln>
                <a:solidFill>
                  <a:srgbClr val="FFE600"/>
                </a:solidFill>
                <a:effectLst/>
                <a:uLnTx/>
                <a:uFillTx/>
                <a:latin typeface="EYInterstate Light"/>
                <a:ea typeface="+mn-ea"/>
                <a:cs typeface="Arial"/>
              </a:rPr>
            </a:br>
            <a:r>
              <a:rPr kumimoji="0" lang="en-US" sz="900" b="1" i="0" u="none" strike="noStrike" kern="1200" cap="none" spc="0" normalizeH="0" baseline="0" noProof="0">
                <a:ln>
                  <a:noFill/>
                </a:ln>
                <a:effectLst/>
                <a:uLnTx/>
                <a:uFillTx/>
                <a:latin typeface="EYInterstate Light"/>
                <a:ea typeface="+mn-ea"/>
                <a:cs typeface="Arial"/>
              </a:rPr>
              <a:t>Head of Digital and Emerging Tech</a:t>
            </a:r>
          </a:p>
          <a:p>
            <a:pPr marL="0" marR="0" lvl="0" indent="0" algn="l" defTabSz="907064" rtl="0" eaLnBrk="1" fontAlgn="auto" latinLnBrk="0" hangingPunct="1">
              <a:spcBef>
                <a:spcPts val="0"/>
              </a:spcBef>
              <a:spcAft>
                <a:spcPct val="30000"/>
              </a:spcAft>
              <a:buClr>
                <a:srgbClr val="FFE600"/>
              </a:buClr>
              <a:buSzTx/>
              <a:buFontTx/>
              <a:buNone/>
              <a:tabLst>
                <a:tab pos="407961" algn="l"/>
              </a:tabLst>
              <a:defRPr/>
            </a:pPr>
            <a:r>
              <a:rPr kumimoji="0" lang="en-US" sz="900" b="1" i="0" u="none" strike="noStrike" kern="1200" cap="none" spc="0" normalizeH="0" baseline="0" noProof="0">
                <a:ln>
                  <a:noFill/>
                </a:ln>
                <a:solidFill>
                  <a:srgbClr val="FFFFFF"/>
                </a:solidFill>
                <a:effectLst/>
                <a:uLnTx/>
                <a:uFillTx/>
                <a:latin typeface="EYInterstate Light"/>
                <a:ea typeface="+mn-ea"/>
                <a:cs typeface="Arial"/>
              </a:rPr>
              <a:t>Email: brian.moroney@ie.ey.com</a:t>
            </a:r>
            <a:br>
              <a:rPr kumimoji="0" lang="en-US" sz="900" b="1" i="0" u="none" strike="noStrike" kern="1200" cap="none" spc="0" normalizeH="0" baseline="0" noProof="0">
                <a:ln>
                  <a:noFill/>
                </a:ln>
                <a:solidFill>
                  <a:srgbClr val="FFFFFF"/>
                </a:solidFill>
                <a:effectLst/>
                <a:uLnTx/>
                <a:uFillTx/>
                <a:latin typeface="EYInterstate Light"/>
                <a:ea typeface="+mn-ea"/>
                <a:cs typeface="Arial"/>
              </a:rPr>
            </a:br>
            <a:r>
              <a:rPr kumimoji="0" lang="en-US" sz="900" b="1" i="0" u="none" strike="noStrike" kern="1200" cap="none" spc="0" normalizeH="0" baseline="0" noProof="0">
                <a:ln>
                  <a:noFill/>
                </a:ln>
                <a:solidFill>
                  <a:srgbClr val="FFFFFF"/>
                </a:solidFill>
                <a:effectLst/>
                <a:uLnTx/>
                <a:uFillTx/>
                <a:latin typeface="EYInterstate Light"/>
                <a:ea typeface="+mn-ea"/>
                <a:cs typeface="Arial"/>
              </a:rPr>
              <a:t>Phone: +353 87 339 7633</a:t>
            </a:r>
          </a:p>
        </p:txBody>
      </p:sp>
      <p:pic>
        <p:nvPicPr>
          <p:cNvPr id="3" name="Picture 2" descr="A person in a suit and tie&#10;&#10;Description automatically generated">
            <a:extLst>
              <a:ext uri="{FF2B5EF4-FFF2-40B4-BE49-F238E27FC236}">
                <a16:creationId xmlns:a16="http://schemas.microsoft.com/office/drawing/2014/main" id="{0BF8226E-5EFC-821B-EA02-5F1E2EA45E43}"/>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10018053" y="530829"/>
            <a:ext cx="534490" cy="540000"/>
          </a:xfrm>
          <a:prstGeom prst="flowChartConnector">
            <a:avLst/>
          </a:prstGeom>
          <a:noFill/>
          <a:ln>
            <a:solidFill>
              <a:srgbClr val="F6F5FA"/>
            </a:solidFill>
          </a:ln>
        </p:spPr>
      </p:pic>
      <p:sp>
        <p:nvSpPr>
          <p:cNvPr id="6" name="Rectangle 5">
            <a:extLst>
              <a:ext uri="{FF2B5EF4-FFF2-40B4-BE49-F238E27FC236}">
                <a16:creationId xmlns:a16="http://schemas.microsoft.com/office/drawing/2014/main" id="{6E140539-078F-F10D-F5E5-DDDB9F7D7F51}"/>
              </a:ext>
            </a:extLst>
          </p:cNvPr>
          <p:cNvSpPr/>
          <p:nvPr/>
        </p:nvSpPr>
        <p:spPr>
          <a:xfrm>
            <a:off x="9904287" y="4181898"/>
            <a:ext cx="2224859" cy="729430"/>
          </a:xfrm>
          <a:prstGeom prst="rect">
            <a:avLst/>
          </a:prstGeom>
        </p:spPr>
        <p:txBody>
          <a:bodyPr wrap="square" lIns="91440" tIns="45720" rIns="71963" bIns="45720" anchor="t">
            <a:spAutoFit/>
          </a:bodyPr>
          <a:lstStyle/>
          <a:p>
            <a:pPr defTabSz="907064">
              <a:spcAft>
                <a:spcPct val="30000"/>
              </a:spcAft>
              <a:tabLst>
                <a:tab pos="407961" algn="l"/>
              </a:tabLst>
              <a:defRPr/>
            </a:pPr>
            <a:r>
              <a:rPr lang="en-US" sz="900" b="1">
                <a:solidFill>
                  <a:srgbClr val="FFE600"/>
                </a:solidFill>
                <a:latin typeface="EYInterstate Light"/>
                <a:cs typeface="Arial"/>
              </a:rPr>
              <a:t>Shane </a:t>
            </a:r>
            <a:r>
              <a:rPr lang="en-US" sz="900" b="1" err="1">
                <a:solidFill>
                  <a:srgbClr val="FFE600"/>
                </a:solidFill>
                <a:latin typeface="EYInterstate Light"/>
                <a:cs typeface="Arial"/>
              </a:rPr>
              <a:t>MacSweeney</a:t>
            </a:r>
            <a:endParaRPr lang="en-US" err="1">
              <a:solidFill>
                <a:srgbClr val="FFFFFF"/>
              </a:solidFill>
              <a:latin typeface="EYInterstate Light"/>
              <a:cs typeface="Arial"/>
            </a:endParaRPr>
          </a:p>
          <a:p>
            <a:pPr defTabSz="907064">
              <a:spcAft>
                <a:spcPct val="30000"/>
              </a:spcAft>
              <a:tabLst>
                <a:tab pos="407961" algn="l"/>
              </a:tabLst>
              <a:defRPr/>
            </a:pPr>
            <a:r>
              <a:rPr lang="en-US" sz="900" b="1">
                <a:latin typeface="EYInterstate Light"/>
                <a:cs typeface="Arial"/>
              </a:rPr>
              <a:t>Head of Government &amp; Infrastructure</a:t>
            </a:r>
          </a:p>
          <a:p>
            <a:pPr defTabSz="907064">
              <a:spcAft>
                <a:spcPct val="30000"/>
              </a:spcAft>
              <a:tabLst>
                <a:tab pos="407961" algn="l"/>
              </a:tabLst>
              <a:defRPr/>
            </a:pPr>
            <a:r>
              <a:rPr kumimoji="0" lang="en-US" sz="900" b="1" i="0" u="none" strike="noStrike" kern="1200" cap="none" spc="0" normalizeH="0" baseline="0" noProof="0">
                <a:ln>
                  <a:noFill/>
                </a:ln>
                <a:solidFill>
                  <a:srgbClr val="FFFFFF"/>
                </a:solidFill>
                <a:effectLst/>
                <a:uLnTx/>
                <a:uFillTx/>
                <a:latin typeface="EYInterstate Light"/>
                <a:ea typeface="+mn-ea"/>
                <a:cs typeface="Arial"/>
              </a:rPr>
              <a:t>Email:</a:t>
            </a:r>
            <a:r>
              <a:rPr lang="en-US" sz="900" b="1">
                <a:solidFill>
                  <a:srgbClr val="FFFFFF"/>
                </a:solidFill>
                <a:latin typeface="EYInterstate Light"/>
                <a:cs typeface="Arial"/>
              </a:rPr>
              <a:t> shane.macsweeney</a:t>
            </a:r>
            <a:r>
              <a:rPr kumimoji="0" lang="en-US" sz="900" b="1" i="0" u="none" strike="noStrike" kern="1200" cap="none" spc="0" normalizeH="0" baseline="0" noProof="0">
                <a:ln>
                  <a:noFill/>
                </a:ln>
                <a:solidFill>
                  <a:srgbClr val="FFFFFF"/>
                </a:solidFill>
                <a:effectLst/>
                <a:uLnTx/>
                <a:uFillTx/>
                <a:latin typeface="EYInterstate Light"/>
                <a:ea typeface="+mn-ea"/>
                <a:cs typeface="Arial"/>
              </a:rPr>
              <a:t>@ie.ey.com</a:t>
            </a:r>
            <a:br>
              <a:rPr lang="en-US" sz="900" b="1" i="0" u="none" strike="noStrike" kern="1200" cap="none" spc="0" normalizeH="0" baseline="0" noProof="0">
                <a:ln>
                  <a:noFill/>
                </a:ln>
                <a:effectLst/>
                <a:uLnTx/>
                <a:uFillTx/>
                <a:latin typeface="EYInterstate Light"/>
                <a:cs typeface="Arial"/>
              </a:rPr>
            </a:br>
            <a:r>
              <a:rPr kumimoji="0" lang="en-US" sz="900" b="1" i="0" u="none" strike="noStrike" kern="1200" cap="none" spc="0" normalizeH="0" baseline="0" noProof="0">
                <a:ln>
                  <a:noFill/>
                </a:ln>
                <a:solidFill>
                  <a:srgbClr val="FFFFFF"/>
                </a:solidFill>
                <a:effectLst/>
                <a:uLnTx/>
                <a:uFillTx/>
                <a:latin typeface="EYInterstate Light"/>
                <a:ea typeface="+mn-ea"/>
                <a:cs typeface="Arial"/>
              </a:rPr>
              <a:t>Phone: +353</a:t>
            </a:r>
            <a:r>
              <a:rPr lang="en-US" sz="900" b="1">
                <a:solidFill>
                  <a:srgbClr val="FFFFFF"/>
                </a:solidFill>
                <a:latin typeface="EYInterstate Light"/>
                <a:cs typeface="Arial"/>
              </a:rPr>
              <a:t> </a:t>
            </a:r>
            <a:endParaRPr lang="en-US" sz="900"/>
          </a:p>
        </p:txBody>
      </p:sp>
      <p:pic>
        <p:nvPicPr>
          <p:cNvPr id="4" name="Picture 3" descr="A person in a suit smiling&#10;&#10;Description automatically generated">
            <a:extLst>
              <a:ext uri="{FF2B5EF4-FFF2-40B4-BE49-F238E27FC236}">
                <a16:creationId xmlns:a16="http://schemas.microsoft.com/office/drawing/2014/main" id="{B56FB8B2-733B-B5FB-CCB4-07316DBBB80C}"/>
              </a:ext>
            </a:extLst>
          </p:cNvPr>
          <p:cNvPicPr>
            <a:picLocks noChangeAspect="1"/>
          </p:cNvPicPr>
          <p:nvPr/>
        </p:nvPicPr>
        <p:blipFill>
          <a:blip r:embed="rId8"/>
          <a:srcRect l="510" r="510"/>
          <a:stretch>
            <a:fillRect/>
          </a:stretch>
        </p:blipFill>
        <p:spPr>
          <a:xfrm>
            <a:off x="10018053" y="1994671"/>
            <a:ext cx="534490" cy="540000"/>
          </a:xfrm>
          <a:prstGeom prst="flowChartConnector">
            <a:avLst/>
          </a:prstGeom>
          <a:noFill/>
          <a:ln>
            <a:solidFill>
              <a:srgbClr val="F6F5FA"/>
            </a:solidFill>
          </a:ln>
        </p:spPr>
      </p:pic>
      <p:pic>
        <p:nvPicPr>
          <p:cNvPr id="10" name="Picture 9" descr="A person in a suit and tie&#10;&#10;Description automatically generated">
            <a:extLst>
              <a:ext uri="{FF2B5EF4-FFF2-40B4-BE49-F238E27FC236}">
                <a16:creationId xmlns:a16="http://schemas.microsoft.com/office/drawing/2014/main" id="{DC2D2D4C-D5EC-4944-DB8D-D9B960735A84}"/>
              </a:ext>
            </a:extLst>
          </p:cNvPr>
          <p:cNvPicPr>
            <a:picLocks noChangeAspect="1"/>
          </p:cNvPicPr>
          <p:nvPr/>
        </p:nvPicPr>
        <p:blipFill>
          <a:blip r:embed="rId9"/>
          <a:srcRect t="13629" b="13629"/>
          <a:stretch>
            <a:fillRect/>
          </a:stretch>
        </p:blipFill>
        <p:spPr>
          <a:xfrm>
            <a:off x="10018052" y="3577285"/>
            <a:ext cx="534490" cy="540000"/>
          </a:xfrm>
          <a:prstGeom prst="flowChartConnector">
            <a:avLst/>
          </a:prstGeom>
          <a:noFill/>
          <a:ln>
            <a:solidFill>
              <a:srgbClr val="F6F5FA"/>
            </a:solidFill>
          </a:ln>
        </p:spPr>
      </p:pic>
      <p:pic>
        <p:nvPicPr>
          <p:cNvPr id="7" name="Picture 6">
            <a:extLst>
              <a:ext uri="{FF2B5EF4-FFF2-40B4-BE49-F238E27FC236}">
                <a16:creationId xmlns:a16="http://schemas.microsoft.com/office/drawing/2014/main" id="{1418BC99-9DE3-A3A8-4587-E8408F19292C}"/>
              </a:ext>
            </a:extLst>
          </p:cNvPr>
          <p:cNvPicPr>
            <a:picLocks noChangeAspect="1"/>
          </p:cNvPicPr>
          <p:nvPr/>
        </p:nvPicPr>
        <p:blipFill>
          <a:blip r:embed="rId10"/>
          <a:stretch>
            <a:fillRect/>
          </a:stretch>
        </p:blipFill>
        <p:spPr>
          <a:xfrm>
            <a:off x="665258" y="5252119"/>
            <a:ext cx="781050" cy="466725"/>
          </a:xfrm>
          <a:prstGeom prst="rect">
            <a:avLst/>
          </a:prstGeom>
        </p:spPr>
      </p:pic>
      <p:pic>
        <p:nvPicPr>
          <p:cNvPr id="8" name="Picture 7" descr="A close up of a logo&#10;&#10;Description automatically generated">
            <a:extLst>
              <a:ext uri="{FF2B5EF4-FFF2-40B4-BE49-F238E27FC236}">
                <a16:creationId xmlns:a16="http://schemas.microsoft.com/office/drawing/2014/main" id="{A0A7C905-5E26-86CE-8FBB-F79B0AE278DA}"/>
              </a:ext>
            </a:extLst>
          </p:cNvPr>
          <p:cNvPicPr>
            <a:picLocks noChangeAspect="1"/>
          </p:cNvPicPr>
          <p:nvPr/>
        </p:nvPicPr>
        <p:blipFill>
          <a:blip r:embed="rId11"/>
          <a:stretch>
            <a:fillRect/>
          </a:stretch>
        </p:blipFill>
        <p:spPr>
          <a:xfrm>
            <a:off x="1472645" y="5275243"/>
            <a:ext cx="1571625" cy="457200"/>
          </a:xfrm>
          <a:prstGeom prst="rect">
            <a:avLst/>
          </a:prstGeom>
        </p:spPr>
      </p:pic>
      <p:pic>
        <p:nvPicPr>
          <p:cNvPr id="20482" name="Picture 2">
            <a:extLst>
              <a:ext uri="{FF2B5EF4-FFF2-40B4-BE49-F238E27FC236}">
                <a16:creationId xmlns:a16="http://schemas.microsoft.com/office/drawing/2014/main" id="{548560C5-6824-F9BA-1EE3-AB78ECE01A4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70607" y="5265718"/>
            <a:ext cx="1133475"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628411"/>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C.1 – Solution Summary</a:t>
            </a:r>
            <a:endParaRPr lang="en-IE">
              <a:latin typeface="Calibri" panose="020F0502020204030204" pitchFamily="34" charset="0"/>
              <a:cs typeface="Calibri" panose="020F0502020204030204" pitchFamily="34" charset="0"/>
            </a:endParaRPr>
          </a:p>
        </p:txBody>
      </p:sp>
      <p:sp>
        <p:nvSpPr>
          <p:cNvPr id="3" name="Text Placeholder 3">
            <a:extLst>
              <a:ext uri="{FF2B5EF4-FFF2-40B4-BE49-F238E27FC236}">
                <a16:creationId xmlns:a16="http://schemas.microsoft.com/office/drawing/2014/main" id="{054356EA-79F4-3612-54CC-809CBFF37041}"/>
              </a:ext>
            </a:extLst>
          </p:cNvPr>
          <p:cNvSpPr txBox="1">
            <a:spLocks/>
          </p:cNvSpPr>
          <p:nvPr/>
        </p:nvSpPr>
        <p:spPr>
          <a:xfrm>
            <a:off x="635525" y="1373533"/>
            <a:ext cx="10870675" cy="3801041"/>
          </a:xfrm>
          <a:prstGeom prst="rect">
            <a:avLst/>
          </a:prstGeom>
        </p:spPr>
        <p:txBody>
          <a:bodyPr vert="horz" wrap="square" lIns="0" tIns="0" rIns="0" bIns="0" rtlCol="0" anchor="t" anchorCtr="0">
            <a:spAutoFit/>
          </a:bodyPr>
          <a:lstStyle>
            <a:lvl1pPr indent="0" defTabSz="914400">
              <a:spcBef>
                <a:spcPts val="0"/>
              </a:spcBef>
              <a:spcAft>
                <a:spcPts val="1200"/>
              </a:spcAft>
              <a:buClr>
                <a:schemeClr val="accent2"/>
              </a:buClr>
              <a:buSzPct val="70000"/>
              <a:buFont typeface="Arial" pitchFamily="34" charset="0"/>
              <a:buNone/>
              <a:defRPr sz="1400">
                <a:solidFill>
                  <a:schemeClr val="tx1">
                    <a:lumMod val="50000"/>
                    <a:lumOff val="50000"/>
                  </a:schemeClr>
                </a:solidFill>
                <a:latin typeface="EYInterstate Light" pitchFamily="2" charset="0"/>
              </a:defRPr>
            </a:lvl1pPr>
            <a:lvl2pPr marL="0" indent="0">
              <a:spcBef>
                <a:spcPts val="200"/>
              </a:spcBef>
              <a:spcAft>
                <a:spcPts val="500"/>
              </a:spcAft>
              <a:buFontTx/>
              <a:buNone/>
              <a:defRPr sz="1400" b="1">
                <a:solidFill>
                  <a:schemeClr val="bg2"/>
                </a:solidFill>
                <a:latin typeface="EYInterstate Light" pitchFamily="2" charset="0"/>
              </a:defRPr>
            </a:lvl2pPr>
            <a:lvl3pPr marL="0" indent="0">
              <a:spcBef>
                <a:spcPts val="200"/>
              </a:spcBef>
              <a:spcAft>
                <a:spcPts val="500"/>
              </a:spcAft>
              <a:buFontTx/>
              <a:buNone/>
              <a:defRPr sz="1200" b="1">
                <a:solidFill>
                  <a:schemeClr val="tx2"/>
                </a:solidFill>
                <a:latin typeface="EYInterstate Light" pitchFamily="2" charset="0"/>
              </a:defRPr>
            </a:lvl3pPr>
            <a:lvl4pPr marL="177800" indent="-177800">
              <a:spcBef>
                <a:spcPts val="0"/>
              </a:spcBef>
              <a:spcAft>
                <a:spcPts val="500"/>
              </a:spcAft>
              <a:buSzPct val="70000"/>
              <a:buFont typeface="Arial" pitchFamily="34" charset="0"/>
              <a:buChar char="►"/>
              <a:defRPr sz="1000">
                <a:latin typeface="EYInterstate Light" pitchFamily="2" charset="0"/>
              </a:defRPr>
            </a:lvl4pPr>
            <a:lvl5pPr marL="342900" indent="-165100">
              <a:spcBef>
                <a:spcPts val="0"/>
              </a:spcBef>
              <a:spcAft>
                <a:spcPts val="500"/>
              </a:spcAft>
              <a:buSzPct val="70000"/>
              <a:buFont typeface="Arial" pitchFamily="34" charset="0"/>
              <a:buChar char="►"/>
              <a:defRPr sz="1000">
                <a:latin typeface="EYInterstate Light" pitchFamily="2" charset="0"/>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lang="en-GB" sz="1100">
                <a:solidFill>
                  <a:schemeClr val="bg1"/>
                </a:solidFill>
                <a:latin typeface="Calibri" panose="020F0502020204030204" pitchFamily="34" charset="0"/>
                <a:cs typeface="Calibri" panose="020F0502020204030204" pitchFamily="34" charset="0"/>
              </a:rPr>
              <a:t>The proposed EY solution has been designed to meet the requirements of St. James's Hospital and provides a foundation that can meet future demand and scaling requirements. It builds on the Azure tenant that is currently in place, will utilise current connectivity methods, and will provide a robust example of a highly managed and available hybrid solution which facilitates the needs of St. James's Hospital laboratories now and 10 years from now, maximising cost to benefit ratios.</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lang="en-GB" sz="1100">
                <a:solidFill>
                  <a:schemeClr val="bg1"/>
                </a:solidFill>
                <a:latin typeface="Calibri" panose="020F0502020204030204" pitchFamily="34" charset="0"/>
                <a:cs typeface="Calibri" panose="020F0502020204030204" pitchFamily="34" charset="0"/>
              </a:rPr>
              <a:t>EY Ireland is a leader in the kind of security first methodologies which are the foundation of this solution, and will meet all St. James's Hospital requirements in a highly secure manner. As an example of this, laboratory technicians will be able to access cloud resource from devices in On-Premise locations via “IPsec VPN” and remotely via “Azure Virtual Desktop VDI”. We will accomplish this in a way which is highly secured through the use of </a:t>
            </a:r>
            <a:r>
              <a:rPr lang="en-GB" sz="1100" err="1">
                <a:solidFill>
                  <a:schemeClr val="bg1"/>
                </a:solidFill>
                <a:latin typeface="Calibri" panose="020F0502020204030204" pitchFamily="34" charset="0"/>
                <a:cs typeface="Calibri" panose="020F0502020204030204" pitchFamily="34" charset="0"/>
              </a:rPr>
              <a:t>Entra</a:t>
            </a:r>
            <a:r>
              <a:rPr lang="en-GB" sz="1100">
                <a:solidFill>
                  <a:schemeClr val="bg1"/>
                </a:solidFill>
                <a:latin typeface="Calibri" panose="020F0502020204030204" pitchFamily="34" charset="0"/>
                <a:cs typeface="Calibri" panose="020F0502020204030204" pitchFamily="34" charset="0"/>
              </a:rPr>
              <a:t> ID Identities, Azure Conditional Access policies, GEO Location blocking, and Multifactor Authentication, all working together as part of a zero trust approach to ensure the security of the solution and the data it contains.</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kumimoji="0" lang="en-GB"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Similarly to the remote access scenario, all SQL </a:t>
            </a:r>
            <a:r>
              <a:rPr lang="en-GB" sz="1100">
                <a:solidFill>
                  <a:schemeClr val="bg1"/>
                </a:solidFill>
                <a:latin typeface="Calibri" panose="020F0502020204030204" pitchFamily="34" charset="0"/>
                <a:cs typeface="Calibri" panose="020F0502020204030204" pitchFamily="34" charset="0"/>
              </a:rPr>
              <a:t>Compute and Azure Data resources will be secured in a by Azure RBAC (Role Based Access Controls), JIT (Just In Time) Access, and service principal accounts where possible. All protections for data such as “Soft Delete”, “Purge Protection”, “TLS 1.2 enforcement”, etc will be enabled as default.</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lang="en-GB" sz="1100">
                <a:solidFill>
                  <a:schemeClr val="bg1"/>
                </a:solidFill>
                <a:latin typeface="Calibri" panose="020F0502020204030204" pitchFamily="34" charset="0"/>
                <a:cs typeface="Calibri" panose="020F0502020204030204" pitchFamily="34" charset="0"/>
              </a:rPr>
              <a:t>All standard laboratory compute provisioned for analysis and testing requirements will utilise gold images which will contain all software packages required, and will be maintained regularly in line with defined maintained requirements.</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lang="en-GB" sz="1100">
                <a:solidFill>
                  <a:schemeClr val="bg1"/>
                </a:solidFill>
                <a:latin typeface="Calibri" panose="020F0502020204030204" pitchFamily="34" charset="0"/>
                <a:cs typeface="Calibri" panose="020F0502020204030204" pitchFamily="34" charset="0"/>
              </a:rPr>
              <a:t>To facilitate the hybrid nature of the solution, all networking will be run through an Azure </a:t>
            </a:r>
            <a:r>
              <a:rPr lang="en-GB" sz="1100" err="1">
                <a:solidFill>
                  <a:schemeClr val="bg1"/>
                </a:solidFill>
                <a:latin typeface="Calibri" panose="020F0502020204030204" pitchFamily="34" charset="0"/>
                <a:cs typeface="Calibri" panose="020F0502020204030204" pitchFamily="34" charset="0"/>
              </a:rPr>
              <a:t>vWAN</a:t>
            </a:r>
            <a:r>
              <a:rPr lang="en-GB" sz="1100">
                <a:solidFill>
                  <a:schemeClr val="bg1"/>
                </a:solidFill>
                <a:latin typeface="Calibri" panose="020F0502020204030204" pitchFamily="34" charset="0"/>
                <a:cs typeface="Calibri" panose="020F0502020204030204" pitchFamily="34" charset="0"/>
              </a:rPr>
              <a:t> hub, where a HA (Highly Available) Azure Firewall will be utilised for DNS filtering and traffic shaping of egress and ingress traffic between On-Premise locations and the Azure cloud. All cloud resource subnets will be highly segregated and we will assign NSGs (Network Security Groups) at the subnet level to facilitate the application of Firewall rules to solution subnets. </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lang="en-GB" sz="1100">
                <a:solidFill>
                  <a:schemeClr val="bg1"/>
                </a:solidFill>
                <a:latin typeface="Calibri" panose="020F0502020204030204" pitchFamily="34" charset="0"/>
                <a:cs typeface="Calibri" panose="020F0502020204030204" pitchFamily="34" charset="0"/>
              </a:rPr>
              <a:t>All cloud resources and data will be backed up via Azure Backup Services and/or other supported backup processes inline with defined backup requirements. In the event of a recovery scenario Azure Backup will be utilised to provide prompt resource / data recovery.</a:t>
            </a:r>
          </a:p>
          <a:p>
            <a:pPr marL="0" marR="0" lvl="0" indent="0" algn="just"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endParaRPr kumimoji="0" lang="en-GB"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B474E4D3-ADE4-03B5-BBFE-7E79016576F1}"/>
              </a:ext>
            </a:extLst>
          </p:cNvPr>
          <p:cNvSpPr/>
          <p:nvPr/>
        </p:nvSpPr>
        <p:spPr bwMode="auto">
          <a:xfrm>
            <a:off x="2461393" y="5524755"/>
            <a:ext cx="1368675" cy="508866"/>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Connectivity</a:t>
            </a:r>
            <a:endParaRPr lang="en-IE" sz="1050" b="1">
              <a:solidFill>
                <a:schemeClr val="bg2"/>
              </a:solidFill>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73539F4-EEC1-BE59-5EE1-99C20516824C}"/>
              </a:ext>
            </a:extLst>
          </p:cNvPr>
          <p:cNvPicPr>
            <a:picLocks noChangeAspect="1"/>
          </p:cNvPicPr>
          <p:nvPr/>
        </p:nvPicPr>
        <p:blipFill>
          <a:blip r:embed="rId3"/>
          <a:stretch>
            <a:fillRect/>
          </a:stretch>
        </p:blipFill>
        <p:spPr>
          <a:xfrm>
            <a:off x="2545349" y="5586132"/>
            <a:ext cx="441960" cy="388580"/>
          </a:xfrm>
          <a:prstGeom prst="rect">
            <a:avLst/>
          </a:prstGeom>
        </p:spPr>
      </p:pic>
      <p:sp>
        <p:nvSpPr>
          <p:cNvPr id="6" name="Rectangle 5">
            <a:extLst>
              <a:ext uri="{FF2B5EF4-FFF2-40B4-BE49-F238E27FC236}">
                <a16:creationId xmlns:a16="http://schemas.microsoft.com/office/drawing/2014/main" id="{E3A3A818-30F6-618C-52DC-7182B2356585}"/>
              </a:ext>
            </a:extLst>
          </p:cNvPr>
          <p:cNvSpPr/>
          <p:nvPr/>
        </p:nvSpPr>
        <p:spPr bwMode="auto">
          <a:xfrm>
            <a:off x="3932860" y="5509638"/>
            <a:ext cx="1368675"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Compute</a:t>
            </a:r>
            <a:endParaRPr lang="en-IE" sz="1050" b="1">
              <a:solidFill>
                <a:schemeClr val="bg2"/>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1C31B30D-827E-B230-9DE9-D952EE10731F}"/>
              </a:ext>
            </a:extLst>
          </p:cNvPr>
          <p:cNvPicPr>
            <a:picLocks noChangeAspect="1"/>
          </p:cNvPicPr>
          <p:nvPr/>
        </p:nvPicPr>
        <p:blipFill>
          <a:blip r:embed="rId4"/>
          <a:stretch>
            <a:fillRect/>
          </a:stretch>
        </p:blipFill>
        <p:spPr>
          <a:xfrm>
            <a:off x="3975669" y="5619229"/>
            <a:ext cx="480060" cy="304800"/>
          </a:xfrm>
          <a:prstGeom prst="rect">
            <a:avLst/>
          </a:prstGeom>
        </p:spPr>
      </p:pic>
      <p:sp>
        <p:nvSpPr>
          <p:cNvPr id="9" name="Rectangle 8">
            <a:extLst>
              <a:ext uri="{FF2B5EF4-FFF2-40B4-BE49-F238E27FC236}">
                <a16:creationId xmlns:a16="http://schemas.microsoft.com/office/drawing/2014/main" id="{70DF646A-2C93-FB8B-8A60-7C3348F7E776}"/>
              </a:ext>
            </a:extLst>
          </p:cNvPr>
          <p:cNvSpPr/>
          <p:nvPr/>
        </p:nvSpPr>
        <p:spPr bwMode="auto">
          <a:xfrm>
            <a:off x="5404327" y="5509638"/>
            <a:ext cx="1383346"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Data</a:t>
            </a:r>
            <a:endParaRPr lang="en-IE" sz="1050" b="1">
              <a:solidFill>
                <a:schemeClr val="bg2"/>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F3C59D76-77D6-5CDF-F450-A69124D69525}"/>
              </a:ext>
            </a:extLst>
          </p:cNvPr>
          <p:cNvSpPr/>
          <p:nvPr/>
        </p:nvSpPr>
        <p:spPr bwMode="auto">
          <a:xfrm>
            <a:off x="6904504" y="5518430"/>
            <a:ext cx="1368674"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Network</a:t>
            </a:r>
            <a:endParaRPr lang="en-IE" sz="1050" b="1">
              <a:solidFill>
                <a:schemeClr val="bg2"/>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418D386D-6C1B-65F5-2FE8-4FC9CE46157D}"/>
              </a:ext>
            </a:extLst>
          </p:cNvPr>
          <p:cNvSpPr/>
          <p:nvPr/>
        </p:nvSpPr>
        <p:spPr bwMode="auto">
          <a:xfrm>
            <a:off x="989926" y="5509638"/>
            <a:ext cx="1368675"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Backup</a:t>
            </a:r>
            <a:endParaRPr lang="en-IE" sz="1050" b="1">
              <a:solidFill>
                <a:schemeClr val="bg2"/>
              </a:solidFill>
              <a:latin typeface="Calibri" panose="020F0502020204030204" pitchFamily="34" charset="0"/>
              <a:cs typeface="Calibri" panose="020F0502020204030204" pitchFamily="34" charset="0"/>
            </a:endParaRPr>
          </a:p>
        </p:txBody>
      </p:sp>
      <p:pic>
        <p:nvPicPr>
          <p:cNvPr id="12" name="Picture 11" descr="A black outline of a stack of coins&#10;&#10;Description automatically generated">
            <a:extLst>
              <a:ext uri="{FF2B5EF4-FFF2-40B4-BE49-F238E27FC236}">
                <a16:creationId xmlns:a16="http://schemas.microsoft.com/office/drawing/2014/main" id="{D6DAF6BA-BE69-4ADB-9D27-3B7C02F4A0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718" y="5592610"/>
            <a:ext cx="360093" cy="356418"/>
          </a:xfrm>
          <a:prstGeom prst="rect">
            <a:avLst/>
          </a:prstGeom>
        </p:spPr>
      </p:pic>
      <p:pic>
        <p:nvPicPr>
          <p:cNvPr id="13" name="Picture 12">
            <a:extLst>
              <a:ext uri="{FF2B5EF4-FFF2-40B4-BE49-F238E27FC236}">
                <a16:creationId xmlns:a16="http://schemas.microsoft.com/office/drawing/2014/main" id="{4B916579-6AD9-5B21-2934-5A63628214E3}"/>
              </a:ext>
            </a:extLst>
          </p:cNvPr>
          <p:cNvPicPr>
            <a:picLocks noChangeAspect="1"/>
          </p:cNvPicPr>
          <p:nvPr/>
        </p:nvPicPr>
        <p:blipFill>
          <a:blip r:embed="rId6"/>
          <a:stretch>
            <a:fillRect/>
          </a:stretch>
        </p:blipFill>
        <p:spPr>
          <a:xfrm>
            <a:off x="5482287" y="5612685"/>
            <a:ext cx="420079" cy="340064"/>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A0641106-EF0D-920E-A707-9E10F794D0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1988" y="5606680"/>
            <a:ext cx="401026" cy="401845"/>
          </a:xfrm>
          <a:prstGeom prst="rect">
            <a:avLst/>
          </a:prstGeom>
        </p:spPr>
      </p:pic>
      <p:sp>
        <p:nvSpPr>
          <p:cNvPr id="15" name="Rectangle 14">
            <a:extLst>
              <a:ext uri="{FF2B5EF4-FFF2-40B4-BE49-F238E27FC236}">
                <a16:creationId xmlns:a16="http://schemas.microsoft.com/office/drawing/2014/main" id="{C88263BC-94D4-E028-4F98-993E93F47805}"/>
              </a:ext>
            </a:extLst>
          </p:cNvPr>
          <p:cNvSpPr/>
          <p:nvPr/>
        </p:nvSpPr>
        <p:spPr bwMode="auto">
          <a:xfrm>
            <a:off x="8375971" y="5503707"/>
            <a:ext cx="1368675"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Recovery</a:t>
            </a:r>
            <a:endParaRPr lang="en-IE" sz="1050" b="1">
              <a:solidFill>
                <a:schemeClr val="bg2"/>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A92DB2A0-6F44-7421-008B-E1A18B3419FB}"/>
              </a:ext>
            </a:extLst>
          </p:cNvPr>
          <p:cNvSpPr/>
          <p:nvPr/>
        </p:nvSpPr>
        <p:spPr bwMode="auto">
          <a:xfrm>
            <a:off x="9861476" y="5503747"/>
            <a:ext cx="1368675"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Security</a:t>
            </a:r>
            <a:endParaRPr lang="en-IE" sz="1050" b="1">
              <a:solidFill>
                <a:schemeClr val="bg2"/>
              </a:solidFill>
              <a:latin typeface="Calibri" panose="020F0502020204030204" pitchFamily="34" charset="0"/>
              <a:cs typeface="Calibri" panose="020F0502020204030204" pitchFamily="34" charset="0"/>
            </a:endParaRPr>
          </a:p>
        </p:txBody>
      </p:sp>
      <p:pic>
        <p:nvPicPr>
          <p:cNvPr id="17" name="Picture 16" descr="A black background with a black square&#10;&#10;Description automatically generated">
            <a:extLst>
              <a:ext uri="{FF2B5EF4-FFF2-40B4-BE49-F238E27FC236}">
                <a16:creationId xmlns:a16="http://schemas.microsoft.com/office/drawing/2014/main" id="{C438D94E-A864-3C9E-F3F4-EA4391065D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41964" y="5572267"/>
            <a:ext cx="386862" cy="386862"/>
          </a:xfrm>
          <a:prstGeom prst="rect">
            <a:avLst/>
          </a:prstGeom>
        </p:spPr>
      </p:pic>
      <p:pic>
        <p:nvPicPr>
          <p:cNvPr id="18" name="Picture 17">
            <a:extLst>
              <a:ext uri="{FF2B5EF4-FFF2-40B4-BE49-F238E27FC236}">
                <a16:creationId xmlns:a16="http://schemas.microsoft.com/office/drawing/2014/main" id="{0A163E03-E7F1-C682-17FD-8E61BC270968}"/>
              </a:ext>
            </a:extLst>
          </p:cNvPr>
          <p:cNvPicPr>
            <a:picLocks noChangeAspect="1"/>
          </p:cNvPicPr>
          <p:nvPr/>
        </p:nvPicPr>
        <p:blipFill>
          <a:blip r:embed="rId9"/>
          <a:stretch>
            <a:fillRect/>
          </a:stretch>
        </p:blipFill>
        <p:spPr>
          <a:xfrm>
            <a:off x="9982814" y="5586518"/>
            <a:ext cx="276174" cy="358439"/>
          </a:xfrm>
          <a:prstGeom prst="rect">
            <a:avLst/>
          </a:prstGeom>
        </p:spPr>
      </p:pic>
    </p:spTree>
    <p:extLst>
      <p:ext uri="{BB962C8B-B14F-4D97-AF65-F5344CB8AC3E}">
        <p14:creationId xmlns:p14="http://schemas.microsoft.com/office/powerpoint/2010/main" val="1584002695"/>
      </p:ext>
    </p:extLst>
  </p:cSld>
  <p:clrMapOvr>
    <a:masterClrMapping/>
  </p:clrMapOvr>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C.1 – Proposed solution – Key Components which make up the solution</a:t>
            </a:r>
            <a:endParaRPr lang="en-IE">
              <a:latin typeface="Calibri" panose="020F0502020204030204" pitchFamily="34" charset="0"/>
              <a:cs typeface="Calibri" panose="020F0502020204030204" pitchFamily="34" charset="0"/>
            </a:endParaRPr>
          </a:p>
        </p:txBody>
      </p:sp>
      <p:sp>
        <p:nvSpPr>
          <p:cNvPr id="5" name="Content Placeholder 4">
            <a:extLst>
              <a:ext uri="{FF2B5EF4-FFF2-40B4-BE49-F238E27FC236}">
                <a16:creationId xmlns:a16="http://schemas.microsoft.com/office/drawing/2014/main" id="{3E272F8B-A589-4B44-A9E9-C55D342D51D5}"/>
              </a:ext>
            </a:extLst>
          </p:cNvPr>
          <p:cNvSpPr>
            <a:spLocks noGrp="1"/>
          </p:cNvSpPr>
          <p:nvPr>
            <p:ph idx="1"/>
          </p:nvPr>
        </p:nvSpPr>
        <p:spPr>
          <a:xfrm>
            <a:off x="609601" y="1453691"/>
            <a:ext cx="10974284" cy="231217"/>
          </a:xfrm>
        </p:spPr>
        <p:txBody>
          <a:bodyPr/>
          <a:lstStyle/>
          <a:p>
            <a:r>
              <a:rPr lang="en-IE">
                <a:latin typeface="Calibri" panose="020F0502020204030204" pitchFamily="34" charset="0"/>
                <a:cs typeface="Calibri" panose="020F0502020204030204" pitchFamily="34" charset="0"/>
              </a:rPr>
              <a:t>Below are the key </a:t>
            </a:r>
            <a:r>
              <a:rPr lang="en-IN">
                <a:latin typeface="Calibri" panose="020F0502020204030204" pitchFamily="34" charset="0"/>
                <a:cs typeface="Calibri" panose="020F0502020204030204" pitchFamily="34" charset="0"/>
              </a:rPr>
              <a:t>components</a:t>
            </a:r>
            <a:r>
              <a:rPr lang="en-IE">
                <a:latin typeface="Calibri" panose="020F0502020204030204" pitchFamily="34" charset="0"/>
                <a:cs typeface="Calibri" panose="020F0502020204030204" pitchFamily="34" charset="0"/>
              </a:rPr>
              <a:t> of the proposed solution that, EY believe will achieve the required outcome.</a:t>
            </a:r>
          </a:p>
        </p:txBody>
      </p:sp>
      <p:sp>
        <p:nvSpPr>
          <p:cNvPr id="32" name="Rectangle 31">
            <a:extLst>
              <a:ext uri="{FF2B5EF4-FFF2-40B4-BE49-F238E27FC236}">
                <a16:creationId xmlns:a16="http://schemas.microsoft.com/office/drawing/2014/main" id="{68AFBBC2-7F7E-4854-BE55-04CEE013C0FB}"/>
              </a:ext>
            </a:extLst>
          </p:cNvPr>
          <p:cNvSpPr/>
          <p:nvPr/>
        </p:nvSpPr>
        <p:spPr bwMode="auto">
          <a:xfrm>
            <a:off x="2230527" y="1622822"/>
            <a:ext cx="7739950" cy="523983"/>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IE" sz="1000">
                <a:solidFill>
                  <a:schemeClr val="bg1"/>
                </a:solidFill>
                <a:latin typeface="Calibri" panose="020F0502020204030204" pitchFamily="34" charset="0"/>
                <a:cs typeface="Calibri" panose="020F0502020204030204" pitchFamily="34" charset="0"/>
              </a:rPr>
              <a:t>Azure Backup </a:t>
            </a:r>
            <a:r>
              <a:rPr lang="en-IE" sz="1000" err="1">
                <a:solidFill>
                  <a:schemeClr val="bg1"/>
                </a:solidFill>
                <a:latin typeface="Calibri" panose="020F0502020204030204" pitchFamily="34" charset="0"/>
                <a:cs typeface="Calibri" panose="020F0502020204030204" pitchFamily="34" charset="0"/>
              </a:rPr>
              <a:t>Center</a:t>
            </a:r>
            <a:r>
              <a:rPr lang="en-IE" sz="1000">
                <a:solidFill>
                  <a:schemeClr val="bg1"/>
                </a:solidFill>
                <a:latin typeface="Calibri" panose="020F0502020204030204" pitchFamily="34" charset="0"/>
                <a:cs typeface="Calibri" panose="020F0502020204030204" pitchFamily="34" charset="0"/>
              </a:rPr>
              <a:t> will be utilised to perform the backup functions across Compute and Data resources. </a:t>
            </a:r>
          </a:p>
        </p:txBody>
      </p:sp>
      <p:sp>
        <p:nvSpPr>
          <p:cNvPr id="33" name="Rectangle 32">
            <a:extLst>
              <a:ext uri="{FF2B5EF4-FFF2-40B4-BE49-F238E27FC236}">
                <a16:creationId xmlns:a16="http://schemas.microsoft.com/office/drawing/2014/main" id="{76FF3A7A-4620-449C-83EC-18099BD7DC42}"/>
              </a:ext>
            </a:extLst>
          </p:cNvPr>
          <p:cNvSpPr/>
          <p:nvPr/>
        </p:nvSpPr>
        <p:spPr bwMode="auto">
          <a:xfrm>
            <a:off x="10076299" y="1626121"/>
            <a:ext cx="1490005" cy="520684"/>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00" b="1" u="sng">
                <a:solidFill>
                  <a:schemeClr val="tx2"/>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A</a:t>
            </a:r>
            <a:r>
              <a:rPr lang="en-IE" sz="1000" b="1" u="sng" err="1">
                <a:solidFill>
                  <a:schemeClr val="tx2"/>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zure</a:t>
            </a:r>
            <a:r>
              <a:rPr lang="en-IE" sz="1000" b="1" u="sng">
                <a:solidFill>
                  <a:schemeClr val="tx2"/>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Backup </a:t>
            </a:r>
            <a:r>
              <a:rPr lang="en-IE" sz="1000" b="1" u="sng" err="1">
                <a:solidFill>
                  <a:schemeClr val="tx2"/>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Center</a:t>
            </a:r>
            <a:endParaRPr lang="en-IE" sz="1000" b="1" u="sng">
              <a:solidFill>
                <a:schemeClr val="tx2"/>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79177ECC-6A7E-B2DF-13D5-1CCE7AD74B93}"/>
              </a:ext>
            </a:extLst>
          </p:cNvPr>
          <p:cNvSpPr/>
          <p:nvPr/>
        </p:nvSpPr>
        <p:spPr bwMode="auto">
          <a:xfrm>
            <a:off x="625696" y="2227696"/>
            <a:ext cx="1502039" cy="800748"/>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Connectivity</a:t>
            </a:r>
            <a:endParaRPr lang="en-IE" sz="1050" b="1">
              <a:solidFill>
                <a:schemeClr val="bg2"/>
              </a:solidFill>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080E695E-D376-AFFA-91DA-07D304BD0A69}"/>
              </a:ext>
            </a:extLst>
          </p:cNvPr>
          <p:cNvPicPr>
            <a:picLocks noChangeAspect="1"/>
          </p:cNvPicPr>
          <p:nvPr/>
        </p:nvPicPr>
        <p:blipFill>
          <a:blip r:embed="rId3"/>
          <a:stretch>
            <a:fillRect/>
          </a:stretch>
        </p:blipFill>
        <p:spPr>
          <a:xfrm>
            <a:off x="676614" y="2411215"/>
            <a:ext cx="441960" cy="434340"/>
          </a:xfrm>
          <a:prstGeom prst="rect">
            <a:avLst/>
          </a:prstGeom>
        </p:spPr>
      </p:pic>
      <p:sp>
        <p:nvSpPr>
          <p:cNvPr id="13" name="Rectangle 12">
            <a:extLst>
              <a:ext uri="{FF2B5EF4-FFF2-40B4-BE49-F238E27FC236}">
                <a16:creationId xmlns:a16="http://schemas.microsoft.com/office/drawing/2014/main" id="{6405E600-64E0-C4EB-5A92-76DCA76E8513}"/>
              </a:ext>
            </a:extLst>
          </p:cNvPr>
          <p:cNvSpPr/>
          <p:nvPr/>
        </p:nvSpPr>
        <p:spPr bwMode="auto">
          <a:xfrm>
            <a:off x="625698" y="3077199"/>
            <a:ext cx="1502039"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Compute</a:t>
            </a:r>
            <a:endParaRPr lang="en-IE" sz="1050" b="1">
              <a:solidFill>
                <a:schemeClr val="bg2"/>
              </a:solidFill>
              <a:latin typeface="Calibri" panose="020F050202020403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563EB22B-A575-91F4-0B27-5BE428AE5329}"/>
              </a:ext>
            </a:extLst>
          </p:cNvPr>
          <p:cNvPicPr>
            <a:picLocks noChangeAspect="1"/>
          </p:cNvPicPr>
          <p:nvPr/>
        </p:nvPicPr>
        <p:blipFill>
          <a:blip r:embed="rId4"/>
          <a:stretch>
            <a:fillRect/>
          </a:stretch>
        </p:blipFill>
        <p:spPr>
          <a:xfrm>
            <a:off x="668507" y="3186790"/>
            <a:ext cx="480060" cy="304800"/>
          </a:xfrm>
          <a:prstGeom prst="rect">
            <a:avLst/>
          </a:prstGeom>
        </p:spPr>
      </p:pic>
      <p:sp>
        <p:nvSpPr>
          <p:cNvPr id="15" name="Rectangle 14">
            <a:extLst>
              <a:ext uri="{FF2B5EF4-FFF2-40B4-BE49-F238E27FC236}">
                <a16:creationId xmlns:a16="http://schemas.microsoft.com/office/drawing/2014/main" id="{4DECC569-DBBF-0790-E103-48D936C0D536}"/>
              </a:ext>
            </a:extLst>
          </p:cNvPr>
          <p:cNvSpPr/>
          <p:nvPr/>
        </p:nvSpPr>
        <p:spPr bwMode="auto">
          <a:xfrm>
            <a:off x="609595" y="3671361"/>
            <a:ext cx="151814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Data</a:t>
            </a:r>
            <a:endParaRPr lang="en-IE" sz="1050" b="1">
              <a:solidFill>
                <a:schemeClr val="bg2"/>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2E301891-63F5-5FC0-6809-9C3B57403284}"/>
              </a:ext>
            </a:extLst>
          </p:cNvPr>
          <p:cNvSpPr/>
          <p:nvPr/>
        </p:nvSpPr>
        <p:spPr bwMode="auto">
          <a:xfrm>
            <a:off x="609597" y="4272514"/>
            <a:ext cx="1502038" cy="718294"/>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Network</a:t>
            </a:r>
            <a:endParaRPr lang="en-IE" sz="1050" b="1">
              <a:solidFill>
                <a:schemeClr val="bg2"/>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C863E37-6A71-7B22-E91D-90BDE37EFA79}"/>
              </a:ext>
            </a:extLst>
          </p:cNvPr>
          <p:cNvSpPr/>
          <p:nvPr/>
        </p:nvSpPr>
        <p:spPr bwMode="auto">
          <a:xfrm>
            <a:off x="625696" y="1626543"/>
            <a:ext cx="1502039"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Backup</a:t>
            </a:r>
            <a:endParaRPr lang="en-IE" sz="1050" b="1">
              <a:solidFill>
                <a:schemeClr val="bg2"/>
              </a:solidFill>
              <a:latin typeface="Calibri" panose="020F0502020204030204" pitchFamily="34" charset="0"/>
              <a:cs typeface="Calibri" panose="020F0502020204030204" pitchFamily="34" charset="0"/>
            </a:endParaRPr>
          </a:p>
        </p:txBody>
      </p:sp>
      <p:pic>
        <p:nvPicPr>
          <p:cNvPr id="22" name="Picture 21" descr="A black outline of a stack of coins&#10;&#10;Description automatically generated">
            <a:extLst>
              <a:ext uri="{FF2B5EF4-FFF2-40B4-BE49-F238E27FC236}">
                <a16:creationId xmlns:a16="http://schemas.microsoft.com/office/drawing/2014/main" id="{0D45F66F-7218-C1A8-C7D1-E8C383D1FD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488" y="1709515"/>
            <a:ext cx="360093" cy="356418"/>
          </a:xfrm>
          <a:prstGeom prst="rect">
            <a:avLst/>
          </a:prstGeom>
        </p:spPr>
      </p:pic>
      <p:pic>
        <p:nvPicPr>
          <p:cNvPr id="26" name="Picture 25">
            <a:extLst>
              <a:ext uri="{FF2B5EF4-FFF2-40B4-BE49-F238E27FC236}">
                <a16:creationId xmlns:a16="http://schemas.microsoft.com/office/drawing/2014/main" id="{3EF17092-CBBE-EB7A-7860-895FC0384CF5}"/>
              </a:ext>
            </a:extLst>
          </p:cNvPr>
          <p:cNvPicPr>
            <a:picLocks noChangeAspect="1"/>
          </p:cNvPicPr>
          <p:nvPr/>
        </p:nvPicPr>
        <p:blipFill>
          <a:blip r:embed="rId6"/>
          <a:stretch>
            <a:fillRect/>
          </a:stretch>
        </p:blipFill>
        <p:spPr>
          <a:xfrm>
            <a:off x="687555" y="3774408"/>
            <a:ext cx="420079" cy="340064"/>
          </a:xfrm>
          <a:prstGeom prst="rect">
            <a:avLst/>
          </a:prstGeom>
        </p:spPr>
      </p:pic>
      <p:pic>
        <p:nvPicPr>
          <p:cNvPr id="28" name="Picture 27" descr="A black and white logo&#10;&#10;Description automatically generated">
            <a:extLst>
              <a:ext uri="{FF2B5EF4-FFF2-40B4-BE49-F238E27FC236}">
                <a16:creationId xmlns:a16="http://schemas.microsoft.com/office/drawing/2014/main" id="{506300A8-BD69-8F3F-459D-F83012C334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555" y="4445986"/>
            <a:ext cx="401026" cy="401845"/>
          </a:xfrm>
          <a:prstGeom prst="rect">
            <a:avLst/>
          </a:prstGeom>
        </p:spPr>
      </p:pic>
      <p:sp>
        <p:nvSpPr>
          <p:cNvPr id="29" name="Rectangle 28">
            <a:extLst>
              <a:ext uri="{FF2B5EF4-FFF2-40B4-BE49-F238E27FC236}">
                <a16:creationId xmlns:a16="http://schemas.microsoft.com/office/drawing/2014/main" id="{E91498E1-0BBB-20D5-12E5-8CB3EA72E62B}"/>
              </a:ext>
            </a:extLst>
          </p:cNvPr>
          <p:cNvSpPr/>
          <p:nvPr/>
        </p:nvSpPr>
        <p:spPr bwMode="auto">
          <a:xfrm>
            <a:off x="609595" y="5073581"/>
            <a:ext cx="1502039"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Recovery</a:t>
            </a:r>
            <a:endParaRPr lang="en-IE" sz="1050" b="1">
              <a:solidFill>
                <a:schemeClr val="bg2"/>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0EB0489F-4DD9-4930-BD59-F943DF86DE3C}"/>
              </a:ext>
            </a:extLst>
          </p:cNvPr>
          <p:cNvSpPr/>
          <p:nvPr/>
        </p:nvSpPr>
        <p:spPr bwMode="auto">
          <a:xfrm>
            <a:off x="609594" y="5679741"/>
            <a:ext cx="1502039"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Security</a:t>
            </a:r>
            <a:endParaRPr lang="en-IE" sz="1050" b="1">
              <a:solidFill>
                <a:schemeClr val="bg2"/>
              </a:solidFill>
              <a:latin typeface="Calibri" panose="020F0502020204030204" pitchFamily="34" charset="0"/>
              <a:cs typeface="Calibri" panose="020F0502020204030204" pitchFamily="34" charset="0"/>
            </a:endParaRPr>
          </a:p>
        </p:txBody>
      </p:sp>
      <p:pic>
        <p:nvPicPr>
          <p:cNvPr id="47" name="Picture 46" descr="A black background with a black square&#10;&#10;Description automatically generated">
            <a:extLst>
              <a:ext uri="{FF2B5EF4-FFF2-40B4-BE49-F238E27FC236}">
                <a16:creationId xmlns:a16="http://schemas.microsoft.com/office/drawing/2014/main" id="{EDC4AF1A-A977-B5B3-0750-0F9D0A22B66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5588" y="5142141"/>
            <a:ext cx="386862" cy="386862"/>
          </a:xfrm>
          <a:prstGeom prst="rect">
            <a:avLst/>
          </a:prstGeom>
        </p:spPr>
      </p:pic>
      <p:pic>
        <p:nvPicPr>
          <p:cNvPr id="49" name="Picture 48">
            <a:extLst>
              <a:ext uri="{FF2B5EF4-FFF2-40B4-BE49-F238E27FC236}">
                <a16:creationId xmlns:a16="http://schemas.microsoft.com/office/drawing/2014/main" id="{C4C2D7E3-6051-6A60-C765-CCDD4BF74D87}"/>
              </a:ext>
            </a:extLst>
          </p:cNvPr>
          <p:cNvPicPr>
            <a:picLocks noChangeAspect="1"/>
          </p:cNvPicPr>
          <p:nvPr/>
        </p:nvPicPr>
        <p:blipFill>
          <a:blip r:embed="rId9"/>
          <a:stretch>
            <a:fillRect/>
          </a:stretch>
        </p:blipFill>
        <p:spPr>
          <a:xfrm>
            <a:off x="730932" y="5762512"/>
            <a:ext cx="276174" cy="358439"/>
          </a:xfrm>
          <a:prstGeom prst="rect">
            <a:avLst/>
          </a:prstGeom>
        </p:spPr>
      </p:pic>
      <p:sp>
        <p:nvSpPr>
          <p:cNvPr id="59" name="Rectangle 58">
            <a:extLst>
              <a:ext uri="{FF2B5EF4-FFF2-40B4-BE49-F238E27FC236}">
                <a16:creationId xmlns:a16="http://schemas.microsoft.com/office/drawing/2014/main" id="{9700A555-2C50-4CBA-5D41-215F49B0C889}"/>
              </a:ext>
            </a:extLst>
          </p:cNvPr>
          <p:cNvSpPr/>
          <p:nvPr/>
        </p:nvSpPr>
        <p:spPr bwMode="auto">
          <a:xfrm>
            <a:off x="2226025" y="2221524"/>
            <a:ext cx="7739950" cy="806920"/>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IE" sz="1000">
                <a:solidFill>
                  <a:schemeClr val="bg1"/>
                </a:solidFill>
                <a:latin typeface="Calibri" panose="020F0502020204030204" pitchFamily="34" charset="0"/>
                <a:cs typeface="Calibri" panose="020F0502020204030204" pitchFamily="34" charset="0"/>
              </a:rPr>
              <a:t>The proposed solution utilises current connectivity infrastructure and configurations in place at St. James's Hospital however, due to unique connectivity, latency, and throughput requirements, current connectivity infrastructure and configuration my not meet the required needs. In light of this, EY has also created high level designs of the proposed solution which utilises Azure Express Route Direct connections from labs directly into the Microsoft Azure Global Networking Backbone, from there they get direct access to proposed solution workloads. Secondary redundancy connectivity will also be configured.</a:t>
            </a:r>
          </a:p>
        </p:txBody>
      </p:sp>
      <p:sp>
        <p:nvSpPr>
          <p:cNvPr id="61" name="Rectangle 60">
            <a:extLst>
              <a:ext uri="{FF2B5EF4-FFF2-40B4-BE49-F238E27FC236}">
                <a16:creationId xmlns:a16="http://schemas.microsoft.com/office/drawing/2014/main" id="{3CDFCF25-B05B-975F-FCF0-A925EE347B2B}"/>
              </a:ext>
            </a:extLst>
          </p:cNvPr>
          <p:cNvSpPr/>
          <p:nvPr/>
        </p:nvSpPr>
        <p:spPr bwMode="auto">
          <a:xfrm>
            <a:off x="10071797" y="2221524"/>
            <a:ext cx="1490005" cy="806919"/>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0">
                  <a:extLst>
                    <a:ext uri="{A12FA001-AC4F-418D-AE19-62706E023703}">
                      <ahyp:hlinkClr xmlns:ahyp="http://schemas.microsoft.com/office/drawing/2018/hyperlinkcolor" val="tx"/>
                    </a:ext>
                  </a:extLst>
                </a:hlinkClick>
              </a:rPr>
              <a:t>Azure Express Route Direct</a:t>
            </a:r>
            <a:endParaRPr lang="en-IE" sz="1000" b="1" u="sng">
              <a:solidFill>
                <a:schemeClr val="tx2"/>
              </a:solidFill>
              <a:latin typeface="Calibri" panose="020F0502020204030204" pitchFamily="34" charset="0"/>
              <a:cs typeface="Calibri" panose="020F0502020204030204" pitchFamily="34" charset="0"/>
            </a:endParaRPr>
          </a:p>
        </p:txBody>
      </p:sp>
      <p:sp>
        <p:nvSpPr>
          <p:cNvPr id="62" name="Rectangle 61">
            <a:extLst>
              <a:ext uri="{FF2B5EF4-FFF2-40B4-BE49-F238E27FC236}">
                <a16:creationId xmlns:a16="http://schemas.microsoft.com/office/drawing/2014/main" id="{7D789C92-723E-FC5B-CD32-366B551536E0}"/>
              </a:ext>
            </a:extLst>
          </p:cNvPr>
          <p:cNvSpPr/>
          <p:nvPr/>
        </p:nvSpPr>
        <p:spPr bwMode="auto">
          <a:xfrm>
            <a:off x="2226025" y="3087911"/>
            <a:ext cx="7739950" cy="523983"/>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IE" sz="1000">
                <a:solidFill>
                  <a:schemeClr val="bg1"/>
                </a:solidFill>
                <a:latin typeface="Calibri" panose="020F0502020204030204" pitchFamily="34" charset="0"/>
                <a:cs typeface="Calibri" panose="020F0502020204030204" pitchFamily="34" charset="0"/>
              </a:rPr>
              <a:t>Compute resources and workloads will be migrated in line with Microsoft best practices and split between multiple availability zones in the same region to ensure high availability for critical compute workloads. Remote compute requirements will be serviced using AVD (Azure Virtual Desktop) via Browser and Microsoft Desktop Client access.</a:t>
            </a:r>
          </a:p>
        </p:txBody>
      </p:sp>
      <p:sp>
        <p:nvSpPr>
          <p:cNvPr id="63" name="Rectangle 62">
            <a:extLst>
              <a:ext uri="{FF2B5EF4-FFF2-40B4-BE49-F238E27FC236}">
                <a16:creationId xmlns:a16="http://schemas.microsoft.com/office/drawing/2014/main" id="{9B89B4C3-4D40-A681-25CA-EDA155BA59FB}"/>
              </a:ext>
            </a:extLst>
          </p:cNvPr>
          <p:cNvSpPr/>
          <p:nvPr/>
        </p:nvSpPr>
        <p:spPr bwMode="auto">
          <a:xfrm>
            <a:off x="10071797" y="3091210"/>
            <a:ext cx="1490005" cy="520684"/>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1">
                  <a:extLst>
                    <a:ext uri="{A12FA001-AC4F-418D-AE19-62706E023703}">
                      <ahyp:hlinkClr xmlns:ahyp="http://schemas.microsoft.com/office/drawing/2018/hyperlinkcolor" val="tx"/>
                    </a:ext>
                  </a:extLst>
                </a:hlinkClick>
              </a:rPr>
              <a:t>Azure Virtual Desktop</a:t>
            </a:r>
            <a:endParaRPr lang="en-IE" sz="1000" b="1" u="sng">
              <a:solidFill>
                <a:schemeClr val="tx2"/>
              </a:solidFill>
              <a:latin typeface="Calibri" panose="020F0502020204030204" pitchFamily="34" charset="0"/>
              <a:cs typeface="Calibri" panose="020F0502020204030204" pitchFamily="34" charset="0"/>
            </a:endParaRPr>
          </a:p>
        </p:txBody>
      </p:sp>
      <p:sp>
        <p:nvSpPr>
          <p:cNvPr id="1024" name="Rectangle 1023">
            <a:extLst>
              <a:ext uri="{FF2B5EF4-FFF2-40B4-BE49-F238E27FC236}">
                <a16:creationId xmlns:a16="http://schemas.microsoft.com/office/drawing/2014/main" id="{067299EF-3EB0-A66A-D97F-D1A917FBCE87}"/>
              </a:ext>
            </a:extLst>
          </p:cNvPr>
          <p:cNvSpPr/>
          <p:nvPr/>
        </p:nvSpPr>
        <p:spPr bwMode="auto">
          <a:xfrm>
            <a:off x="2226025" y="3671361"/>
            <a:ext cx="7739950" cy="523983"/>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IE" sz="1000">
                <a:solidFill>
                  <a:schemeClr val="bg1"/>
                </a:solidFill>
                <a:latin typeface="Calibri" panose="020F0502020204030204" pitchFamily="34" charset="0"/>
                <a:cs typeface="Calibri" panose="020F0502020204030204" pitchFamily="34" charset="0"/>
              </a:rPr>
              <a:t>Data resources and workloads will be migrated in line with Microsoft best practices and split between multiple availability zones in the same region to ensure high availability for critical data. Hot/cold storage tiering will be utilised for file resources, access databases will be migrated to Microsoft SQL servers/tables, and MySQL / PostgreSQL workloads will be migrated like for like.   </a:t>
            </a:r>
          </a:p>
        </p:txBody>
      </p:sp>
      <p:sp>
        <p:nvSpPr>
          <p:cNvPr id="1025" name="Rectangle 1024">
            <a:extLst>
              <a:ext uri="{FF2B5EF4-FFF2-40B4-BE49-F238E27FC236}">
                <a16:creationId xmlns:a16="http://schemas.microsoft.com/office/drawing/2014/main" id="{D8354445-5D96-1F53-7EC0-8DF376A27AEA}"/>
              </a:ext>
            </a:extLst>
          </p:cNvPr>
          <p:cNvSpPr/>
          <p:nvPr/>
        </p:nvSpPr>
        <p:spPr bwMode="auto">
          <a:xfrm>
            <a:off x="10071797" y="3674660"/>
            <a:ext cx="1490005" cy="520684"/>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2">
                  <a:extLst>
                    <a:ext uri="{A12FA001-AC4F-418D-AE19-62706E023703}">
                      <ahyp:hlinkClr xmlns:ahyp="http://schemas.microsoft.com/office/drawing/2018/hyperlinkcolor" val="tx"/>
                    </a:ext>
                  </a:extLst>
                </a:hlinkClick>
              </a:rPr>
              <a:t>Access to SQL</a:t>
            </a:r>
            <a:endParaRPr lang="en-GB" sz="1000" b="1" u="sng">
              <a:solidFill>
                <a:schemeClr val="tx2"/>
              </a:solidFill>
              <a:latin typeface="Calibri" panose="020F0502020204030204" pitchFamily="34" charset="0"/>
              <a:cs typeface="Calibri" panose="020F0502020204030204" pitchFamily="34" charset="0"/>
            </a:endParaRPr>
          </a:p>
          <a:p>
            <a:pPr algn="ctr"/>
            <a:r>
              <a:rPr lang="en-GB" sz="1000" b="1" u="sng">
                <a:solidFill>
                  <a:schemeClr val="tx2"/>
                </a:solidFill>
                <a:latin typeface="Calibri" panose="020F0502020204030204" pitchFamily="34" charset="0"/>
                <a:cs typeface="Calibri" panose="020F0502020204030204" pitchFamily="34" charset="0"/>
                <a:hlinkClick r:id="rId13">
                  <a:extLst>
                    <a:ext uri="{A12FA001-AC4F-418D-AE19-62706E023703}">
                      <ahyp:hlinkClr xmlns:ahyp="http://schemas.microsoft.com/office/drawing/2018/hyperlinkcolor" val="tx"/>
                    </a:ext>
                  </a:extLst>
                </a:hlinkClick>
              </a:rPr>
              <a:t>Migrate MySQL</a:t>
            </a:r>
            <a:r>
              <a:rPr lang="en-GB" sz="1000" b="1" u="sng">
                <a:solidFill>
                  <a:schemeClr val="tx2"/>
                </a:solidFill>
                <a:latin typeface="Calibri" panose="020F0502020204030204" pitchFamily="34" charset="0"/>
                <a:cs typeface="Calibri" panose="020F0502020204030204" pitchFamily="34" charset="0"/>
              </a:rPr>
              <a:t> </a:t>
            </a:r>
          </a:p>
          <a:p>
            <a:pPr algn="ctr"/>
            <a:r>
              <a:rPr lang="en-GB" sz="1000" b="1" u="sng">
                <a:solidFill>
                  <a:schemeClr val="tx2"/>
                </a:solidFill>
                <a:latin typeface="Calibri" panose="020F0502020204030204" pitchFamily="34" charset="0"/>
                <a:cs typeface="Calibri" panose="020F0502020204030204" pitchFamily="34" charset="0"/>
                <a:hlinkClick r:id="rId14">
                  <a:extLst>
                    <a:ext uri="{A12FA001-AC4F-418D-AE19-62706E023703}">
                      <ahyp:hlinkClr xmlns:ahyp="http://schemas.microsoft.com/office/drawing/2018/hyperlinkcolor" val="tx"/>
                    </a:ext>
                  </a:extLst>
                </a:hlinkClick>
              </a:rPr>
              <a:t>Migrate PostgreSQL</a:t>
            </a:r>
            <a:endParaRPr lang="en-IE" sz="1000" b="1" u="sng">
              <a:solidFill>
                <a:schemeClr val="tx2"/>
              </a:solidFill>
              <a:latin typeface="Calibri" panose="020F0502020204030204" pitchFamily="34" charset="0"/>
              <a:cs typeface="Calibri" panose="020F0502020204030204" pitchFamily="34" charset="0"/>
            </a:endParaRPr>
          </a:p>
        </p:txBody>
      </p:sp>
      <p:sp>
        <p:nvSpPr>
          <p:cNvPr id="1027" name="Rectangle 1026">
            <a:extLst>
              <a:ext uri="{FF2B5EF4-FFF2-40B4-BE49-F238E27FC236}">
                <a16:creationId xmlns:a16="http://schemas.microsoft.com/office/drawing/2014/main" id="{0C3475B8-9541-BE05-AF3A-24F898D414EB}"/>
              </a:ext>
            </a:extLst>
          </p:cNvPr>
          <p:cNvSpPr/>
          <p:nvPr/>
        </p:nvSpPr>
        <p:spPr bwMode="auto">
          <a:xfrm>
            <a:off x="2226025" y="4272514"/>
            <a:ext cx="7739950" cy="721341"/>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GB" sz="1000">
                <a:solidFill>
                  <a:schemeClr val="bg1"/>
                </a:solidFill>
                <a:latin typeface="Calibri" panose="020F0502020204030204" pitchFamily="34" charset="0"/>
                <a:cs typeface="Calibri" panose="020F0502020204030204" pitchFamily="34" charset="0"/>
              </a:rPr>
              <a:t>The p</a:t>
            </a:r>
            <a:r>
              <a:rPr lang="en-IE" sz="1000" err="1">
                <a:solidFill>
                  <a:schemeClr val="bg1"/>
                </a:solidFill>
                <a:latin typeface="Calibri" panose="020F0502020204030204" pitchFamily="34" charset="0"/>
                <a:cs typeface="Calibri" panose="020F0502020204030204" pitchFamily="34" charset="0"/>
              </a:rPr>
              <a:t>roposed</a:t>
            </a:r>
            <a:r>
              <a:rPr lang="en-IE" sz="1000">
                <a:solidFill>
                  <a:schemeClr val="bg1"/>
                </a:solidFill>
                <a:latin typeface="Calibri" panose="020F0502020204030204" pitchFamily="34" charset="0"/>
                <a:cs typeface="Calibri" panose="020F0502020204030204" pitchFamily="34" charset="0"/>
              </a:rPr>
              <a:t> solution resources in Azure will be segregated into several </a:t>
            </a:r>
            <a:r>
              <a:rPr lang="en-IE" sz="1000" err="1">
                <a:solidFill>
                  <a:schemeClr val="bg1"/>
                </a:solidFill>
                <a:latin typeface="Calibri" panose="020F0502020204030204" pitchFamily="34" charset="0"/>
                <a:cs typeface="Calibri" panose="020F0502020204030204" pitchFamily="34" charset="0"/>
              </a:rPr>
              <a:t>VNets</a:t>
            </a:r>
            <a:r>
              <a:rPr lang="en-IE" sz="1000">
                <a:solidFill>
                  <a:schemeClr val="bg1"/>
                </a:solidFill>
                <a:latin typeface="Calibri" panose="020F0502020204030204" pitchFamily="34" charset="0"/>
                <a:cs typeface="Calibri" panose="020F0502020204030204" pitchFamily="34" charset="0"/>
              </a:rPr>
              <a:t>, all of which will sit behind an internal Azure Firewall. The Azure firewall will be used for traffic shaping between </a:t>
            </a:r>
            <a:r>
              <a:rPr lang="en-IE" sz="1000" err="1">
                <a:solidFill>
                  <a:schemeClr val="bg1"/>
                </a:solidFill>
                <a:latin typeface="Calibri" panose="020F0502020204030204" pitchFamily="34" charset="0"/>
                <a:cs typeface="Calibri" panose="020F0502020204030204" pitchFamily="34" charset="0"/>
              </a:rPr>
              <a:t>VNets</a:t>
            </a:r>
            <a:r>
              <a:rPr lang="en-IE" sz="1000">
                <a:solidFill>
                  <a:schemeClr val="bg1"/>
                </a:solidFill>
                <a:latin typeface="Calibri" panose="020F0502020204030204" pitchFamily="34" charset="0"/>
                <a:cs typeface="Calibri" panose="020F0502020204030204" pitchFamily="34" charset="0"/>
              </a:rPr>
              <a:t> and Lab networks while, also providing DNS filtering. All Azure </a:t>
            </a:r>
            <a:r>
              <a:rPr lang="en-IE" sz="1000" err="1">
                <a:solidFill>
                  <a:schemeClr val="bg1"/>
                </a:solidFill>
                <a:latin typeface="Calibri" panose="020F0502020204030204" pitchFamily="34" charset="0"/>
                <a:cs typeface="Calibri" panose="020F0502020204030204" pitchFamily="34" charset="0"/>
              </a:rPr>
              <a:t>VNets</a:t>
            </a:r>
            <a:r>
              <a:rPr lang="en-IE" sz="1000">
                <a:solidFill>
                  <a:schemeClr val="bg1"/>
                </a:solidFill>
                <a:latin typeface="Calibri" panose="020F0502020204030204" pitchFamily="34" charset="0"/>
                <a:cs typeface="Calibri" panose="020F0502020204030204" pitchFamily="34" charset="0"/>
              </a:rPr>
              <a:t> will have Azure Network Security Groups (NSGs) assigned to them and will be managed directly via the Azure firewall. Traffic transfer between Lab networks and Azure </a:t>
            </a:r>
            <a:r>
              <a:rPr lang="en-IE" sz="1000" err="1">
                <a:solidFill>
                  <a:schemeClr val="bg1"/>
                </a:solidFill>
                <a:latin typeface="Calibri" panose="020F0502020204030204" pitchFamily="34" charset="0"/>
                <a:cs typeface="Calibri" panose="020F0502020204030204" pitchFamily="34" charset="0"/>
              </a:rPr>
              <a:t>VNets</a:t>
            </a:r>
            <a:r>
              <a:rPr lang="en-IE" sz="1000">
                <a:solidFill>
                  <a:schemeClr val="bg1"/>
                </a:solidFill>
                <a:latin typeface="Calibri" panose="020F0502020204030204" pitchFamily="34" charset="0"/>
                <a:cs typeface="Calibri" panose="020F0502020204030204" pitchFamily="34" charset="0"/>
              </a:rPr>
              <a:t> will be facilitated via an Azure Express Route virtual network Gateway. </a:t>
            </a:r>
          </a:p>
        </p:txBody>
      </p:sp>
      <p:sp>
        <p:nvSpPr>
          <p:cNvPr id="1028" name="Rectangle 1027">
            <a:extLst>
              <a:ext uri="{FF2B5EF4-FFF2-40B4-BE49-F238E27FC236}">
                <a16:creationId xmlns:a16="http://schemas.microsoft.com/office/drawing/2014/main" id="{681A0358-4E2C-67D7-5807-4EFC7CC37A39}"/>
              </a:ext>
            </a:extLst>
          </p:cNvPr>
          <p:cNvSpPr/>
          <p:nvPr/>
        </p:nvSpPr>
        <p:spPr bwMode="auto">
          <a:xfrm>
            <a:off x="10071797" y="4275813"/>
            <a:ext cx="1490005" cy="718042"/>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5">
                  <a:extLst>
                    <a:ext uri="{A12FA001-AC4F-418D-AE19-62706E023703}">
                      <ahyp:hlinkClr xmlns:ahyp="http://schemas.microsoft.com/office/drawing/2018/hyperlinkcolor" val="tx"/>
                    </a:ext>
                  </a:extLst>
                </a:hlinkClick>
              </a:rPr>
              <a:t>Azure Firewall</a:t>
            </a:r>
            <a:r>
              <a:rPr lang="en-GB" sz="1000" b="1" u="sng">
                <a:solidFill>
                  <a:schemeClr val="tx2"/>
                </a:solidFill>
                <a:latin typeface="Calibri" panose="020F0502020204030204" pitchFamily="34" charset="0"/>
                <a:cs typeface="Calibri" panose="020F0502020204030204" pitchFamily="34" charset="0"/>
              </a:rPr>
              <a:t> </a:t>
            </a:r>
          </a:p>
          <a:p>
            <a:pPr algn="ctr"/>
            <a:r>
              <a:rPr lang="en-GB" sz="1000" b="1" u="sng">
                <a:solidFill>
                  <a:schemeClr val="tx2"/>
                </a:solidFill>
                <a:latin typeface="Calibri" panose="020F0502020204030204" pitchFamily="34" charset="0"/>
                <a:cs typeface="Calibri" panose="020F0502020204030204" pitchFamily="34" charset="0"/>
                <a:hlinkClick r:id="rId16">
                  <a:extLst>
                    <a:ext uri="{A12FA001-AC4F-418D-AE19-62706E023703}">
                      <ahyp:hlinkClr xmlns:ahyp="http://schemas.microsoft.com/office/drawing/2018/hyperlinkcolor" val="tx"/>
                    </a:ext>
                  </a:extLst>
                </a:hlinkClick>
              </a:rPr>
              <a:t>Azure NSGs</a:t>
            </a:r>
            <a:endParaRPr lang="en-GB" sz="1000" b="1" u="sng">
              <a:solidFill>
                <a:schemeClr val="tx2"/>
              </a:solidFill>
              <a:latin typeface="Calibri" panose="020F0502020204030204" pitchFamily="34" charset="0"/>
              <a:cs typeface="Calibri" panose="020F0502020204030204" pitchFamily="34" charset="0"/>
            </a:endParaRPr>
          </a:p>
          <a:p>
            <a:pPr algn="ctr"/>
            <a:r>
              <a:rPr lang="en-IE" sz="1000" b="1" u="sng">
                <a:solidFill>
                  <a:schemeClr val="tx2"/>
                </a:solidFill>
                <a:latin typeface="Calibri" panose="020F0502020204030204" pitchFamily="34" charset="0"/>
                <a:cs typeface="Calibri" panose="020F0502020204030204" pitchFamily="34" charset="0"/>
                <a:hlinkClick r:id="rId17">
                  <a:extLst>
                    <a:ext uri="{A12FA001-AC4F-418D-AE19-62706E023703}">
                      <ahyp:hlinkClr xmlns:ahyp="http://schemas.microsoft.com/office/drawing/2018/hyperlinkcolor" val="tx"/>
                    </a:ext>
                  </a:extLst>
                </a:hlinkClick>
              </a:rPr>
              <a:t>Express Route Gateway</a:t>
            </a:r>
            <a:endParaRPr lang="en-IE" sz="1000" b="1" u="sng">
              <a:solidFill>
                <a:schemeClr val="tx2"/>
              </a:solidFill>
              <a:latin typeface="Calibri" panose="020F0502020204030204" pitchFamily="34" charset="0"/>
              <a:cs typeface="Calibri" panose="020F0502020204030204" pitchFamily="34" charset="0"/>
            </a:endParaRPr>
          </a:p>
        </p:txBody>
      </p:sp>
      <p:sp>
        <p:nvSpPr>
          <p:cNvPr id="1031" name="Rectangle 1030">
            <a:extLst>
              <a:ext uri="{FF2B5EF4-FFF2-40B4-BE49-F238E27FC236}">
                <a16:creationId xmlns:a16="http://schemas.microsoft.com/office/drawing/2014/main" id="{F34B1A3B-43D1-3BB3-3686-C533AC5F9F8F}"/>
              </a:ext>
            </a:extLst>
          </p:cNvPr>
          <p:cNvSpPr/>
          <p:nvPr/>
        </p:nvSpPr>
        <p:spPr bwMode="auto">
          <a:xfrm>
            <a:off x="2226024" y="5068574"/>
            <a:ext cx="7739950" cy="523983"/>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IE" sz="1000">
                <a:solidFill>
                  <a:schemeClr val="bg1"/>
                </a:solidFill>
                <a:latin typeface="Calibri" panose="020F0502020204030204" pitchFamily="34" charset="0"/>
                <a:cs typeface="Calibri" panose="020F0502020204030204" pitchFamily="34" charset="0"/>
              </a:rPr>
              <a:t>Azure recovery services will be used to replication critical workloads to a secondary failover region and in the case of a disaster event taking place, critical workloads will continue to be operational and will be easily recoverable. Fail safes will also be enabled on all data storage locations for example, deletion bins, purge protection, and IAM restrictions. </a:t>
            </a:r>
          </a:p>
        </p:txBody>
      </p:sp>
      <p:sp>
        <p:nvSpPr>
          <p:cNvPr id="1032" name="Rectangle 1031">
            <a:extLst>
              <a:ext uri="{FF2B5EF4-FFF2-40B4-BE49-F238E27FC236}">
                <a16:creationId xmlns:a16="http://schemas.microsoft.com/office/drawing/2014/main" id="{6BBA9B2B-0DD8-4091-6E69-B3AAB820AEAC}"/>
              </a:ext>
            </a:extLst>
          </p:cNvPr>
          <p:cNvSpPr/>
          <p:nvPr/>
        </p:nvSpPr>
        <p:spPr bwMode="auto">
          <a:xfrm>
            <a:off x="10071796" y="5071873"/>
            <a:ext cx="1490005" cy="520684"/>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8">
                  <a:extLst>
                    <a:ext uri="{A12FA001-AC4F-418D-AE19-62706E023703}">
                      <ahyp:hlinkClr xmlns:ahyp="http://schemas.microsoft.com/office/drawing/2018/hyperlinkcolor" val="tx"/>
                    </a:ext>
                  </a:extLst>
                </a:hlinkClick>
              </a:rPr>
              <a:t>Azure Recovery Services</a:t>
            </a:r>
            <a:endParaRPr lang="en-IE" sz="1000" b="1" u="sng">
              <a:solidFill>
                <a:schemeClr val="tx2"/>
              </a:solidFill>
              <a:latin typeface="Calibri" panose="020F0502020204030204" pitchFamily="34" charset="0"/>
              <a:cs typeface="Calibri" panose="020F0502020204030204" pitchFamily="34" charset="0"/>
            </a:endParaRPr>
          </a:p>
        </p:txBody>
      </p:sp>
      <p:sp>
        <p:nvSpPr>
          <p:cNvPr id="1033" name="Rectangle 1032">
            <a:extLst>
              <a:ext uri="{FF2B5EF4-FFF2-40B4-BE49-F238E27FC236}">
                <a16:creationId xmlns:a16="http://schemas.microsoft.com/office/drawing/2014/main" id="{80DE412C-1E16-0B01-7B44-285DD87703BE}"/>
              </a:ext>
            </a:extLst>
          </p:cNvPr>
          <p:cNvSpPr/>
          <p:nvPr/>
        </p:nvSpPr>
        <p:spPr bwMode="auto">
          <a:xfrm>
            <a:off x="2226024" y="5676747"/>
            <a:ext cx="7739950" cy="523983"/>
          </a:xfrm>
          <a:prstGeom prst="rect">
            <a:avLst/>
          </a:prstGeom>
          <a:solidFill>
            <a:srgbClr val="C4C4CD"/>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r>
              <a:rPr lang="en-GB" sz="1000">
                <a:solidFill>
                  <a:schemeClr val="bg1"/>
                </a:solidFill>
                <a:latin typeface="Calibri" panose="020F0502020204030204" pitchFamily="34" charset="0"/>
                <a:cs typeface="Calibri" panose="020F0502020204030204" pitchFamily="34" charset="0"/>
              </a:rPr>
              <a:t>A</a:t>
            </a:r>
            <a:r>
              <a:rPr lang="en-IE" sz="1000" err="1">
                <a:solidFill>
                  <a:schemeClr val="bg1"/>
                </a:solidFill>
                <a:latin typeface="Calibri" panose="020F0502020204030204" pitchFamily="34" charset="0"/>
                <a:cs typeface="Calibri" panose="020F0502020204030204" pitchFamily="34" charset="0"/>
              </a:rPr>
              <a:t>zure</a:t>
            </a:r>
            <a:r>
              <a:rPr lang="en-IE" sz="1000">
                <a:solidFill>
                  <a:schemeClr val="bg1"/>
                </a:solidFill>
                <a:latin typeface="Calibri" panose="020F0502020204030204" pitchFamily="34" charset="0"/>
                <a:cs typeface="Calibri" panose="020F0502020204030204" pitchFamily="34" charset="0"/>
              </a:rPr>
              <a:t> Defender for Cloud will be utilised to provide security reviews and recommendations for all Azure workloads. Azure Sentinel will be utilised to provide real time security alerting, monitoring, management, and response. All aspects of security monitoring and remediation will be automated where possible.</a:t>
            </a:r>
          </a:p>
        </p:txBody>
      </p:sp>
      <p:sp>
        <p:nvSpPr>
          <p:cNvPr id="1034" name="Rectangle 1033">
            <a:extLst>
              <a:ext uri="{FF2B5EF4-FFF2-40B4-BE49-F238E27FC236}">
                <a16:creationId xmlns:a16="http://schemas.microsoft.com/office/drawing/2014/main" id="{F2605CCF-1AF8-288E-3682-6B41C83B710F}"/>
              </a:ext>
            </a:extLst>
          </p:cNvPr>
          <p:cNvSpPr/>
          <p:nvPr/>
        </p:nvSpPr>
        <p:spPr bwMode="auto">
          <a:xfrm>
            <a:off x="10071796" y="5680046"/>
            <a:ext cx="1490005" cy="520684"/>
          </a:xfrm>
          <a:prstGeom prst="rect">
            <a:avLst/>
          </a:prstGeom>
          <a:solidFill>
            <a:srgbClr val="74747D"/>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GB" sz="1000" b="1" u="sng">
                <a:solidFill>
                  <a:schemeClr val="tx2"/>
                </a:solidFill>
                <a:latin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Azure Defender for Cloud</a:t>
            </a:r>
            <a:endParaRPr lang="en-GB" sz="1000" b="1" u="sng">
              <a:solidFill>
                <a:schemeClr val="tx2"/>
              </a:solidFill>
              <a:latin typeface="Calibri" panose="020F0502020204030204" pitchFamily="34" charset="0"/>
              <a:cs typeface="Calibri" panose="020F0502020204030204" pitchFamily="34" charset="0"/>
            </a:endParaRPr>
          </a:p>
          <a:p>
            <a:pPr algn="ctr"/>
            <a:r>
              <a:rPr lang="en-GB" sz="1000" b="1" u="sng">
                <a:solidFill>
                  <a:schemeClr val="tx2"/>
                </a:solidFill>
                <a:latin typeface="Calibri" panose="020F0502020204030204" pitchFamily="34" charset="0"/>
                <a:cs typeface="Calibri" panose="020F0502020204030204" pitchFamily="34" charset="0"/>
                <a:hlinkClick r:id="rId20">
                  <a:extLst>
                    <a:ext uri="{A12FA001-AC4F-418D-AE19-62706E023703}">
                      <ahyp:hlinkClr xmlns:ahyp="http://schemas.microsoft.com/office/drawing/2018/hyperlinkcolor" val="tx"/>
                    </a:ext>
                  </a:extLst>
                </a:hlinkClick>
              </a:rPr>
              <a:t>Azure Sentinel</a:t>
            </a:r>
            <a:endParaRPr lang="en-IE" sz="1000" b="1" u="sng">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686487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C.1 – Proposed Solution – Technical Architecture</a:t>
            </a:r>
            <a:endParaRPr lang="en-IE">
              <a:latin typeface="Calibri" panose="020F0502020204030204" pitchFamily="34" charset="0"/>
              <a:cs typeface="Calibri" panose="020F0502020204030204" pitchFamily="34" charset="0"/>
            </a:endParaRPr>
          </a:p>
        </p:txBody>
      </p:sp>
      <p:sp>
        <p:nvSpPr>
          <p:cNvPr id="3" name="Text Placeholder 3">
            <a:extLst>
              <a:ext uri="{FF2B5EF4-FFF2-40B4-BE49-F238E27FC236}">
                <a16:creationId xmlns:a16="http://schemas.microsoft.com/office/drawing/2014/main" id="{054356EA-79F4-3612-54CC-809CBFF37041}"/>
              </a:ext>
            </a:extLst>
          </p:cNvPr>
          <p:cNvSpPr txBox="1">
            <a:spLocks/>
          </p:cNvSpPr>
          <p:nvPr/>
        </p:nvSpPr>
        <p:spPr>
          <a:xfrm>
            <a:off x="635525" y="1373533"/>
            <a:ext cx="10870675" cy="169277"/>
          </a:xfrm>
          <a:prstGeom prst="rect">
            <a:avLst/>
          </a:prstGeom>
        </p:spPr>
        <p:txBody>
          <a:bodyPr vert="horz" wrap="square" lIns="0" tIns="0" rIns="0" bIns="0" rtlCol="0" anchor="t" anchorCtr="0">
            <a:spAutoFit/>
          </a:bodyPr>
          <a:lstStyle>
            <a:lvl1pPr indent="0" defTabSz="914400">
              <a:spcBef>
                <a:spcPts val="0"/>
              </a:spcBef>
              <a:spcAft>
                <a:spcPts val="1200"/>
              </a:spcAft>
              <a:buClr>
                <a:schemeClr val="accent2"/>
              </a:buClr>
              <a:buSzPct val="70000"/>
              <a:buFont typeface="Arial" pitchFamily="34" charset="0"/>
              <a:buNone/>
              <a:defRPr sz="1400">
                <a:solidFill>
                  <a:schemeClr val="tx1">
                    <a:lumMod val="50000"/>
                    <a:lumOff val="50000"/>
                  </a:schemeClr>
                </a:solidFill>
                <a:latin typeface="EYInterstate Light" pitchFamily="2" charset="0"/>
              </a:defRPr>
            </a:lvl1pPr>
            <a:lvl2pPr marL="0" indent="0">
              <a:spcBef>
                <a:spcPts val="200"/>
              </a:spcBef>
              <a:spcAft>
                <a:spcPts val="500"/>
              </a:spcAft>
              <a:buFontTx/>
              <a:buNone/>
              <a:defRPr sz="1400" b="1">
                <a:solidFill>
                  <a:schemeClr val="bg2"/>
                </a:solidFill>
                <a:latin typeface="EYInterstate Light" pitchFamily="2" charset="0"/>
              </a:defRPr>
            </a:lvl2pPr>
            <a:lvl3pPr marL="0" indent="0">
              <a:spcBef>
                <a:spcPts val="200"/>
              </a:spcBef>
              <a:spcAft>
                <a:spcPts val="500"/>
              </a:spcAft>
              <a:buFontTx/>
              <a:buNone/>
              <a:defRPr sz="1200" b="1">
                <a:solidFill>
                  <a:schemeClr val="tx2"/>
                </a:solidFill>
                <a:latin typeface="EYInterstate Light" pitchFamily="2" charset="0"/>
              </a:defRPr>
            </a:lvl3pPr>
            <a:lvl4pPr marL="177800" indent="-177800">
              <a:spcBef>
                <a:spcPts val="0"/>
              </a:spcBef>
              <a:spcAft>
                <a:spcPts val="500"/>
              </a:spcAft>
              <a:buSzPct val="70000"/>
              <a:buFont typeface="Arial" pitchFamily="34" charset="0"/>
              <a:buChar char="►"/>
              <a:defRPr sz="1000">
                <a:latin typeface="EYInterstate Light" pitchFamily="2" charset="0"/>
              </a:defRPr>
            </a:lvl4pPr>
            <a:lvl5pPr marL="342900" indent="-165100">
              <a:spcBef>
                <a:spcPts val="0"/>
              </a:spcBef>
              <a:spcAft>
                <a:spcPts val="500"/>
              </a:spcAft>
              <a:buSzPct val="70000"/>
              <a:buFont typeface="Arial" pitchFamily="34" charset="0"/>
              <a:buChar char="►"/>
              <a:defRPr sz="1000">
                <a:latin typeface="EYInterstate Light" pitchFamily="2" charset="0"/>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pPr marL="0" marR="0" lvl="0" indent="0" algn="l" defTabSz="914400" rtl="0" eaLnBrk="1" fontAlgn="auto" latinLnBrk="0" hangingPunct="1">
              <a:lnSpc>
                <a:spcPct val="100000"/>
              </a:lnSpc>
              <a:spcBef>
                <a:spcPts val="0"/>
              </a:spcBef>
              <a:spcAft>
                <a:spcPts val="1200"/>
              </a:spcAft>
              <a:buClr>
                <a:srgbClr val="C0C0C0"/>
              </a:buClr>
              <a:buSzPct val="70000"/>
              <a:buFont typeface="Arial" pitchFamily="34" charset="0"/>
              <a:buNone/>
              <a:tabLst/>
              <a:defRPr/>
            </a:pPr>
            <a:r>
              <a:rPr kumimoji="0" lang="en-GB"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igh Level Technical Architecture for the </a:t>
            </a:r>
            <a:r>
              <a:rPr lang="en-GB" sz="1100">
                <a:solidFill>
                  <a:schemeClr val="bg1"/>
                </a:solidFill>
                <a:latin typeface="Calibri" panose="020F0502020204030204" pitchFamily="34" charset="0"/>
                <a:cs typeface="Calibri" panose="020F0502020204030204" pitchFamily="34" charset="0"/>
              </a:rPr>
              <a:t>Proposed </a:t>
            </a:r>
            <a:r>
              <a:rPr kumimoji="0" lang="en-GB"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Solution, leveraging Microsoft Azure services to meet requirements: </a:t>
            </a:r>
            <a:r>
              <a:rPr kumimoji="0" lang="en-GB" sz="11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No replication and minimum DR,</a:t>
            </a:r>
            <a:r>
              <a:rPr kumimoji="0" lang="en-GB" sz="110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 lowest monthly cost.</a:t>
            </a:r>
            <a:endParaRPr kumimoji="0" lang="en-GB" sz="11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96C46AEF-9125-B875-9BE2-712E3A29605B}"/>
              </a:ext>
            </a:extLst>
          </p:cNvPr>
          <p:cNvPicPr>
            <a:picLocks noChangeAspect="1"/>
          </p:cNvPicPr>
          <p:nvPr/>
        </p:nvPicPr>
        <p:blipFill>
          <a:blip r:embed="rId2"/>
          <a:stretch>
            <a:fillRect/>
          </a:stretch>
        </p:blipFill>
        <p:spPr>
          <a:xfrm>
            <a:off x="1485900" y="1712087"/>
            <a:ext cx="9220200" cy="4502590"/>
          </a:xfrm>
          <a:prstGeom prst="rect">
            <a:avLst/>
          </a:prstGeom>
        </p:spPr>
      </p:pic>
      <p:sp>
        <p:nvSpPr>
          <p:cNvPr id="4" name="TextBox 3">
            <a:extLst>
              <a:ext uri="{FF2B5EF4-FFF2-40B4-BE49-F238E27FC236}">
                <a16:creationId xmlns:a16="http://schemas.microsoft.com/office/drawing/2014/main" id="{65F920F5-A800-8CC9-007C-C71670805DE7}"/>
              </a:ext>
            </a:extLst>
          </p:cNvPr>
          <p:cNvSpPr txBox="1"/>
          <p:nvPr/>
        </p:nvSpPr>
        <p:spPr>
          <a:xfrm>
            <a:off x="3359168" y="6210729"/>
            <a:ext cx="5423388" cy="230832"/>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1 – High level design of Replication and DR within a single region for required workloads in Microsoft Azure.</a:t>
            </a:r>
          </a:p>
        </p:txBody>
      </p:sp>
    </p:spTree>
    <p:extLst>
      <p:ext uri="{BB962C8B-B14F-4D97-AF65-F5344CB8AC3E}">
        <p14:creationId xmlns:p14="http://schemas.microsoft.com/office/powerpoint/2010/main" val="2364299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606194" y="1265205"/>
            <a:ext cx="5486399" cy="676788"/>
          </a:xfrm>
        </p:spPr>
        <p:txBody>
          <a:bodyPr/>
          <a:lstStyle/>
          <a:p>
            <a:r>
              <a:rPr lang="en-IE">
                <a:latin typeface="Calibri"/>
                <a:cs typeface="Calibri"/>
              </a:rPr>
              <a:t>Detailed Solution</a:t>
            </a:r>
            <a:endParaRPr lang="en-IE">
              <a:latin typeface="Calibri" panose="020F0502020204030204" pitchFamily="34" charset="0"/>
              <a:cs typeface="Calibri" panose="020F0502020204030204" pitchFamily="34" charset="0"/>
            </a:endParaRP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panose="020F0502020204030204" pitchFamily="34" charset="0"/>
                <a:cs typeface="Calibri" panose="020F0502020204030204" pitchFamily="34" charset="0"/>
              </a:rPr>
              <a:t>D.</a:t>
            </a:r>
          </a:p>
        </p:txBody>
      </p:sp>
    </p:spTree>
    <p:extLst>
      <p:ext uri="{BB962C8B-B14F-4D97-AF65-F5344CB8AC3E}">
        <p14:creationId xmlns:p14="http://schemas.microsoft.com/office/powerpoint/2010/main" val="663762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9774477" cy="676788"/>
          </a:xfrm>
        </p:spPr>
        <p:txBody>
          <a:bodyPr/>
          <a:lstStyle/>
          <a:p>
            <a:r>
              <a:rPr lang="en-IE">
                <a:latin typeface="Calibri" panose="020F0502020204030204" pitchFamily="34" charset="0"/>
                <a:cs typeface="Calibri" panose="020F0502020204030204" pitchFamily="34" charset="0"/>
              </a:rPr>
              <a:t>D.1 – Our Detailed Solution Overview</a:t>
            </a:r>
          </a:p>
        </p:txBody>
      </p:sp>
    </p:spTree>
    <p:extLst>
      <p:ext uri="{BB962C8B-B14F-4D97-AF65-F5344CB8AC3E}">
        <p14:creationId xmlns:p14="http://schemas.microsoft.com/office/powerpoint/2010/main" val="2959291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Directory &amp; Identity </a:t>
            </a:r>
            <a:r>
              <a:rPr lang="en-IE">
                <a:latin typeface="Calibri" panose="020F0502020204030204" pitchFamily="34" charset="0"/>
                <a:cs typeface="Calibri" panose="020F0502020204030204" pitchFamily="34" charset="0"/>
              </a:rPr>
              <a:t>Access Management Services</a:t>
            </a:r>
          </a:p>
        </p:txBody>
      </p:sp>
      <p:sp>
        <p:nvSpPr>
          <p:cNvPr id="2" name="TextBox 1">
            <a:extLst>
              <a:ext uri="{FF2B5EF4-FFF2-40B4-BE49-F238E27FC236}">
                <a16:creationId xmlns:a16="http://schemas.microsoft.com/office/drawing/2014/main" id="{2A3E6A58-59B6-66EC-DCBF-147B11D64D80}"/>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FB267DA-7178-6B10-B032-0214E0933B7B}"/>
              </a:ext>
            </a:extLst>
          </p:cNvPr>
          <p:cNvSpPr txBox="1"/>
          <p:nvPr/>
        </p:nvSpPr>
        <p:spPr>
          <a:xfrm>
            <a:off x="569239" y="1612856"/>
            <a:ext cx="10974388" cy="4639603"/>
          </a:xfrm>
          <a:prstGeom prst="rect">
            <a:avLst/>
          </a:prstGeom>
          <a:noFill/>
          <a:ln w="19050">
            <a:noFill/>
          </a:ln>
        </p:spPr>
        <p:txBody>
          <a:bodyPr wrap="square" lIns="0" tIns="36576" rIns="0" bIns="0" rtlCol="0" anchor="t">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rgbClr val="27ACAA"/>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85701F8-51DB-DD40-31E0-F3D4A8A839EA}"/>
              </a:ext>
            </a:extLst>
          </p:cNvPr>
          <p:cNvSpPr/>
          <p:nvPr/>
        </p:nvSpPr>
        <p:spPr bwMode="auto">
          <a:xfrm>
            <a:off x="775165" y="1350865"/>
            <a:ext cx="10562537"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a:solidFill>
                <a:schemeClr val="bg2"/>
              </a:solidFill>
              <a:latin typeface="Calibri" panose="020F0502020204030204" pitchFamily="34" charset="0"/>
              <a:cs typeface="Calibri" panose="020F0502020204030204" pitchFamily="34" charset="0"/>
            </a:endParaRPr>
          </a:p>
        </p:txBody>
      </p:sp>
      <p:pic>
        <p:nvPicPr>
          <p:cNvPr id="9" name="Graphic 8" descr="Key with solid fill">
            <a:extLst>
              <a:ext uri="{FF2B5EF4-FFF2-40B4-BE49-F238E27FC236}">
                <a16:creationId xmlns:a16="http://schemas.microsoft.com/office/drawing/2014/main" id="{59D205A3-F0F8-155A-CECA-506998F1A2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4297" y="1405054"/>
            <a:ext cx="420588" cy="420588"/>
          </a:xfrm>
          <a:prstGeom prst="rect">
            <a:avLst/>
          </a:prstGeom>
        </p:spPr>
      </p:pic>
      <p:sp>
        <p:nvSpPr>
          <p:cNvPr id="10" name="TextBox 9">
            <a:extLst>
              <a:ext uri="{FF2B5EF4-FFF2-40B4-BE49-F238E27FC236}">
                <a16:creationId xmlns:a16="http://schemas.microsoft.com/office/drawing/2014/main" id="{FBFA8DAE-1093-AD7D-A547-843DB0D98E19}"/>
              </a:ext>
            </a:extLst>
          </p:cNvPr>
          <p:cNvSpPr txBox="1"/>
          <p:nvPr/>
        </p:nvSpPr>
        <p:spPr>
          <a:xfrm>
            <a:off x="749124" y="2161791"/>
            <a:ext cx="4560864" cy="3237874"/>
          </a:xfrm>
          <a:prstGeom prst="rect">
            <a:avLst/>
          </a:prstGeom>
          <a:noFill/>
          <a:ln>
            <a:noFill/>
          </a:ln>
        </p:spPr>
        <p:txBody>
          <a:bodyPr wrap="square" lIns="0" tIns="36576" rIns="0" bIns="0" rtlCol="0" anchor="t">
            <a:spAutoFit/>
          </a:bodyPr>
          <a:lstStyle/>
          <a:p>
            <a:pPr marL="171450" indent="-171450" algn="just">
              <a:lnSpc>
                <a:spcPct val="150000"/>
              </a:lnSpc>
              <a:spcAft>
                <a:spcPts val="600"/>
              </a:spcAft>
              <a:buSzPct val="90000"/>
              <a:buFont typeface="Arial"/>
              <a:buChar char="•"/>
            </a:pPr>
            <a:r>
              <a:rPr lang="en-US" sz="1050">
                <a:solidFill>
                  <a:schemeClr val="bg2">
                    <a:lumMod val="65000"/>
                    <a:lumOff val="35000"/>
                  </a:schemeClr>
                </a:solidFill>
                <a:latin typeface="Calibri" panose="020F0502020204030204" pitchFamily="34" charset="0"/>
                <a:cs typeface="Calibri" panose="020F0502020204030204" pitchFamily="34" charset="0"/>
              </a:rPr>
              <a:t>Azure Virtual Desktop (AVD) supports hybrid identities through Azure AD, which will allow the existing users or the new ones to access their application using the same user account.</a:t>
            </a:r>
          </a:p>
          <a:p>
            <a:pPr marL="171450" indent="-171450" algn="just">
              <a:lnSpc>
                <a:spcPct val="150000"/>
              </a:lnSpc>
              <a:spcAft>
                <a:spcPts val="600"/>
              </a:spcAft>
              <a:buSzPct val="90000"/>
              <a:buFont typeface="Arial"/>
              <a:buChar char="•"/>
            </a:pPr>
            <a:r>
              <a:rPr lang="en-US" sz="1050">
                <a:solidFill>
                  <a:schemeClr val="bg2">
                    <a:lumMod val="65000"/>
                    <a:lumOff val="35000"/>
                  </a:schemeClr>
                </a:solidFill>
                <a:latin typeface="Calibri" panose="020F0502020204030204" pitchFamily="34" charset="0"/>
                <a:cs typeface="Calibri" panose="020F0502020204030204" pitchFamily="34" charset="0"/>
              </a:rPr>
              <a:t>EY had reviewed SJH User Identities requirements, and we will follow the </a:t>
            </a:r>
            <a:r>
              <a:rPr lang="en-IE" sz="1050">
                <a:solidFill>
                  <a:schemeClr val="bg2">
                    <a:lumMod val="65000"/>
                    <a:lumOff val="35000"/>
                  </a:schemeClr>
                </a:solidFill>
                <a:latin typeface="Calibri" panose="020F0502020204030204" pitchFamily="34" charset="0"/>
                <a:cs typeface="Calibri" panose="020F0502020204030204" pitchFamily="34" charset="0"/>
              </a:rPr>
              <a:t>best practices to comply with the current security base line to handle the log-in details, rotation of user passwords, MFA, managing database level access, and  utilise the least-privilege model using Azure role-based access control (RBAC)</a:t>
            </a: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a:lnSpc>
                <a:spcPct val="150000"/>
              </a:lnSpc>
              <a:buSzPct val="90000"/>
              <a:buFont typeface="Arial"/>
              <a:buChar char="•"/>
            </a:pPr>
            <a:r>
              <a:rPr lang="en-US" sz="1050">
                <a:solidFill>
                  <a:schemeClr val="bg2">
                    <a:lumMod val="65000"/>
                    <a:lumOff val="35000"/>
                  </a:schemeClr>
                </a:solidFill>
                <a:latin typeface="Calibri" panose="020F0502020204030204" pitchFamily="34" charset="0"/>
                <a:cs typeface="Calibri" panose="020F0502020204030204" pitchFamily="34" charset="0"/>
              </a:rPr>
              <a:t>Using Azure AD Conditional Access, we will define the Conditional Access framework and policies, and apply different configurations like multi-factor authentication ( MFA), Named locations, Trusted IPs, Internal networks, allowed countries and regions .. Etc.</a:t>
            </a:r>
          </a:p>
          <a:p>
            <a:pPr>
              <a:lnSpc>
                <a:spcPct val="85000"/>
              </a:lnSpc>
              <a:spcAft>
                <a:spcPts val="600"/>
              </a:spcAft>
              <a:buSzPct val="90000"/>
            </a:pPr>
            <a:endParaRPr lang="en-US" sz="1050">
              <a:solidFill>
                <a:schemeClr val="bg2">
                  <a:lumMod val="65000"/>
                  <a:lumOff val="35000"/>
                </a:schemeClr>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4BE620CC-8970-9241-3629-C5327D229BB4}"/>
              </a:ext>
            </a:extLst>
          </p:cNvPr>
          <p:cNvSpPr txBox="1"/>
          <p:nvPr/>
        </p:nvSpPr>
        <p:spPr>
          <a:xfrm>
            <a:off x="1395332" y="1458335"/>
            <a:ext cx="9829800" cy="311624"/>
          </a:xfrm>
          <a:prstGeom prst="rect">
            <a:avLst/>
          </a:prstGeom>
          <a:noFill/>
        </p:spPr>
        <p:txBody>
          <a:bodyPr wrap="square" lIns="0" tIns="36576" rIns="0" bIns="0" rtlCol="0" anchor="t">
            <a:spAutoFit/>
          </a:bodyPr>
          <a:lstStyle/>
          <a:p>
            <a:pPr>
              <a:lnSpc>
                <a:spcPct val="85000"/>
              </a:lnSpc>
              <a:spcAft>
                <a:spcPts val="600"/>
              </a:spcAft>
              <a:buClr>
                <a:schemeClr val="accent2"/>
              </a:buClr>
              <a:buSzPct val="70000"/>
            </a:pPr>
            <a:r>
              <a:rPr lang="en-GB" sz="1050" b="1">
                <a:solidFill>
                  <a:schemeClr val="bg2"/>
                </a:solidFill>
                <a:latin typeface="Calibri"/>
                <a:cs typeface="Calibri"/>
              </a:rPr>
              <a:t>Access: </a:t>
            </a:r>
            <a:r>
              <a:rPr lang="en-GB" sz="1050">
                <a:solidFill>
                  <a:schemeClr val="bg2"/>
                </a:solidFill>
                <a:latin typeface="Calibri"/>
                <a:cs typeface="Calibri"/>
              </a:rPr>
              <a:t>In line with access requirements, the proposed EY solution is designed to meet access needs now and, in the future, ensuring access to the solution is highly secured, scalable, and stable, while utilising existing access processes and adding detailed auditing and monitoring functionality.</a:t>
            </a:r>
            <a:endParaRPr lang="en-IE" sz="1050">
              <a:solidFill>
                <a:schemeClr val="bg2"/>
              </a:solidFill>
              <a:latin typeface="Calibri"/>
              <a:cs typeface="Calibri"/>
            </a:endParaRPr>
          </a:p>
        </p:txBody>
      </p:sp>
      <p:sp>
        <p:nvSpPr>
          <p:cNvPr id="11" name="TextBox 10">
            <a:extLst>
              <a:ext uri="{FF2B5EF4-FFF2-40B4-BE49-F238E27FC236}">
                <a16:creationId xmlns:a16="http://schemas.microsoft.com/office/drawing/2014/main" id="{F9BCC7BA-47B8-A647-A0A4-C273A6DFC44B}"/>
              </a:ext>
            </a:extLst>
          </p:cNvPr>
          <p:cNvSpPr txBox="1"/>
          <p:nvPr/>
        </p:nvSpPr>
        <p:spPr>
          <a:xfrm>
            <a:off x="6244952" y="5635516"/>
            <a:ext cx="4598377" cy="230832"/>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3– High level design of Access infrastructure for required workloads in Microsoft Azure.</a:t>
            </a:r>
          </a:p>
        </p:txBody>
      </p:sp>
      <p:pic>
        <p:nvPicPr>
          <p:cNvPr id="12" name="Picture 11" descr="A diagram of a cloud service&#10;&#10;Description automatically generated">
            <a:extLst>
              <a:ext uri="{FF2B5EF4-FFF2-40B4-BE49-F238E27FC236}">
                <a16:creationId xmlns:a16="http://schemas.microsoft.com/office/drawing/2014/main" id="{16E235E1-64E9-9248-8C4D-2F4274524D68}"/>
              </a:ext>
            </a:extLst>
          </p:cNvPr>
          <p:cNvPicPr>
            <a:picLocks noChangeAspect="1"/>
          </p:cNvPicPr>
          <p:nvPr/>
        </p:nvPicPr>
        <p:blipFill>
          <a:blip r:embed="rId6"/>
          <a:stretch>
            <a:fillRect/>
          </a:stretch>
        </p:blipFill>
        <p:spPr>
          <a:xfrm>
            <a:off x="5489873" y="2195838"/>
            <a:ext cx="5981700" cy="3447909"/>
          </a:xfrm>
          <a:prstGeom prst="rect">
            <a:avLst/>
          </a:prstGeom>
        </p:spPr>
      </p:pic>
    </p:spTree>
    <p:extLst>
      <p:ext uri="{BB962C8B-B14F-4D97-AF65-F5344CB8AC3E}">
        <p14:creationId xmlns:p14="http://schemas.microsoft.com/office/powerpoint/2010/main" val="523484127"/>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Connectivity</a:t>
            </a:r>
            <a:endParaRPr lang="en-IE">
              <a:latin typeface="Calibri" panose="020F0502020204030204" pitchFamily="34" charset="0"/>
              <a:cs typeface="Calibri" panose="020F0502020204030204" pitchFamily="34" charset="0"/>
            </a:endParaRPr>
          </a:p>
        </p:txBody>
      </p:sp>
      <p:sp>
        <p:nvSpPr>
          <p:cNvPr id="83" name="TextBox 82">
            <a:extLst>
              <a:ext uri="{FF2B5EF4-FFF2-40B4-BE49-F238E27FC236}">
                <a16:creationId xmlns:a16="http://schemas.microsoft.com/office/drawing/2014/main" id="{38BA1687-496F-4C8F-AF0B-DB160EEA7CE5}"/>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22BADA7-2281-0AED-62EA-23400A6B96B9}"/>
              </a:ext>
            </a:extLst>
          </p:cNvPr>
          <p:cNvSpPr txBox="1"/>
          <p:nvPr/>
        </p:nvSpPr>
        <p:spPr>
          <a:xfrm>
            <a:off x="577311" y="1690254"/>
            <a:ext cx="10974388" cy="1831271"/>
          </a:xfrm>
          <a:prstGeom prst="rect">
            <a:avLst/>
          </a:prstGeom>
          <a:noFill/>
          <a:ln w="19050">
            <a:noFill/>
          </a:ln>
        </p:spPr>
        <p:txBody>
          <a:bodyPr wrap="square" lIns="0" tIns="36576" rIns="0" bIns="0" rtlCol="0">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CDFDBCD-0CBB-0997-A3A4-75AEC01EFED4}"/>
              </a:ext>
            </a:extLst>
          </p:cNvPr>
          <p:cNvSpPr txBox="1"/>
          <p:nvPr/>
        </p:nvSpPr>
        <p:spPr>
          <a:xfrm>
            <a:off x="661930" y="1700768"/>
            <a:ext cx="10776533" cy="1854867"/>
          </a:xfrm>
          <a:prstGeom prst="rect">
            <a:avLst/>
          </a:prstGeom>
          <a:noFill/>
          <a:ln w="12700">
            <a:noFill/>
          </a:ln>
        </p:spPr>
        <p:txBody>
          <a:bodyPr wrap="square" lIns="0" tIns="36576" rIns="0" bIns="0" rtlCol="0">
            <a:spAutoFit/>
          </a:bodyPr>
          <a:lstStyle/>
          <a:p>
            <a:pPr algn="just">
              <a:lnSpc>
                <a:spcPct val="107000"/>
              </a:lnSpc>
              <a:spcAft>
                <a:spcPts val="800"/>
              </a:spcAft>
            </a:pPr>
            <a:endParaRPr lang="en-GB"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C87D29C3-C7DC-6849-D7A3-7E0195D7158F}"/>
              </a:ext>
            </a:extLst>
          </p:cNvPr>
          <p:cNvPicPr>
            <a:picLocks noChangeAspect="1"/>
          </p:cNvPicPr>
          <p:nvPr/>
        </p:nvPicPr>
        <p:blipFill>
          <a:blip r:embed="rId3"/>
          <a:stretch>
            <a:fillRect/>
          </a:stretch>
        </p:blipFill>
        <p:spPr>
          <a:xfrm>
            <a:off x="1525740" y="3649884"/>
            <a:ext cx="8251306" cy="3035723"/>
          </a:xfrm>
          <a:prstGeom prst="rect">
            <a:avLst/>
          </a:prstGeom>
        </p:spPr>
      </p:pic>
      <p:sp>
        <p:nvSpPr>
          <p:cNvPr id="9" name="TextBox 8">
            <a:extLst>
              <a:ext uri="{FF2B5EF4-FFF2-40B4-BE49-F238E27FC236}">
                <a16:creationId xmlns:a16="http://schemas.microsoft.com/office/drawing/2014/main" id="{8E7A2801-8F1E-1EA6-8A32-FAB35E0AC47D}"/>
              </a:ext>
            </a:extLst>
          </p:cNvPr>
          <p:cNvSpPr txBox="1"/>
          <p:nvPr/>
        </p:nvSpPr>
        <p:spPr>
          <a:xfrm>
            <a:off x="753537" y="1942302"/>
            <a:ext cx="10550059" cy="1617366"/>
          </a:xfrm>
          <a:prstGeom prst="rect">
            <a:avLst/>
          </a:prstGeom>
          <a:noFill/>
          <a:ln>
            <a:noFill/>
          </a:ln>
        </p:spPr>
        <p:txBody>
          <a:bodyPr wrap="square" lIns="0" tIns="36576" rIns="0" bIns="0" rtlCol="0">
            <a:spAutoFit/>
          </a:bodyPr>
          <a:lstStyle/>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Connectivity to the proposed solution will be achieved by utilising an Azure </a:t>
            </a:r>
            <a:r>
              <a:rPr lang="en-IE" sz="1050" err="1">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vWAN</a:t>
            </a: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 Hub which consists of an Azure Firewall and Azure Virtual Network Gateway. This will be a highly available connectivity solution and will be failure redundant as connectivity resources will be replicated to all availability zones within the same geographical region (EU North - Ireland). If a multiple regional design is selected, these resources will also be replicated and configured to a replication / DR tenant in (EU West - Netherlands). </a:t>
            </a: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By utilising an Azure </a:t>
            </a:r>
            <a:r>
              <a:rPr lang="en-IE" sz="1050" err="1">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vWAN</a:t>
            </a: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 Hub, future needs for network communication, increased throughput, bandwidth, stability, and reduced latency can be easily achieved. On-Premises environments will connect to the Azure </a:t>
            </a:r>
            <a:r>
              <a:rPr lang="en-IE" sz="1050" err="1">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vWAN</a:t>
            </a: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 Hub via </a:t>
            </a:r>
            <a:r>
              <a:rPr lang="en-IE" sz="1050" err="1">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IPSec</a:t>
            </a: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 VPNs in a similar fashion to the way they do now, provided that currently internal networks and IPS lines are capable of meeting the network requirements outlined in the tender document. In the event that they are not, Azure Express Route or Azure Express Route Direct can be utilised to achieve the required network goals. EY will adjust the proposed solution to ensure that no lose of connectivity will be experienced by end users if and when required.</a:t>
            </a:r>
          </a:p>
        </p:txBody>
      </p:sp>
      <p:sp>
        <p:nvSpPr>
          <p:cNvPr id="2" name="Rectangle 1">
            <a:extLst>
              <a:ext uri="{FF2B5EF4-FFF2-40B4-BE49-F238E27FC236}">
                <a16:creationId xmlns:a16="http://schemas.microsoft.com/office/drawing/2014/main" id="{6F0BD19F-2765-502B-50D6-8D09996B0A07}"/>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3164C2A3-2BF7-A5E3-0322-28D3640E7453}"/>
              </a:ext>
            </a:extLst>
          </p:cNvPr>
          <p:cNvPicPr>
            <a:picLocks noChangeAspect="1"/>
          </p:cNvPicPr>
          <p:nvPr/>
        </p:nvPicPr>
        <p:blipFill>
          <a:blip r:embed="rId4"/>
          <a:stretch>
            <a:fillRect/>
          </a:stretch>
        </p:blipFill>
        <p:spPr>
          <a:xfrm>
            <a:off x="837025" y="1383756"/>
            <a:ext cx="441960" cy="434340"/>
          </a:xfrm>
          <a:prstGeom prst="rect">
            <a:avLst/>
          </a:prstGeom>
        </p:spPr>
      </p:pic>
      <p:sp>
        <p:nvSpPr>
          <p:cNvPr id="6" name="TextBox 5">
            <a:extLst>
              <a:ext uri="{FF2B5EF4-FFF2-40B4-BE49-F238E27FC236}">
                <a16:creationId xmlns:a16="http://schemas.microsoft.com/office/drawing/2014/main" id="{78FFFB70-C979-9822-7D8B-D76670F520FC}"/>
              </a:ext>
            </a:extLst>
          </p:cNvPr>
          <p:cNvSpPr txBox="1"/>
          <p:nvPr/>
        </p:nvSpPr>
        <p:spPr>
          <a:xfrm>
            <a:off x="1392221" y="1444768"/>
            <a:ext cx="9829800" cy="3128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Connectivity: </a:t>
            </a:r>
            <a:r>
              <a:rPr lang="en-GB" sz="1050">
                <a:solidFill>
                  <a:schemeClr val="bg2"/>
                </a:solidFill>
                <a:latin typeface="Calibri" panose="020F0502020204030204" pitchFamily="34" charset="0"/>
                <a:cs typeface="Calibri" panose="020F0502020204030204" pitchFamily="34" charset="0"/>
              </a:rPr>
              <a:t>In line with connectivity requirements, the proposed EY solution is designed to meet connectivity needs now and in the future, ensuring connectivity for labs and their users into the solution is highly secured, scalable, and stable, while still being based on current connectivity infrastructure on-prem and in the cloud.</a:t>
            </a:r>
            <a:endParaRPr lang="en-IE" sz="1050">
              <a:solidFill>
                <a:schemeClr val="bg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DDEAAE3-C4B3-C4C4-FCC6-6C8AD2C3108C}"/>
              </a:ext>
            </a:extLst>
          </p:cNvPr>
          <p:cNvSpPr txBox="1"/>
          <p:nvPr/>
        </p:nvSpPr>
        <p:spPr>
          <a:xfrm>
            <a:off x="1820007" y="4135744"/>
            <a:ext cx="1922586" cy="646331"/>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4 – High level design of connectivity for required workloads in Microsoft Azure based on current connectivity infrastructure.</a:t>
            </a:r>
          </a:p>
        </p:txBody>
      </p:sp>
    </p:spTree>
    <p:extLst>
      <p:ext uri="{BB962C8B-B14F-4D97-AF65-F5344CB8AC3E}">
        <p14:creationId xmlns:p14="http://schemas.microsoft.com/office/powerpoint/2010/main" val="14088397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a:t>
            </a:r>
            <a:r>
              <a:rPr lang="en-IE">
                <a:latin typeface="Calibri" panose="020F0502020204030204" pitchFamily="34" charset="0"/>
                <a:cs typeface="Calibri" panose="020F0502020204030204" pitchFamily="34" charset="0"/>
              </a:rPr>
              <a:t>Backup</a:t>
            </a:r>
          </a:p>
        </p:txBody>
      </p:sp>
      <p:sp>
        <p:nvSpPr>
          <p:cNvPr id="2" name="TextBox 1">
            <a:extLst>
              <a:ext uri="{FF2B5EF4-FFF2-40B4-BE49-F238E27FC236}">
                <a16:creationId xmlns:a16="http://schemas.microsoft.com/office/drawing/2014/main" id="{2A3E6A58-59B6-66EC-DCBF-147B11D64D80}"/>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FB267DA-7178-6B10-B032-0214E0933B7B}"/>
              </a:ext>
            </a:extLst>
          </p:cNvPr>
          <p:cNvSpPr txBox="1"/>
          <p:nvPr/>
        </p:nvSpPr>
        <p:spPr>
          <a:xfrm>
            <a:off x="577311" y="1690254"/>
            <a:ext cx="10974388" cy="4405693"/>
          </a:xfrm>
          <a:prstGeom prst="rect">
            <a:avLst/>
          </a:prstGeom>
          <a:noFill/>
          <a:ln w="19050">
            <a:noFill/>
          </a:ln>
        </p:spPr>
        <p:txBody>
          <a:bodyPr wrap="square" lIns="0" tIns="36576" rIns="0" bIns="0" rtlCol="0" anchor="t">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rgbClr val="27ACAA"/>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2571F8B-AD2A-D600-602E-DB30E505AC01}"/>
              </a:ext>
            </a:extLst>
          </p:cNvPr>
          <p:cNvSpPr txBox="1"/>
          <p:nvPr/>
        </p:nvSpPr>
        <p:spPr>
          <a:xfrm>
            <a:off x="712177" y="1935007"/>
            <a:ext cx="10865078" cy="814134"/>
          </a:xfrm>
          <a:prstGeom prst="rect">
            <a:avLst/>
          </a:prstGeom>
          <a:noFill/>
        </p:spPr>
        <p:txBody>
          <a:bodyPr wrap="square" lIns="0" tIns="36576" rIns="0" bIns="0" rtlCol="0" anchor="t">
            <a:spAutoFit/>
          </a:bodyPr>
          <a:lstStyle/>
          <a:p>
            <a:pPr marL="171450" indent="-171450">
              <a:lnSpc>
                <a:spcPct val="150000"/>
              </a:lnSpc>
              <a:spcAft>
                <a:spcPts val="600"/>
              </a:spcAft>
              <a:buSzPct val="90000"/>
              <a:buFont typeface="Arial"/>
              <a:buChar char="•"/>
            </a:pPr>
            <a:r>
              <a:rPr lang="en-IE" sz="1050">
                <a:solidFill>
                  <a:schemeClr val="bg2">
                    <a:lumMod val="65000"/>
                    <a:lumOff val="35000"/>
                  </a:schemeClr>
                </a:solidFill>
                <a:latin typeface="Calibri"/>
                <a:cs typeface="Calibri"/>
              </a:rPr>
              <a:t>Using Azure Backup solution, we will be able to back up the Azure VMs whether it's based on ( Windows or Linux )  </a:t>
            </a:r>
            <a:r>
              <a:rPr lang="en-IE" sz="1050" err="1">
                <a:solidFill>
                  <a:schemeClr val="bg2">
                    <a:lumMod val="65000"/>
                    <a:lumOff val="35000"/>
                  </a:schemeClr>
                </a:solidFill>
                <a:latin typeface="Calibri"/>
                <a:cs typeface="Calibri"/>
              </a:rPr>
              <a:t>e.g</a:t>
            </a:r>
            <a:r>
              <a:rPr lang="en-IE" sz="1050">
                <a:solidFill>
                  <a:schemeClr val="bg2">
                    <a:lumMod val="65000"/>
                    <a:lumOff val="35000"/>
                  </a:schemeClr>
                </a:solidFill>
                <a:latin typeface="Calibri"/>
                <a:cs typeface="Calibri"/>
              </a:rPr>
              <a:t>, JSI Azure VM &amp; NMRSARL Azure VM.</a:t>
            </a:r>
            <a:endParaRPr lang="en-IE" sz="1200">
              <a:solidFill>
                <a:schemeClr val="bg2">
                  <a:lumMod val="65000"/>
                  <a:lumOff val="35000"/>
                </a:schemeClr>
              </a:solidFill>
              <a:latin typeface="Calibri"/>
              <a:cs typeface="Calibri"/>
            </a:endParaRPr>
          </a:p>
          <a:p>
            <a:pPr marL="171450" indent="-171450">
              <a:lnSpc>
                <a:spcPct val="150000"/>
              </a:lnSpc>
              <a:spcAft>
                <a:spcPts val="600"/>
              </a:spcAft>
              <a:buSzPct val="90000"/>
              <a:buFont typeface="Arial"/>
              <a:buChar char="•"/>
            </a:pPr>
            <a:r>
              <a:rPr lang="en-IE" sz="1050">
                <a:solidFill>
                  <a:schemeClr val="bg2">
                    <a:lumMod val="65000"/>
                    <a:lumOff val="35000"/>
                  </a:schemeClr>
                </a:solidFill>
                <a:latin typeface="Calibri"/>
                <a:cs typeface="Calibri"/>
              </a:rPr>
              <a:t>Azure Backup can be extended to support both Azure Files shares and Azure Database for PostgreSQL servers.</a:t>
            </a:r>
            <a:endParaRPr lang="en-IE" sz="1200">
              <a:solidFill>
                <a:schemeClr val="bg2">
                  <a:lumMod val="65000"/>
                  <a:lumOff val="35000"/>
                </a:schemeClr>
              </a:solidFill>
              <a:latin typeface="Calibri"/>
              <a:cs typeface="Calibri"/>
            </a:endParaRPr>
          </a:p>
          <a:p>
            <a:pPr marL="171450" indent="-171450">
              <a:lnSpc>
                <a:spcPct val="85000"/>
              </a:lnSpc>
              <a:spcAft>
                <a:spcPts val="600"/>
              </a:spcAft>
              <a:buSzPct val="90000"/>
              <a:buFont typeface="Arial" panose="020B0604020202020204" pitchFamily="34" charset="0"/>
              <a:buChar char="•"/>
            </a:pPr>
            <a:endParaRPr lang="en-IE" sz="1050">
              <a:solidFill>
                <a:srgbClr val="595959"/>
              </a:solidFill>
              <a:latin typeface="Calibri" panose="020F0502020204030204" pitchFamily="34" charset="0"/>
              <a:cs typeface="Calibri" panose="020F0502020204030204" pitchFamily="34" charset="0"/>
            </a:endParaRPr>
          </a:p>
        </p:txBody>
      </p:sp>
      <p:pic>
        <p:nvPicPr>
          <p:cNvPr id="11" name="Picture 11" descr="A screenshot of a computer&#10;&#10;Description automatically generated">
            <a:extLst>
              <a:ext uri="{FF2B5EF4-FFF2-40B4-BE49-F238E27FC236}">
                <a16:creationId xmlns:a16="http://schemas.microsoft.com/office/drawing/2014/main" id="{C4D40C43-4B75-6C94-52AB-F6770A07F9D5}"/>
              </a:ext>
            </a:extLst>
          </p:cNvPr>
          <p:cNvPicPr>
            <a:picLocks noChangeAspect="1"/>
          </p:cNvPicPr>
          <p:nvPr/>
        </p:nvPicPr>
        <p:blipFill>
          <a:blip r:embed="rId3"/>
          <a:stretch>
            <a:fillRect/>
          </a:stretch>
        </p:blipFill>
        <p:spPr>
          <a:xfrm>
            <a:off x="6438899" y="2733297"/>
            <a:ext cx="5019174" cy="2990938"/>
          </a:xfrm>
          <a:prstGeom prst="rect">
            <a:avLst/>
          </a:prstGeom>
        </p:spPr>
      </p:pic>
      <p:sp>
        <p:nvSpPr>
          <p:cNvPr id="13" name="TextBox 12">
            <a:extLst>
              <a:ext uri="{FF2B5EF4-FFF2-40B4-BE49-F238E27FC236}">
                <a16:creationId xmlns:a16="http://schemas.microsoft.com/office/drawing/2014/main" id="{E748F713-E74C-59FC-9CFF-3BCC4E83C7CF}"/>
              </a:ext>
            </a:extLst>
          </p:cNvPr>
          <p:cNvSpPr txBox="1"/>
          <p:nvPr/>
        </p:nvSpPr>
        <p:spPr>
          <a:xfrm>
            <a:off x="712177" y="2579585"/>
            <a:ext cx="5541105" cy="2907014"/>
          </a:xfrm>
          <a:prstGeom prst="rect">
            <a:avLst/>
          </a:prstGeom>
          <a:noFill/>
        </p:spPr>
        <p:txBody>
          <a:bodyPr wrap="square" lIns="0" tIns="36576" rIns="0" bIns="0" rtlCol="0" anchor="t">
            <a:spAutoFit/>
          </a:bodyPr>
          <a:lstStyle/>
          <a:p>
            <a:pPr marL="171450" indent="-171450" algn="just">
              <a:lnSpc>
                <a:spcPct val="150000"/>
              </a:lnSpc>
              <a:spcAft>
                <a:spcPts val="600"/>
              </a:spcAft>
              <a:buSzPct val="90000"/>
              <a:buFont typeface="Arial,Sans-Serif"/>
              <a:buChar char="•"/>
            </a:pPr>
            <a:r>
              <a:rPr lang="en-IE" sz="1050">
                <a:solidFill>
                  <a:schemeClr val="bg2">
                    <a:lumMod val="65000"/>
                    <a:lumOff val="35000"/>
                  </a:schemeClr>
                </a:solidFill>
                <a:latin typeface="Calibri"/>
                <a:cs typeface="Calibri"/>
              </a:rPr>
              <a:t>For the backup reports and getting more insights on the entire backup estate, Azure Backup provides a reporting solution that uses Azure Monitor and Azure workbooks. </a:t>
            </a:r>
            <a:endParaRPr lang="en-US" sz="1050">
              <a:solidFill>
                <a:schemeClr val="bg2">
                  <a:lumMod val="65000"/>
                  <a:lumOff val="35000"/>
                </a:schemeClr>
              </a:solidFill>
              <a:latin typeface="Calibri"/>
              <a:cs typeface="Calibri"/>
            </a:endParaRPr>
          </a:p>
          <a:p>
            <a:pPr marL="171450" indent="-171450" algn="just">
              <a:lnSpc>
                <a:spcPct val="150000"/>
              </a:lnSpc>
              <a:spcAft>
                <a:spcPts val="600"/>
              </a:spcAft>
              <a:buSzPct val="90000"/>
              <a:buFont typeface="Arial"/>
              <a:buChar char="•"/>
            </a:pPr>
            <a:r>
              <a:rPr lang="en-IE" sz="1050">
                <a:solidFill>
                  <a:schemeClr val="bg2">
                    <a:lumMod val="65000"/>
                    <a:lumOff val="35000"/>
                  </a:schemeClr>
                </a:solidFill>
                <a:latin typeface="Calibri"/>
                <a:cs typeface="Calibri"/>
              </a:rPr>
              <a:t>To add an extra layer to the backup availability, Azure Backup supports working with both zone-redundant and geo-redundant storage and can restore backups from a paired region at any time within EU.</a:t>
            </a:r>
            <a:endParaRPr lang="en-US" sz="1050">
              <a:solidFill>
                <a:schemeClr val="bg2">
                  <a:lumMod val="65000"/>
                  <a:lumOff val="35000"/>
                </a:schemeClr>
              </a:solidFill>
              <a:latin typeface="Calibri"/>
              <a:cs typeface="Calibri"/>
            </a:endParaRPr>
          </a:p>
          <a:p>
            <a:pPr marL="171450" indent="-171450" algn="just">
              <a:lnSpc>
                <a:spcPct val="150000"/>
              </a:lnSpc>
              <a:spcAft>
                <a:spcPts val="600"/>
              </a:spcAft>
              <a:buSzPct val="90000"/>
              <a:buFont typeface="Arial" panose="020B0604020202020204" pitchFamily="34" charset="0"/>
              <a:buChar char="•"/>
            </a:pPr>
            <a:r>
              <a:rPr lang="en-IE" sz="1050">
                <a:solidFill>
                  <a:schemeClr val="bg2">
                    <a:lumMod val="65000"/>
                    <a:lumOff val="35000"/>
                  </a:schemeClr>
                </a:solidFill>
                <a:latin typeface="Calibri"/>
                <a:cs typeface="Calibri"/>
              </a:rPr>
              <a:t>To comply with security best practices, EY propose to configure Azure Backup to use role-based access control (RBAC) to grant access to the authorized users for specific backup operations using. </a:t>
            </a:r>
            <a:endParaRPr lang="en-US" sz="1050">
              <a:solidFill>
                <a:schemeClr val="bg2">
                  <a:lumMod val="65000"/>
                  <a:lumOff val="35000"/>
                </a:schemeClr>
              </a:solidFill>
              <a:latin typeface="Calibri"/>
              <a:cs typeface="Calibri"/>
            </a:endParaRPr>
          </a:p>
          <a:p>
            <a:pPr marL="171450" indent="-171450" algn="just">
              <a:lnSpc>
                <a:spcPct val="150000"/>
              </a:lnSpc>
              <a:spcAft>
                <a:spcPts val="600"/>
              </a:spcAft>
              <a:buSzPct val="90000"/>
              <a:buFont typeface="Arial" panose="020B0604020202020204" pitchFamily="34" charset="0"/>
              <a:buChar char="•"/>
            </a:pPr>
            <a:r>
              <a:rPr lang="en-IE" sz="1050">
                <a:solidFill>
                  <a:schemeClr val="bg2">
                    <a:lumMod val="65000"/>
                    <a:lumOff val="35000"/>
                  </a:schemeClr>
                </a:solidFill>
                <a:latin typeface="Calibri"/>
                <a:cs typeface="Calibri"/>
              </a:rPr>
              <a:t>EY will define the Azure Backup policies whether (Standard or Enhanced), and agree on the required retention for the  daily, weekly, monthly, and yearly backup points in line with backup requirements.</a:t>
            </a:r>
          </a:p>
          <a:p>
            <a:pPr marL="171450" indent="-171450">
              <a:lnSpc>
                <a:spcPct val="85000"/>
              </a:lnSpc>
              <a:spcAft>
                <a:spcPts val="600"/>
              </a:spcAft>
              <a:buSzPct val="90000"/>
              <a:buFont typeface="Arial" panose="020B0604020202020204" pitchFamily="34" charset="0"/>
              <a:buChar char="•"/>
            </a:pPr>
            <a:endParaRPr lang="en-IE" sz="1050">
              <a:solidFill>
                <a:schemeClr val="bg2">
                  <a:lumMod val="65000"/>
                  <a:lumOff val="35000"/>
                </a:schemeClr>
              </a:solidFill>
              <a:latin typeface="Calibri"/>
              <a:cs typeface="Calibri"/>
            </a:endParaRPr>
          </a:p>
        </p:txBody>
      </p:sp>
      <p:sp>
        <p:nvSpPr>
          <p:cNvPr id="7" name="TextBox 6">
            <a:extLst>
              <a:ext uri="{FF2B5EF4-FFF2-40B4-BE49-F238E27FC236}">
                <a16:creationId xmlns:a16="http://schemas.microsoft.com/office/drawing/2014/main" id="{CD2E0F66-01F1-3033-20B7-73AC22B694F9}"/>
              </a:ext>
            </a:extLst>
          </p:cNvPr>
          <p:cNvSpPr txBox="1"/>
          <p:nvPr/>
        </p:nvSpPr>
        <p:spPr>
          <a:xfrm>
            <a:off x="8723203" y="5875346"/>
            <a:ext cx="1731105" cy="161134"/>
          </a:xfrm>
          <a:prstGeom prst="rect">
            <a:avLst/>
          </a:prstGeom>
          <a:noFill/>
        </p:spPr>
        <p:txBody>
          <a:bodyPr wrap="square" lIns="0" tIns="36576" rIns="0" bIns="0" rtlCol="0" anchor="t">
            <a:spAutoFit/>
          </a:bodyPr>
          <a:lstStyle/>
          <a:p>
            <a:pPr algn="just">
              <a:lnSpc>
                <a:spcPct val="150000"/>
              </a:lnSpc>
              <a:spcAft>
                <a:spcPts val="600"/>
              </a:spcAft>
            </a:pPr>
            <a:r>
              <a:rPr lang="en-IE" sz="600">
                <a:solidFill>
                  <a:schemeClr val="bg1"/>
                </a:solidFill>
                <a:latin typeface="Calibri" panose="020F0502020204030204" pitchFamily="34" charset="0"/>
                <a:ea typeface="+mn-lt"/>
                <a:cs typeface="Calibri" panose="020F0502020204030204" pitchFamily="34" charset="0"/>
              </a:rPr>
              <a:t>I</a:t>
            </a:r>
            <a:r>
              <a:rPr lang="en-IE" sz="600">
                <a:solidFill>
                  <a:schemeClr val="bg1"/>
                </a:solidFill>
                <a:latin typeface="Calibri" panose="020F0502020204030204" pitchFamily="34" charset="0"/>
                <a:cs typeface="Calibri" panose="020F0502020204030204" pitchFamily="34" charset="0"/>
              </a:rPr>
              <a:t>mage Source: Microsoft</a:t>
            </a:r>
            <a:endParaRPr lang="en-US" sz="600">
              <a:solidFill>
                <a:schemeClr val="bg1"/>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83760D19-A613-4D14-0AB1-CA0FA010B805}"/>
              </a:ext>
            </a:extLst>
          </p:cNvPr>
          <p:cNvSpPr txBox="1"/>
          <p:nvPr/>
        </p:nvSpPr>
        <p:spPr>
          <a:xfrm>
            <a:off x="6723453" y="5794064"/>
            <a:ext cx="4598377" cy="230832"/>
          </a:xfrm>
          <a:prstGeom prst="rect">
            <a:avLst/>
          </a:prstGeom>
          <a:solidFill>
            <a:schemeClr val="tx1"/>
          </a:solid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5 – High level design of full Replication and DR for required workloads in Microsoft Azure.</a:t>
            </a:r>
          </a:p>
        </p:txBody>
      </p:sp>
      <p:sp>
        <p:nvSpPr>
          <p:cNvPr id="10" name="Rectangle 9">
            <a:extLst>
              <a:ext uri="{FF2B5EF4-FFF2-40B4-BE49-F238E27FC236}">
                <a16:creationId xmlns:a16="http://schemas.microsoft.com/office/drawing/2014/main" id="{2DBA2EC9-B8C2-9F0B-DA83-E02E666BFEA0}"/>
              </a:ext>
            </a:extLst>
          </p:cNvPr>
          <p:cNvSpPr/>
          <p:nvPr/>
        </p:nvSpPr>
        <p:spPr bwMode="auto">
          <a:xfrm>
            <a:off x="775166" y="1350865"/>
            <a:ext cx="10720148"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50">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08BEDC15-550A-8B09-8EE9-B656C25CCE0E}"/>
              </a:ext>
            </a:extLst>
          </p:cNvPr>
          <p:cNvSpPr txBox="1"/>
          <p:nvPr/>
        </p:nvSpPr>
        <p:spPr>
          <a:xfrm>
            <a:off x="1287870" y="1437777"/>
            <a:ext cx="10188230" cy="360099"/>
          </a:xfrm>
          <a:prstGeom prst="rect">
            <a:avLst/>
          </a:prstGeom>
          <a:noFill/>
        </p:spPr>
        <p:txBody>
          <a:bodyPr wrap="square" lIns="0" tIns="36576" rIns="0" bIns="0" rtlCol="0" anchor="t">
            <a:spAutoFit/>
          </a:bodyPr>
          <a:lstStyle/>
          <a:p>
            <a:pPr>
              <a:buClr>
                <a:schemeClr val="accent2"/>
              </a:buClr>
              <a:buSzPct val="70000"/>
            </a:pPr>
            <a:r>
              <a:rPr lang="en-GB" sz="1050" b="1">
                <a:solidFill>
                  <a:schemeClr val="bg2"/>
                </a:solidFill>
                <a:latin typeface="Calibri"/>
                <a:cs typeface="Calibri"/>
              </a:rPr>
              <a:t>Backup:</a:t>
            </a:r>
            <a:r>
              <a:rPr lang="en-GB" sz="1050">
                <a:solidFill>
                  <a:schemeClr val="bg2"/>
                </a:solidFill>
                <a:latin typeface="Calibri"/>
                <a:cs typeface="Calibri"/>
              </a:rPr>
              <a:t>  </a:t>
            </a:r>
            <a:r>
              <a:rPr lang="en-IE" sz="1050">
                <a:solidFill>
                  <a:schemeClr val="bg2"/>
                </a:solidFill>
                <a:latin typeface="Calibri"/>
                <a:cs typeface="Calibri"/>
              </a:rPr>
              <a:t>Azure Backup is a cost-effective and a secure solution which provides independent and isolated backups to guard against accidental destruction of original data.</a:t>
            </a:r>
            <a:endParaRPr lang="en-GB" sz="1050">
              <a:solidFill>
                <a:schemeClr val="bg2"/>
              </a:solidFill>
              <a:latin typeface="Calibri"/>
              <a:cs typeface="Calibri"/>
            </a:endParaRPr>
          </a:p>
          <a:p>
            <a:r>
              <a:rPr lang="en-IE" sz="1050">
                <a:solidFill>
                  <a:schemeClr val="bg2"/>
                </a:solidFill>
                <a:latin typeface="Calibri"/>
                <a:cs typeface="Calibri"/>
              </a:rPr>
              <a:t>We are proposing this solution to retain existing SJH Backup &amp; Disaster Recovery architecture, and to comply with existing SJH restoration processes for overall laboratory data. </a:t>
            </a:r>
            <a:endParaRPr lang="en-GB" sz="1050">
              <a:solidFill>
                <a:schemeClr val="bg2"/>
              </a:solidFill>
              <a:latin typeface="Calibri"/>
              <a:cs typeface="Calibri"/>
            </a:endParaRPr>
          </a:p>
        </p:txBody>
      </p:sp>
      <p:pic>
        <p:nvPicPr>
          <p:cNvPr id="5" name="Picture 4" descr="A black outline of a stack of coins&#10;&#10;Description automatically generated">
            <a:extLst>
              <a:ext uri="{FF2B5EF4-FFF2-40B4-BE49-F238E27FC236}">
                <a16:creationId xmlns:a16="http://schemas.microsoft.com/office/drawing/2014/main" id="{39EB1CE7-D4D0-3F20-25EC-4498051AEA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0240" y="1436277"/>
            <a:ext cx="333356" cy="356418"/>
          </a:xfrm>
          <a:prstGeom prst="rect">
            <a:avLst/>
          </a:prstGeom>
        </p:spPr>
      </p:pic>
    </p:spTree>
    <p:extLst>
      <p:ext uri="{BB962C8B-B14F-4D97-AF65-F5344CB8AC3E}">
        <p14:creationId xmlns:p14="http://schemas.microsoft.com/office/powerpoint/2010/main" val="946023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a:t>
            </a:r>
            <a:r>
              <a:rPr lang="en-IE">
                <a:latin typeface="Calibri" panose="020F0502020204030204" pitchFamily="34" charset="0"/>
                <a:cs typeface="Calibri" panose="020F0502020204030204" pitchFamily="34" charset="0"/>
              </a:rPr>
              <a:t>Compute</a:t>
            </a:r>
          </a:p>
        </p:txBody>
      </p:sp>
      <p:sp>
        <p:nvSpPr>
          <p:cNvPr id="5" name="Rectangle 4">
            <a:extLst>
              <a:ext uri="{FF2B5EF4-FFF2-40B4-BE49-F238E27FC236}">
                <a16:creationId xmlns:a16="http://schemas.microsoft.com/office/drawing/2014/main" id="{4F518BBE-2A79-99E0-A189-F13235F45EC6}"/>
              </a:ext>
            </a:extLst>
          </p:cNvPr>
          <p:cNvSpPr/>
          <p:nvPr/>
        </p:nvSpPr>
        <p:spPr bwMode="auto">
          <a:xfrm>
            <a:off x="696686" y="1673291"/>
            <a:ext cx="10974388" cy="2327209"/>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endParaRPr lang="en-IE" sz="100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D7AABE2-7EA9-C5AC-E3CC-E77371DCECAA}"/>
              </a:ext>
            </a:extLst>
          </p:cNvPr>
          <p:cNvSpPr txBox="1"/>
          <p:nvPr/>
        </p:nvSpPr>
        <p:spPr>
          <a:xfrm>
            <a:off x="696682" y="2002738"/>
            <a:ext cx="10887302" cy="2208361"/>
          </a:xfrm>
          <a:prstGeom prst="rect">
            <a:avLst/>
          </a:prstGeom>
          <a:noFill/>
        </p:spPr>
        <p:txBody>
          <a:bodyPr wrap="square" lIns="0" tIns="36576" rIns="0" bIns="0" rtlCol="0" anchor="t">
            <a:spAutoFit/>
          </a:bodyPr>
          <a:lstStyle/>
          <a:p>
            <a:pPr marL="171450" indent="-171450">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Windows based compute resource will utilise the latest version of Windows server. Linux based compute resource will utilise the latest LTS versions of Ubuntu and other distro where required, provided that required Linux software packages are compatible with the newest OS and Kernel versions.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ll compute resources will be highly available and split into multiple availability zones where it is required, meaning for example, that two GCRL Linux compute resources “Linux01 and Linux02” will be created. Linux01 will sit in availability zone 1, Linux02 will sit in availability zone 2.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l">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ll compute resources will be managed via Endpoint Manager where possible, for example, to apply OS hardening, and other required configurations. Endpoint manager will be used to monitor and report on all device configurations.</a:t>
            </a:r>
          </a:p>
          <a:p>
            <a:pPr marL="171450" indent="-171450" algn="l">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ll patching of compute resources will be automated where possible, for example Windows compute services will be patched using a patch automation resource, and Linux compute resources will be configured to apply patches automatically via CRON jobs or centralised patching solution where appropriate.</a:t>
            </a:r>
          </a:p>
          <a:p>
            <a:pPr marL="628650" lvl="1" indent="-171450">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For compute resources facilitating or running critical workloads, a staggered patching approach will be utilised to ensure that these workloads are unaffected if an applied patch causing a workload to fail. Using a staggered approach in conjunction with availability zones ensures that critical compute resources will always be highly available, allowing for fast recovery while, ensuring end user productivity is not affected.</a:t>
            </a:r>
          </a:p>
          <a:p>
            <a:pPr marL="171450" indent="-171450">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zure file shares will be mapped to compute resources as network shares over private endpoints. They will also be accessible utilising the “Azure Storage Explorer” application as a secondary access option, in they event that failover/emergency access is required.</a:t>
            </a:r>
          </a:p>
        </p:txBody>
      </p:sp>
      <p:sp>
        <p:nvSpPr>
          <p:cNvPr id="7" name="Rectangle 6">
            <a:extLst>
              <a:ext uri="{FF2B5EF4-FFF2-40B4-BE49-F238E27FC236}">
                <a16:creationId xmlns:a16="http://schemas.microsoft.com/office/drawing/2014/main" id="{6E5A205B-4026-7D41-9B86-6D9826F09344}"/>
              </a:ext>
            </a:extLst>
          </p:cNvPr>
          <p:cNvSpPr/>
          <p:nvPr/>
        </p:nvSpPr>
        <p:spPr bwMode="auto">
          <a:xfrm>
            <a:off x="775166" y="1350865"/>
            <a:ext cx="10720148"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50">
              <a:solidFill>
                <a:schemeClr val="bg2"/>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9A825EC2-3B9E-0519-5633-6069BD662543}"/>
              </a:ext>
            </a:extLst>
          </p:cNvPr>
          <p:cNvSpPr txBox="1"/>
          <p:nvPr/>
        </p:nvSpPr>
        <p:spPr>
          <a:xfrm>
            <a:off x="1389470" y="1384089"/>
            <a:ext cx="10027364" cy="45018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Compute:</a:t>
            </a:r>
            <a:r>
              <a:rPr lang="en-GB" sz="1050">
                <a:solidFill>
                  <a:schemeClr val="bg2"/>
                </a:solidFill>
                <a:latin typeface="Calibri" panose="020F0502020204030204" pitchFamily="34" charset="0"/>
                <a:cs typeface="Calibri" panose="020F0502020204030204" pitchFamily="34" charset="0"/>
              </a:rPr>
              <a:t> As per the varied Compute and interconnectivity requirements between them, the proposed solution is design to meet all compute requirements in a security first approach which, does not impact end users. All compute resources will be placed into their own subnets, and access requirements will be heavily controlled and monitored utilising several resources, for example, Azure AD, Azure Conditional Access, Azure MFA, Azure Firewall, Azure NSGs, RBAC, and Security Groups. </a:t>
            </a:r>
            <a:endParaRPr lang="en-IE" sz="1050">
              <a:solidFill>
                <a:schemeClr val="bg1"/>
              </a:solidFill>
              <a:latin typeface="Calibri" panose="020F0502020204030204" pitchFamily="34" charset="0"/>
              <a:cs typeface="Calibri" panose="020F0502020204030204" pitchFamily="34" charset="0"/>
            </a:endParaRPr>
          </a:p>
        </p:txBody>
      </p:sp>
      <p:pic>
        <p:nvPicPr>
          <p:cNvPr id="18" name="Picture 17">
            <a:extLst>
              <a:ext uri="{FF2B5EF4-FFF2-40B4-BE49-F238E27FC236}">
                <a16:creationId xmlns:a16="http://schemas.microsoft.com/office/drawing/2014/main" id="{0C989B41-275B-207A-C435-57EE09F5262B}"/>
              </a:ext>
            </a:extLst>
          </p:cNvPr>
          <p:cNvPicPr>
            <a:picLocks noChangeAspect="1"/>
          </p:cNvPicPr>
          <p:nvPr/>
        </p:nvPicPr>
        <p:blipFill>
          <a:blip r:embed="rId3"/>
          <a:stretch>
            <a:fillRect/>
          </a:stretch>
        </p:blipFill>
        <p:spPr>
          <a:xfrm>
            <a:off x="872921" y="1460456"/>
            <a:ext cx="480060" cy="304800"/>
          </a:xfrm>
          <a:prstGeom prst="rect">
            <a:avLst/>
          </a:prstGeom>
        </p:spPr>
      </p:pic>
      <p:pic>
        <p:nvPicPr>
          <p:cNvPr id="25" name="Picture 24">
            <a:extLst>
              <a:ext uri="{FF2B5EF4-FFF2-40B4-BE49-F238E27FC236}">
                <a16:creationId xmlns:a16="http://schemas.microsoft.com/office/drawing/2014/main" id="{715EF296-0B68-3224-8038-A55E19E23D18}"/>
              </a:ext>
            </a:extLst>
          </p:cNvPr>
          <p:cNvPicPr>
            <a:picLocks noChangeAspect="1"/>
          </p:cNvPicPr>
          <p:nvPr/>
        </p:nvPicPr>
        <p:blipFill>
          <a:blip r:embed="rId4"/>
          <a:stretch>
            <a:fillRect/>
          </a:stretch>
        </p:blipFill>
        <p:spPr>
          <a:xfrm>
            <a:off x="1485122" y="4111681"/>
            <a:ext cx="9221755" cy="2429969"/>
          </a:xfrm>
          <a:prstGeom prst="rect">
            <a:avLst/>
          </a:prstGeom>
        </p:spPr>
      </p:pic>
      <p:sp>
        <p:nvSpPr>
          <p:cNvPr id="2" name="TextBox 1">
            <a:extLst>
              <a:ext uri="{FF2B5EF4-FFF2-40B4-BE49-F238E27FC236}">
                <a16:creationId xmlns:a16="http://schemas.microsoft.com/office/drawing/2014/main" id="{4B1D4460-5530-7BF2-FE3B-B827B60B69B7}"/>
              </a:ext>
            </a:extLst>
          </p:cNvPr>
          <p:cNvSpPr txBox="1"/>
          <p:nvPr/>
        </p:nvSpPr>
        <p:spPr>
          <a:xfrm>
            <a:off x="3796810" y="6537415"/>
            <a:ext cx="4598377" cy="230832"/>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6 – High level design of compute infrastructure for required workloads in Microsoft Azure.</a:t>
            </a:r>
          </a:p>
        </p:txBody>
      </p:sp>
    </p:spTree>
    <p:extLst>
      <p:ext uri="{BB962C8B-B14F-4D97-AF65-F5344CB8AC3E}">
        <p14:creationId xmlns:p14="http://schemas.microsoft.com/office/powerpoint/2010/main" val="6043401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E4C13E2-C8CB-6F1F-B220-6EA6BD27AB51}"/>
              </a:ext>
            </a:extLst>
          </p:cNvPr>
          <p:cNvSpPr/>
          <p:nvPr/>
        </p:nvSpPr>
        <p:spPr bwMode="auto">
          <a:xfrm>
            <a:off x="696686" y="1673291"/>
            <a:ext cx="10974388" cy="2327209"/>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endParaRPr lang="en-IE" sz="1000">
              <a:solidFill>
                <a:schemeClr val="bg1"/>
              </a:solidFill>
              <a:latin typeface="+mj-lt"/>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algn="just"/>
            <a:r>
              <a:rPr lang="en-IN">
                <a:latin typeface="Calibri" panose="020F0502020204030204" pitchFamily="34" charset="0"/>
                <a:cs typeface="Calibri" panose="020F0502020204030204" pitchFamily="34" charset="0"/>
              </a:rPr>
              <a:t>D.1 – </a:t>
            </a:r>
            <a:r>
              <a:rPr lang="en-IE">
                <a:latin typeface="Calibri" panose="020F0502020204030204" pitchFamily="34" charset="0"/>
                <a:cs typeface="Calibri" panose="020F0502020204030204" pitchFamily="34" charset="0"/>
              </a:rPr>
              <a:t>Data</a:t>
            </a:r>
          </a:p>
        </p:txBody>
      </p:sp>
      <p:sp>
        <p:nvSpPr>
          <p:cNvPr id="16" name="TextBox 15">
            <a:extLst>
              <a:ext uri="{FF2B5EF4-FFF2-40B4-BE49-F238E27FC236}">
                <a16:creationId xmlns:a16="http://schemas.microsoft.com/office/drawing/2014/main" id="{F14C3BE5-4C89-5ADF-3D39-6B5C58FC690D}"/>
              </a:ext>
            </a:extLst>
          </p:cNvPr>
          <p:cNvSpPr txBox="1"/>
          <p:nvPr/>
        </p:nvSpPr>
        <p:spPr>
          <a:xfrm>
            <a:off x="696682" y="2002738"/>
            <a:ext cx="10887302" cy="1950214"/>
          </a:xfrm>
          <a:prstGeom prst="rect">
            <a:avLst/>
          </a:prstGeom>
          <a:noFill/>
        </p:spPr>
        <p:txBody>
          <a:bodyPr wrap="square" lIns="0" tIns="36576" rIns="0" bIns="0" rtlCol="0" anchor="t">
            <a:spAutoFit/>
          </a:bodyPr>
          <a:lstStyle/>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To support the required cloud solutions, three SQL services are required: SQL Server, Azure Database for </a:t>
            </a:r>
            <a:r>
              <a:rPr lang="en-IE" sz="1050" err="1">
                <a:solidFill>
                  <a:schemeClr val="bg2">
                    <a:lumMod val="65000"/>
                    <a:lumOff val="35000"/>
                  </a:schemeClr>
                </a:solidFill>
                <a:latin typeface="Calibri"/>
                <a:cs typeface="Calibri"/>
              </a:rPr>
              <a:t>PostGreSQL</a:t>
            </a:r>
            <a:r>
              <a:rPr lang="en-IE" sz="1050">
                <a:solidFill>
                  <a:schemeClr val="bg2">
                    <a:lumMod val="65000"/>
                    <a:lumOff val="35000"/>
                  </a:schemeClr>
                </a:solidFill>
                <a:latin typeface="Calibri"/>
                <a:cs typeface="Calibri"/>
              </a:rPr>
              <a:t>, and Azure Database for MySQL.</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Microsoft Access will be migrated to SQL Server. </a:t>
            </a:r>
            <a:r>
              <a:rPr lang="en-IE" sz="1050" err="1">
                <a:solidFill>
                  <a:schemeClr val="bg2">
                    <a:lumMod val="65000"/>
                    <a:lumOff val="35000"/>
                  </a:schemeClr>
                </a:solidFill>
                <a:latin typeface="Calibri"/>
                <a:cs typeface="Calibri"/>
              </a:rPr>
              <a:t>PostGreSQL</a:t>
            </a:r>
            <a:r>
              <a:rPr lang="en-IE" sz="1050">
                <a:solidFill>
                  <a:schemeClr val="bg2">
                    <a:lumMod val="65000"/>
                    <a:lumOff val="35000"/>
                  </a:schemeClr>
                </a:solidFill>
                <a:latin typeface="Calibri"/>
                <a:cs typeface="Calibri"/>
              </a:rPr>
              <a:t> and MySQL will be migrated to Azure’s cloud equivalents. EY also notes the need for a new patient database solution for GCRL, which may require some design thinking on the appropriate underlying technologies to line up to the type of testing performed by the lab (e.g., document-type database vs SQL)</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Redundancy will be facilitated via the use of regional availability zones.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Data transfer will be facilitated vis </a:t>
            </a:r>
            <a:r>
              <a:rPr lang="en-IE" sz="1050" err="1">
                <a:solidFill>
                  <a:schemeClr val="bg2">
                    <a:lumMod val="65000"/>
                    <a:lumOff val="35000"/>
                  </a:schemeClr>
                </a:solidFill>
                <a:latin typeface="Calibri"/>
                <a:cs typeface="Calibri"/>
              </a:rPr>
              <a:t>IPSec</a:t>
            </a:r>
            <a:r>
              <a:rPr lang="en-IE" sz="1050">
                <a:solidFill>
                  <a:schemeClr val="bg2">
                    <a:lumMod val="65000"/>
                    <a:lumOff val="35000"/>
                  </a:schemeClr>
                </a:solidFill>
                <a:latin typeface="Calibri"/>
                <a:cs typeface="Calibri"/>
              </a:rPr>
              <a:t> VPN connectivity, utilising private endpoints to ensure data is not transferred over the public web, to secured databases and Azure storage locations.</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ccess and authentication to Databases will be serviced via Azure AD in conjunction with Security Groups, Azure RBAC “Role Based Access Control”, and JIT “Just In Time” access where possible.</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Azure File Shares &amp; Azure storage accounts will be provisioned as required  and secured in line with best practices.</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Hot and Cold Azure storage locations will be utilised for the storage of archive data which is not in use and live flat file data in active use. Soft delete, purge protection, and other data protection features in conjunction with Security Groups, Azure RBAC “Role Based Access Control”, will be in place to ensure data is protected to the standards expected.</a:t>
            </a:r>
          </a:p>
          <a:p>
            <a:pPr marL="171450" indent="-171450" algn="just">
              <a:lnSpc>
                <a:spcPct val="85000"/>
              </a:lnSpc>
              <a:spcAft>
                <a:spcPts val="600"/>
              </a:spcAft>
              <a:buClr>
                <a:schemeClr val="bg1"/>
              </a:buClr>
              <a:buSzPct val="100000"/>
              <a:buFont typeface="Arial" panose="020B0604020202020204" pitchFamily="34" charset="0"/>
              <a:buChar char="•"/>
            </a:pPr>
            <a:r>
              <a:rPr lang="en-IE" sz="1050">
                <a:solidFill>
                  <a:schemeClr val="bg2">
                    <a:lumMod val="65000"/>
                    <a:lumOff val="35000"/>
                  </a:schemeClr>
                </a:solidFill>
                <a:latin typeface="Calibri"/>
                <a:cs typeface="Calibri"/>
              </a:rPr>
              <a:t>Microsoft provide several migration capabilities to assist database migrations from on-prem solutions to different Azure services. Example flows below:</a:t>
            </a:r>
          </a:p>
        </p:txBody>
      </p:sp>
      <p:sp>
        <p:nvSpPr>
          <p:cNvPr id="4" name="Rectangle 3">
            <a:extLst>
              <a:ext uri="{FF2B5EF4-FFF2-40B4-BE49-F238E27FC236}">
                <a16:creationId xmlns:a16="http://schemas.microsoft.com/office/drawing/2014/main" id="{B56BC4FB-0C5E-79C9-37AF-C858CD1B3C38}"/>
              </a:ext>
            </a:extLst>
          </p:cNvPr>
          <p:cNvSpPr/>
          <p:nvPr/>
        </p:nvSpPr>
        <p:spPr bwMode="auto">
          <a:xfrm>
            <a:off x="775166" y="1350865"/>
            <a:ext cx="10720148"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mj-lt"/>
              </a:rPr>
              <a:t>             </a:t>
            </a:r>
            <a:endParaRPr lang="en-IE" sz="1050">
              <a:solidFill>
                <a:schemeClr val="bg2"/>
              </a:solidFill>
              <a:latin typeface="+mj-lt"/>
            </a:endParaRPr>
          </a:p>
        </p:txBody>
      </p:sp>
      <p:pic>
        <p:nvPicPr>
          <p:cNvPr id="5" name="Picture 4">
            <a:extLst>
              <a:ext uri="{FF2B5EF4-FFF2-40B4-BE49-F238E27FC236}">
                <a16:creationId xmlns:a16="http://schemas.microsoft.com/office/drawing/2014/main" id="{7308FD46-95D3-4FDF-9811-BD5B376A4B2B}"/>
              </a:ext>
            </a:extLst>
          </p:cNvPr>
          <p:cNvPicPr>
            <a:picLocks noChangeAspect="1"/>
          </p:cNvPicPr>
          <p:nvPr/>
        </p:nvPicPr>
        <p:blipFill>
          <a:blip r:embed="rId3"/>
          <a:stretch>
            <a:fillRect/>
          </a:stretch>
        </p:blipFill>
        <p:spPr>
          <a:xfrm>
            <a:off x="870170" y="1413161"/>
            <a:ext cx="420079" cy="369767"/>
          </a:xfrm>
          <a:prstGeom prst="rect">
            <a:avLst/>
          </a:prstGeom>
        </p:spPr>
      </p:pic>
      <p:sp>
        <p:nvSpPr>
          <p:cNvPr id="6" name="TextBox 5">
            <a:extLst>
              <a:ext uri="{FF2B5EF4-FFF2-40B4-BE49-F238E27FC236}">
                <a16:creationId xmlns:a16="http://schemas.microsoft.com/office/drawing/2014/main" id="{9B4A9609-3F42-5E1F-302C-D739238BC3A8}"/>
              </a:ext>
            </a:extLst>
          </p:cNvPr>
          <p:cNvSpPr txBox="1"/>
          <p:nvPr/>
        </p:nvSpPr>
        <p:spPr>
          <a:xfrm>
            <a:off x="1392221" y="1437776"/>
            <a:ext cx="9929609" cy="3128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Data: </a:t>
            </a:r>
            <a:r>
              <a:rPr lang="en-GB" sz="1050">
                <a:solidFill>
                  <a:schemeClr val="bg2"/>
                </a:solidFill>
                <a:latin typeface="Calibri" panose="020F0502020204030204" pitchFamily="34" charset="0"/>
                <a:cs typeface="Calibri" panose="020F0502020204030204" pitchFamily="34" charset="0"/>
              </a:rPr>
              <a:t>In line with several data requirements, the proposed EY solution is designed both meet requirements and to facilitate growth of these workloads in a secure and scalable manor, ensuring data is highly secured, scalable, and stable, while still being based on current infrastructure models to ensure there is minimal impact of current productivity processes. </a:t>
            </a:r>
            <a:endParaRPr lang="en-IE" sz="1050">
              <a:solidFill>
                <a:schemeClr val="bg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1696DA49-908B-A9A0-732A-18C3990DF9B0}"/>
              </a:ext>
            </a:extLst>
          </p:cNvPr>
          <p:cNvGrpSpPr/>
          <p:nvPr/>
        </p:nvGrpSpPr>
        <p:grpSpPr>
          <a:xfrm>
            <a:off x="696682" y="3665832"/>
            <a:ext cx="10887302" cy="1031138"/>
            <a:chOff x="696685" y="1819102"/>
            <a:chExt cx="10615127" cy="1031138"/>
          </a:xfrm>
        </p:grpSpPr>
        <p:graphicFrame>
          <p:nvGraphicFramePr>
            <p:cNvPr id="9" name="Diagram 8">
              <a:extLst>
                <a:ext uri="{FF2B5EF4-FFF2-40B4-BE49-F238E27FC236}">
                  <a16:creationId xmlns:a16="http://schemas.microsoft.com/office/drawing/2014/main" id="{B7AFF3BF-7EA5-389F-1E5B-B8C83920543C}"/>
                </a:ext>
              </a:extLst>
            </p:cNvPr>
            <p:cNvGraphicFramePr/>
            <p:nvPr>
              <p:extLst>
                <p:ext uri="{D42A27DB-BD31-4B8C-83A1-F6EECF244321}">
                  <p14:modId xmlns:p14="http://schemas.microsoft.com/office/powerpoint/2010/main" val="2924787554"/>
                </p:ext>
              </p:extLst>
            </p:nvPr>
          </p:nvGraphicFramePr>
          <p:xfrm>
            <a:off x="803010" y="2318682"/>
            <a:ext cx="10446236" cy="44577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a:extLst>
                <a:ext uri="{FF2B5EF4-FFF2-40B4-BE49-F238E27FC236}">
                  <a16:creationId xmlns:a16="http://schemas.microsoft.com/office/drawing/2014/main" id="{79CC9BA1-B5C3-719C-6AEC-4721D3B8FE5A}"/>
                </a:ext>
              </a:extLst>
            </p:cNvPr>
            <p:cNvSpPr/>
            <p:nvPr/>
          </p:nvSpPr>
          <p:spPr bwMode="auto">
            <a:xfrm>
              <a:off x="696685" y="1819102"/>
              <a:ext cx="10615127" cy="1031138"/>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endParaRPr lang="en-IE" sz="1000">
                <a:solidFill>
                  <a:schemeClr val="bg1"/>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84B98E79-8039-DF08-5DE3-6D8BCD321E8F}"/>
                </a:ext>
              </a:extLst>
            </p:cNvPr>
            <p:cNvSpPr/>
            <p:nvPr/>
          </p:nvSpPr>
          <p:spPr bwMode="auto">
            <a:xfrm>
              <a:off x="5182708" y="2077690"/>
              <a:ext cx="1556625" cy="282859"/>
            </a:xfrm>
            <a:prstGeom prst="rect">
              <a:avLst/>
            </a:prstGeom>
            <a:solidFill>
              <a:schemeClr val="tx2"/>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IE" sz="1000" b="1">
                  <a:solidFill>
                    <a:schemeClr val="bg2"/>
                  </a:solidFill>
                  <a:latin typeface="Calibri" panose="020F0502020204030204" pitchFamily="34" charset="0"/>
                  <a:cs typeface="Calibri" panose="020F0502020204030204" pitchFamily="34" charset="0"/>
                </a:rPr>
                <a:t>Access to SQL Server</a:t>
              </a:r>
            </a:p>
          </p:txBody>
        </p:sp>
      </p:grpSp>
      <p:grpSp>
        <p:nvGrpSpPr>
          <p:cNvPr id="20" name="Group 19">
            <a:extLst>
              <a:ext uri="{FF2B5EF4-FFF2-40B4-BE49-F238E27FC236}">
                <a16:creationId xmlns:a16="http://schemas.microsoft.com/office/drawing/2014/main" id="{F58457FA-3F74-8475-177F-BCF7DDA35DBD}"/>
              </a:ext>
            </a:extLst>
          </p:cNvPr>
          <p:cNvGrpSpPr/>
          <p:nvPr/>
        </p:nvGrpSpPr>
        <p:grpSpPr>
          <a:xfrm>
            <a:off x="696682" y="4269540"/>
            <a:ext cx="10887302" cy="1031138"/>
            <a:chOff x="696685" y="3289135"/>
            <a:chExt cx="10615127" cy="1031138"/>
          </a:xfrm>
        </p:grpSpPr>
        <p:sp>
          <p:nvSpPr>
            <p:cNvPr id="21" name="Rectangle 20">
              <a:extLst>
                <a:ext uri="{FF2B5EF4-FFF2-40B4-BE49-F238E27FC236}">
                  <a16:creationId xmlns:a16="http://schemas.microsoft.com/office/drawing/2014/main" id="{AB98803C-006D-76AC-E18C-CE087E67BF2F}"/>
                </a:ext>
              </a:extLst>
            </p:cNvPr>
            <p:cNvSpPr/>
            <p:nvPr/>
          </p:nvSpPr>
          <p:spPr bwMode="auto">
            <a:xfrm>
              <a:off x="696685" y="3289135"/>
              <a:ext cx="10615127" cy="1031138"/>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endParaRPr lang="en-IE" sz="1000">
                <a:solidFill>
                  <a:schemeClr val="bg1"/>
                </a:solidFill>
                <a:latin typeface="Calibri" panose="020F0502020204030204" pitchFamily="34" charset="0"/>
                <a:cs typeface="Calibri" panose="020F0502020204030204" pitchFamily="34" charset="0"/>
              </a:endParaRPr>
            </a:p>
          </p:txBody>
        </p:sp>
        <p:graphicFrame>
          <p:nvGraphicFramePr>
            <p:cNvPr id="23" name="Diagram 22">
              <a:extLst>
                <a:ext uri="{FF2B5EF4-FFF2-40B4-BE49-F238E27FC236}">
                  <a16:creationId xmlns:a16="http://schemas.microsoft.com/office/drawing/2014/main" id="{AD802E29-FBBD-6DA8-A666-0F35A81F1782}"/>
                </a:ext>
              </a:extLst>
            </p:cNvPr>
            <p:cNvGraphicFramePr/>
            <p:nvPr>
              <p:extLst>
                <p:ext uri="{D42A27DB-BD31-4B8C-83A1-F6EECF244321}">
                  <p14:modId xmlns:p14="http://schemas.microsoft.com/office/powerpoint/2010/main" val="2262347943"/>
                </p:ext>
              </p:extLst>
            </p:nvPr>
          </p:nvGraphicFramePr>
          <p:xfrm>
            <a:off x="803010" y="3911706"/>
            <a:ext cx="10446236" cy="37944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2" name="Rectangle 21">
              <a:extLst>
                <a:ext uri="{FF2B5EF4-FFF2-40B4-BE49-F238E27FC236}">
                  <a16:creationId xmlns:a16="http://schemas.microsoft.com/office/drawing/2014/main" id="{4BA9A189-DF12-BE8E-3618-1BC3AFDE6F7D}"/>
                </a:ext>
              </a:extLst>
            </p:cNvPr>
            <p:cNvSpPr/>
            <p:nvPr/>
          </p:nvSpPr>
          <p:spPr bwMode="auto">
            <a:xfrm>
              <a:off x="5182709" y="3697220"/>
              <a:ext cx="1556625" cy="270560"/>
            </a:xfrm>
            <a:prstGeom prst="rect">
              <a:avLst/>
            </a:prstGeom>
            <a:solidFill>
              <a:schemeClr val="tx2"/>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IE" sz="1000" b="1">
                  <a:solidFill>
                    <a:schemeClr val="bg2"/>
                  </a:solidFill>
                  <a:latin typeface="Calibri" panose="020F0502020204030204" pitchFamily="34" charset="0"/>
                  <a:cs typeface="Calibri" panose="020F0502020204030204" pitchFamily="34" charset="0"/>
                </a:rPr>
                <a:t>MySQL Migration</a:t>
              </a:r>
            </a:p>
          </p:txBody>
        </p:sp>
      </p:grpSp>
      <p:grpSp>
        <p:nvGrpSpPr>
          <p:cNvPr id="24" name="Group 23">
            <a:extLst>
              <a:ext uri="{FF2B5EF4-FFF2-40B4-BE49-F238E27FC236}">
                <a16:creationId xmlns:a16="http://schemas.microsoft.com/office/drawing/2014/main" id="{A0DDAF2E-BD82-5658-AFE6-D947680706CC}"/>
              </a:ext>
            </a:extLst>
          </p:cNvPr>
          <p:cNvGrpSpPr/>
          <p:nvPr/>
        </p:nvGrpSpPr>
        <p:grpSpPr>
          <a:xfrm>
            <a:off x="696684" y="5016633"/>
            <a:ext cx="10887300" cy="1153837"/>
            <a:chOff x="696685" y="4694405"/>
            <a:chExt cx="10615127" cy="1031138"/>
          </a:xfrm>
        </p:grpSpPr>
        <p:sp>
          <p:nvSpPr>
            <p:cNvPr id="25" name="Rectangle 24">
              <a:extLst>
                <a:ext uri="{FF2B5EF4-FFF2-40B4-BE49-F238E27FC236}">
                  <a16:creationId xmlns:a16="http://schemas.microsoft.com/office/drawing/2014/main" id="{88571AFF-F747-3821-1AE3-EDF34A1DF30B}"/>
                </a:ext>
              </a:extLst>
            </p:cNvPr>
            <p:cNvSpPr/>
            <p:nvPr/>
          </p:nvSpPr>
          <p:spPr bwMode="auto">
            <a:xfrm>
              <a:off x="696685" y="4694405"/>
              <a:ext cx="10615127" cy="1031138"/>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endParaRPr lang="en-IE" sz="950">
                <a:solidFill>
                  <a:schemeClr val="bg1"/>
                </a:solidFill>
                <a:latin typeface="Calibri" panose="020F0502020204030204" pitchFamily="34" charset="0"/>
                <a:cs typeface="Calibri" panose="020F0502020204030204" pitchFamily="34" charset="0"/>
              </a:endParaRPr>
            </a:p>
          </p:txBody>
        </p:sp>
        <p:graphicFrame>
          <p:nvGraphicFramePr>
            <p:cNvPr id="27" name="Diagram 26">
              <a:extLst>
                <a:ext uri="{FF2B5EF4-FFF2-40B4-BE49-F238E27FC236}">
                  <a16:creationId xmlns:a16="http://schemas.microsoft.com/office/drawing/2014/main" id="{F96E3134-A81C-2A7B-FCF4-394A5BD377BE}"/>
                </a:ext>
              </a:extLst>
            </p:cNvPr>
            <p:cNvGraphicFramePr/>
            <p:nvPr>
              <p:extLst>
                <p:ext uri="{D42A27DB-BD31-4B8C-83A1-F6EECF244321}">
                  <p14:modId xmlns:p14="http://schemas.microsoft.com/office/powerpoint/2010/main" val="1989430840"/>
                </p:ext>
              </p:extLst>
            </p:nvPr>
          </p:nvGraphicFramePr>
          <p:xfrm>
            <a:off x="803010" y="5202083"/>
            <a:ext cx="10446236" cy="37944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26" name="Rectangle 25">
              <a:extLst>
                <a:ext uri="{FF2B5EF4-FFF2-40B4-BE49-F238E27FC236}">
                  <a16:creationId xmlns:a16="http://schemas.microsoft.com/office/drawing/2014/main" id="{8F2078F1-13F8-1933-BE8F-4E16C596FA1F}"/>
                </a:ext>
              </a:extLst>
            </p:cNvPr>
            <p:cNvSpPr/>
            <p:nvPr/>
          </p:nvSpPr>
          <p:spPr bwMode="auto">
            <a:xfrm>
              <a:off x="5182708" y="5009414"/>
              <a:ext cx="1556625" cy="239361"/>
            </a:xfrm>
            <a:prstGeom prst="rect">
              <a:avLst/>
            </a:prstGeom>
            <a:solidFill>
              <a:schemeClr val="tx2"/>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r>
                <a:rPr lang="en-IE" sz="950" b="1" err="1">
                  <a:solidFill>
                    <a:schemeClr val="bg2"/>
                  </a:solidFill>
                  <a:latin typeface="Calibri" panose="020F0502020204030204" pitchFamily="34" charset="0"/>
                  <a:cs typeface="Calibri" panose="020F0502020204030204" pitchFamily="34" charset="0"/>
                </a:rPr>
                <a:t>PostGreSQL</a:t>
              </a:r>
              <a:r>
                <a:rPr lang="en-IE" sz="950" b="1">
                  <a:solidFill>
                    <a:schemeClr val="bg2"/>
                  </a:solidFill>
                  <a:latin typeface="Calibri" panose="020F0502020204030204" pitchFamily="34" charset="0"/>
                  <a:cs typeface="Calibri" panose="020F0502020204030204" pitchFamily="34" charset="0"/>
                </a:rPr>
                <a:t> Migration</a:t>
              </a:r>
            </a:p>
          </p:txBody>
        </p:sp>
      </p:grpSp>
    </p:spTree>
    <p:extLst>
      <p:ext uri="{BB962C8B-B14F-4D97-AF65-F5344CB8AC3E}">
        <p14:creationId xmlns:p14="http://schemas.microsoft.com/office/powerpoint/2010/main" val="107463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980307-3BD1-45D9-93CC-5318A49838A0}"/>
              </a:ext>
            </a:extLst>
          </p:cNvPr>
          <p:cNvSpPr>
            <a:spLocks noGrp="1"/>
          </p:cNvSpPr>
          <p:nvPr>
            <p:ph type="body" sz="quarter" idx="10"/>
          </p:nvPr>
        </p:nvSpPr>
        <p:spPr/>
        <p:txBody>
          <a:bodyPr/>
          <a:lstStyle/>
          <a:p>
            <a:r>
              <a:rPr lang="en-IE"/>
              <a:t>Contents</a:t>
            </a:r>
          </a:p>
        </p:txBody>
      </p:sp>
      <p:sp>
        <p:nvSpPr>
          <p:cNvPr id="40" name="Rectangle 39">
            <a:hlinkClick r:id="rId4" action="ppaction://hlinksldjump"/>
            <a:extLst>
              <a:ext uri="{FF2B5EF4-FFF2-40B4-BE49-F238E27FC236}">
                <a16:creationId xmlns:a16="http://schemas.microsoft.com/office/drawing/2014/main" id="{55B40B82-7AEB-4E80-8EF6-B341CDA3A308}"/>
              </a:ext>
            </a:extLst>
          </p:cNvPr>
          <p:cNvSpPr/>
          <p:nvPr/>
        </p:nvSpPr>
        <p:spPr>
          <a:xfrm>
            <a:off x="1893990" y="2190851"/>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A. </a:t>
            </a:r>
            <a:r>
              <a:rPr lang="sv-SE" sz="1200" err="1">
                <a:solidFill>
                  <a:srgbClr val="FFFFFF"/>
                </a:solidFill>
                <a:latin typeface="Calibri"/>
                <a:cs typeface="Calibri"/>
              </a:rPr>
              <a:t>Executive</a:t>
            </a:r>
            <a:r>
              <a:rPr lang="sv-SE" sz="1200">
                <a:solidFill>
                  <a:srgbClr val="FFFFFF"/>
                </a:solidFill>
                <a:latin typeface="Calibri"/>
                <a:cs typeface="Calibri"/>
              </a:rPr>
              <a:t> </a:t>
            </a:r>
            <a:r>
              <a:rPr lang="sv-SE" sz="1200" err="1">
                <a:solidFill>
                  <a:srgbClr val="FFFFFF"/>
                </a:solidFill>
                <a:latin typeface="Calibri"/>
                <a:cs typeface="Calibri"/>
              </a:rPr>
              <a:t>Summary</a:t>
            </a:r>
            <a:endParaRPr lang="sv-SE" sz="1200">
              <a:solidFill>
                <a:srgbClr val="FFFFFF"/>
              </a:solidFill>
              <a:latin typeface="Calibri"/>
              <a:cs typeface="Calibri"/>
            </a:endParaRPr>
          </a:p>
          <a:p>
            <a:pPr algn="ctr" defTabSz="913943"/>
            <a:endParaRPr lang="sv-SE" sz="1200">
              <a:solidFill>
                <a:srgbClr val="FFFFFF"/>
              </a:solidFill>
              <a:latin typeface="Calibri"/>
              <a:cs typeface="Calibri"/>
            </a:endParaRPr>
          </a:p>
        </p:txBody>
      </p:sp>
      <p:sp>
        <p:nvSpPr>
          <p:cNvPr id="41" name="Rectangle 40">
            <a:hlinkClick r:id="rId5" action="ppaction://hlinksldjump"/>
            <a:extLst>
              <a:ext uri="{FF2B5EF4-FFF2-40B4-BE49-F238E27FC236}">
                <a16:creationId xmlns:a16="http://schemas.microsoft.com/office/drawing/2014/main" id="{B6D55723-E75F-4003-B079-9C36419AD28F}"/>
              </a:ext>
            </a:extLst>
          </p:cNvPr>
          <p:cNvSpPr/>
          <p:nvPr/>
        </p:nvSpPr>
        <p:spPr>
          <a:xfrm>
            <a:off x="4148024" y="2178359"/>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B. </a:t>
            </a:r>
            <a:r>
              <a:rPr lang="sv-SE" sz="1200" err="1">
                <a:solidFill>
                  <a:srgbClr val="FFFFFF"/>
                </a:solidFill>
                <a:latin typeface="Calibri"/>
                <a:cs typeface="Calibri"/>
              </a:rPr>
              <a:t>Vendor</a:t>
            </a:r>
            <a:r>
              <a:rPr lang="sv-SE" sz="1200">
                <a:solidFill>
                  <a:srgbClr val="FFFFFF"/>
                </a:solidFill>
                <a:latin typeface="Calibri"/>
                <a:cs typeface="Calibri"/>
              </a:rPr>
              <a:t> </a:t>
            </a:r>
            <a:r>
              <a:rPr lang="sv-SE" sz="1200" err="1">
                <a:solidFill>
                  <a:srgbClr val="FFFFFF"/>
                </a:solidFill>
                <a:latin typeface="Calibri"/>
                <a:cs typeface="Calibri"/>
              </a:rPr>
              <a:t>Background</a:t>
            </a:r>
            <a:endParaRPr lang="sv-SE" sz="1200">
              <a:solidFill>
                <a:srgbClr val="FFFFFF"/>
              </a:solidFill>
              <a:latin typeface="Calibri"/>
              <a:cs typeface="Calibri"/>
            </a:endParaRPr>
          </a:p>
          <a:p>
            <a:pPr algn="ctr" defTabSz="913943"/>
            <a:endParaRPr lang="sv-SE" sz="1200">
              <a:solidFill>
                <a:srgbClr val="FFFFFF"/>
              </a:solidFill>
              <a:latin typeface="Calibri"/>
              <a:cs typeface="Calibri"/>
            </a:endParaRPr>
          </a:p>
        </p:txBody>
      </p:sp>
      <p:sp>
        <p:nvSpPr>
          <p:cNvPr id="42" name="Rectangle 41">
            <a:hlinkClick r:id="rId6" action="ppaction://hlinksldjump"/>
            <a:extLst>
              <a:ext uri="{FF2B5EF4-FFF2-40B4-BE49-F238E27FC236}">
                <a16:creationId xmlns:a16="http://schemas.microsoft.com/office/drawing/2014/main" id="{6FB47840-2903-46BB-8088-444E1E89EB9B}"/>
              </a:ext>
            </a:extLst>
          </p:cNvPr>
          <p:cNvSpPr/>
          <p:nvPr/>
        </p:nvSpPr>
        <p:spPr>
          <a:xfrm>
            <a:off x="6380790" y="2190851"/>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C. </a:t>
            </a:r>
            <a:r>
              <a:rPr lang="sv-SE" sz="1200" err="1">
                <a:solidFill>
                  <a:srgbClr val="FFFFFF"/>
                </a:solidFill>
                <a:latin typeface="Calibri"/>
                <a:cs typeface="Calibri"/>
              </a:rPr>
              <a:t>Proposal</a:t>
            </a:r>
          </a:p>
          <a:p>
            <a:pPr algn="ctr" defTabSz="913943"/>
            <a:endParaRPr lang="sv-SE" sz="1200">
              <a:solidFill>
                <a:srgbClr val="FFFFFF"/>
              </a:solidFill>
              <a:latin typeface="Calibri" panose="020F0502020204030204" pitchFamily="34" charset="0"/>
              <a:cs typeface="Calibri" panose="020F0502020204030204" pitchFamily="34" charset="0"/>
            </a:endParaRPr>
          </a:p>
        </p:txBody>
      </p:sp>
      <p:sp>
        <p:nvSpPr>
          <p:cNvPr id="43" name="Rectangle 42">
            <a:hlinkClick r:id="" action="ppaction://noaction"/>
            <a:extLst>
              <a:ext uri="{FF2B5EF4-FFF2-40B4-BE49-F238E27FC236}">
                <a16:creationId xmlns:a16="http://schemas.microsoft.com/office/drawing/2014/main" id="{F70A18C1-6F7D-4357-8FFF-E2A5F5CE8D8F}"/>
              </a:ext>
            </a:extLst>
          </p:cNvPr>
          <p:cNvSpPr/>
          <p:nvPr/>
        </p:nvSpPr>
        <p:spPr>
          <a:xfrm>
            <a:off x="8612318" y="2190851"/>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 D. </a:t>
            </a:r>
            <a:r>
              <a:rPr lang="sv-SE" sz="1200" err="1">
                <a:solidFill>
                  <a:srgbClr val="FFFFFF"/>
                </a:solidFill>
                <a:latin typeface="Calibri"/>
                <a:cs typeface="Calibri"/>
              </a:rPr>
              <a:t>Detailed</a:t>
            </a:r>
            <a:r>
              <a:rPr lang="sv-SE" sz="1200">
                <a:solidFill>
                  <a:srgbClr val="FFFFFF"/>
                </a:solidFill>
                <a:latin typeface="Calibri"/>
                <a:cs typeface="Calibri"/>
              </a:rPr>
              <a:t> Solution</a:t>
            </a:r>
            <a:endParaRPr lang="sv-SE" sz="1200">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2" name="Rectangle 1">
            <a:hlinkClick r:id="" action="ppaction://noaction"/>
            <a:extLst>
              <a:ext uri="{FF2B5EF4-FFF2-40B4-BE49-F238E27FC236}">
                <a16:creationId xmlns:a16="http://schemas.microsoft.com/office/drawing/2014/main" id="{F6509F0A-76E8-327B-FC3F-309E67BA2FF6}"/>
              </a:ext>
            </a:extLst>
          </p:cNvPr>
          <p:cNvSpPr/>
          <p:nvPr/>
        </p:nvSpPr>
        <p:spPr>
          <a:xfrm>
            <a:off x="4148024" y="3684623"/>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F. </a:t>
            </a:r>
            <a:r>
              <a:rPr lang="sv-SE" sz="1200" err="1">
                <a:solidFill>
                  <a:srgbClr val="FFFFFF"/>
                </a:solidFill>
                <a:latin typeface="Calibri"/>
                <a:cs typeface="Calibri"/>
              </a:rPr>
              <a:t>Managed</a:t>
            </a:r>
            <a:r>
              <a:rPr lang="sv-SE" sz="1200">
                <a:solidFill>
                  <a:srgbClr val="FFFFFF"/>
                </a:solidFill>
                <a:latin typeface="Calibri"/>
                <a:cs typeface="Calibri"/>
              </a:rPr>
              <a:t> Service</a:t>
            </a:r>
            <a:endParaRPr lang="sv-SE"/>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4" name="Rectangle 3">
            <a:hlinkClick r:id="" action="ppaction://noaction"/>
            <a:extLst>
              <a:ext uri="{FF2B5EF4-FFF2-40B4-BE49-F238E27FC236}">
                <a16:creationId xmlns:a16="http://schemas.microsoft.com/office/drawing/2014/main" id="{000C7826-6AF1-7E39-A47F-526D03FE600C}"/>
              </a:ext>
            </a:extLst>
          </p:cNvPr>
          <p:cNvSpPr/>
          <p:nvPr/>
        </p:nvSpPr>
        <p:spPr>
          <a:xfrm>
            <a:off x="6380790" y="3684623"/>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G. </a:t>
            </a:r>
            <a:r>
              <a:rPr lang="sv-SE" sz="1200" err="1">
                <a:solidFill>
                  <a:srgbClr val="FFFFFF"/>
                </a:solidFill>
                <a:latin typeface="Calibri"/>
                <a:cs typeface="Calibri"/>
              </a:rPr>
              <a:t>Assumptions</a:t>
            </a:r>
            <a:endParaRPr lang="sv-SE" err="1"/>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6" name="Rectangle 5">
            <a:hlinkClick r:id="" action="ppaction://noaction"/>
            <a:extLst>
              <a:ext uri="{FF2B5EF4-FFF2-40B4-BE49-F238E27FC236}">
                <a16:creationId xmlns:a16="http://schemas.microsoft.com/office/drawing/2014/main" id="{EBEE682B-1E19-CF06-7594-CC49321CD03C}"/>
              </a:ext>
            </a:extLst>
          </p:cNvPr>
          <p:cNvSpPr/>
          <p:nvPr/>
        </p:nvSpPr>
        <p:spPr>
          <a:xfrm>
            <a:off x="1893990" y="3684623"/>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E. </a:t>
            </a:r>
            <a:r>
              <a:rPr lang="sv-SE" sz="1200" err="1">
                <a:solidFill>
                  <a:srgbClr val="FFFFFF"/>
                </a:solidFill>
                <a:latin typeface="Calibri"/>
                <a:cs typeface="Calibri"/>
              </a:rPr>
              <a:t>Detailed</a:t>
            </a:r>
            <a:r>
              <a:rPr lang="sv-SE" sz="1200">
                <a:solidFill>
                  <a:srgbClr val="FFFFFF"/>
                </a:solidFill>
                <a:latin typeface="Calibri"/>
                <a:cs typeface="Calibri"/>
              </a:rPr>
              <a:t> </a:t>
            </a:r>
            <a:r>
              <a:rPr lang="sv-SE" sz="1200" err="1">
                <a:solidFill>
                  <a:srgbClr val="FFFFFF"/>
                </a:solidFill>
                <a:latin typeface="Calibri"/>
                <a:cs typeface="Calibri"/>
              </a:rPr>
              <a:t>Delivery</a:t>
            </a:r>
            <a:r>
              <a:rPr lang="sv-SE" sz="1200">
                <a:solidFill>
                  <a:srgbClr val="FFFFFF"/>
                </a:solidFill>
                <a:latin typeface="Calibri"/>
                <a:cs typeface="Calibri"/>
              </a:rPr>
              <a:t> Approach</a:t>
            </a:r>
            <a:endParaRPr lang="sv-SE" sz="1200">
              <a:solidFill>
                <a:srgbClr val="FFFFFF"/>
              </a:solidFill>
              <a:latin typeface="Calibri" panose="020F0502020204030204" pitchFamily="34" charset="0"/>
              <a:cs typeface="Calibri" panose="020F0502020204030204" pitchFamily="34" charset="0"/>
            </a:endParaRPr>
          </a:p>
        </p:txBody>
      </p:sp>
      <p:sp>
        <p:nvSpPr>
          <p:cNvPr id="5" name="Rectangle 4">
            <a:hlinkClick r:id="" action="ppaction://noaction"/>
            <a:extLst>
              <a:ext uri="{FF2B5EF4-FFF2-40B4-BE49-F238E27FC236}">
                <a16:creationId xmlns:a16="http://schemas.microsoft.com/office/drawing/2014/main" id="{A078B296-1339-EF0E-8B97-0A3F7D290E85}"/>
              </a:ext>
            </a:extLst>
          </p:cNvPr>
          <p:cNvSpPr/>
          <p:nvPr/>
        </p:nvSpPr>
        <p:spPr>
          <a:xfrm>
            <a:off x="8611034" y="3656745"/>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H. </a:t>
            </a:r>
            <a:r>
              <a:rPr lang="sv-SE" sz="1200" err="1">
                <a:solidFill>
                  <a:srgbClr val="FFFFFF"/>
                </a:solidFill>
                <a:latin typeface="Calibri"/>
                <a:cs typeface="Calibri"/>
              </a:rPr>
              <a:t>Credentials</a:t>
            </a:r>
            <a:endParaRPr lang="sv-SE" sz="1200" err="1">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7" name="Rectangle 6">
            <a:hlinkClick r:id="" action="ppaction://noaction"/>
            <a:extLst>
              <a:ext uri="{FF2B5EF4-FFF2-40B4-BE49-F238E27FC236}">
                <a16:creationId xmlns:a16="http://schemas.microsoft.com/office/drawing/2014/main" id="{D71FA9BF-0556-4B9F-2478-AE1D12F37622}"/>
              </a:ext>
            </a:extLst>
          </p:cNvPr>
          <p:cNvSpPr/>
          <p:nvPr/>
        </p:nvSpPr>
        <p:spPr>
          <a:xfrm>
            <a:off x="1888500" y="5180745"/>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I. </a:t>
            </a:r>
            <a:r>
              <a:rPr lang="sv-SE" sz="1200" err="1">
                <a:solidFill>
                  <a:srgbClr val="FFFFFF"/>
                </a:solidFill>
                <a:latin typeface="Calibri"/>
                <a:cs typeface="Calibri"/>
              </a:rPr>
              <a:t>Our</a:t>
            </a:r>
            <a:r>
              <a:rPr lang="sv-SE" sz="1200">
                <a:solidFill>
                  <a:srgbClr val="FFFFFF"/>
                </a:solidFill>
                <a:latin typeface="Calibri"/>
                <a:cs typeface="Calibri"/>
              </a:rPr>
              <a:t> Team</a:t>
            </a:r>
            <a:endParaRPr lang="sv-SE" sz="1200">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8" name="Rectangle 7">
            <a:hlinkClick r:id="" action="ppaction://noaction"/>
            <a:extLst>
              <a:ext uri="{FF2B5EF4-FFF2-40B4-BE49-F238E27FC236}">
                <a16:creationId xmlns:a16="http://schemas.microsoft.com/office/drawing/2014/main" id="{E12EEEA3-3A6E-6214-C4F1-E6B7F7A74428}"/>
              </a:ext>
            </a:extLst>
          </p:cNvPr>
          <p:cNvSpPr/>
          <p:nvPr/>
        </p:nvSpPr>
        <p:spPr>
          <a:xfrm>
            <a:off x="4149100" y="5180744"/>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J. </a:t>
            </a:r>
            <a:r>
              <a:rPr lang="sv-SE" sz="1200" err="1">
                <a:solidFill>
                  <a:srgbClr val="FFFFFF"/>
                </a:solidFill>
                <a:latin typeface="Calibri"/>
                <a:cs typeface="Calibri"/>
              </a:rPr>
              <a:t>Quality</a:t>
            </a:r>
            <a:r>
              <a:rPr lang="sv-SE" sz="1200">
                <a:solidFill>
                  <a:srgbClr val="FFFFFF"/>
                </a:solidFill>
                <a:latin typeface="Calibri"/>
                <a:cs typeface="Calibri"/>
              </a:rPr>
              <a:t> Assurance</a:t>
            </a:r>
            <a:endParaRPr lang="sv-SE" sz="1200">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55131403-E4D8-2361-C0CB-0DF4FCE57829}"/>
              </a:ext>
            </a:extLst>
          </p:cNvPr>
          <p:cNvSpPr/>
          <p:nvPr/>
        </p:nvSpPr>
        <p:spPr>
          <a:xfrm>
            <a:off x="6384301" y="5180745"/>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K. </a:t>
            </a:r>
            <a:r>
              <a:rPr lang="sv-SE" sz="1200" err="1">
                <a:solidFill>
                  <a:srgbClr val="FFFFFF"/>
                </a:solidFill>
                <a:latin typeface="Calibri"/>
                <a:cs typeface="Calibri"/>
              </a:rPr>
              <a:t>Certifications</a:t>
            </a:r>
            <a:endParaRPr lang="sv-SE" sz="1200" err="1">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
        <p:nvSpPr>
          <p:cNvPr id="10" name="Rectangle 9">
            <a:hlinkClick r:id="" action="ppaction://noaction"/>
            <a:extLst>
              <a:ext uri="{FF2B5EF4-FFF2-40B4-BE49-F238E27FC236}">
                <a16:creationId xmlns:a16="http://schemas.microsoft.com/office/drawing/2014/main" id="{292E391F-1670-B595-B769-37D3BB7E8238}"/>
              </a:ext>
            </a:extLst>
          </p:cNvPr>
          <p:cNvSpPr/>
          <p:nvPr/>
        </p:nvSpPr>
        <p:spPr>
          <a:xfrm>
            <a:off x="8611034" y="5180745"/>
            <a:ext cx="1656000" cy="828000"/>
          </a:xfrm>
          <a:prstGeom prst="rect">
            <a:avLst/>
          </a:prstGeom>
          <a:solidFill>
            <a:schemeClr val="bg1">
              <a:alpha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defTabSz="913943"/>
            <a:r>
              <a:rPr lang="sv-SE" sz="2000">
                <a:solidFill>
                  <a:srgbClr val="FFE600"/>
                </a:solidFill>
                <a:latin typeface="Calibri"/>
                <a:cs typeface="Calibri"/>
              </a:rPr>
              <a:t>L. </a:t>
            </a:r>
            <a:r>
              <a:rPr lang="sv-SE" sz="1200">
                <a:solidFill>
                  <a:srgbClr val="FFFFFF"/>
                </a:solidFill>
                <a:latin typeface="Calibri"/>
                <a:cs typeface="Calibri"/>
              </a:rPr>
              <a:t>Appendix</a:t>
            </a:r>
            <a:endParaRPr lang="sv-SE" sz="1200">
              <a:solidFill>
                <a:srgbClr val="FFFFFF"/>
              </a:solidFill>
              <a:latin typeface="Calibri" panose="020F0502020204030204" pitchFamily="34" charset="0"/>
              <a:cs typeface="Calibri" panose="020F0502020204030204" pitchFamily="34" charset="0"/>
            </a:endParaRPr>
          </a:p>
          <a:p>
            <a:pPr algn="ctr" defTabSz="913943"/>
            <a:endParaRPr lang="sv-SE" sz="140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99827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Deployment </a:t>
            </a:r>
            <a:r>
              <a:rPr lang="en-IE">
                <a:latin typeface="Calibri" panose="020F0502020204030204" pitchFamily="34" charset="0"/>
                <a:cs typeface="Calibri" panose="020F0502020204030204" pitchFamily="34" charset="0"/>
              </a:rPr>
              <a:t>Management</a:t>
            </a:r>
          </a:p>
        </p:txBody>
      </p:sp>
      <p:sp>
        <p:nvSpPr>
          <p:cNvPr id="2" name="TextBox 1">
            <a:extLst>
              <a:ext uri="{FF2B5EF4-FFF2-40B4-BE49-F238E27FC236}">
                <a16:creationId xmlns:a16="http://schemas.microsoft.com/office/drawing/2014/main" id="{625525EB-FC28-C8C5-48E4-EA4A7BF0AB52}"/>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3E0401D-34B9-84E0-1877-7D73E3473042}"/>
              </a:ext>
            </a:extLst>
          </p:cNvPr>
          <p:cNvSpPr txBox="1"/>
          <p:nvPr/>
        </p:nvSpPr>
        <p:spPr>
          <a:xfrm>
            <a:off x="577311" y="1612856"/>
            <a:ext cx="10974388" cy="4638193"/>
          </a:xfrm>
          <a:prstGeom prst="rect">
            <a:avLst/>
          </a:prstGeom>
          <a:noFill/>
          <a:ln w="19050">
            <a:noFill/>
          </a:ln>
        </p:spPr>
        <p:txBody>
          <a:bodyPr wrap="square" lIns="0" tIns="36576" rIns="0" bIns="0" rtlCol="0">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B57BDEC-391C-BDCB-C111-D57C96DB51A4}"/>
              </a:ext>
            </a:extLst>
          </p:cNvPr>
          <p:cNvSpPr txBox="1"/>
          <p:nvPr/>
        </p:nvSpPr>
        <p:spPr>
          <a:xfrm>
            <a:off x="640301" y="1935359"/>
            <a:ext cx="10704657" cy="4301690"/>
          </a:xfrm>
          <a:prstGeom prst="rect">
            <a:avLst/>
          </a:prstGeom>
          <a:noFill/>
        </p:spPr>
        <p:txBody>
          <a:bodyPr wrap="square" lIns="0" tIns="36576" rIns="0" bIns="0" rtlCol="0">
            <a:spAutoFit/>
          </a:bodyPr>
          <a:lstStyle/>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latin typeface="Calibri" panose="020F0502020204030204" pitchFamily="34" charset="0"/>
                <a:cs typeface="Calibri" panose="020F0502020204030204" pitchFamily="34" charset="0"/>
              </a:rPr>
              <a:t>Infrastructure deployments will be orchestrated via DevOps frameworks and processes, utilising tools such as Azure DevOps, GIT, and Terraform to create standardised reusable Infrastructure as Code frameworks which are deployed via CI/CD pipelines to Azure subscriptions and resource groups. This enables incremental changes and updates to be developed, tested, and implemented in real time, minimising impacts to critical services, and reducing the need for service downtime.</a:t>
            </a:r>
          </a:p>
          <a:p>
            <a:pPr algn="just">
              <a:lnSpc>
                <a:spcPct val="107000"/>
              </a:lnSpc>
              <a:spcAft>
                <a:spcPts val="800"/>
              </a:spcAft>
            </a:pPr>
            <a:r>
              <a:rPr lang="en-IE" sz="1050">
                <a:solidFill>
                  <a:schemeClr val="bg2">
                    <a:lumMod val="65000"/>
                    <a:lumOff val="35000"/>
                  </a:schemeClr>
                </a:solidFill>
                <a:latin typeface="Calibri" panose="020F0502020204030204" pitchFamily="34" charset="0"/>
                <a:cs typeface="Calibri" panose="020F0502020204030204" pitchFamily="34" charset="0"/>
              </a:rPr>
              <a:t> </a:t>
            </a:r>
            <a:endParaRPr lang="en-IE" sz="1050" b="0" i="0">
              <a:solidFill>
                <a:schemeClr val="bg2">
                  <a:lumMod val="65000"/>
                  <a:lumOff val="35000"/>
                </a:schemeClr>
              </a:solidFill>
              <a:effectLst/>
              <a:latin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endPar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endParaRPr lang="en-GB" sz="1050">
              <a:solidFill>
                <a:schemeClr val="bg1"/>
              </a:solidFill>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Arial" panose="020B0604020202020204" pitchFamily="34" charset="0"/>
              <a:buChar char="•"/>
            </a:pPr>
            <a:r>
              <a:rPr lang="en-GB"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The proposed solution will utilise Azure Policies </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to manage access, policies, and compliance for subscriptions and resources, by arranging management groups in a single hierarchy that aligns with  management requirements outlined in the tender documentation.</a:t>
            </a:r>
          </a:p>
        </p:txBody>
      </p:sp>
      <p:pic>
        <p:nvPicPr>
          <p:cNvPr id="7" name="Picture 6">
            <a:extLst>
              <a:ext uri="{FF2B5EF4-FFF2-40B4-BE49-F238E27FC236}">
                <a16:creationId xmlns:a16="http://schemas.microsoft.com/office/drawing/2014/main" id="{3D3258AA-D6C4-182A-1AA3-26F4352AB9C5}"/>
              </a:ext>
            </a:extLst>
          </p:cNvPr>
          <p:cNvPicPr>
            <a:picLocks noChangeAspect="1"/>
          </p:cNvPicPr>
          <p:nvPr/>
        </p:nvPicPr>
        <p:blipFill>
          <a:blip r:embed="rId3"/>
          <a:stretch>
            <a:fillRect/>
          </a:stretch>
        </p:blipFill>
        <p:spPr>
          <a:xfrm>
            <a:off x="3619956" y="2526947"/>
            <a:ext cx="6495137" cy="3274489"/>
          </a:xfrm>
          <a:prstGeom prst="rect">
            <a:avLst/>
          </a:prstGeom>
        </p:spPr>
      </p:pic>
      <p:sp>
        <p:nvSpPr>
          <p:cNvPr id="5" name="TextBox 4">
            <a:extLst>
              <a:ext uri="{FF2B5EF4-FFF2-40B4-BE49-F238E27FC236}">
                <a16:creationId xmlns:a16="http://schemas.microsoft.com/office/drawing/2014/main" id="{CF4E274D-B7ED-2D64-AB63-B0C9BB57FDCF}"/>
              </a:ext>
            </a:extLst>
          </p:cNvPr>
          <p:cNvSpPr txBox="1"/>
          <p:nvPr/>
        </p:nvSpPr>
        <p:spPr>
          <a:xfrm>
            <a:off x="775166" y="3771777"/>
            <a:ext cx="1866524" cy="784830"/>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7 – High level design of DevOps processes used to develop, test, and deploy Infrastructure as Code for required workloads in Microsoft Azure.</a:t>
            </a:r>
          </a:p>
        </p:txBody>
      </p:sp>
      <p:sp>
        <p:nvSpPr>
          <p:cNvPr id="10" name="Rectangle 9">
            <a:extLst>
              <a:ext uri="{FF2B5EF4-FFF2-40B4-BE49-F238E27FC236}">
                <a16:creationId xmlns:a16="http://schemas.microsoft.com/office/drawing/2014/main" id="{825ABD85-D2E5-3CC1-5709-2E5EC261BD12}"/>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F65F4078-3A04-71C4-0C77-CAD56459F671}"/>
              </a:ext>
            </a:extLst>
          </p:cNvPr>
          <p:cNvSpPr txBox="1"/>
          <p:nvPr/>
        </p:nvSpPr>
        <p:spPr>
          <a:xfrm>
            <a:off x="1392221" y="1444768"/>
            <a:ext cx="9829800" cy="3128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Deployment Management: </a:t>
            </a:r>
            <a:r>
              <a:rPr lang="en-GB" sz="1050">
                <a:solidFill>
                  <a:schemeClr val="bg2"/>
                </a:solidFill>
                <a:latin typeface="Calibri" panose="020F0502020204030204" pitchFamily="34" charset="0"/>
                <a:cs typeface="Calibri" panose="020F0502020204030204" pitchFamily="34" charset="0"/>
              </a:rPr>
              <a:t>The proposed solution will be deployed utilising DevOps CI/CD pipelines. This ensures consistency in infrastructure configuration and standards across the solution, allows for fast testing and deployment of infrastructure changes in incremental “bite size” steps, which minimises environment impacts and impacts to end users.  </a:t>
            </a:r>
            <a:endParaRPr lang="en-IE" sz="1050">
              <a:solidFill>
                <a:schemeClr val="bg1"/>
              </a:solidFill>
              <a:latin typeface="Calibri" panose="020F0502020204030204" pitchFamily="34" charset="0"/>
              <a:cs typeface="Calibri" panose="020F0502020204030204" pitchFamily="34" charset="0"/>
            </a:endParaRPr>
          </a:p>
        </p:txBody>
      </p:sp>
      <p:pic>
        <p:nvPicPr>
          <p:cNvPr id="9" name="Graphic 8" descr="Hierarchy with solid fill">
            <a:extLst>
              <a:ext uri="{FF2B5EF4-FFF2-40B4-BE49-F238E27FC236}">
                <a16:creationId xmlns:a16="http://schemas.microsoft.com/office/drawing/2014/main" id="{A0D89E03-A0BA-701F-14F9-499D183400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2734" y="1384256"/>
            <a:ext cx="457200" cy="457200"/>
          </a:xfrm>
          <a:prstGeom prst="rect">
            <a:avLst/>
          </a:prstGeom>
        </p:spPr>
      </p:pic>
    </p:spTree>
    <p:extLst>
      <p:ext uri="{BB962C8B-B14F-4D97-AF65-F5344CB8AC3E}">
        <p14:creationId xmlns:p14="http://schemas.microsoft.com/office/powerpoint/2010/main" val="23484432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Network</a:t>
            </a:r>
            <a:endParaRPr lang="en-IE">
              <a:latin typeface="Calibri" panose="020F0502020204030204" pitchFamily="34" charset="0"/>
              <a:cs typeface="Calibri" panose="020F0502020204030204" pitchFamily="34" charset="0"/>
            </a:endParaRPr>
          </a:p>
        </p:txBody>
      </p:sp>
      <p:sp>
        <p:nvSpPr>
          <p:cNvPr id="83" name="TextBox 82">
            <a:extLst>
              <a:ext uri="{FF2B5EF4-FFF2-40B4-BE49-F238E27FC236}">
                <a16:creationId xmlns:a16="http://schemas.microsoft.com/office/drawing/2014/main" id="{38BA1687-496F-4C8F-AF0B-DB160EEA7CE5}"/>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22BADA7-2281-0AED-62EA-23400A6B96B9}"/>
              </a:ext>
            </a:extLst>
          </p:cNvPr>
          <p:cNvSpPr txBox="1"/>
          <p:nvPr/>
        </p:nvSpPr>
        <p:spPr>
          <a:xfrm>
            <a:off x="577311" y="1690254"/>
            <a:ext cx="10974388" cy="1831271"/>
          </a:xfrm>
          <a:prstGeom prst="rect">
            <a:avLst/>
          </a:prstGeom>
          <a:noFill/>
          <a:ln w="19050">
            <a:noFill/>
          </a:ln>
        </p:spPr>
        <p:txBody>
          <a:bodyPr wrap="square" lIns="0" tIns="36576" rIns="0" bIns="0" rtlCol="0">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6E8AC8CA-76D8-4913-EC84-F79FF0E23A9A}"/>
              </a:ext>
            </a:extLst>
          </p:cNvPr>
          <p:cNvPicPr>
            <a:picLocks noChangeAspect="1"/>
          </p:cNvPicPr>
          <p:nvPr/>
        </p:nvPicPr>
        <p:blipFill>
          <a:blip r:embed="rId3"/>
          <a:stretch>
            <a:fillRect/>
          </a:stretch>
        </p:blipFill>
        <p:spPr>
          <a:xfrm>
            <a:off x="1705706" y="3571530"/>
            <a:ext cx="7978729" cy="2935439"/>
          </a:xfrm>
          <a:prstGeom prst="rect">
            <a:avLst/>
          </a:prstGeom>
        </p:spPr>
      </p:pic>
      <p:sp>
        <p:nvSpPr>
          <p:cNvPr id="14" name="TextBox 13">
            <a:extLst>
              <a:ext uri="{FF2B5EF4-FFF2-40B4-BE49-F238E27FC236}">
                <a16:creationId xmlns:a16="http://schemas.microsoft.com/office/drawing/2014/main" id="{5B304DB3-95E8-EE62-0519-B33926284FFC}"/>
              </a:ext>
            </a:extLst>
          </p:cNvPr>
          <p:cNvSpPr txBox="1"/>
          <p:nvPr/>
        </p:nvSpPr>
        <p:spPr>
          <a:xfrm>
            <a:off x="712177" y="1874848"/>
            <a:ext cx="10704657" cy="1649682"/>
          </a:xfrm>
          <a:prstGeom prst="rect">
            <a:avLst/>
          </a:prstGeom>
          <a:noFill/>
        </p:spPr>
        <p:txBody>
          <a:bodyPr wrap="square" lIns="0" tIns="36576" rIns="0" bIns="0" rtlCol="0">
            <a:spAutoFit/>
          </a:bodyPr>
          <a:lstStyle/>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As subscriptions will be utilised to group resources by environment owner, Saint James Hospital and each lab will have all resources related to their requirements held in their own subscription. This creates a natural layer of separation between them and facilitates a more controlled, and robust networking framework to be successfully implemented. </a:t>
            </a:r>
          </a:p>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Networks will be highly segregated and controlled via the Azure Firewall and Network Security Groups (NSGs), which, will be used to shape traffic to and from On-Prem environments and between Azure environment </a:t>
            </a:r>
            <a:r>
              <a:rPr lang="en-IE" sz="1050" err="1">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vNets</a:t>
            </a:r>
            <a:r>
              <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 In the event that labs require networking interconnectivity to each other, this can be achieved via the proposed solutions Azure </a:t>
            </a:r>
            <a:r>
              <a:rPr lang="en-IE" sz="1050" err="1">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vWAN</a:t>
            </a:r>
            <a:r>
              <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 Hub. </a:t>
            </a:r>
          </a:p>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Utilising this networking framework and methodology facilitates several benefits, for example:</a:t>
            </a:r>
          </a:p>
          <a:p>
            <a:pPr marL="628650" lvl="1" indent="-171450" algn="just">
              <a:lnSpc>
                <a:spcPct val="107000"/>
              </a:lnSpc>
              <a:spcAft>
                <a:spcPts val="800"/>
              </a:spcAft>
              <a:buFont typeface="Courier New" panose="02070309020205020404" pitchFamily="49" charset="0"/>
              <a:buChar char="o"/>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Network management, monitoring, and security improvements.</a:t>
            </a:r>
          </a:p>
          <a:p>
            <a:pPr marL="628650" lvl="1" indent="-171450" algn="just">
              <a:lnSpc>
                <a:spcPct val="107000"/>
              </a:lnSpc>
              <a:spcAft>
                <a:spcPts val="800"/>
              </a:spcAft>
              <a:buFont typeface="Courier New" panose="02070309020205020404" pitchFamily="49" charset="0"/>
              <a:buChar char="o"/>
            </a:pPr>
            <a:r>
              <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The proposed solutions networking capabilities are future ready, meaning the network can quickly scale to meet future need in a modular manor. </a:t>
            </a: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CC3D146B-9B59-3D28-5BA4-EA1A8BE23F8C}"/>
              </a:ext>
            </a:extLst>
          </p:cNvPr>
          <p:cNvSpPr txBox="1"/>
          <p:nvPr/>
        </p:nvSpPr>
        <p:spPr>
          <a:xfrm>
            <a:off x="3738928" y="6507630"/>
            <a:ext cx="4714143" cy="230832"/>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1.8 – High level design of networking infrastructure for required workloads in Microsoft Azure.</a:t>
            </a:r>
          </a:p>
        </p:txBody>
      </p:sp>
      <p:sp>
        <p:nvSpPr>
          <p:cNvPr id="3" name="Rectangle 2">
            <a:extLst>
              <a:ext uri="{FF2B5EF4-FFF2-40B4-BE49-F238E27FC236}">
                <a16:creationId xmlns:a16="http://schemas.microsoft.com/office/drawing/2014/main" id="{214616C4-560D-8371-70A6-EB3A718488C8}"/>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F77EEC95-6B62-BC76-F18A-EBE6776FD3F2}"/>
              </a:ext>
            </a:extLst>
          </p:cNvPr>
          <p:cNvSpPr txBox="1"/>
          <p:nvPr/>
        </p:nvSpPr>
        <p:spPr>
          <a:xfrm>
            <a:off x="1392221" y="1444768"/>
            <a:ext cx="9829800" cy="3128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Network: </a:t>
            </a:r>
            <a:r>
              <a:rPr lang="en-GB" sz="1050">
                <a:solidFill>
                  <a:schemeClr val="bg2"/>
                </a:solidFill>
                <a:latin typeface="Calibri" panose="020F0502020204030204" pitchFamily="34" charset="0"/>
                <a:cs typeface="Calibri" panose="020F0502020204030204" pitchFamily="34" charset="0"/>
              </a:rPr>
              <a:t>As there are several networking requirements outlined, the proposed solution is designed to meet networking needs now and in the future. The design allows for fast, secure, and scalable increase in networking requirements, via a highly available and resilient design, enabling a truly flexible and secure hybrid network. </a:t>
            </a:r>
            <a:endParaRPr lang="en-IE" sz="1050">
              <a:solidFill>
                <a:schemeClr val="bg1"/>
              </a:solidFill>
              <a:latin typeface="Calibri" panose="020F0502020204030204" pitchFamily="34" charset="0"/>
              <a:cs typeface="Calibri" panose="020F0502020204030204" pitchFamily="34" charset="0"/>
            </a:endParaRPr>
          </a:p>
        </p:txBody>
      </p:sp>
      <p:pic>
        <p:nvPicPr>
          <p:cNvPr id="9" name="Picture 8" descr="A black and white logo&#10;&#10;Description automatically generated">
            <a:extLst>
              <a:ext uri="{FF2B5EF4-FFF2-40B4-BE49-F238E27FC236}">
                <a16:creationId xmlns:a16="http://schemas.microsoft.com/office/drawing/2014/main" id="{09E06A8A-3258-079A-90EF-853CF7C256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8412" y="1422788"/>
            <a:ext cx="401026" cy="381203"/>
          </a:xfrm>
          <a:prstGeom prst="rect">
            <a:avLst/>
          </a:prstGeom>
        </p:spPr>
      </p:pic>
    </p:spTree>
    <p:extLst>
      <p:ext uri="{BB962C8B-B14F-4D97-AF65-F5344CB8AC3E}">
        <p14:creationId xmlns:p14="http://schemas.microsoft.com/office/powerpoint/2010/main" val="10447394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0889B00-4FD8-8059-E493-7D07B88CEFD2}"/>
              </a:ext>
            </a:extLst>
          </p:cNvPr>
          <p:cNvSpPr/>
          <p:nvPr/>
        </p:nvSpPr>
        <p:spPr bwMode="auto">
          <a:xfrm>
            <a:off x="609600" y="1715502"/>
            <a:ext cx="11335290" cy="4351190"/>
          </a:xfrm>
          <a:prstGeom prst="rect">
            <a:avLst/>
          </a:prstGeom>
          <a:noFill/>
          <a:ln w="19050">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Recovery</a:t>
            </a:r>
            <a:endParaRPr lang="en-IE">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B57BDEC-391C-BDCB-C111-D57C96DB51A4}"/>
              </a:ext>
            </a:extLst>
          </p:cNvPr>
          <p:cNvSpPr txBox="1"/>
          <p:nvPr/>
        </p:nvSpPr>
        <p:spPr>
          <a:xfrm>
            <a:off x="712178" y="1935006"/>
            <a:ext cx="5882053" cy="3691844"/>
          </a:xfrm>
          <a:prstGeom prst="rect">
            <a:avLst/>
          </a:prstGeom>
          <a:noFill/>
        </p:spPr>
        <p:txBody>
          <a:bodyPr wrap="square" lIns="0" tIns="36576" rIns="0" bIns="0" rtlCol="0">
            <a:spAutoFit/>
          </a:bodyPr>
          <a:lstStyle/>
          <a:p>
            <a:pPr algn="just">
              <a:lnSpc>
                <a:spcPct val="85000"/>
              </a:lnSpc>
              <a:spcAft>
                <a:spcPts val="600"/>
              </a:spcAft>
              <a:buClr>
                <a:srgbClr val="27ACAA"/>
              </a:buClr>
              <a:buSzPct val="70000"/>
            </a:pPr>
            <a:r>
              <a:rPr lang="en-IE" sz="1050">
                <a:solidFill>
                  <a:schemeClr val="bg2">
                    <a:lumMod val="65000"/>
                    <a:lumOff val="35000"/>
                  </a:schemeClr>
                </a:solidFill>
                <a:latin typeface="Calibri" panose="020F0502020204030204" pitchFamily="34" charset="0"/>
                <a:cs typeface="Calibri" panose="020F0502020204030204" pitchFamily="34" charset="0"/>
              </a:rPr>
              <a:t>As part of the Disaster recovery solution, either one, or a combination of the following two approaches could be used:</a:t>
            </a:r>
            <a:endParaRPr lang="en-IE" sz="1050" b="1">
              <a:solidFill>
                <a:schemeClr val="bg2">
                  <a:lumMod val="65000"/>
                  <a:lumOff val="35000"/>
                </a:schemeClr>
              </a:solidFill>
              <a:latin typeface="Calibri" panose="020F0502020204030204" pitchFamily="34" charset="0"/>
              <a:cs typeface="Calibri" panose="020F0502020204030204" pitchFamily="34" charset="0"/>
            </a:endParaRPr>
          </a:p>
          <a:p>
            <a:pPr algn="just">
              <a:lnSpc>
                <a:spcPct val="85000"/>
              </a:lnSpc>
              <a:spcAft>
                <a:spcPts val="600"/>
              </a:spcAft>
              <a:buClr>
                <a:srgbClr val="27ACAA"/>
              </a:buClr>
              <a:buSzPct val="70000"/>
            </a:pPr>
            <a:r>
              <a:rPr lang="en-IE" sz="1050" b="1" i="0">
                <a:solidFill>
                  <a:schemeClr val="bg2">
                    <a:lumMod val="65000"/>
                    <a:lumOff val="35000"/>
                  </a:schemeClr>
                </a:solidFill>
                <a:effectLst/>
                <a:latin typeface="Calibri" panose="020F0502020204030204" pitchFamily="34" charset="0"/>
                <a:cs typeface="Calibri" panose="020F0502020204030204" pitchFamily="34" charset="0"/>
              </a:rPr>
              <a:t>Azure Site Recovery (Regional Resiliency)</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b="0" i="0">
                <a:solidFill>
                  <a:schemeClr val="bg2">
                    <a:lumMod val="65000"/>
                    <a:lumOff val="35000"/>
                  </a:schemeClr>
                </a:solidFill>
                <a:effectLst/>
                <a:latin typeface="Calibri" panose="020F0502020204030204" pitchFamily="34" charset="0"/>
                <a:cs typeface="Calibri" panose="020F0502020204030204" pitchFamily="34" charset="0"/>
              </a:rPr>
              <a:t>Azure Site Recovery is a disaster recovery solution that replicates workloads running on VMs from a primary site to a secondary location in a different region. When an outage occurs at the primary site, </a:t>
            </a:r>
            <a:r>
              <a:rPr lang="en-IE" sz="1050">
                <a:solidFill>
                  <a:schemeClr val="bg2">
                    <a:lumMod val="65000"/>
                    <a:lumOff val="35000"/>
                  </a:schemeClr>
                </a:solidFill>
                <a:latin typeface="Calibri" panose="020F0502020204030204" pitchFamily="34" charset="0"/>
                <a:cs typeface="Calibri" panose="020F0502020204030204" pitchFamily="34" charset="0"/>
              </a:rPr>
              <a:t>a </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fail over to a secondary location can be performed, and the VMs can be accessed from there.</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b="0" i="0">
                <a:solidFill>
                  <a:schemeClr val="bg2">
                    <a:lumMod val="65000"/>
                    <a:lumOff val="35000"/>
                  </a:schemeClr>
                </a:solidFill>
                <a:effectLst/>
                <a:latin typeface="Calibri" panose="020F0502020204030204" pitchFamily="34" charset="0"/>
                <a:cs typeface="Calibri" panose="020F0502020204030204" pitchFamily="34" charset="0"/>
              </a:rPr>
              <a:t>Site Recovery uses real-time continuous replication and recovery automation to replicate workloads across regions</a:t>
            </a:r>
            <a:r>
              <a:rPr lang="en-IE" sz="1050">
                <a:solidFill>
                  <a:schemeClr val="bg2">
                    <a:lumMod val="65000"/>
                    <a:lumOff val="35000"/>
                  </a:schemeClr>
                </a:solidFill>
                <a:latin typeface="Calibri" panose="020F0502020204030204" pitchFamily="34" charset="0"/>
                <a:cs typeface="Calibri" panose="020F0502020204030204" pitchFamily="34" charset="0"/>
              </a:rPr>
              <a:t>. The b</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uilt-in platform capabilities for VM workloads meet SJH’s low RPO and RTO requirements.</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a:solidFill>
                  <a:schemeClr val="bg2">
                    <a:lumMod val="65000"/>
                    <a:lumOff val="35000"/>
                  </a:schemeClr>
                </a:solidFill>
                <a:latin typeface="Calibri" panose="020F0502020204030204" pitchFamily="34" charset="0"/>
                <a:cs typeface="Calibri" panose="020F0502020204030204" pitchFamily="34" charset="0"/>
              </a:rPr>
              <a:t>It fulfils the requirements of recovering both Windows and Linux VMs which will be used across different labs.</a:t>
            </a:r>
            <a:endParaRPr lang="en-IE" sz="1050" b="0" i="0">
              <a:solidFill>
                <a:schemeClr val="bg2">
                  <a:lumMod val="65000"/>
                  <a:lumOff val="35000"/>
                </a:schemeClr>
              </a:solidFill>
              <a:effectLst/>
              <a:latin typeface="Calibri" panose="020F0502020204030204" pitchFamily="34" charset="0"/>
              <a:cs typeface="Calibri" panose="020F0502020204030204" pitchFamily="34" charset="0"/>
            </a:endParaRP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a:solidFill>
                  <a:schemeClr val="bg2">
                    <a:lumMod val="65000"/>
                    <a:lumOff val="35000"/>
                  </a:schemeClr>
                </a:solidFill>
                <a:latin typeface="Calibri" panose="020F0502020204030204" pitchFamily="34" charset="0"/>
                <a:cs typeface="Calibri" panose="020F0502020204030204" pitchFamily="34" charset="0"/>
              </a:rPr>
              <a:t>It gives the</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 option of automatically creating the following target resources at the time of DR: VM, Resource Group, </a:t>
            </a:r>
            <a:r>
              <a:rPr lang="en-IE" sz="1050" b="0" i="0" err="1">
                <a:solidFill>
                  <a:schemeClr val="bg2">
                    <a:lumMod val="65000"/>
                    <a:lumOff val="35000"/>
                  </a:schemeClr>
                </a:solidFill>
                <a:effectLst/>
                <a:latin typeface="Calibri" panose="020F0502020204030204" pitchFamily="34" charset="0"/>
                <a:cs typeface="Calibri" panose="020F0502020204030204" pitchFamily="34" charset="0"/>
              </a:rPr>
              <a:t>VNet</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 Managed Disks, Availability Zones.</a:t>
            </a:r>
          </a:p>
          <a:p>
            <a:pPr marL="171450" indent="-171450" algn="just">
              <a:lnSpc>
                <a:spcPct val="85000"/>
              </a:lnSpc>
              <a:spcAft>
                <a:spcPts val="600"/>
              </a:spcAft>
              <a:buClr>
                <a:srgbClr val="27ACAA"/>
              </a:buClr>
              <a:buSzPct val="70000"/>
              <a:buFont typeface="EYInterstate Light" panose="02000506000000020004" pitchFamily="2" charset="0"/>
              <a:buChar char="•"/>
            </a:pP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just">
              <a:lnSpc>
                <a:spcPct val="85000"/>
              </a:lnSpc>
              <a:spcAft>
                <a:spcPts val="600"/>
              </a:spcAft>
              <a:buClr>
                <a:srgbClr val="27ACAA"/>
              </a:buClr>
              <a:buSzPct val="70000"/>
            </a:pPr>
            <a:r>
              <a:rPr lang="en-IE" sz="1050" b="1">
                <a:solidFill>
                  <a:schemeClr val="bg2">
                    <a:lumMod val="65000"/>
                    <a:lumOff val="35000"/>
                  </a:schemeClr>
                </a:solidFill>
                <a:latin typeface="Calibri" panose="020F0502020204030204" pitchFamily="34" charset="0"/>
                <a:cs typeface="Calibri" panose="020F0502020204030204" pitchFamily="34" charset="0"/>
              </a:rPr>
              <a:t>Availability Zone (Zonal Resiliency)</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b="0" i="0">
                <a:solidFill>
                  <a:schemeClr val="bg2">
                    <a:lumMod val="65000"/>
                    <a:lumOff val="35000"/>
                  </a:schemeClr>
                </a:solidFill>
                <a:effectLst/>
                <a:latin typeface="Calibri" panose="020F0502020204030204" pitchFamily="34" charset="0"/>
                <a:cs typeface="Calibri" panose="020F0502020204030204" pitchFamily="34" charset="0"/>
              </a:rPr>
              <a:t>If replication is not an option, we can make use of the Availability Zones for VM components which </a:t>
            </a:r>
            <a:r>
              <a:rPr lang="en-IE" sz="1050">
                <a:solidFill>
                  <a:schemeClr val="bg2">
                    <a:lumMod val="65000"/>
                    <a:lumOff val="35000"/>
                  </a:schemeClr>
                </a:solidFill>
                <a:latin typeface="Calibri" panose="020F0502020204030204" pitchFamily="34" charset="0"/>
                <a:cs typeface="Calibri" panose="020F0502020204030204" pitchFamily="34" charset="0"/>
              </a:rPr>
              <a:t>are Zone Redundant, </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like Storage Disks, </a:t>
            </a:r>
            <a:r>
              <a:rPr lang="en-IE" sz="1050" b="0" i="0" err="1">
                <a:solidFill>
                  <a:schemeClr val="bg2">
                    <a:lumMod val="65000"/>
                    <a:lumOff val="35000"/>
                  </a:schemeClr>
                </a:solidFill>
                <a:effectLst/>
                <a:latin typeface="Calibri" panose="020F0502020204030204" pitchFamily="34" charset="0"/>
                <a:cs typeface="Calibri" panose="020F0502020204030204" pitchFamily="34" charset="0"/>
              </a:rPr>
              <a:t>VNet</a:t>
            </a:r>
            <a:r>
              <a:rPr lang="en-IE" sz="1050" b="0" i="0">
                <a:solidFill>
                  <a:schemeClr val="bg2">
                    <a:lumMod val="65000"/>
                    <a:lumOff val="35000"/>
                  </a:schemeClr>
                </a:solidFill>
                <a:effectLst/>
                <a:latin typeface="Calibri" panose="020F0502020204030204" pitchFamily="34" charset="0"/>
                <a:cs typeface="Calibri" panose="020F0502020204030204" pitchFamily="34" charset="0"/>
              </a:rPr>
              <a:t>, Firewall, etc. </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b="0" i="0">
                <a:solidFill>
                  <a:schemeClr val="bg2">
                    <a:lumMod val="65000"/>
                    <a:lumOff val="35000"/>
                  </a:schemeClr>
                </a:solidFill>
                <a:effectLst/>
                <a:latin typeface="Calibri" panose="020F0502020204030204" pitchFamily="34" charset="0"/>
                <a:cs typeface="Calibri" panose="020F0502020204030204" pitchFamily="34" charset="0"/>
              </a:rPr>
              <a:t>An Availability Zone is a physically separate zone, within an Azure region. It will enable the VM components with Zonal resiliency.</a:t>
            </a:r>
          </a:p>
          <a:p>
            <a:pPr marL="171450" indent="-171450" algn="just">
              <a:lnSpc>
                <a:spcPct val="85000"/>
              </a:lnSpc>
              <a:spcAft>
                <a:spcPts val="600"/>
              </a:spcAft>
              <a:buClr>
                <a:srgbClr val="27ACAA"/>
              </a:buClr>
              <a:buSzPct val="70000"/>
              <a:buFont typeface="EYInterstate Light" panose="02000506000000020004" pitchFamily="2" charset="0"/>
              <a:buChar char="•"/>
            </a:pPr>
            <a:r>
              <a:rPr lang="en-IE" sz="1050" b="0" i="0">
                <a:solidFill>
                  <a:schemeClr val="bg2">
                    <a:lumMod val="65000"/>
                    <a:lumOff val="35000"/>
                  </a:schemeClr>
                </a:solidFill>
                <a:effectLst/>
                <a:latin typeface="Calibri" panose="020F0502020204030204" pitchFamily="34" charset="0"/>
                <a:cs typeface="Calibri" panose="020F0502020204030204" pitchFamily="34" charset="0"/>
              </a:rPr>
              <a:t>There are three Availability Zones per supported Azure region. If one zone is compromised, then replicated config and data are instantly available in another zone.</a:t>
            </a:r>
          </a:p>
        </p:txBody>
      </p:sp>
      <p:pic>
        <p:nvPicPr>
          <p:cNvPr id="46084" name="Picture 4">
            <a:extLst>
              <a:ext uri="{FF2B5EF4-FFF2-40B4-BE49-F238E27FC236}">
                <a16:creationId xmlns:a16="http://schemas.microsoft.com/office/drawing/2014/main" id="{76A46844-6D61-BE13-BDE9-208837D4E3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0346" y="1943417"/>
            <a:ext cx="4392054" cy="39052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7F04B0E-628F-1232-1864-20591AB6DC2E}"/>
              </a:ext>
            </a:extLst>
          </p:cNvPr>
          <p:cNvSpPr txBox="1"/>
          <p:nvPr/>
        </p:nvSpPr>
        <p:spPr>
          <a:xfrm>
            <a:off x="7229985" y="5732571"/>
            <a:ext cx="4312776" cy="369332"/>
          </a:xfrm>
          <a:prstGeom prst="rect">
            <a:avLst/>
          </a:prstGeom>
          <a:noFill/>
          <a:ln>
            <a:noFill/>
          </a:ln>
        </p:spPr>
        <p:txBody>
          <a:bodyPr wrap="square">
            <a:spAutoFit/>
          </a:bodyPr>
          <a:lstStyle/>
          <a:p>
            <a:pPr marR="0" algn="ctr" rtl="0"/>
            <a:r>
              <a:rPr lang="en-IE" sz="900" i="1">
                <a:solidFill>
                  <a:schemeClr val="bg2">
                    <a:lumMod val="65000"/>
                    <a:lumOff val="35000"/>
                  </a:schemeClr>
                </a:solidFill>
                <a:latin typeface="Calibri" panose="020F0502020204030204" pitchFamily="34" charset="0"/>
                <a:cs typeface="Calibri" panose="020F0502020204030204" pitchFamily="34" charset="0"/>
              </a:rPr>
              <a:t>Fig 1.9 – Example of simple recovery flow to recover data and resource workloads in Microsoft Azure.</a:t>
            </a:r>
          </a:p>
        </p:txBody>
      </p:sp>
      <p:sp>
        <p:nvSpPr>
          <p:cNvPr id="3" name="Rectangle 2">
            <a:extLst>
              <a:ext uri="{FF2B5EF4-FFF2-40B4-BE49-F238E27FC236}">
                <a16:creationId xmlns:a16="http://schemas.microsoft.com/office/drawing/2014/main" id="{C5589019-1A94-C95D-5615-582FCFCF7CC1}"/>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F8007DC7-5179-B343-0DEF-125DA6E392A7}"/>
              </a:ext>
            </a:extLst>
          </p:cNvPr>
          <p:cNvSpPr txBox="1"/>
          <p:nvPr/>
        </p:nvSpPr>
        <p:spPr>
          <a:xfrm>
            <a:off x="1392221" y="1381268"/>
            <a:ext cx="9829800" cy="66447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Recovery: </a:t>
            </a:r>
            <a:r>
              <a:rPr lang="en-IE" sz="1050">
                <a:solidFill>
                  <a:schemeClr val="bg2"/>
                </a:solidFill>
                <a:latin typeface="Calibri" panose="020F0502020204030204" pitchFamily="34" charset="0"/>
                <a:cs typeface="Calibri" panose="020F0502020204030204" pitchFamily="34" charset="0"/>
              </a:rPr>
              <a:t>With this Enterprise DR strategy, the proposed solution will increase uptime for all Azure resources and data, ensuring they are available even during disaster conditions. </a:t>
            </a:r>
            <a:r>
              <a:rPr lang="en-GB" sz="1050">
                <a:solidFill>
                  <a:schemeClr val="bg2"/>
                </a:solidFill>
                <a:latin typeface="Calibri" panose="020F0502020204030204" pitchFamily="34" charset="0"/>
                <a:cs typeface="Calibri" panose="020F0502020204030204" pitchFamily="34" charset="0"/>
              </a:rPr>
              <a:t>This aligns with the requirement for a disaster recovery architecture with an alternate regional location within the EU. The Azure site recovery provides a robust solution with real-time replication of the resources.</a:t>
            </a:r>
            <a:endParaRPr lang="en-IE" sz="1050">
              <a:solidFill>
                <a:schemeClr val="bg2"/>
              </a:solidFill>
              <a:latin typeface="Calibri" panose="020F0502020204030204" pitchFamily="34" charset="0"/>
              <a:cs typeface="Calibri" panose="020F0502020204030204" pitchFamily="34" charset="0"/>
            </a:endParaRPr>
          </a:p>
          <a:p>
            <a:pPr>
              <a:lnSpc>
                <a:spcPct val="85000"/>
              </a:lnSpc>
              <a:spcAft>
                <a:spcPts val="600"/>
              </a:spcAft>
              <a:buClr>
                <a:schemeClr val="accent2"/>
              </a:buClr>
              <a:buSzPct val="70000"/>
            </a:pPr>
            <a:endParaRPr lang="en-IE" sz="1050">
              <a:solidFill>
                <a:schemeClr val="bg1"/>
              </a:solidFill>
              <a:latin typeface="Calibri" panose="020F0502020204030204" pitchFamily="34" charset="0"/>
              <a:cs typeface="Calibri" panose="020F0502020204030204" pitchFamily="34" charset="0"/>
            </a:endParaRPr>
          </a:p>
        </p:txBody>
      </p:sp>
      <p:pic>
        <p:nvPicPr>
          <p:cNvPr id="11" name="Picture 10" descr="A black background with a black square&#10;&#10;Description automatically generated">
            <a:extLst>
              <a:ext uri="{FF2B5EF4-FFF2-40B4-BE49-F238E27FC236}">
                <a16:creationId xmlns:a16="http://schemas.microsoft.com/office/drawing/2014/main" id="{AA575DDD-FA6C-40EF-A94D-2A03820395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8404" y="1429368"/>
            <a:ext cx="386862" cy="386862"/>
          </a:xfrm>
          <a:prstGeom prst="rect">
            <a:avLst/>
          </a:prstGeom>
        </p:spPr>
      </p:pic>
    </p:spTree>
    <p:extLst>
      <p:ext uri="{BB962C8B-B14F-4D97-AF65-F5344CB8AC3E}">
        <p14:creationId xmlns:p14="http://schemas.microsoft.com/office/powerpoint/2010/main" val="2395506064"/>
      </p:ext>
    </p:extLst>
  </p:cSld>
  <p:clrMapOvr>
    <a:masterClrMapping/>
  </p:clrMapOvr>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D.1 – Security</a:t>
            </a:r>
            <a:endParaRPr lang="en-IE">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625525EB-FC28-C8C5-48E4-EA4A7BF0AB52}"/>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3E0401D-34B9-84E0-1877-7D73E3473042}"/>
              </a:ext>
            </a:extLst>
          </p:cNvPr>
          <p:cNvSpPr txBox="1"/>
          <p:nvPr/>
        </p:nvSpPr>
        <p:spPr>
          <a:xfrm>
            <a:off x="577311" y="1690253"/>
            <a:ext cx="10974387" cy="1832681"/>
          </a:xfrm>
          <a:prstGeom prst="rect">
            <a:avLst/>
          </a:prstGeom>
          <a:noFill/>
          <a:ln w="19050">
            <a:noFill/>
          </a:ln>
        </p:spPr>
        <p:txBody>
          <a:bodyPr wrap="square" lIns="0" tIns="36576" rIns="0" bIns="0" rtlCol="0">
            <a:spAutoFit/>
          </a:bodyPr>
          <a:lstStyle/>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GB" sz="1200">
              <a:solidFill>
                <a:schemeClr val="bg2">
                  <a:lumMod val="50000"/>
                  <a:lumOff val="50000"/>
                </a:schemeClr>
              </a:solidFill>
              <a:latin typeface="Calibri" panose="020F0502020204030204" pitchFamily="34" charset="0"/>
              <a:cs typeface="Calibri" panose="020F0502020204030204" pitchFamily="34" charset="0"/>
            </a:endParaRPr>
          </a:p>
          <a:p>
            <a:pPr algn="just">
              <a:lnSpc>
                <a:spcPct val="85000"/>
              </a:lnSpc>
              <a:spcAft>
                <a:spcPts val="600"/>
              </a:spcAft>
              <a:buClr>
                <a:schemeClr val="accent2"/>
              </a:buClr>
              <a:buSzPct val="70000"/>
            </a:pPr>
            <a:endParaRPr lang="en-IE" sz="1200">
              <a:solidFill>
                <a:schemeClr val="bg2">
                  <a:lumMod val="50000"/>
                  <a:lumOff val="50000"/>
                </a:schemeClr>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B57BDEC-391C-BDCB-C111-D57C96DB51A4}"/>
              </a:ext>
            </a:extLst>
          </p:cNvPr>
          <p:cNvSpPr txBox="1"/>
          <p:nvPr/>
        </p:nvSpPr>
        <p:spPr>
          <a:xfrm>
            <a:off x="712178" y="1874848"/>
            <a:ext cx="6673360" cy="4172424"/>
          </a:xfrm>
          <a:prstGeom prst="rect">
            <a:avLst/>
          </a:prstGeom>
          <a:noFill/>
        </p:spPr>
        <p:txBody>
          <a:bodyPr wrap="square" lIns="0" tIns="36576" rIns="0" bIns="0" rtlCol="0" anchor="t">
            <a:spAutoFit/>
          </a:bodyPr>
          <a:lstStyle/>
          <a:p>
            <a:pPr marL="171450" indent="-171450" algn="just">
              <a:lnSpc>
                <a:spcPct val="107000"/>
              </a:lnSpc>
              <a:spcAft>
                <a:spcPts val="800"/>
              </a:spcAft>
              <a:buFont typeface="Arial" panose="020B0604020202020204" pitchFamily="34" charset="0"/>
              <a:buChar char="•"/>
            </a:pPr>
            <a:r>
              <a:rPr lang="en-IE" sz="1050">
                <a:solidFill>
                  <a:schemeClr val="bg2">
                    <a:lumMod val="65000"/>
                    <a:lumOff val="35000"/>
                  </a:schemeClr>
                </a:solidFill>
                <a:latin typeface="Calibri" panose="020F0502020204030204" pitchFamily="34" charset="0"/>
                <a:cs typeface="Calibri" panose="020F0502020204030204" pitchFamily="34" charset="0"/>
              </a:rPr>
              <a:t>EY leverages the Microsoft Zero Trust (ZT) approach to secure Azure implementation comprehensively. By incorporating security by design and privacy by design principles, this ensures that identities, endpoints, applications, data, infrastructure, and networks are safeguarded while respecting confidentiality, integrity and availability.</a:t>
            </a:r>
          </a:p>
          <a:p>
            <a:pPr marL="171450" indent="-171450" algn="just">
              <a:lnSpc>
                <a:spcPct val="107000"/>
              </a:lnSpc>
              <a:spcAft>
                <a:spcPts val="800"/>
              </a:spcAft>
              <a:buFont typeface="Arial" panose="020B0604020202020204" pitchFamily="34" charset="0"/>
              <a:buChar char="•"/>
            </a:pPr>
            <a:r>
              <a:rPr lang="en-IE" sz="1050" b="1">
                <a:solidFill>
                  <a:schemeClr val="bg2">
                    <a:lumMod val="65000"/>
                    <a:lumOff val="35000"/>
                  </a:schemeClr>
                </a:solidFill>
                <a:latin typeface="Calibri" panose="020F0502020204030204" pitchFamily="34" charset="0"/>
                <a:cs typeface="Calibri" panose="020F0502020204030204" pitchFamily="34" charset="0"/>
              </a:rPr>
              <a:t>Identity and Access Management (IDAM) </a:t>
            </a:r>
            <a:r>
              <a:rPr lang="en-IE" sz="1050">
                <a:solidFill>
                  <a:schemeClr val="bg2">
                    <a:lumMod val="65000"/>
                    <a:lumOff val="35000"/>
                  </a:schemeClr>
                </a:solidFill>
                <a:latin typeface="Calibri" panose="020F0502020204030204" pitchFamily="34" charset="0"/>
                <a:cs typeface="Calibri" panose="020F0502020204030204" pitchFamily="34" charset="0"/>
              </a:rPr>
              <a:t>– Starting with identities, EY will configure multi-factor authentication, conditional access, Privilege Access Management (PAM), Role Based Access Control (RBAC) and Azure AD Identity Protection to verify users identities and control access to resources. This is to ensure secure adaptive access, Just in time and Just enough access.</a:t>
            </a:r>
          </a:p>
          <a:p>
            <a:pPr marL="171450" indent="-171450" algn="just">
              <a:lnSpc>
                <a:spcPct val="107000"/>
              </a:lnSpc>
              <a:spcAft>
                <a:spcPts val="800"/>
              </a:spcAft>
              <a:buFont typeface="Arial" panose="020B0604020202020204" pitchFamily="34" charset="0"/>
              <a:buChar char="•"/>
            </a:pPr>
            <a:r>
              <a:rPr lang="en-IE" sz="1050" b="1">
                <a:solidFill>
                  <a:schemeClr val="bg2">
                    <a:lumMod val="65000"/>
                    <a:lumOff val="35000"/>
                  </a:schemeClr>
                </a:solidFill>
                <a:latin typeface="Calibri" panose="020F0502020204030204" pitchFamily="34" charset="0"/>
                <a:cs typeface="Calibri" panose="020F0502020204030204" pitchFamily="34" charset="0"/>
              </a:rPr>
              <a:t>Securing Endpoints – </a:t>
            </a:r>
            <a:r>
              <a:rPr lang="en-IE" sz="1050">
                <a:solidFill>
                  <a:schemeClr val="bg2">
                    <a:lumMod val="65000"/>
                    <a:lumOff val="35000"/>
                  </a:schemeClr>
                </a:solidFill>
                <a:latin typeface="Calibri" panose="020F0502020204030204" pitchFamily="34" charset="0"/>
                <a:cs typeface="Calibri" panose="020F0502020204030204" pitchFamily="34" charset="0"/>
              </a:rPr>
              <a:t>EY will leverage the Virtual Desktop Infrastructure (VDI) policies to harden the access layer on the environment to align with the CIS benchmarks. This will enforce device compliance policies, regular updates, and encryption measures to protect the sensitive data while ensuring privacy by design, with limited data collection and strong encryption protocols.</a:t>
            </a:r>
          </a:p>
          <a:p>
            <a:pPr marL="171450" indent="-171450" algn="just">
              <a:lnSpc>
                <a:spcPct val="107000"/>
              </a:lnSpc>
              <a:spcAft>
                <a:spcPts val="800"/>
              </a:spcAft>
              <a:buFont typeface="Arial" panose="020B0604020202020204" pitchFamily="34" charset="0"/>
              <a:buChar char="•"/>
            </a:pPr>
            <a:r>
              <a:rPr lang="en-IE" sz="1050" b="1">
                <a:solidFill>
                  <a:schemeClr val="bg2">
                    <a:lumMod val="65000"/>
                    <a:lumOff val="35000"/>
                  </a:schemeClr>
                </a:solidFill>
                <a:latin typeface="Calibri" panose="020F0502020204030204" pitchFamily="34" charset="0"/>
                <a:cs typeface="Calibri" panose="020F0502020204030204" pitchFamily="34" charset="0"/>
              </a:rPr>
              <a:t>Securing Applications - </a:t>
            </a:r>
            <a:r>
              <a:rPr lang="en-IE" sz="1050">
                <a:solidFill>
                  <a:schemeClr val="bg2">
                    <a:lumMod val="65000"/>
                    <a:lumOff val="35000"/>
                  </a:schemeClr>
                </a:solidFill>
                <a:latin typeface="Calibri" panose="020F0502020204030204" pitchFamily="34" charset="0"/>
                <a:cs typeface="Calibri" panose="020F0502020204030204" pitchFamily="34" charset="0"/>
              </a:rPr>
              <a:t>Applications are thoroughly protected through Azure AD Application Proxy and Conditional Access, enabling EY to implement strict access controls based on user identity, location, and device posture. Simultaneously, privacy by design is maintained by integrating user consent mechanisms and performing regular audits to assess and mitigate data privacy risks.</a:t>
            </a:r>
          </a:p>
          <a:p>
            <a:pPr marL="171450" indent="-171450" algn="just">
              <a:lnSpc>
                <a:spcPct val="107000"/>
              </a:lnSpc>
              <a:spcAft>
                <a:spcPts val="800"/>
              </a:spcAft>
              <a:buFont typeface="Arial" panose="020B0604020202020204" pitchFamily="34" charset="0"/>
              <a:buChar char="•"/>
            </a:pPr>
            <a:r>
              <a:rPr lang="en-IE" sz="1050" b="1">
                <a:solidFill>
                  <a:schemeClr val="bg2">
                    <a:lumMod val="65000"/>
                    <a:lumOff val="35000"/>
                  </a:schemeClr>
                </a:solidFill>
                <a:latin typeface="Calibri" panose="020F0502020204030204" pitchFamily="34" charset="0"/>
                <a:cs typeface="Calibri" panose="020F0502020204030204" pitchFamily="34" charset="0"/>
              </a:rPr>
              <a:t>Data Security - </a:t>
            </a:r>
            <a:r>
              <a:rPr lang="en-IE" sz="1050">
                <a:solidFill>
                  <a:schemeClr val="bg2">
                    <a:lumMod val="65000"/>
                    <a:lumOff val="35000"/>
                  </a:schemeClr>
                </a:solidFill>
                <a:latin typeface="Calibri" panose="020F0502020204030204" pitchFamily="34" charset="0"/>
                <a:cs typeface="Calibri" panose="020F0502020204030204" pitchFamily="34" charset="0"/>
              </a:rPr>
              <a:t>Data security remains paramount, with EY using Microsoft Purview to classify and label sensitive data, implement DLP policies, and employ data encryption at rest and in transit to ensure compliance with GDPR regulations.</a:t>
            </a:r>
          </a:p>
          <a:p>
            <a:pPr marL="171450" indent="-171450" algn="just">
              <a:lnSpc>
                <a:spcPct val="107000"/>
              </a:lnSpc>
              <a:spcAft>
                <a:spcPts val="800"/>
              </a:spcAft>
              <a:buFont typeface="Arial" panose="020B0604020202020204" pitchFamily="34" charset="0"/>
              <a:buChar char="•"/>
            </a:pPr>
            <a:r>
              <a:rPr lang="en-IE" sz="1050" b="1">
                <a:solidFill>
                  <a:schemeClr val="bg2">
                    <a:lumMod val="65000"/>
                    <a:lumOff val="35000"/>
                  </a:schemeClr>
                </a:solidFill>
                <a:latin typeface="Calibri" panose="020F0502020204030204" pitchFamily="34" charset="0"/>
                <a:cs typeface="Calibri" panose="020F0502020204030204" pitchFamily="34" charset="0"/>
              </a:rPr>
              <a:t>Network and Infrastructure Security - </a:t>
            </a:r>
            <a:r>
              <a:rPr lang="en-IE" sz="1050">
                <a:solidFill>
                  <a:schemeClr val="bg2">
                    <a:lumMod val="65000"/>
                    <a:lumOff val="35000"/>
                  </a:schemeClr>
                </a:solidFill>
                <a:latin typeface="Calibri" panose="020F0502020204030204" pitchFamily="34" charset="0"/>
                <a:cs typeface="Calibri" panose="020F0502020204030204" pitchFamily="34" charset="0"/>
              </a:rPr>
              <a:t>EY adopts Virtual Network (VNET) segregation, Network Security Groups (NSGs), and Azure Firewall to control and monitor network traffic, preventing threats from propagating within the infrastructure. By enabling Microsoft Defender for Cloud this will strengthen the cloud security posture, defend against evolving threats, control access to critical resources and help to secure every step of the DevOps lifecycle.</a:t>
            </a:r>
          </a:p>
        </p:txBody>
      </p:sp>
      <p:pic>
        <p:nvPicPr>
          <p:cNvPr id="11" name="Picture 10">
            <a:extLst>
              <a:ext uri="{FF2B5EF4-FFF2-40B4-BE49-F238E27FC236}">
                <a16:creationId xmlns:a16="http://schemas.microsoft.com/office/drawing/2014/main" id="{061D49B1-D579-FC7A-79A1-38143B97C9CD}"/>
              </a:ext>
            </a:extLst>
          </p:cNvPr>
          <p:cNvPicPr>
            <a:picLocks noChangeAspect="1"/>
          </p:cNvPicPr>
          <p:nvPr/>
        </p:nvPicPr>
        <p:blipFill>
          <a:blip r:embed="rId3"/>
          <a:stretch>
            <a:fillRect/>
          </a:stretch>
        </p:blipFill>
        <p:spPr>
          <a:xfrm>
            <a:off x="7666632" y="2494372"/>
            <a:ext cx="3730369" cy="2933376"/>
          </a:xfrm>
          <a:prstGeom prst="rect">
            <a:avLst/>
          </a:prstGeom>
        </p:spPr>
      </p:pic>
      <p:sp>
        <p:nvSpPr>
          <p:cNvPr id="5" name="TextBox 4">
            <a:extLst>
              <a:ext uri="{FF2B5EF4-FFF2-40B4-BE49-F238E27FC236}">
                <a16:creationId xmlns:a16="http://schemas.microsoft.com/office/drawing/2014/main" id="{3367FD1E-1DB7-5A9A-C6A8-4D951B0FC9E1}"/>
              </a:ext>
            </a:extLst>
          </p:cNvPr>
          <p:cNvSpPr txBox="1"/>
          <p:nvPr/>
        </p:nvSpPr>
        <p:spPr>
          <a:xfrm>
            <a:off x="7763608" y="5381511"/>
            <a:ext cx="3569678" cy="369332"/>
          </a:xfrm>
          <a:prstGeom prst="rect">
            <a:avLst/>
          </a:prstGeom>
          <a:noFill/>
          <a:ln>
            <a:noFill/>
          </a:ln>
        </p:spPr>
        <p:txBody>
          <a:bodyPr wrap="square">
            <a:spAutoFit/>
          </a:bodyPr>
          <a:lstStyle/>
          <a:p>
            <a:pPr marR="0" algn="ctr" rtl="0"/>
            <a:r>
              <a:rPr lang="en-IE" sz="900" i="1">
                <a:solidFill>
                  <a:schemeClr val="bg2">
                    <a:lumMod val="65000"/>
                    <a:lumOff val="35000"/>
                  </a:schemeClr>
                </a:solidFill>
                <a:latin typeface="Calibri" panose="020F0502020204030204" pitchFamily="34" charset="0"/>
                <a:cs typeface="Calibri" panose="020F0502020204030204" pitchFamily="34" charset="0"/>
              </a:rPr>
              <a:t>Fig 2.0 – Example to Azure services used to security proposed solution resources and workloads in Microsoft Azure.</a:t>
            </a:r>
          </a:p>
        </p:txBody>
      </p:sp>
      <p:sp>
        <p:nvSpPr>
          <p:cNvPr id="7" name="Rectangle 6">
            <a:extLst>
              <a:ext uri="{FF2B5EF4-FFF2-40B4-BE49-F238E27FC236}">
                <a16:creationId xmlns:a16="http://schemas.microsoft.com/office/drawing/2014/main" id="{4C859766-C7CA-A526-F04E-4105ADCA1A33}"/>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1FC709B3-38DF-1A84-C161-86A28D557B38}"/>
              </a:ext>
            </a:extLst>
          </p:cNvPr>
          <p:cNvSpPr txBox="1"/>
          <p:nvPr/>
        </p:nvSpPr>
        <p:spPr>
          <a:xfrm>
            <a:off x="1392221" y="1391500"/>
            <a:ext cx="9829800" cy="45018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GB" sz="1050" b="1">
                <a:solidFill>
                  <a:schemeClr val="bg2"/>
                </a:solidFill>
                <a:latin typeface="Calibri" panose="020F0502020204030204" pitchFamily="34" charset="0"/>
                <a:cs typeface="Calibri" panose="020F0502020204030204" pitchFamily="34" charset="0"/>
              </a:rPr>
              <a:t>Security: </a:t>
            </a:r>
            <a:r>
              <a:rPr lang="en-IE" sz="1050">
                <a:solidFill>
                  <a:schemeClr val="bg2"/>
                </a:solidFill>
                <a:latin typeface="Calibri" panose="020F0502020204030204" pitchFamily="34" charset="0"/>
                <a:cs typeface="Calibri" panose="020F0502020204030204" pitchFamily="34" charset="0"/>
              </a:rPr>
              <a:t>The proposed solution delves into the critical role of security, exploring its application in the proposed solution, to safeguard sensitive information, maintain business continuity, and foster a secure and trustworthy hybrid environment. By integrating comprehensive security practices, the proposed solution confidently embraces the advantages of the cloud, while mitigating potential risks and vulnerabilities.</a:t>
            </a:r>
            <a:endParaRPr lang="en-IE" sz="1050">
              <a:solidFill>
                <a:schemeClr val="bg1"/>
              </a:solidFill>
              <a:latin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4805DFD9-8C5F-8A46-B4DE-D9D7DB0EADFF}"/>
              </a:ext>
            </a:extLst>
          </p:cNvPr>
          <p:cNvPicPr>
            <a:picLocks noChangeAspect="1"/>
          </p:cNvPicPr>
          <p:nvPr/>
        </p:nvPicPr>
        <p:blipFill>
          <a:blip r:embed="rId4"/>
          <a:stretch>
            <a:fillRect/>
          </a:stretch>
        </p:blipFill>
        <p:spPr>
          <a:xfrm>
            <a:off x="945607" y="1424111"/>
            <a:ext cx="276174" cy="358439"/>
          </a:xfrm>
          <a:prstGeom prst="rect">
            <a:avLst/>
          </a:prstGeom>
        </p:spPr>
      </p:pic>
    </p:spTree>
    <p:extLst>
      <p:ext uri="{BB962C8B-B14F-4D97-AF65-F5344CB8AC3E}">
        <p14:creationId xmlns:p14="http://schemas.microsoft.com/office/powerpoint/2010/main" val="1254331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a:cs typeface="Calibri"/>
              </a:rPr>
              <a:t>D.1 – Golden Image</a:t>
            </a:r>
            <a:endParaRPr lang="en-IE">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625525EB-FC28-C8C5-48E4-EA4A7BF0AB52}"/>
              </a:ext>
            </a:extLst>
          </p:cNvPr>
          <p:cNvSpPr txBox="1"/>
          <p:nvPr/>
        </p:nvSpPr>
        <p:spPr>
          <a:xfrm>
            <a:off x="609599" y="1668638"/>
            <a:ext cx="10974387" cy="206210"/>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endParaRPr lang="en-GB" sz="1100" kern="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B57BDEC-391C-BDCB-C111-D57C96DB51A4}"/>
              </a:ext>
            </a:extLst>
          </p:cNvPr>
          <p:cNvSpPr txBox="1"/>
          <p:nvPr/>
        </p:nvSpPr>
        <p:spPr>
          <a:xfrm>
            <a:off x="712178" y="1874848"/>
            <a:ext cx="6673360" cy="202107"/>
          </a:xfrm>
          <a:prstGeom prst="rect">
            <a:avLst/>
          </a:prstGeom>
          <a:noFill/>
        </p:spPr>
        <p:txBody>
          <a:bodyPr wrap="square" lIns="0" tIns="36576" rIns="0" bIns="0" rtlCol="0" anchor="t">
            <a:spAutoFit/>
          </a:bodyPr>
          <a:lstStyle/>
          <a:p>
            <a:pPr marL="171450" indent="-171450" algn="just">
              <a:lnSpc>
                <a:spcPct val="107000"/>
              </a:lnSpc>
              <a:spcAft>
                <a:spcPts val="800"/>
              </a:spcAft>
              <a:buFont typeface="Arial" panose="020B0604020202020204" pitchFamily="34" charset="0"/>
              <a:buChar char="•"/>
            </a:pPr>
            <a:endParaRPr lang="en-IE" sz="1050">
              <a:solidFill>
                <a:schemeClr val="bg2">
                  <a:lumMod val="65000"/>
                  <a:lumOff val="35000"/>
                </a:schemeClr>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4C859766-C7CA-A526-F04E-4105ADCA1A33}"/>
              </a:ext>
            </a:extLst>
          </p:cNvPr>
          <p:cNvSpPr/>
          <p:nvPr/>
        </p:nvSpPr>
        <p:spPr bwMode="auto">
          <a:xfrm>
            <a:off x="775166" y="1350865"/>
            <a:ext cx="10528430" cy="523983"/>
          </a:xfrm>
          <a:prstGeom prst="rect">
            <a:avLst/>
          </a:prstGeom>
          <a:solidFill>
            <a:srgbClr val="F6DF09"/>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r>
              <a:rPr lang="en-GB" sz="1050" b="1">
                <a:solidFill>
                  <a:schemeClr val="bg2"/>
                </a:solidFill>
                <a:latin typeface="Calibri" panose="020F0502020204030204" pitchFamily="34" charset="0"/>
                <a:cs typeface="Calibri" panose="020F0502020204030204" pitchFamily="34" charset="0"/>
              </a:rPr>
              <a:t>             </a:t>
            </a:r>
            <a:endParaRPr lang="en-IE" sz="1000" b="1">
              <a:solidFill>
                <a:schemeClr val="bg2"/>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1FC709B3-38DF-1A84-C161-86A28D557B38}"/>
              </a:ext>
            </a:extLst>
          </p:cNvPr>
          <p:cNvSpPr txBox="1"/>
          <p:nvPr/>
        </p:nvSpPr>
        <p:spPr>
          <a:xfrm>
            <a:off x="1392221" y="1391500"/>
            <a:ext cx="9829800" cy="450188"/>
          </a:xfrm>
          <a:prstGeom prst="rect">
            <a:avLst/>
          </a:prstGeom>
          <a:noFill/>
        </p:spPr>
        <p:txBody>
          <a:bodyPr wrap="square" lIns="0" tIns="36576" rIns="0" bIns="0" rtlCol="0" anchor="t">
            <a:spAutoFit/>
          </a:bodyPr>
          <a:lstStyle/>
          <a:p>
            <a:pPr>
              <a:lnSpc>
                <a:spcPct val="85000"/>
              </a:lnSpc>
              <a:spcAft>
                <a:spcPts val="600"/>
              </a:spcAft>
              <a:buClr>
                <a:schemeClr val="accent2"/>
              </a:buClr>
              <a:buSzPct val="70000"/>
            </a:pPr>
            <a:r>
              <a:rPr lang="en-GB" sz="1050" b="1">
                <a:solidFill>
                  <a:schemeClr val="bg2"/>
                </a:solidFill>
                <a:latin typeface="Calibri"/>
                <a:cs typeface="Calibri"/>
              </a:rPr>
              <a:t>Golden Image: </a:t>
            </a:r>
            <a:r>
              <a:rPr lang="en-IE" sz="1050">
                <a:solidFill>
                  <a:schemeClr val="bg2"/>
                </a:solidFill>
                <a:latin typeface="Calibri"/>
                <a:cs typeface="Calibri"/>
              </a:rPr>
              <a:t>VM Image Builder is a fully managed Azure service that allows to create customized Virtual Machine Images. It can be used to automate and simplify the Image building process. It supports using Windows, Linux or custom images and the addition of custom scripts, command and applications on top of it. It allows to build multiple images which would be suitable for SJH's various use-cases. </a:t>
            </a:r>
            <a:endParaRPr lang="en-IE" sz="1050">
              <a:solidFill>
                <a:schemeClr val="bg2"/>
              </a:solidFill>
              <a:latin typeface="EYInterstate Light"/>
              <a:cs typeface="Calibri"/>
            </a:endParaRPr>
          </a:p>
        </p:txBody>
      </p:sp>
      <p:pic>
        <p:nvPicPr>
          <p:cNvPr id="4" name="Picture 3">
            <a:extLst>
              <a:ext uri="{FF2B5EF4-FFF2-40B4-BE49-F238E27FC236}">
                <a16:creationId xmlns:a16="http://schemas.microsoft.com/office/drawing/2014/main" id="{B83C1C9D-1D2C-C408-24F0-D6D9AE55CD43}"/>
              </a:ext>
            </a:extLst>
          </p:cNvPr>
          <p:cNvPicPr>
            <a:picLocks noChangeAspect="1"/>
          </p:cNvPicPr>
          <p:nvPr/>
        </p:nvPicPr>
        <p:blipFill>
          <a:blip r:embed="rId3"/>
          <a:stretch>
            <a:fillRect/>
          </a:stretch>
        </p:blipFill>
        <p:spPr>
          <a:xfrm>
            <a:off x="846173" y="1351221"/>
            <a:ext cx="487327" cy="487327"/>
          </a:xfrm>
          <a:prstGeom prst="rect">
            <a:avLst/>
          </a:prstGeom>
        </p:spPr>
      </p:pic>
      <p:pic>
        <p:nvPicPr>
          <p:cNvPr id="12" name="Picture 11" descr="A diagram of a software service&#10;&#10;Description automatically generated">
            <a:extLst>
              <a:ext uri="{FF2B5EF4-FFF2-40B4-BE49-F238E27FC236}">
                <a16:creationId xmlns:a16="http://schemas.microsoft.com/office/drawing/2014/main" id="{068A2752-9497-E23C-4054-D65719C31A0C}"/>
              </a:ext>
            </a:extLst>
          </p:cNvPr>
          <p:cNvPicPr>
            <a:picLocks noChangeAspect="1"/>
          </p:cNvPicPr>
          <p:nvPr/>
        </p:nvPicPr>
        <p:blipFill>
          <a:blip r:embed="rId4"/>
          <a:stretch>
            <a:fillRect/>
          </a:stretch>
        </p:blipFill>
        <p:spPr>
          <a:xfrm>
            <a:off x="648586" y="3704046"/>
            <a:ext cx="6101315" cy="2258680"/>
          </a:xfrm>
          <a:prstGeom prst="rect">
            <a:avLst/>
          </a:prstGeom>
        </p:spPr>
      </p:pic>
      <p:sp>
        <p:nvSpPr>
          <p:cNvPr id="14" name="TextBox 13">
            <a:extLst>
              <a:ext uri="{FF2B5EF4-FFF2-40B4-BE49-F238E27FC236}">
                <a16:creationId xmlns:a16="http://schemas.microsoft.com/office/drawing/2014/main" id="{16BB29D0-6CD0-3501-0334-F3D810EFB82E}"/>
              </a:ext>
            </a:extLst>
          </p:cNvPr>
          <p:cNvSpPr txBox="1"/>
          <p:nvPr/>
        </p:nvSpPr>
        <p:spPr>
          <a:xfrm>
            <a:off x="1738493" y="5948581"/>
            <a:ext cx="3587398" cy="230832"/>
          </a:xfrm>
          <a:prstGeom prst="rect">
            <a:avLst/>
          </a:prstGeom>
          <a:noFill/>
          <a:ln>
            <a:noFill/>
          </a:ln>
        </p:spPr>
        <p:txBody>
          <a:bodyPr wrap="square" lIns="91440" tIns="45720" rIns="91440" bIns="45720" anchor="t">
            <a:spAutoFit/>
          </a:bodyPr>
          <a:lstStyle/>
          <a:p>
            <a:pPr algn="ctr"/>
            <a:r>
              <a:rPr lang="en-IE" sz="900" i="1">
                <a:solidFill>
                  <a:schemeClr val="bg2">
                    <a:lumMod val="65000"/>
                    <a:lumOff val="35000"/>
                  </a:schemeClr>
                </a:solidFill>
                <a:latin typeface="Calibri"/>
                <a:cs typeface="Calibri"/>
              </a:rPr>
              <a:t>Fig 2.1 – High-level workflow of Azure VM Image Builder</a:t>
            </a:r>
          </a:p>
        </p:txBody>
      </p:sp>
      <p:pic>
        <p:nvPicPr>
          <p:cNvPr id="5" name="Picture 4" descr="A diagram of a computer&#10;&#10;Description automatically generated">
            <a:extLst>
              <a:ext uri="{FF2B5EF4-FFF2-40B4-BE49-F238E27FC236}">
                <a16:creationId xmlns:a16="http://schemas.microsoft.com/office/drawing/2014/main" id="{F47EB763-F579-9795-B7E1-D8F4F95B025A}"/>
              </a:ext>
            </a:extLst>
          </p:cNvPr>
          <p:cNvPicPr>
            <a:picLocks noChangeAspect="1"/>
          </p:cNvPicPr>
          <p:nvPr/>
        </p:nvPicPr>
        <p:blipFill>
          <a:blip r:embed="rId5"/>
          <a:stretch>
            <a:fillRect/>
          </a:stretch>
        </p:blipFill>
        <p:spPr>
          <a:xfrm>
            <a:off x="7391400" y="2640800"/>
            <a:ext cx="4798827" cy="3366215"/>
          </a:xfrm>
          <a:prstGeom prst="rect">
            <a:avLst/>
          </a:prstGeom>
        </p:spPr>
      </p:pic>
      <p:sp>
        <p:nvSpPr>
          <p:cNvPr id="11" name="TextBox 10">
            <a:extLst>
              <a:ext uri="{FF2B5EF4-FFF2-40B4-BE49-F238E27FC236}">
                <a16:creationId xmlns:a16="http://schemas.microsoft.com/office/drawing/2014/main" id="{A88B8B34-B81E-EB8D-CF74-6A6AB7E75846}"/>
              </a:ext>
            </a:extLst>
          </p:cNvPr>
          <p:cNvSpPr txBox="1"/>
          <p:nvPr/>
        </p:nvSpPr>
        <p:spPr>
          <a:xfrm>
            <a:off x="712178" y="1935006"/>
            <a:ext cx="5882053" cy="2301849"/>
          </a:xfrm>
          <a:prstGeom prst="rect">
            <a:avLst/>
          </a:prstGeom>
          <a:noFill/>
        </p:spPr>
        <p:txBody>
          <a:bodyPr wrap="square" lIns="0" tIns="36576" rIns="0" bIns="0" rtlCol="0" anchor="t">
            <a:spAutoFit/>
          </a:bodyPr>
          <a:lstStyle/>
          <a:p>
            <a:pPr algn="just">
              <a:lnSpc>
                <a:spcPct val="85000"/>
              </a:lnSpc>
              <a:spcAft>
                <a:spcPts val="600"/>
              </a:spcAft>
            </a:pPr>
            <a:r>
              <a:rPr lang="en-IE" sz="1050">
                <a:solidFill>
                  <a:schemeClr val="bg2">
                    <a:lumMod val="65000"/>
                    <a:lumOff val="35000"/>
                  </a:schemeClr>
                </a:solidFill>
                <a:latin typeface="Calibri"/>
                <a:cs typeface="Calibri"/>
              </a:rPr>
              <a:t>The Azure VM Image builder provides the below features to facilitate SMJ's requirements for custom VM:</a:t>
            </a:r>
          </a:p>
          <a:p>
            <a:pPr marL="171450" indent="-171450" algn="just">
              <a:lnSpc>
                <a:spcPct val="85000"/>
              </a:lnSpc>
              <a:spcAft>
                <a:spcPts val="600"/>
              </a:spcAft>
              <a:buFont typeface="Arial"/>
              <a:buChar char="•"/>
            </a:pPr>
            <a:r>
              <a:rPr lang="en-IE" sz="1050">
                <a:solidFill>
                  <a:schemeClr val="bg2">
                    <a:lumMod val="65000"/>
                    <a:lumOff val="35000"/>
                  </a:schemeClr>
                </a:solidFill>
                <a:latin typeface="Calibri"/>
                <a:cs typeface="Calibri"/>
              </a:rPr>
              <a:t>Using the golden image, provides stability to the VM by avoiding any OS level glitches.</a:t>
            </a:r>
          </a:p>
          <a:p>
            <a:pPr marL="171450" indent="-171450" algn="just">
              <a:lnSpc>
                <a:spcPct val="85000"/>
              </a:lnSpc>
              <a:spcAft>
                <a:spcPts val="600"/>
              </a:spcAft>
              <a:buFont typeface="Arial"/>
              <a:buChar char="•"/>
            </a:pPr>
            <a:r>
              <a:rPr lang="en-IE" sz="1050">
                <a:solidFill>
                  <a:schemeClr val="bg2">
                    <a:lumMod val="65000"/>
                    <a:lumOff val="35000"/>
                  </a:schemeClr>
                </a:solidFill>
                <a:latin typeface="Calibri"/>
                <a:cs typeface="Calibri"/>
              </a:rPr>
              <a:t>It can make use of the existing networks to provide security along with the access to the whitelisted domains.</a:t>
            </a:r>
          </a:p>
          <a:p>
            <a:pPr marL="171450" indent="-171450" algn="just">
              <a:lnSpc>
                <a:spcPct val="85000"/>
              </a:lnSpc>
              <a:spcAft>
                <a:spcPts val="600"/>
              </a:spcAft>
              <a:buFont typeface="Arial"/>
              <a:buChar char="•"/>
            </a:pPr>
            <a:r>
              <a:rPr lang="en-IE" sz="1050">
                <a:solidFill>
                  <a:schemeClr val="bg2">
                    <a:lumMod val="65000"/>
                    <a:lumOff val="35000"/>
                  </a:schemeClr>
                </a:solidFill>
                <a:latin typeface="Calibri"/>
                <a:cs typeface="Calibri"/>
              </a:rPr>
              <a:t>The VMs can be scheduled to start and stop automatically resulting in up-time savings.</a:t>
            </a:r>
          </a:p>
          <a:p>
            <a:pPr marL="171450" indent="-171450" algn="just">
              <a:lnSpc>
                <a:spcPct val="85000"/>
              </a:lnSpc>
              <a:spcAft>
                <a:spcPts val="600"/>
              </a:spcAft>
              <a:buFont typeface="Arial"/>
              <a:buChar char="•"/>
            </a:pPr>
            <a:r>
              <a:rPr lang="en-IE" sz="1050">
                <a:solidFill>
                  <a:schemeClr val="bg2">
                    <a:lumMod val="65000"/>
                    <a:lumOff val="35000"/>
                  </a:schemeClr>
                </a:solidFill>
                <a:latin typeface="Calibri"/>
                <a:cs typeface="Calibri"/>
              </a:rPr>
              <a:t>Since the access to creation, stoppage and usage of the VMs would be controlled by the RBAC, it keeps the VMs safe from unwanted access and unauthorised changes.</a:t>
            </a:r>
          </a:p>
          <a:p>
            <a:pPr marL="171450" indent="-171450" algn="just">
              <a:lnSpc>
                <a:spcPct val="85000"/>
              </a:lnSpc>
              <a:spcAft>
                <a:spcPts val="600"/>
              </a:spcAft>
              <a:buFont typeface="Arial"/>
              <a:buChar char="•"/>
            </a:pPr>
            <a:r>
              <a:rPr lang="en-IE" sz="1050">
                <a:solidFill>
                  <a:schemeClr val="bg2">
                    <a:lumMod val="65000"/>
                    <a:lumOff val="35000"/>
                  </a:schemeClr>
                </a:solidFill>
                <a:latin typeface="Calibri"/>
                <a:cs typeface="Calibri"/>
              </a:rPr>
              <a:t>The VMs would also be synced with the Azure monitoring policies to keep the checks in place. This will also result in generating the alerts for the configured events.</a:t>
            </a:r>
          </a:p>
          <a:p>
            <a:pPr algn="just">
              <a:lnSpc>
                <a:spcPct val="85000"/>
              </a:lnSpc>
              <a:spcAft>
                <a:spcPts val="600"/>
              </a:spcAft>
            </a:pPr>
            <a:endParaRPr lang="en-IE" sz="1050">
              <a:solidFill>
                <a:schemeClr val="bg2">
                  <a:lumMod val="65000"/>
                  <a:lumOff val="35000"/>
                </a:schemeClr>
              </a:solidFill>
              <a:latin typeface="Calibri"/>
              <a:cs typeface="Calibri"/>
            </a:endParaRPr>
          </a:p>
          <a:p>
            <a:pPr algn="just">
              <a:lnSpc>
                <a:spcPct val="85000"/>
              </a:lnSpc>
              <a:spcAft>
                <a:spcPts val="600"/>
              </a:spcAft>
            </a:pPr>
            <a:endParaRPr lang="en-IE" sz="1050">
              <a:solidFill>
                <a:schemeClr val="bg2">
                  <a:lumMod val="65000"/>
                  <a:lumOff val="35000"/>
                </a:schemeClr>
              </a:solidFill>
              <a:latin typeface="Calibri"/>
              <a:cs typeface="Calibri"/>
            </a:endParaRPr>
          </a:p>
          <a:p>
            <a:pPr algn="just">
              <a:lnSpc>
                <a:spcPct val="85000"/>
              </a:lnSpc>
              <a:spcAft>
                <a:spcPts val="600"/>
              </a:spcAft>
            </a:pPr>
            <a:endParaRPr lang="en-IE" sz="1050">
              <a:solidFill>
                <a:schemeClr val="bg2">
                  <a:lumMod val="65000"/>
                  <a:lumOff val="35000"/>
                </a:schemeClr>
              </a:solidFill>
              <a:latin typeface="Calibri"/>
              <a:cs typeface="Calibri"/>
            </a:endParaRPr>
          </a:p>
        </p:txBody>
      </p:sp>
      <p:sp>
        <p:nvSpPr>
          <p:cNvPr id="13" name="TextBox 12">
            <a:extLst>
              <a:ext uri="{FF2B5EF4-FFF2-40B4-BE49-F238E27FC236}">
                <a16:creationId xmlns:a16="http://schemas.microsoft.com/office/drawing/2014/main" id="{810955AC-026F-0469-FCB4-2C5F38594BEA}"/>
              </a:ext>
            </a:extLst>
          </p:cNvPr>
          <p:cNvSpPr txBox="1"/>
          <p:nvPr/>
        </p:nvSpPr>
        <p:spPr>
          <a:xfrm>
            <a:off x="7949678" y="5966301"/>
            <a:ext cx="3560818" cy="230832"/>
          </a:xfrm>
          <a:prstGeom prst="rect">
            <a:avLst/>
          </a:prstGeom>
          <a:noFill/>
          <a:ln>
            <a:noFill/>
          </a:ln>
        </p:spPr>
        <p:txBody>
          <a:bodyPr wrap="square" lIns="91440" tIns="45720" rIns="91440" bIns="45720" anchor="t">
            <a:spAutoFit/>
          </a:bodyPr>
          <a:lstStyle/>
          <a:p>
            <a:pPr algn="ctr"/>
            <a:r>
              <a:rPr lang="en-IE" sz="900" i="1">
                <a:solidFill>
                  <a:schemeClr val="bg2">
                    <a:lumMod val="65000"/>
                    <a:lumOff val="35000"/>
                  </a:schemeClr>
                </a:solidFill>
                <a:latin typeface="Calibri"/>
                <a:cs typeface="Calibri"/>
              </a:rPr>
              <a:t>Fig 2.2 – Example depicting the features available through Custom VMs</a:t>
            </a:r>
          </a:p>
        </p:txBody>
      </p:sp>
    </p:spTree>
    <p:extLst>
      <p:ext uri="{BB962C8B-B14F-4D97-AF65-F5344CB8AC3E}">
        <p14:creationId xmlns:p14="http://schemas.microsoft.com/office/powerpoint/2010/main" val="28095123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400711" y="1265205"/>
            <a:ext cx="6726147" cy="676788"/>
          </a:xfrm>
        </p:spPr>
        <p:txBody>
          <a:bodyPr/>
          <a:lstStyle/>
          <a:p>
            <a:r>
              <a:rPr lang="en-IE">
                <a:latin typeface="Calibri"/>
                <a:cs typeface="Calibri"/>
              </a:rPr>
              <a:t>Detailed Delivery Approach</a:t>
            </a:r>
            <a:endParaRPr lang="en-IE">
              <a:latin typeface="Calibri" panose="020F0502020204030204" pitchFamily="34" charset="0"/>
              <a:cs typeface="Calibri" panose="020F0502020204030204" pitchFamily="34" charset="0"/>
            </a:endParaRP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E.</a:t>
            </a:r>
          </a:p>
        </p:txBody>
      </p:sp>
      <p:sp>
        <p:nvSpPr>
          <p:cNvPr id="6" name="TextBox 5">
            <a:extLst>
              <a:ext uri="{FF2B5EF4-FFF2-40B4-BE49-F238E27FC236}">
                <a16:creationId xmlns:a16="http://schemas.microsoft.com/office/drawing/2014/main" id="{A104163C-10BE-ED50-8769-AC9DE558B860}"/>
              </a:ext>
            </a:extLst>
          </p:cNvPr>
          <p:cNvSpPr txBox="1"/>
          <p:nvPr/>
        </p:nvSpPr>
        <p:spPr>
          <a:xfrm>
            <a:off x="609600" y="3713593"/>
            <a:ext cx="6096000" cy="646331"/>
          </a:xfrm>
          <a:prstGeom prst="rect">
            <a:avLst/>
          </a:prstGeom>
          <a:noFill/>
        </p:spPr>
        <p:txBody>
          <a:bodyPr wrap="square" lIns="91440" tIns="45720" rIns="91440" bIns="45720" anchor="t">
            <a:spAutoFit/>
          </a:bodyPr>
          <a:lstStyle/>
          <a:p>
            <a:pPr fontAlgn="base"/>
            <a:r>
              <a:rPr lang="en-GB">
                <a:latin typeface="Calibri"/>
                <a:cs typeface="Calibri"/>
              </a:rPr>
              <a:t>E</a:t>
            </a:r>
            <a:r>
              <a:rPr lang="en-GB" sz="1800" b="0" i="0" u="none" strike="noStrike">
                <a:effectLst/>
                <a:latin typeface="Calibri"/>
                <a:cs typeface="Calibri"/>
              </a:rPr>
              <a:t>.1 – </a:t>
            </a:r>
            <a:r>
              <a:rPr lang="en-GB">
                <a:latin typeface="Calibri"/>
                <a:cs typeface="Calibri"/>
              </a:rPr>
              <a:t>Our Detailed Delivery Approach</a:t>
            </a:r>
          </a:p>
          <a:p>
            <a:r>
              <a:rPr lang="en-GB">
                <a:latin typeface="Calibri"/>
                <a:cs typeface="Calibri"/>
              </a:rPr>
              <a:t>E.2 – Training &amp; Knowledge Transfer</a:t>
            </a:r>
          </a:p>
        </p:txBody>
      </p:sp>
    </p:spTree>
    <p:extLst>
      <p:ext uri="{BB962C8B-B14F-4D97-AF65-F5344CB8AC3E}">
        <p14:creationId xmlns:p14="http://schemas.microsoft.com/office/powerpoint/2010/main" val="19039562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9774477" cy="676788"/>
          </a:xfrm>
        </p:spPr>
        <p:txBody>
          <a:bodyPr/>
          <a:lstStyle/>
          <a:p>
            <a:r>
              <a:rPr lang="en-IE">
                <a:latin typeface="Calibri"/>
                <a:cs typeface="Calibri"/>
              </a:rPr>
              <a:t>E.1 – </a:t>
            </a:r>
            <a:r>
              <a:rPr lang="en-GB" sz="4400" b="0">
                <a:latin typeface="Calibri"/>
                <a:cs typeface="Calibri"/>
              </a:rPr>
              <a:t>Our Detailed Delivery Approach</a:t>
            </a:r>
            <a:endParaRPr lang="en-IE">
              <a:latin typeface="Calibri"/>
              <a:cs typeface="Calibri"/>
            </a:endParaRPr>
          </a:p>
        </p:txBody>
      </p:sp>
    </p:spTree>
    <p:extLst>
      <p:ext uri="{BB962C8B-B14F-4D97-AF65-F5344CB8AC3E}">
        <p14:creationId xmlns:p14="http://schemas.microsoft.com/office/powerpoint/2010/main" val="30600469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Delivery Structure</a:t>
            </a:r>
          </a:p>
        </p:txBody>
      </p:sp>
      <p:sp>
        <p:nvSpPr>
          <p:cNvPr id="191" name="Rectangle 190">
            <a:extLst>
              <a:ext uri="{FF2B5EF4-FFF2-40B4-BE49-F238E27FC236}">
                <a16:creationId xmlns:a16="http://schemas.microsoft.com/office/drawing/2014/main" id="{A60E4E8F-C185-43CB-B46D-D2A389AC55FF}"/>
              </a:ext>
            </a:extLst>
          </p:cNvPr>
          <p:cNvSpPr/>
          <p:nvPr/>
        </p:nvSpPr>
        <p:spPr>
          <a:xfrm>
            <a:off x="609600" y="1431017"/>
            <a:ext cx="10903132" cy="161583"/>
          </a:xfrm>
          <a:prstGeom prst="rect">
            <a:avLst/>
          </a:prstGeom>
        </p:spPr>
        <p:txBody>
          <a:bodyPr wrap="square" lIns="0" tIns="0" rIns="0" bIns="0">
            <a:spAutoFit/>
          </a:bodyPr>
          <a:lstStyle/>
          <a:p>
            <a:pPr algn="just" defTabSz="913943">
              <a:spcAft>
                <a:spcPts val="600"/>
              </a:spcAft>
              <a:buClr>
                <a:srgbClr val="27ACAA"/>
              </a:buClr>
              <a:buSzPct val="70000"/>
              <a:defRPr/>
            </a:pPr>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The following is an example of a delivery structure which can be utilised to successfully deliver the proposed solution as outlined in Section D.</a:t>
            </a:r>
            <a:endParaRPr lang="en-US" sz="1050">
              <a:solidFill>
                <a:schemeClr val="bg2">
                  <a:lumMod val="65000"/>
                  <a:lumOff val="35000"/>
                </a:schemeClr>
              </a:solidFill>
              <a:latin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D0ACABCA-67C6-E953-208B-7D09E4CFF268}"/>
              </a:ext>
            </a:extLst>
          </p:cNvPr>
          <p:cNvGrpSpPr/>
          <p:nvPr/>
        </p:nvGrpSpPr>
        <p:grpSpPr>
          <a:xfrm>
            <a:off x="2737339" y="2017965"/>
            <a:ext cx="5172892" cy="3738539"/>
            <a:chOff x="195267" y="877571"/>
            <a:chExt cx="8484411" cy="6392450"/>
          </a:xfrm>
        </p:grpSpPr>
        <p:sp>
          <p:nvSpPr>
            <p:cNvPr id="3" name="Rectangle 2">
              <a:extLst>
                <a:ext uri="{FF2B5EF4-FFF2-40B4-BE49-F238E27FC236}">
                  <a16:creationId xmlns:a16="http://schemas.microsoft.com/office/drawing/2014/main" id="{B07A0EB0-2B35-F658-812A-2AA41295AF29}"/>
                </a:ext>
              </a:extLst>
            </p:cNvPr>
            <p:cNvSpPr/>
            <p:nvPr/>
          </p:nvSpPr>
          <p:spPr>
            <a:xfrm>
              <a:off x="2419574" y="4453546"/>
              <a:ext cx="6255220" cy="2816473"/>
            </a:xfrm>
            <a:prstGeom prst="rect">
              <a:avLst/>
            </a:prstGeom>
            <a:noFill/>
            <a:ln w="12700">
              <a:solidFill>
                <a:schemeClr val="bg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endParaRPr lang="en-IE" sz="773">
                <a:solidFill>
                  <a:prstClr val="white"/>
                </a:solidFill>
                <a:latin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001F8693-7AF6-FDD8-ABB3-3AEE031A920C}"/>
                </a:ext>
              </a:extLst>
            </p:cNvPr>
            <p:cNvGrpSpPr/>
            <p:nvPr/>
          </p:nvGrpSpPr>
          <p:grpSpPr>
            <a:xfrm>
              <a:off x="195267" y="2990206"/>
              <a:ext cx="2118463" cy="1379362"/>
              <a:chOff x="723908" y="2911797"/>
              <a:chExt cx="2118463" cy="1379362"/>
            </a:xfrm>
          </p:grpSpPr>
          <p:sp>
            <p:nvSpPr>
              <p:cNvPr id="138" name="Rectangle 137">
                <a:extLst>
                  <a:ext uri="{FF2B5EF4-FFF2-40B4-BE49-F238E27FC236}">
                    <a16:creationId xmlns:a16="http://schemas.microsoft.com/office/drawing/2014/main" id="{1238B4B3-41E6-1400-7586-FC49501E53C5}"/>
                  </a:ext>
                </a:extLst>
              </p:cNvPr>
              <p:cNvSpPr/>
              <p:nvPr/>
            </p:nvSpPr>
            <p:spPr>
              <a:xfrm>
                <a:off x="723908" y="2911797"/>
                <a:ext cx="2118463" cy="1379362"/>
              </a:xfrm>
              <a:prstGeom prst="rect">
                <a:avLst/>
              </a:prstGeom>
              <a:solidFill>
                <a:srgbClr val="B2B4B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a:solidFill>
                      <a:prstClr val="black"/>
                    </a:solidFill>
                    <a:latin typeface="Calibri" panose="020F0502020204030204" pitchFamily="34" charset="0"/>
                    <a:cs typeface="Calibri" panose="020F0502020204030204" pitchFamily="34" charset="0"/>
                  </a:rPr>
                  <a:t>Delivery, Performance, KPIs</a:t>
                </a:r>
              </a:p>
            </p:txBody>
          </p:sp>
          <p:sp>
            <p:nvSpPr>
              <p:cNvPr id="139" name="Rectangle 138">
                <a:extLst>
                  <a:ext uri="{FF2B5EF4-FFF2-40B4-BE49-F238E27FC236}">
                    <a16:creationId xmlns:a16="http://schemas.microsoft.com/office/drawing/2014/main" id="{7F899D68-41FD-7E14-8FA5-578E0468B5E1}"/>
                  </a:ext>
                </a:extLst>
              </p:cNvPr>
              <p:cNvSpPr/>
              <p:nvPr/>
            </p:nvSpPr>
            <p:spPr>
              <a:xfrm>
                <a:off x="760357" y="2951223"/>
                <a:ext cx="2044624" cy="422236"/>
              </a:xfrm>
              <a:prstGeom prst="rect">
                <a:avLst/>
              </a:prstGeom>
              <a:solidFill>
                <a:srgbClr val="D2D2DA"/>
              </a:solidFill>
              <a:ln w="12700">
                <a:solidFill>
                  <a:srgbClr val="6A6D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Service Management</a:t>
                </a:r>
              </a:p>
            </p:txBody>
          </p:sp>
        </p:grpSp>
        <p:grpSp>
          <p:nvGrpSpPr>
            <p:cNvPr id="6" name="Group 5">
              <a:extLst>
                <a:ext uri="{FF2B5EF4-FFF2-40B4-BE49-F238E27FC236}">
                  <a16:creationId xmlns:a16="http://schemas.microsoft.com/office/drawing/2014/main" id="{E45BECF9-390C-B3EB-B409-02DB7276442C}"/>
                </a:ext>
              </a:extLst>
            </p:cNvPr>
            <p:cNvGrpSpPr/>
            <p:nvPr/>
          </p:nvGrpSpPr>
          <p:grpSpPr>
            <a:xfrm>
              <a:off x="195267" y="4464989"/>
              <a:ext cx="2118463" cy="2805032"/>
              <a:chOff x="728678" y="5149323"/>
              <a:chExt cx="2118463" cy="2805032"/>
            </a:xfrm>
          </p:grpSpPr>
          <p:sp>
            <p:nvSpPr>
              <p:cNvPr id="26" name="Rectangle 25">
                <a:extLst>
                  <a:ext uri="{FF2B5EF4-FFF2-40B4-BE49-F238E27FC236}">
                    <a16:creationId xmlns:a16="http://schemas.microsoft.com/office/drawing/2014/main" id="{3FFC9A2C-D480-1E6D-5879-460E74343C14}"/>
                  </a:ext>
                </a:extLst>
              </p:cNvPr>
              <p:cNvSpPr/>
              <p:nvPr/>
            </p:nvSpPr>
            <p:spPr>
              <a:xfrm>
                <a:off x="728678" y="5149323"/>
                <a:ext cx="2118463" cy="2805032"/>
              </a:xfrm>
              <a:prstGeom prst="rect">
                <a:avLst/>
              </a:prstGeom>
              <a:solidFill>
                <a:srgbClr val="B2B4B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a:solidFill>
                      <a:prstClr val="black"/>
                    </a:solidFill>
                    <a:latin typeface="Calibri" panose="020F0502020204030204" pitchFamily="34" charset="0"/>
                    <a:cs typeface="Calibri" panose="020F0502020204030204" pitchFamily="34" charset="0"/>
                  </a:rPr>
                  <a:t>Resourcing and Operations</a:t>
                </a:r>
              </a:p>
            </p:txBody>
          </p:sp>
          <p:sp>
            <p:nvSpPr>
              <p:cNvPr id="28" name="Rectangle 27">
                <a:extLst>
                  <a:ext uri="{FF2B5EF4-FFF2-40B4-BE49-F238E27FC236}">
                    <a16:creationId xmlns:a16="http://schemas.microsoft.com/office/drawing/2014/main" id="{A1F86EE3-B5AA-6461-0573-65B543E08BBA}"/>
                  </a:ext>
                </a:extLst>
              </p:cNvPr>
              <p:cNvSpPr/>
              <p:nvPr/>
            </p:nvSpPr>
            <p:spPr>
              <a:xfrm>
                <a:off x="765127" y="5188587"/>
                <a:ext cx="2045997" cy="343976"/>
              </a:xfrm>
              <a:prstGeom prst="rect">
                <a:avLst/>
              </a:prstGeom>
              <a:solidFill>
                <a:srgbClr val="D2D2DA"/>
              </a:solidFill>
              <a:ln w="12700">
                <a:solidFill>
                  <a:srgbClr val="6A6D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Delivery</a:t>
                </a:r>
              </a:p>
            </p:txBody>
          </p:sp>
        </p:grpSp>
        <p:sp>
          <p:nvSpPr>
            <p:cNvPr id="7" name="Rectangle 6">
              <a:extLst>
                <a:ext uri="{FF2B5EF4-FFF2-40B4-BE49-F238E27FC236}">
                  <a16:creationId xmlns:a16="http://schemas.microsoft.com/office/drawing/2014/main" id="{DEFA93C3-4045-2024-8726-8A32ED9C4C93}"/>
                </a:ext>
              </a:extLst>
            </p:cNvPr>
            <p:cNvSpPr/>
            <p:nvPr/>
          </p:nvSpPr>
          <p:spPr>
            <a:xfrm>
              <a:off x="5107534" y="6599597"/>
              <a:ext cx="1752978" cy="527065"/>
            </a:xfrm>
            <a:prstGeom prst="rect">
              <a:avLst/>
            </a:prstGeom>
            <a:solidFill>
              <a:srgbClr val="FFE600"/>
            </a:solidFill>
            <a:ln w="127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593" rIns="0"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Test Manager</a:t>
              </a:r>
            </a:p>
          </p:txBody>
        </p:sp>
        <p:sp>
          <p:nvSpPr>
            <p:cNvPr id="9" name="Rectangle 8">
              <a:extLst>
                <a:ext uri="{FF2B5EF4-FFF2-40B4-BE49-F238E27FC236}">
                  <a16:creationId xmlns:a16="http://schemas.microsoft.com/office/drawing/2014/main" id="{3087E929-E980-7B89-3F4A-9A1426DB1FA0}"/>
                </a:ext>
              </a:extLst>
            </p:cNvPr>
            <p:cNvSpPr/>
            <p:nvPr/>
          </p:nvSpPr>
          <p:spPr>
            <a:xfrm>
              <a:off x="2424456" y="1644866"/>
              <a:ext cx="6255222" cy="1261361"/>
            </a:xfrm>
            <a:prstGeom prst="rect">
              <a:avLst/>
            </a:prstGeom>
            <a:noFill/>
            <a:ln w="12700">
              <a:solidFill>
                <a:schemeClr val="bg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endParaRPr lang="en-IE" sz="773">
                <a:solidFill>
                  <a:prstClr val="white"/>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C68090D2-B877-FDE6-110F-DE1B9FF7B2FE}"/>
                </a:ext>
              </a:extLst>
            </p:cNvPr>
            <p:cNvSpPr/>
            <p:nvPr/>
          </p:nvSpPr>
          <p:spPr>
            <a:xfrm>
              <a:off x="2424454" y="2990205"/>
              <a:ext cx="6255222" cy="1379361"/>
            </a:xfrm>
            <a:prstGeom prst="rect">
              <a:avLst/>
            </a:prstGeom>
            <a:noFill/>
            <a:ln w="12700">
              <a:solidFill>
                <a:schemeClr val="bg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endParaRPr lang="en-IE" sz="773">
                <a:solidFill>
                  <a:prstClr val="white"/>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97C06B9D-C5C9-0A54-A52E-923D013B3E37}"/>
                </a:ext>
              </a:extLst>
            </p:cNvPr>
            <p:cNvSpPr/>
            <p:nvPr/>
          </p:nvSpPr>
          <p:spPr>
            <a:xfrm>
              <a:off x="200151" y="1644866"/>
              <a:ext cx="2133146" cy="1243053"/>
            </a:xfrm>
            <a:prstGeom prst="rect">
              <a:avLst/>
            </a:prstGeom>
            <a:solidFill>
              <a:srgbClr val="B2B4B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a:solidFill>
                    <a:prstClr val="black"/>
                  </a:solidFill>
                  <a:latin typeface="Calibri" panose="020F0502020204030204" pitchFamily="34" charset="0"/>
                  <a:cs typeface="Calibri" panose="020F0502020204030204" pitchFamily="34" charset="0"/>
                </a:rPr>
                <a:t>Service Quality Review</a:t>
              </a:r>
            </a:p>
          </p:txBody>
        </p:sp>
        <p:sp>
          <p:nvSpPr>
            <p:cNvPr id="12" name="Rectangle 11">
              <a:extLst>
                <a:ext uri="{FF2B5EF4-FFF2-40B4-BE49-F238E27FC236}">
                  <a16:creationId xmlns:a16="http://schemas.microsoft.com/office/drawing/2014/main" id="{ED34D0DA-44AC-AF8D-E2EF-F1EA82887CEC}"/>
                </a:ext>
              </a:extLst>
            </p:cNvPr>
            <p:cNvSpPr/>
            <p:nvPr/>
          </p:nvSpPr>
          <p:spPr>
            <a:xfrm>
              <a:off x="195270" y="877571"/>
              <a:ext cx="8479525" cy="701399"/>
            </a:xfrm>
            <a:prstGeom prst="rect">
              <a:avLst/>
            </a:prstGeom>
            <a:solidFill>
              <a:srgbClr val="F6DF09"/>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896" b="1">
                  <a:solidFill>
                    <a:schemeClr val="bg1"/>
                  </a:solidFill>
                  <a:latin typeface="Calibri" panose="020F0502020204030204" pitchFamily="34" charset="0"/>
                  <a:cs typeface="Calibri" panose="020F0502020204030204" pitchFamily="34" charset="0"/>
                </a:rPr>
                <a:t>Project Board</a:t>
              </a:r>
            </a:p>
          </p:txBody>
        </p:sp>
        <p:sp>
          <p:nvSpPr>
            <p:cNvPr id="13" name="Rectangle 12">
              <a:extLst>
                <a:ext uri="{FF2B5EF4-FFF2-40B4-BE49-F238E27FC236}">
                  <a16:creationId xmlns:a16="http://schemas.microsoft.com/office/drawing/2014/main" id="{1BD673B3-9878-CD0F-87ED-1A3869EBEAE5}"/>
                </a:ext>
              </a:extLst>
            </p:cNvPr>
            <p:cNvSpPr/>
            <p:nvPr/>
          </p:nvSpPr>
          <p:spPr>
            <a:xfrm>
              <a:off x="5118574" y="1729164"/>
              <a:ext cx="1740194" cy="1074454"/>
            </a:xfrm>
            <a:prstGeom prst="rect">
              <a:avLst/>
            </a:prstGeom>
            <a:solidFill>
              <a:srgbClr val="FFE6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t" anchorCtr="0" forceAA="0" compatLnSpc="1">
              <a:prstTxWarp prst="textNoShape">
                <a:avLst/>
              </a:prstTxWarp>
              <a:noAutofit/>
            </a:bodyPr>
            <a:lstStyle/>
            <a:p>
              <a:pPr algn="ctr" defTabSz="514350"/>
              <a:r>
                <a:rPr lang="en-IE" sz="800" b="1">
                  <a:solidFill>
                    <a:prstClr val="black"/>
                  </a:solidFill>
                  <a:latin typeface="Calibri" panose="020F0502020204030204" pitchFamily="34" charset="0"/>
                  <a:cs typeface="Calibri" panose="020F0502020204030204" pitchFamily="34" charset="0"/>
                </a:rPr>
                <a:t>Engagement Partner</a:t>
              </a:r>
            </a:p>
          </p:txBody>
        </p:sp>
        <p:sp>
          <p:nvSpPr>
            <p:cNvPr id="14" name="Rectangle 13">
              <a:extLst>
                <a:ext uri="{FF2B5EF4-FFF2-40B4-BE49-F238E27FC236}">
                  <a16:creationId xmlns:a16="http://schemas.microsoft.com/office/drawing/2014/main" id="{6728CBA2-9DBA-F75C-3B47-BB9A325A5629}"/>
                </a:ext>
              </a:extLst>
            </p:cNvPr>
            <p:cNvSpPr/>
            <p:nvPr/>
          </p:nvSpPr>
          <p:spPr>
            <a:xfrm>
              <a:off x="7015183" y="3122594"/>
              <a:ext cx="1535658" cy="1091161"/>
            </a:xfrm>
            <a:prstGeom prst="rect">
              <a:avLst/>
            </a:prstGeom>
            <a:solidFill>
              <a:srgbClr val="00206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t" anchorCtr="0" forceAA="0" compatLnSpc="1">
              <a:prstTxWarp prst="textNoShape">
                <a:avLst/>
              </a:prstTxWarp>
              <a:noAutofit/>
            </a:bodyPr>
            <a:lstStyle/>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b="1">
                  <a:solidFill>
                    <a:schemeClr val="tx1"/>
                  </a:solidFill>
                  <a:latin typeface="Calibri" panose="020F0502020204030204" pitchFamily="34" charset="0"/>
                  <a:cs typeface="Calibri" panose="020F0502020204030204" pitchFamily="34" charset="0"/>
                </a:rPr>
                <a:t>SJH Engagement Manager</a:t>
              </a:r>
            </a:p>
          </p:txBody>
        </p:sp>
        <p:sp>
          <p:nvSpPr>
            <p:cNvPr id="15" name="Rectangle 14">
              <a:extLst>
                <a:ext uri="{FF2B5EF4-FFF2-40B4-BE49-F238E27FC236}">
                  <a16:creationId xmlns:a16="http://schemas.microsoft.com/office/drawing/2014/main" id="{05F1CF5C-B00B-F98E-681D-BF2D51E911F7}"/>
                </a:ext>
              </a:extLst>
            </p:cNvPr>
            <p:cNvSpPr/>
            <p:nvPr/>
          </p:nvSpPr>
          <p:spPr>
            <a:xfrm>
              <a:off x="5118575" y="3122594"/>
              <a:ext cx="1740189" cy="1121515"/>
            </a:xfrm>
            <a:prstGeom prst="rect">
              <a:avLst/>
            </a:prstGeom>
            <a:solidFill>
              <a:srgbClr val="FFE6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593" rIns="0" bIns="25593" numCol="1" spcCol="0" rtlCol="0" fromWordArt="0" anchor="t"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Project Manager</a:t>
              </a:r>
              <a:endParaRPr lang="en-IE" sz="619" b="1">
                <a:solidFill>
                  <a:prstClr val="black"/>
                </a:solidFill>
                <a:latin typeface="Calibri" panose="020F0502020204030204" pitchFamily="34" charset="0"/>
                <a:cs typeface="Calibri" panose="020F0502020204030204" pitchFamily="34" charset="0"/>
              </a:endParaRPr>
            </a:p>
            <a:p>
              <a:pPr algn="ctr" defTabSz="514350"/>
              <a:r>
                <a:rPr lang="en-IE" sz="619">
                  <a:solidFill>
                    <a:prstClr val="black"/>
                  </a:solidFill>
                  <a:latin typeface="Calibri" panose="020F0502020204030204" pitchFamily="34" charset="0"/>
                  <a:cs typeface="Calibri" panose="020F0502020204030204" pitchFamily="34" charset="0"/>
                </a:rPr>
                <a:t>Brian Bambrick</a:t>
              </a:r>
            </a:p>
            <a:p>
              <a:pPr algn="ctr" defTabSz="514350"/>
              <a:r>
                <a:rPr lang="en-IE" sz="619">
                  <a:solidFill>
                    <a:prstClr val="black"/>
                  </a:solidFill>
                  <a:latin typeface="Calibri" panose="020F0502020204030204" pitchFamily="34" charset="0"/>
                  <a:cs typeface="Calibri" panose="020F0502020204030204" pitchFamily="34" charset="0"/>
                </a:rPr>
                <a:t>Senior Manager - Technology Consulting</a:t>
              </a:r>
            </a:p>
          </p:txBody>
        </p:sp>
        <p:sp>
          <p:nvSpPr>
            <p:cNvPr id="16" name="Rectangle 15">
              <a:extLst>
                <a:ext uri="{FF2B5EF4-FFF2-40B4-BE49-F238E27FC236}">
                  <a16:creationId xmlns:a16="http://schemas.microsoft.com/office/drawing/2014/main" id="{0BF88C25-40DE-10F7-E381-99535E2CE061}"/>
                </a:ext>
              </a:extLst>
            </p:cNvPr>
            <p:cNvSpPr/>
            <p:nvPr/>
          </p:nvSpPr>
          <p:spPr>
            <a:xfrm>
              <a:off x="5116830" y="4547159"/>
              <a:ext cx="1741935" cy="717494"/>
            </a:xfrm>
            <a:prstGeom prst="rect">
              <a:avLst/>
            </a:prstGeom>
            <a:solidFill>
              <a:srgbClr val="FFE600"/>
            </a:solidFill>
            <a:ln w="127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593" rIns="0"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Technical Lead</a:t>
              </a:r>
            </a:p>
            <a:p>
              <a:pPr algn="ctr" defTabSz="514350"/>
              <a:r>
                <a:rPr lang="en-IE" sz="619">
                  <a:solidFill>
                    <a:prstClr val="black"/>
                  </a:solidFill>
                  <a:latin typeface="Calibri" panose="020F0502020204030204" pitchFamily="34" charset="0"/>
                  <a:cs typeface="Calibri" panose="020F0502020204030204" pitchFamily="34" charset="0"/>
                </a:rPr>
                <a:t>Mathijs Lautenbach</a:t>
              </a:r>
            </a:p>
            <a:p>
              <a:pPr algn="ctr" defTabSz="514350"/>
              <a:r>
                <a:rPr lang="en-IE" sz="619">
                  <a:solidFill>
                    <a:prstClr val="black"/>
                  </a:solidFill>
                  <a:latin typeface="Calibri" panose="020F0502020204030204" pitchFamily="34" charset="0"/>
                  <a:cs typeface="Calibri" panose="020F0502020204030204" pitchFamily="34" charset="0"/>
                </a:rPr>
                <a:t>Director - Technology Consulting</a:t>
              </a:r>
            </a:p>
          </p:txBody>
        </p:sp>
        <p:sp>
          <p:nvSpPr>
            <p:cNvPr id="17" name="Rectangle 16">
              <a:extLst>
                <a:ext uri="{FF2B5EF4-FFF2-40B4-BE49-F238E27FC236}">
                  <a16:creationId xmlns:a16="http://schemas.microsoft.com/office/drawing/2014/main" id="{9CF1A98F-CF51-9725-B086-5FE70222D0DA}"/>
                </a:ext>
              </a:extLst>
            </p:cNvPr>
            <p:cNvSpPr/>
            <p:nvPr/>
          </p:nvSpPr>
          <p:spPr>
            <a:xfrm>
              <a:off x="5113850" y="5356235"/>
              <a:ext cx="1741935" cy="527065"/>
            </a:xfrm>
            <a:prstGeom prst="rect">
              <a:avLst/>
            </a:prstGeom>
            <a:solidFill>
              <a:srgbClr val="FFE600"/>
            </a:solidFill>
            <a:ln w="127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593" rIns="0"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Cloud Architect</a:t>
              </a:r>
            </a:p>
          </p:txBody>
        </p:sp>
        <p:sp>
          <p:nvSpPr>
            <p:cNvPr id="18" name="Rectangle 17">
              <a:extLst>
                <a:ext uri="{FF2B5EF4-FFF2-40B4-BE49-F238E27FC236}">
                  <a16:creationId xmlns:a16="http://schemas.microsoft.com/office/drawing/2014/main" id="{3047015B-689A-B7AB-36F3-59E95A1DA521}"/>
                </a:ext>
              </a:extLst>
            </p:cNvPr>
            <p:cNvSpPr/>
            <p:nvPr/>
          </p:nvSpPr>
          <p:spPr>
            <a:xfrm>
              <a:off x="5113852" y="5976982"/>
              <a:ext cx="1746660" cy="527065"/>
            </a:xfrm>
            <a:prstGeom prst="rect">
              <a:avLst/>
            </a:prstGeom>
            <a:solidFill>
              <a:srgbClr val="FFE600"/>
            </a:solidFill>
            <a:ln w="127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593" rIns="0"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Cloud Engineer</a:t>
              </a:r>
            </a:p>
          </p:txBody>
        </p:sp>
        <p:cxnSp>
          <p:nvCxnSpPr>
            <p:cNvPr id="19" name="Connector: Elbow 18">
              <a:extLst>
                <a:ext uri="{FF2B5EF4-FFF2-40B4-BE49-F238E27FC236}">
                  <a16:creationId xmlns:a16="http://schemas.microsoft.com/office/drawing/2014/main" id="{EEEB2B57-48F8-519F-2F42-AAEEFB61EEF5}"/>
                </a:ext>
              </a:extLst>
            </p:cNvPr>
            <p:cNvCxnSpPr>
              <a:cxnSpLocks/>
              <a:stCxn id="15" idx="2"/>
              <a:endCxn id="16" idx="0"/>
            </p:cNvCxnSpPr>
            <p:nvPr/>
          </p:nvCxnSpPr>
          <p:spPr>
            <a:xfrm rot="5400000">
              <a:off x="5836709" y="4395197"/>
              <a:ext cx="303050" cy="873"/>
            </a:xfrm>
            <a:prstGeom prst="bentConnector3">
              <a:avLst>
                <a:gd name="adj1" fmla="val 50000"/>
              </a:avLst>
            </a:prstGeom>
            <a:solidFill>
              <a:srgbClr val="FFE600"/>
            </a:solidFill>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D600DB88-CEF8-E7BA-670E-A5B2267C245B}"/>
                </a:ext>
              </a:extLst>
            </p:cNvPr>
            <p:cNvSpPr/>
            <p:nvPr/>
          </p:nvSpPr>
          <p:spPr>
            <a:xfrm>
              <a:off x="2687116" y="3130186"/>
              <a:ext cx="1831512" cy="1121515"/>
            </a:xfrm>
            <a:prstGeom prst="rect">
              <a:avLst/>
            </a:prstGeom>
            <a:solidFill>
              <a:srgbClr val="FFE600"/>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800" b="1">
                  <a:solidFill>
                    <a:prstClr val="black"/>
                  </a:solidFill>
                  <a:latin typeface="Calibri" panose="020F0502020204030204" pitchFamily="34" charset="0"/>
                  <a:cs typeface="Calibri" panose="020F0502020204030204" pitchFamily="34" charset="0"/>
                </a:rPr>
                <a:t>EY Quality Assurance Group</a:t>
              </a:r>
            </a:p>
          </p:txBody>
        </p:sp>
        <p:sp>
          <p:nvSpPr>
            <p:cNvPr id="21" name="Rectangle 20">
              <a:extLst>
                <a:ext uri="{FF2B5EF4-FFF2-40B4-BE49-F238E27FC236}">
                  <a16:creationId xmlns:a16="http://schemas.microsoft.com/office/drawing/2014/main" id="{2ADE797D-0D38-BC54-D8AB-952F920CBA42}"/>
                </a:ext>
              </a:extLst>
            </p:cNvPr>
            <p:cNvSpPr/>
            <p:nvPr/>
          </p:nvSpPr>
          <p:spPr>
            <a:xfrm>
              <a:off x="238266" y="1686676"/>
              <a:ext cx="2056914" cy="356029"/>
            </a:xfrm>
            <a:prstGeom prst="rect">
              <a:avLst/>
            </a:prstGeom>
            <a:solidFill>
              <a:srgbClr val="D2D2DA"/>
            </a:solidFill>
            <a:ln w="12700">
              <a:solidFill>
                <a:srgbClr val="6A6D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773" b="1">
                  <a:solidFill>
                    <a:prstClr val="black"/>
                  </a:solidFill>
                  <a:latin typeface="Calibri" panose="020F0502020204030204" pitchFamily="34" charset="0"/>
                  <a:cs typeface="Calibri" panose="020F0502020204030204" pitchFamily="34" charset="0"/>
                </a:rPr>
                <a:t>Strategic Governance</a:t>
              </a:r>
            </a:p>
          </p:txBody>
        </p:sp>
        <p:sp>
          <p:nvSpPr>
            <p:cNvPr id="22" name="TextBox 21">
              <a:extLst>
                <a:ext uri="{FF2B5EF4-FFF2-40B4-BE49-F238E27FC236}">
                  <a16:creationId xmlns:a16="http://schemas.microsoft.com/office/drawing/2014/main" id="{ECFA03E2-3E10-366E-A344-3BA37E890CA1}"/>
                </a:ext>
              </a:extLst>
            </p:cNvPr>
            <p:cNvSpPr txBox="1"/>
            <p:nvPr/>
          </p:nvSpPr>
          <p:spPr>
            <a:xfrm>
              <a:off x="5118575" y="2155878"/>
              <a:ext cx="1871614" cy="646642"/>
            </a:xfrm>
            <a:prstGeom prst="rect">
              <a:avLst/>
            </a:prstGeom>
            <a:noFill/>
            <a:ln w="12700">
              <a:solidFill>
                <a:schemeClr val="tx1"/>
              </a:solidFill>
            </a:ln>
          </p:spPr>
          <p:txBody>
            <a:bodyPr wrap="square" rtlCol="0">
              <a:spAutoFit/>
            </a:bodyPr>
            <a:lstStyle/>
            <a:p>
              <a:pPr algn="ctr" defTabSz="514350"/>
              <a:r>
                <a:rPr lang="en-IE" sz="619">
                  <a:solidFill>
                    <a:prstClr val="black"/>
                  </a:solidFill>
                  <a:latin typeface="Calibri" panose="020F0502020204030204" pitchFamily="34" charset="0"/>
                  <a:cs typeface="Calibri" panose="020F0502020204030204" pitchFamily="34" charset="0"/>
                </a:rPr>
                <a:t>Brian Moroney</a:t>
              </a:r>
            </a:p>
            <a:p>
              <a:pPr algn="ctr" defTabSz="514350"/>
              <a:r>
                <a:rPr lang="en-IE" sz="619">
                  <a:solidFill>
                    <a:prstClr val="black"/>
                  </a:solidFill>
                  <a:latin typeface="Calibri" panose="020F0502020204030204" pitchFamily="34" charset="0"/>
                  <a:cs typeface="Calibri" panose="020F0502020204030204" pitchFamily="34" charset="0"/>
                </a:rPr>
                <a:t>Partner - Technology Consulting</a:t>
              </a:r>
            </a:p>
          </p:txBody>
        </p:sp>
        <p:sp>
          <p:nvSpPr>
            <p:cNvPr id="23" name="Rectangle 22">
              <a:extLst>
                <a:ext uri="{FF2B5EF4-FFF2-40B4-BE49-F238E27FC236}">
                  <a16:creationId xmlns:a16="http://schemas.microsoft.com/office/drawing/2014/main" id="{EEAB7B70-FB94-910B-2603-36F241AFEBF9}"/>
                </a:ext>
              </a:extLst>
            </p:cNvPr>
            <p:cNvSpPr/>
            <p:nvPr/>
          </p:nvSpPr>
          <p:spPr>
            <a:xfrm>
              <a:off x="2672466" y="1738493"/>
              <a:ext cx="1846162" cy="1092189"/>
            </a:xfrm>
            <a:prstGeom prst="rect">
              <a:avLst/>
            </a:prstGeom>
            <a:solidFill>
              <a:srgbClr val="FFE6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t" anchorCtr="0" forceAA="0" compatLnSpc="1">
              <a:prstTxWarp prst="textNoShape">
                <a:avLst/>
              </a:prstTxWarp>
              <a:noAutofit/>
            </a:bodyPr>
            <a:lstStyle/>
            <a:p>
              <a:pPr algn="ctr" defTabSz="514350"/>
              <a:r>
                <a:rPr lang="en-IE" sz="800" b="1">
                  <a:solidFill>
                    <a:prstClr val="black"/>
                  </a:solidFill>
                  <a:latin typeface="Calibri" panose="020F0502020204030204" pitchFamily="34" charset="0"/>
                  <a:cs typeface="Calibri" panose="020F0502020204030204" pitchFamily="34" charset="0"/>
                </a:rPr>
                <a:t>Quality Assurance Partner</a:t>
              </a:r>
            </a:p>
          </p:txBody>
        </p:sp>
        <p:sp>
          <p:nvSpPr>
            <p:cNvPr id="24" name="TextBox 23">
              <a:extLst>
                <a:ext uri="{FF2B5EF4-FFF2-40B4-BE49-F238E27FC236}">
                  <a16:creationId xmlns:a16="http://schemas.microsoft.com/office/drawing/2014/main" id="{1DADEC07-A92F-89E1-B64D-56F1AF733946}"/>
                </a:ext>
              </a:extLst>
            </p:cNvPr>
            <p:cNvSpPr txBox="1"/>
            <p:nvPr/>
          </p:nvSpPr>
          <p:spPr>
            <a:xfrm>
              <a:off x="2672465" y="2231474"/>
              <a:ext cx="1853488" cy="646642"/>
            </a:xfrm>
            <a:prstGeom prst="rect">
              <a:avLst/>
            </a:prstGeom>
            <a:noFill/>
            <a:ln w="12700">
              <a:solidFill>
                <a:schemeClr val="tx1"/>
              </a:solidFill>
            </a:ln>
          </p:spPr>
          <p:txBody>
            <a:bodyPr wrap="square" rtlCol="0">
              <a:spAutoFit/>
            </a:bodyPr>
            <a:lstStyle/>
            <a:p>
              <a:pPr algn="ctr" defTabSz="514350"/>
              <a:r>
                <a:rPr lang="en-IE" sz="619">
                  <a:solidFill>
                    <a:prstClr val="black"/>
                  </a:solidFill>
                  <a:latin typeface="Calibri" panose="020F0502020204030204" pitchFamily="34" charset="0"/>
                  <a:cs typeface="Calibri" panose="020F0502020204030204" pitchFamily="34" charset="0"/>
                </a:rPr>
                <a:t>Paul Browne</a:t>
              </a:r>
            </a:p>
            <a:p>
              <a:pPr algn="ctr" defTabSz="514350"/>
              <a:r>
                <a:rPr lang="en-IE" sz="619">
                  <a:solidFill>
                    <a:prstClr val="black"/>
                  </a:solidFill>
                  <a:latin typeface="Calibri" panose="020F0502020204030204" pitchFamily="34" charset="0"/>
                  <a:cs typeface="Calibri" panose="020F0502020204030204" pitchFamily="34" charset="0"/>
                </a:rPr>
                <a:t>Partner - Technology Consulting</a:t>
              </a:r>
            </a:p>
          </p:txBody>
        </p:sp>
        <p:sp>
          <p:nvSpPr>
            <p:cNvPr id="25" name="Rectangle 24">
              <a:extLst>
                <a:ext uri="{FF2B5EF4-FFF2-40B4-BE49-F238E27FC236}">
                  <a16:creationId xmlns:a16="http://schemas.microsoft.com/office/drawing/2014/main" id="{F849BF3F-444F-0370-4608-4ACEC90A3FBF}"/>
                </a:ext>
              </a:extLst>
            </p:cNvPr>
            <p:cNvSpPr/>
            <p:nvPr/>
          </p:nvSpPr>
          <p:spPr>
            <a:xfrm>
              <a:off x="7006882" y="1729164"/>
              <a:ext cx="1543959" cy="1073356"/>
            </a:xfrm>
            <a:prstGeom prst="rect">
              <a:avLst/>
            </a:prstGeom>
            <a:solidFill>
              <a:srgbClr val="00206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t" anchorCtr="0" forceAA="0" compatLnSpc="1">
              <a:prstTxWarp prst="textNoShape">
                <a:avLst/>
              </a:prstTxWarp>
              <a:noAutofit/>
            </a:bodyPr>
            <a:lstStyle/>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b="1">
                  <a:solidFill>
                    <a:schemeClr val="tx1"/>
                  </a:solidFill>
                  <a:latin typeface="Calibri" panose="020F0502020204030204" pitchFamily="34" charset="0"/>
                  <a:cs typeface="Calibri" panose="020F0502020204030204" pitchFamily="34" charset="0"/>
                </a:rPr>
                <a:t>SJH Project Sponsor</a:t>
              </a:r>
              <a:endParaRPr lang="en-IE" sz="800">
                <a:solidFill>
                  <a:schemeClr val="tx1"/>
                </a:solidFill>
                <a:latin typeface="Calibri" panose="020F0502020204030204" pitchFamily="34" charset="0"/>
                <a:cs typeface="Calibri" panose="020F0502020204030204" pitchFamily="34" charset="0"/>
              </a:endParaRPr>
            </a:p>
          </p:txBody>
        </p:sp>
      </p:grpSp>
      <p:sp>
        <p:nvSpPr>
          <p:cNvPr id="140" name="Rectangle 139">
            <a:extLst>
              <a:ext uri="{FF2B5EF4-FFF2-40B4-BE49-F238E27FC236}">
                <a16:creationId xmlns:a16="http://schemas.microsoft.com/office/drawing/2014/main" id="{6373D95E-E7D6-F46B-BB6F-88390F461C04}"/>
              </a:ext>
            </a:extLst>
          </p:cNvPr>
          <p:cNvSpPr/>
          <p:nvPr/>
        </p:nvSpPr>
        <p:spPr>
          <a:xfrm>
            <a:off x="8075738" y="4164073"/>
            <a:ext cx="1079574" cy="1508586"/>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b="1">
                <a:solidFill>
                  <a:schemeClr val="tx1"/>
                </a:solidFill>
                <a:latin typeface="Calibri" panose="020F0502020204030204" pitchFamily="34" charset="0"/>
                <a:cs typeface="Calibri" panose="020F0502020204030204" pitchFamily="34" charset="0"/>
              </a:rPr>
              <a:t>Vendor</a:t>
            </a:r>
          </a:p>
          <a:p>
            <a:pPr algn="ctr" defTabSz="514350"/>
            <a:r>
              <a:rPr lang="en-IE" sz="800" b="1">
                <a:solidFill>
                  <a:schemeClr val="tx1"/>
                </a:solidFill>
                <a:latin typeface="Calibri" panose="020F0502020204030204" pitchFamily="34" charset="0"/>
                <a:cs typeface="Calibri" panose="020F0502020204030204" pitchFamily="34" charset="0"/>
              </a:rPr>
              <a:t>Technical Resources</a:t>
            </a: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a:solidFill>
                  <a:schemeClr val="tx1"/>
                </a:solidFill>
                <a:latin typeface="Calibri" panose="020F0502020204030204" pitchFamily="34" charset="0"/>
                <a:cs typeface="Calibri" panose="020F0502020204030204" pitchFamily="34" charset="0"/>
              </a:rPr>
              <a:t>Applications</a:t>
            </a:r>
          </a:p>
          <a:p>
            <a:pPr algn="ctr" defTabSz="514350"/>
            <a:r>
              <a:rPr lang="en-IE" sz="800">
                <a:solidFill>
                  <a:schemeClr val="tx1"/>
                </a:solidFill>
                <a:latin typeface="Calibri" panose="020F0502020204030204" pitchFamily="34" charset="0"/>
                <a:cs typeface="Calibri" panose="020F0502020204030204" pitchFamily="34" charset="0"/>
              </a:rPr>
              <a:t>Lab Equipment</a:t>
            </a:r>
          </a:p>
          <a:p>
            <a:pPr algn="ctr" defTabSz="514350"/>
            <a:endParaRPr lang="en-IE" sz="896" b="1">
              <a:solidFill>
                <a:schemeClr val="tx1"/>
              </a:solidFill>
              <a:latin typeface="Calibri" panose="020F0502020204030204" pitchFamily="34" charset="0"/>
              <a:cs typeface="Calibri" panose="020F0502020204030204" pitchFamily="34" charset="0"/>
            </a:endParaRPr>
          </a:p>
        </p:txBody>
      </p:sp>
      <p:sp>
        <p:nvSpPr>
          <p:cNvPr id="141" name="Rectangle 140">
            <a:extLst>
              <a:ext uri="{FF2B5EF4-FFF2-40B4-BE49-F238E27FC236}">
                <a16:creationId xmlns:a16="http://schemas.microsoft.com/office/drawing/2014/main" id="{B33FC378-9EE0-E5EB-8E72-AC9EE2108209}"/>
              </a:ext>
            </a:extLst>
          </p:cNvPr>
          <p:cNvSpPr/>
          <p:nvPr/>
        </p:nvSpPr>
        <p:spPr>
          <a:xfrm>
            <a:off x="8000532" y="2017964"/>
            <a:ext cx="1206503" cy="410204"/>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900" b="1">
                <a:solidFill>
                  <a:schemeClr val="tx1"/>
                </a:solidFill>
                <a:latin typeface="Calibri" panose="020F0502020204030204" pitchFamily="34" charset="0"/>
                <a:cs typeface="Calibri" panose="020F0502020204030204" pitchFamily="34" charset="0"/>
              </a:rPr>
              <a:t>3</a:t>
            </a:r>
            <a:r>
              <a:rPr lang="en-IE" sz="900" b="1" baseline="30000">
                <a:solidFill>
                  <a:schemeClr val="tx1"/>
                </a:solidFill>
                <a:latin typeface="Calibri" panose="020F0502020204030204" pitchFamily="34" charset="0"/>
                <a:cs typeface="Calibri" panose="020F0502020204030204" pitchFamily="34" charset="0"/>
              </a:rPr>
              <a:t>rd</a:t>
            </a:r>
            <a:r>
              <a:rPr lang="en-IE" sz="900" b="1">
                <a:solidFill>
                  <a:schemeClr val="tx1"/>
                </a:solidFill>
                <a:latin typeface="Calibri" panose="020F0502020204030204" pitchFamily="34" charset="0"/>
                <a:cs typeface="Calibri" panose="020F0502020204030204" pitchFamily="34" charset="0"/>
              </a:rPr>
              <a:t> Parties </a:t>
            </a:r>
          </a:p>
        </p:txBody>
      </p:sp>
      <p:sp>
        <p:nvSpPr>
          <p:cNvPr id="142" name="Rectangle 141">
            <a:extLst>
              <a:ext uri="{FF2B5EF4-FFF2-40B4-BE49-F238E27FC236}">
                <a16:creationId xmlns:a16="http://schemas.microsoft.com/office/drawing/2014/main" id="{23CF22E7-BEEB-EA1A-1CC8-4EAF921BD63D}"/>
              </a:ext>
            </a:extLst>
          </p:cNvPr>
          <p:cNvSpPr/>
          <p:nvPr/>
        </p:nvSpPr>
        <p:spPr>
          <a:xfrm>
            <a:off x="8062929" y="2535511"/>
            <a:ext cx="1079574" cy="608875"/>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800" b="1">
                <a:solidFill>
                  <a:schemeClr val="tx1"/>
                </a:solidFill>
                <a:latin typeface="Calibri" panose="020F0502020204030204" pitchFamily="34" charset="0"/>
                <a:cs typeface="Calibri" panose="020F0502020204030204" pitchFamily="34" charset="0"/>
              </a:rPr>
              <a:t>Platform Vendor</a:t>
            </a: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a:solidFill>
                  <a:schemeClr val="tx1"/>
                </a:solidFill>
                <a:latin typeface="Calibri" panose="020F0502020204030204" pitchFamily="34" charset="0"/>
                <a:cs typeface="Calibri" panose="020F0502020204030204" pitchFamily="34" charset="0"/>
              </a:rPr>
              <a:t>Microsoft</a:t>
            </a:r>
          </a:p>
        </p:txBody>
      </p:sp>
      <p:sp>
        <p:nvSpPr>
          <p:cNvPr id="143" name="Rectangle 142">
            <a:extLst>
              <a:ext uri="{FF2B5EF4-FFF2-40B4-BE49-F238E27FC236}">
                <a16:creationId xmlns:a16="http://schemas.microsoft.com/office/drawing/2014/main" id="{97E5F040-A562-80B3-36DB-0C031C9F1DFC}"/>
              </a:ext>
            </a:extLst>
          </p:cNvPr>
          <p:cNvSpPr/>
          <p:nvPr/>
        </p:nvSpPr>
        <p:spPr>
          <a:xfrm>
            <a:off x="8062929" y="3335375"/>
            <a:ext cx="1079574" cy="646484"/>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b="1">
                <a:solidFill>
                  <a:schemeClr val="tx1"/>
                </a:solidFill>
                <a:latin typeface="Calibri" panose="020F0502020204030204" pitchFamily="34" charset="0"/>
                <a:cs typeface="Calibri" panose="020F0502020204030204" pitchFamily="34" charset="0"/>
              </a:rPr>
              <a:t>Software Providers</a:t>
            </a: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a:solidFill>
                  <a:schemeClr val="tx1"/>
                </a:solidFill>
                <a:latin typeface="Calibri" panose="020F0502020204030204" pitchFamily="34" charset="0"/>
                <a:cs typeface="Calibri" panose="020F0502020204030204" pitchFamily="34" charset="0"/>
              </a:rPr>
              <a:t>Microsoft</a:t>
            </a:r>
          </a:p>
          <a:p>
            <a:pPr algn="ctr" defTabSz="514350"/>
            <a:r>
              <a:rPr lang="en-IE" sz="800">
                <a:solidFill>
                  <a:schemeClr val="tx1"/>
                </a:solidFill>
                <a:latin typeface="Calibri" panose="020F0502020204030204" pitchFamily="34" charset="0"/>
                <a:cs typeface="Calibri" panose="020F0502020204030204" pitchFamily="34" charset="0"/>
              </a:rPr>
              <a:t>Open Source Vendor</a:t>
            </a:r>
          </a:p>
          <a:p>
            <a:pPr algn="ctr" defTabSz="514350"/>
            <a:endParaRPr lang="en-IE" sz="896" b="1">
              <a:solidFill>
                <a:schemeClr val="tx1"/>
              </a:solidFill>
              <a:latin typeface="Calibri" panose="020F0502020204030204" pitchFamily="34" charset="0"/>
              <a:cs typeface="Calibri" panose="020F0502020204030204" pitchFamily="34" charset="0"/>
            </a:endParaRPr>
          </a:p>
        </p:txBody>
      </p:sp>
      <p:sp>
        <p:nvSpPr>
          <p:cNvPr id="144" name="Rectangle 143">
            <a:extLst>
              <a:ext uri="{FF2B5EF4-FFF2-40B4-BE49-F238E27FC236}">
                <a16:creationId xmlns:a16="http://schemas.microsoft.com/office/drawing/2014/main" id="{C7435F7B-5F33-F9AD-48AE-9BAA441DC2ED}"/>
              </a:ext>
            </a:extLst>
          </p:cNvPr>
          <p:cNvSpPr/>
          <p:nvPr/>
        </p:nvSpPr>
        <p:spPr>
          <a:xfrm>
            <a:off x="4261971" y="4164073"/>
            <a:ext cx="1094343" cy="1508587"/>
          </a:xfrm>
          <a:prstGeom prst="rect">
            <a:avLst/>
          </a:prstGeom>
          <a:solidFill>
            <a:srgbClr val="FFE600"/>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800" b="1">
                <a:solidFill>
                  <a:prstClr val="black"/>
                </a:solidFill>
                <a:latin typeface="Calibri" panose="020F0502020204030204" pitchFamily="34" charset="0"/>
                <a:cs typeface="Calibri" panose="020F0502020204030204" pitchFamily="34" charset="0"/>
              </a:rPr>
              <a:t>EY Global Subject Matter Resource (SMR) Panel</a:t>
            </a:r>
          </a:p>
        </p:txBody>
      </p:sp>
      <p:sp>
        <p:nvSpPr>
          <p:cNvPr id="145" name="Rectangle 144">
            <a:extLst>
              <a:ext uri="{FF2B5EF4-FFF2-40B4-BE49-F238E27FC236}">
                <a16:creationId xmlns:a16="http://schemas.microsoft.com/office/drawing/2014/main" id="{9961995A-D567-EEF6-90F6-8BBC9C54F7DC}"/>
              </a:ext>
            </a:extLst>
          </p:cNvPr>
          <p:cNvSpPr/>
          <p:nvPr/>
        </p:nvSpPr>
        <p:spPr>
          <a:xfrm>
            <a:off x="6926654" y="4164074"/>
            <a:ext cx="868706" cy="15085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t" anchorCtr="0" forceAA="0" compatLnSpc="1">
            <a:prstTxWarp prst="textNoShape">
              <a:avLst/>
            </a:prstTxWarp>
            <a:noAutofit/>
          </a:bodyPr>
          <a:lstStyle/>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endParaRPr lang="en-IE" sz="800" b="1">
              <a:solidFill>
                <a:schemeClr val="tx1"/>
              </a:solidFill>
              <a:latin typeface="Calibri" panose="020F0502020204030204" pitchFamily="34" charset="0"/>
              <a:cs typeface="Calibri" panose="020F0502020204030204" pitchFamily="34" charset="0"/>
            </a:endParaRPr>
          </a:p>
          <a:p>
            <a:pPr algn="ctr" defTabSz="514350"/>
            <a:r>
              <a:rPr lang="en-IE" sz="800" b="1">
                <a:solidFill>
                  <a:schemeClr val="tx1"/>
                </a:solidFill>
                <a:latin typeface="Calibri" panose="020F0502020204030204" pitchFamily="34" charset="0"/>
                <a:cs typeface="Calibri" panose="020F0502020204030204" pitchFamily="34" charset="0"/>
              </a:rPr>
              <a:t>SJH Technical Resources</a:t>
            </a:r>
          </a:p>
        </p:txBody>
      </p:sp>
      <p:sp>
        <p:nvSpPr>
          <p:cNvPr id="146" name="Rectangle 145">
            <a:extLst>
              <a:ext uri="{FF2B5EF4-FFF2-40B4-BE49-F238E27FC236}">
                <a16:creationId xmlns:a16="http://schemas.microsoft.com/office/drawing/2014/main" id="{E5912ADF-5379-2A9C-55AF-5D0F10703D15}"/>
              </a:ext>
            </a:extLst>
          </p:cNvPr>
          <p:cNvSpPr/>
          <p:nvPr/>
        </p:nvSpPr>
        <p:spPr>
          <a:xfrm>
            <a:off x="8000532" y="2466705"/>
            <a:ext cx="1206503" cy="3289796"/>
          </a:xfrm>
          <a:prstGeom prst="rect">
            <a:avLst/>
          </a:prstGeom>
          <a:noFill/>
          <a:ln w="12700">
            <a:solidFill>
              <a:srgbClr val="2E2E38"/>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endParaRPr lang="en-IE" sz="773">
              <a:solidFill>
                <a:prstClr val="white"/>
              </a:solidFill>
              <a:latin typeface="Calibri" panose="020F0502020204030204" pitchFamily="34" charset="0"/>
              <a:cs typeface="Calibri" panose="020F0502020204030204" pitchFamily="34" charset="0"/>
            </a:endParaRPr>
          </a:p>
        </p:txBody>
      </p:sp>
      <p:sp>
        <p:nvSpPr>
          <p:cNvPr id="147" name="Rectangle 146">
            <a:extLst>
              <a:ext uri="{FF2B5EF4-FFF2-40B4-BE49-F238E27FC236}">
                <a16:creationId xmlns:a16="http://schemas.microsoft.com/office/drawing/2014/main" id="{73B5F62A-512C-7B7A-0F36-71E394FFB8B1}"/>
              </a:ext>
            </a:extLst>
          </p:cNvPr>
          <p:cNvSpPr/>
          <p:nvPr/>
        </p:nvSpPr>
        <p:spPr>
          <a:xfrm>
            <a:off x="9423896" y="4954399"/>
            <a:ext cx="958353" cy="234739"/>
          </a:xfrm>
          <a:prstGeom prst="rect">
            <a:avLst/>
          </a:prstGeom>
          <a:solidFill>
            <a:srgbClr val="FFE600"/>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900">
                <a:solidFill>
                  <a:prstClr val="black"/>
                </a:solidFill>
                <a:latin typeface="Calibri" panose="020F0502020204030204" pitchFamily="34" charset="0"/>
                <a:cs typeface="Calibri" panose="020F0502020204030204" pitchFamily="34" charset="0"/>
              </a:rPr>
              <a:t>EY</a:t>
            </a:r>
          </a:p>
        </p:txBody>
      </p:sp>
      <p:sp>
        <p:nvSpPr>
          <p:cNvPr id="148" name="Rectangle 147">
            <a:extLst>
              <a:ext uri="{FF2B5EF4-FFF2-40B4-BE49-F238E27FC236}">
                <a16:creationId xmlns:a16="http://schemas.microsoft.com/office/drawing/2014/main" id="{3D055152-D40B-89EE-0052-B9C1E23AAEAD}"/>
              </a:ext>
            </a:extLst>
          </p:cNvPr>
          <p:cNvSpPr/>
          <p:nvPr/>
        </p:nvSpPr>
        <p:spPr>
          <a:xfrm>
            <a:off x="9423896" y="5247043"/>
            <a:ext cx="958353" cy="23473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GB" sz="900" b="1">
                <a:solidFill>
                  <a:schemeClr val="tx1"/>
                </a:solidFill>
                <a:latin typeface="Calibri" panose="020F0502020204030204" pitchFamily="34" charset="0"/>
                <a:cs typeface="Calibri" panose="020F0502020204030204" pitchFamily="34" charset="0"/>
              </a:rPr>
              <a:t>S</a:t>
            </a:r>
            <a:r>
              <a:rPr lang="en-IE" sz="900" b="1">
                <a:solidFill>
                  <a:schemeClr val="tx1"/>
                </a:solidFill>
                <a:latin typeface="Calibri" panose="020F0502020204030204" pitchFamily="34" charset="0"/>
                <a:cs typeface="Calibri" panose="020F0502020204030204" pitchFamily="34" charset="0"/>
              </a:rPr>
              <a:t>JH</a:t>
            </a:r>
          </a:p>
        </p:txBody>
      </p:sp>
      <p:sp>
        <p:nvSpPr>
          <p:cNvPr id="149" name="Rectangle 148">
            <a:extLst>
              <a:ext uri="{FF2B5EF4-FFF2-40B4-BE49-F238E27FC236}">
                <a16:creationId xmlns:a16="http://schemas.microsoft.com/office/drawing/2014/main" id="{141CD9B4-9C17-C08A-A305-E87C608B2C31}"/>
              </a:ext>
            </a:extLst>
          </p:cNvPr>
          <p:cNvSpPr/>
          <p:nvPr/>
        </p:nvSpPr>
        <p:spPr>
          <a:xfrm>
            <a:off x="9423896" y="5539774"/>
            <a:ext cx="958353" cy="23473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185" tIns="25593" rIns="51185" bIns="25593" numCol="1" spcCol="0" rtlCol="0" fromWordArt="0" anchor="ctr" anchorCtr="0" forceAA="0" compatLnSpc="1">
            <a:prstTxWarp prst="textNoShape">
              <a:avLst/>
            </a:prstTxWarp>
            <a:noAutofit/>
          </a:bodyPr>
          <a:lstStyle/>
          <a:p>
            <a:pPr algn="ctr" defTabSz="514350"/>
            <a:r>
              <a:rPr lang="en-IE" sz="900" b="1">
                <a:solidFill>
                  <a:schemeClr val="tx1"/>
                </a:solidFill>
                <a:latin typeface="Calibri" panose="020F0502020204030204" pitchFamily="34" charset="0"/>
                <a:cs typeface="Calibri" panose="020F0502020204030204" pitchFamily="34" charset="0"/>
              </a:rPr>
              <a:t>3</a:t>
            </a:r>
            <a:r>
              <a:rPr lang="en-IE" sz="900" b="1" baseline="30000">
                <a:solidFill>
                  <a:schemeClr val="tx1"/>
                </a:solidFill>
                <a:latin typeface="Calibri" panose="020F0502020204030204" pitchFamily="34" charset="0"/>
                <a:cs typeface="Calibri" panose="020F0502020204030204" pitchFamily="34" charset="0"/>
              </a:rPr>
              <a:t>rd</a:t>
            </a:r>
            <a:r>
              <a:rPr lang="en-IE" sz="900" b="1">
                <a:solidFill>
                  <a:schemeClr val="tx1"/>
                </a:solidFill>
                <a:latin typeface="Calibri" panose="020F0502020204030204" pitchFamily="34" charset="0"/>
                <a:cs typeface="Calibri" panose="020F0502020204030204" pitchFamily="34" charset="0"/>
              </a:rPr>
              <a:t> Parties</a:t>
            </a:r>
          </a:p>
        </p:txBody>
      </p:sp>
      <p:sp>
        <p:nvSpPr>
          <p:cNvPr id="5" name="TextBox 4">
            <a:extLst>
              <a:ext uri="{FF2B5EF4-FFF2-40B4-BE49-F238E27FC236}">
                <a16:creationId xmlns:a16="http://schemas.microsoft.com/office/drawing/2014/main" id="{871A34CD-3E18-AAB1-CF9D-0B6BA3BDD662}"/>
              </a:ext>
            </a:extLst>
          </p:cNvPr>
          <p:cNvSpPr txBox="1"/>
          <p:nvPr/>
        </p:nvSpPr>
        <p:spPr>
          <a:xfrm>
            <a:off x="4672912" y="5805615"/>
            <a:ext cx="2846175" cy="230832"/>
          </a:xfrm>
          <a:prstGeom prst="rect">
            <a:avLst/>
          </a:prstGeom>
          <a:noFill/>
          <a:ln>
            <a:noFill/>
          </a:ln>
        </p:spPr>
        <p:txBody>
          <a:bodyPr wrap="square">
            <a:spAutoFit/>
          </a:bodyPr>
          <a:lstStyle/>
          <a:p>
            <a:pPr marR="0" algn="just" rtl="0"/>
            <a:r>
              <a:rPr lang="en-IE" sz="900" i="1">
                <a:solidFill>
                  <a:schemeClr val="bg2">
                    <a:lumMod val="65000"/>
                    <a:lumOff val="35000"/>
                  </a:schemeClr>
                </a:solidFill>
                <a:latin typeface="Calibri" panose="020F0502020204030204" pitchFamily="34" charset="0"/>
                <a:cs typeface="Calibri" panose="020F0502020204030204" pitchFamily="34" charset="0"/>
              </a:rPr>
              <a:t>Fig 2.1 – High level example of project delivery structure.</a:t>
            </a:r>
          </a:p>
        </p:txBody>
      </p:sp>
    </p:spTree>
    <p:extLst>
      <p:ext uri="{BB962C8B-B14F-4D97-AF65-F5344CB8AC3E}">
        <p14:creationId xmlns:p14="http://schemas.microsoft.com/office/powerpoint/2010/main" val="3078344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A50E309-2AC4-4303-B6FC-73EA888397AE}"/>
              </a:ext>
            </a:extLst>
          </p:cNvPr>
          <p:cNvSpPr>
            <a:spLocks noGrp="1"/>
          </p:cNvSpPr>
          <p:nvPr>
            <p:ph idx="1"/>
          </p:nvPr>
        </p:nvSpPr>
        <p:spPr/>
        <p:txBody>
          <a:bodyPr/>
          <a:lstStyle/>
          <a:p>
            <a:pPr>
              <a:buClr>
                <a:srgbClr val="000000"/>
              </a:buClr>
              <a:buSzPts val="1000"/>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WRICEF development &amp; functional configuration is delivered during the ‘Realise – Build’ phase of EY’s delivery methodology. Our methodology takes an agile approach to build to improve business engagement, knowledge transfer and reduce the risk of rework. Build is broken into time-boxed iterations (known as ‘Build Iterations’) with configuration and development scope bundled into functional work packages. A key aspect of this approach being the regular, more frequent interactions with the business stakeholders based on manageable chunks of build. </a:t>
            </a:r>
            <a:r>
              <a:rPr lang="en-IE" sz="1050" kern="60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rPr>
              <a:t>3</a:t>
            </a: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week Build Iteration cycles are sequenced according to the project critical path, and typically fall into one of 5 priority buckets. The first three priority buckets are required</a:t>
            </a:r>
          </a:p>
          <a:p>
            <a:pPr>
              <a:buClr>
                <a:srgbClr val="000000"/>
              </a:buClr>
              <a:buSzPts val="1000"/>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for the first Integration Testing cycle. </a:t>
            </a:r>
          </a:p>
          <a:p>
            <a:pPr>
              <a:buClr>
                <a:srgbClr val="000000"/>
              </a:buClr>
              <a:buSzPts val="1000"/>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We anticipate a relatively low amount of effort will be required for enhancements</a:t>
            </a:r>
          </a:p>
          <a:p>
            <a:pPr>
              <a:buClr>
                <a:srgbClr val="000000"/>
              </a:buClr>
              <a:buSzPts val="1000"/>
            </a:pPr>
            <a:endPar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endParaRPr>
          </a:p>
          <a:p>
            <a:pPr marL="180000" lvl="0" indent="-342900">
              <a:buClrTx/>
              <a:buSzPct val="100000"/>
              <a:buFont typeface="+mj-lt"/>
              <a:buAutoNum type="arabicPeriod"/>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Enhancements critical for End-to-End processes</a:t>
            </a:r>
          </a:p>
          <a:p>
            <a:pPr marL="180000" lvl="0" indent="-342900">
              <a:buClrTx/>
              <a:buSzPct val="100000"/>
              <a:buFont typeface="+mj-lt"/>
              <a:buAutoNum type="arabicPeriod"/>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Other enhancements </a:t>
            </a:r>
          </a:p>
          <a:p>
            <a:pPr marL="180000" lvl="0" indent="-342900">
              <a:buClrTx/>
              <a:buSzPct val="100000"/>
              <a:buFont typeface="+mj-lt"/>
              <a:buAutoNum type="arabicPeriod"/>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Interfaces and workflows</a:t>
            </a:r>
          </a:p>
          <a:p>
            <a:pPr marL="180000" lvl="0" indent="-342900">
              <a:buClrTx/>
              <a:buSzPct val="100000"/>
              <a:buFont typeface="+mj-lt"/>
              <a:buAutoNum type="arabicPeriod"/>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Reports</a:t>
            </a:r>
          </a:p>
          <a:p>
            <a:pPr marL="180000" lvl="0" indent="-342900">
              <a:buClrTx/>
              <a:buSzPct val="100000"/>
              <a:buFont typeface="+mj-lt"/>
              <a:buAutoNum type="arabicPeriod"/>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Forms</a:t>
            </a:r>
          </a:p>
          <a:p>
            <a:pPr lvl="1">
              <a:tabLst>
                <a:tab pos="457200" algn="l"/>
              </a:tabLst>
            </a:pP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Build iterations are composed of four key activities:</a:t>
            </a:r>
            <a:endParaRPr lang="en-IE" sz="1050" b="1"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endParaRPr>
          </a:p>
          <a:p>
            <a:pPr marL="180975" lvl="0" indent="-180975">
              <a:buClrTx/>
              <a:buSzPct val="70000"/>
              <a:buFont typeface="Arial" panose="020B0604020202020204" pitchFamily="34" charset="0"/>
              <a:buChar char="►"/>
              <a:tabLst>
                <a:tab pos="182880" algn="l"/>
              </a:tabLst>
            </a:pPr>
            <a:r>
              <a:rPr lang="en-IE" sz="1050" b="1"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Work Package Planning</a:t>
            </a: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 </a:t>
            </a:r>
            <a:b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Meeting conducted to define the scope that will be included in build iteration. At the end of the meeting, there is a clearly defined build iteration work package. Additional backlog items may be added during the build iteration if progress is ahead of plan</a:t>
            </a:r>
          </a:p>
          <a:p>
            <a:pPr marL="180975" lvl="0" indent="-180975">
              <a:buClrTx/>
              <a:buSzPct val="70000"/>
              <a:buFont typeface="Arial" panose="020B0604020202020204" pitchFamily="34" charset="0"/>
              <a:buChar char="►"/>
              <a:tabLst>
                <a:tab pos="182880" algn="l"/>
              </a:tabLst>
            </a:pPr>
            <a:r>
              <a:rPr lang="en-IE" sz="1050" b="1"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Build Iteration Execution</a:t>
            </a: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 </a:t>
            </a:r>
            <a:b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During the build iteration the solution is defined according to the work package scope and daily stand-up meetings are held to track progress.</a:t>
            </a:r>
          </a:p>
          <a:p>
            <a:pPr marL="180975" lvl="0" indent="-180975">
              <a:buClrTx/>
              <a:buSzPct val="70000"/>
              <a:buFont typeface="Arial" panose="020B0604020202020204" pitchFamily="34" charset="0"/>
              <a:buChar char="►"/>
              <a:tabLst>
                <a:tab pos="182880" algn="l"/>
              </a:tabLst>
            </a:pPr>
            <a:r>
              <a:rPr lang="en-IE" sz="1050" b="1"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Business Playback</a:t>
            </a: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 </a:t>
            </a:r>
            <a:b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Meeting at the end of the build iteration for the End-to End Process team to playback the developed functionality to the Business Process Owner. The BPO will approve/reject the build.</a:t>
            </a:r>
          </a:p>
          <a:p>
            <a:pPr marL="180975" lvl="0" indent="-180975">
              <a:buClrTx/>
              <a:buSzPct val="70000"/>
              <a:buFont typeface="Arial" panose="020B0604020202020204" pitchFamily="34" charset="0"/>
              <a:buChar char="►"/>
              <a:tabLst>
                <a:tab pos="182880" algn="l"/>
              </a:tabLst>
            </a:pPr>
            <a:r>
              <a:rPr lang="en-IE" sz="1050" b="1"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Build Iteration Retrospective</a:t>
            </a: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 </a:t>
            </a:r>
            <a:b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br>
            <a:r>
              <a:rPr lang="en-IE" sz="1050"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Meeting after the business playback to discuss lessons learned in preparation for the next build iteration.</a:t>
            </a:r>
          </a:p>
          <a:p>
            <a:pPr lvl="0">
              <a:tabLst>
                <a:tab pos="457200" algn="l"/>
              </a:tabLst>
            </a:pPr>
            <a:endParaRPr lang="en-IE" kern="6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Build Methodology</a:t>
            </a:r>
          </a:p>
        </p:txBody>
      </p:sp>
      <p:pic>
        <p:nvPicPr>
          <p:cNvPr id="3" name="Picture 2">
            <a:extLst>
              <a:ext uri="{FF2B5EF4-FFF2-40B4-BE49-F238E27FC236}">
                <a16:creationId xmlns:a16="http://schemas.microsoft.com/office/drawing/2014/main" id="{4EA3783D-1429-48D7-808E-10169BEBF688}"/>
              </a:ext>
            </a:extLst>
          </p:cNvPr>
          <p:cNvPicPr>
            <a:picLocks noChangeAspect="1"/>
          </p:cNvPicPr>
          <p:nvPr/>
        </p:nvPicPr>
        <p:blipFill>
          <a:blip r:embed="rId2"/>
          <a:stretch>
            <a:fillRect/>
          </a:stretch>
        </p:blipFill>
        <p:spPr>
          <a:xfrm>
            <a:off x="5822440" y="2035863"/>
            <a:ext cx="5322269" cy="2292295"/>
          </a:xfrm>
          <a:prstGeom prst="rect">
            <a:avLst/>
          </a:prstGeom>
        </p:spPr>
      </p:pic>
    </p:spTree>
    <p:extLst>
      <p:ext uri="{BB962C8B-B14F-4D97-AF65-F5344CB8AC3E}">
        <p14:creationId xmlns:p14="http://schemas.microsoft.com/office/powerpoint/2010/main" val="10909185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Y’s Delivery Methodology</a:t>
            </a:r>
          </a:p>
        </p:txBody>
      </p:sp>
      <p:sp>
        <p:nvSpPr>
          <p:cNvPr id="5" name="TextBox 4">
            <a:extLst>
              <a:ext uri="{FF2B5EF4-FFF2-40B4-BE49-F238E27FC236}">
                <a16:creationId xmlns:a16="http://schemas.microsoft.com/office/drawing/2014/main" id="{813B1C43-2AEA-4172-9E36-48BBA8301F9E}"/>
              </a:ext>
            </a:extLst>
          </p:cNvPr>
          <p:cNvSpPr txBox="1"/>
          <p:nvPr/>
        </p:nvSpPr>
        <p:spPr>
          <a:xfrm>
            <a:off x="617106" y="3996097"/>
            <a:ext cx="1712856" cy="2214631"/>
          </a:xfrm>
          <a:prstGeom prst="rect">
            <a:avLst/>
          </a:prstGeom>
          <a:solidFill>
            <a:srgbClr val="2E2E38"/>
          </a:solidFill>
        </p:spPr>
        <p:txBody>
          <a:bodyPr wrap="square" lIns="36000" tIns="36576" rIns="36000" bIns="36000" rtlCol="0">
            <a:noAutofit/>
          </a:bodyPr>
          <a:lstStyle/>
          <a:p>
            <a:pPr lvl="0" algn="just">
              <a:buClr>
                <a:srgbClr val="FFE600"/>
              </a:buClr>
              <a:buSzPts val="1000"/>
              <a:tabLst>
                <a:tab pos="182880" algn="l"/>
              </a:tabLst>
            </a:pPr>
            <a:r>
              <a:rPr lang="en-IE" sz="1050" kern="600">
                <a:effectLst/>
                <a:latin typeface="Calibri" panose="020F0502020204030204" pitchFamily="34" charset="0"/>
                <a:ea typeface="Times New Roman" panose="02020603050405020304" pitchFamily="18" charset="0"/>
                <a:cs typeface="Calibri" panose="020F0502020204030204" pitchFamily="34" charset="0"/>
              </a:rPr>
              <a:t>During Prepare phase we will establish the PMO &amp; governance processes. </a:t>
            </a:r>
          </a:p>
          <a:p>
            <a:pPr lvl="0" algn="just">
              <a:buClr>
                <a:srgbClr val="FFE600"/>
              </a:buClr>
              <a:buSzPts val="1000"/>
              <a:tabLst>
                <a:tab pos="182880" algn="l"/>
              </a:tabLst>
            </a:pPr>
            <a:r>
              <a:rPr lang="en-IE" sz="1050" kern="600">
                <a:effectLst/>
                <a:latin typeface="Calibri" panose="020F0502020204030204" pitchFamily="34" charset="0"/>
                <a:ea typeface="Times New Roman" panose="02020603050405020304" pitchFamily="18" charset="0"/>
                <a:cs typeface="Calibri" panose="020F0502020204030204" pitchFamily="34" charset="0"/>
              </a:rPr>
              <a:t>We will gather artifacts relating to processes, and business requirements in preparation for design workshops.</a:t>
            </a:r>
          </a:p>
          <a:p>
            <a:pPr lvl="0" algn="just">
              <a:buClr>
                <a:srgbClr val="FFE600"/>
              </a:buClr>
              <a:buSzPts val="1000"/>
              <a:tabLst>
                <a:tab pos="182880" algn="l"/>
              </a:tabLst>
            </a:pPr>
            <a:r>
              <a:rPr lang="en-IE" sz="1050" kern="600">
                <a:latin typeface="Calibri" panose="020F0502020204030204" pitchFamily="34" charset="0"/>
                <a:ea typeface="Times New Roman" panose="02020603050405020304" pitchFamily="18" charset="0"/>
                <a:cs typeface="Calibri" panose="020F0502020204030204" pitchFamily="34" charset="0"/>
              </a:rPr>
              <a:t>Initial configuration of org. structure elements can also commence to support workshop demo capability. </a:t>
            </a: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07" name="Arrow: Pentagon 206">
            <a:extLst>
              <a:ext uri="{FF2B5EF4-FFF2-40B4-BE49-F238E27FC236}">
                <a16:creationId xmlns:a16="http://schemas.microsoft.com/office/drawing/2014/main" id="{6A5412A3-B550-407F-96AA-AD856BC718FB}"/>
              </a:ext>
            </a:extLst>
          </p:cNvPr>
          <p:cNvSpPr/>
          <p:nvPr/>
        </p:nvSpPr>
        <p:spPr bwMode="auto">
          <a:xfrm>
            <a:off x="617106" y="3760234"/>
            <a:ext cx="10944000" cy="187423"/>
          </a:xfrm>
          <a:prstGeom prst="homePlate">
            <a:avLst/>
          </a:prstGeom>
          <a:solidFill>
            <a:srgbClr val="FEE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algn="ctr" defTabSz="913943"/>
            <a:r>
              <a:rPr lang="en-IE" sz="1050" b="1">
                <a:solidFill>
                  <a:srgbClr val="2E2E38"/>
                </a:solidFill>
                <a:latin typeface="Calibri" panose="020F0502020204030204" pitchFamily="34" charset="0"/>
                <a:cs typeface="Calibri" panose="020F0502020204030204" pitchFamily="34" charset="0"/>
              </a:rPr>
              <a:t>EY’s Delivery Methodology</a:t>
            </a:r>
          </a:p>
        </p:txBody>
      </p:sp>
      <p:sp>
        <p:nvSpPr>
          <p:cNvPr id="133" name="TextBox 132">
            <a:extLst>
              <a:ext uri="{FF2B5EF4-FFF2-40B4-BE49-F238E27FC236}">
                <a16:creationId xmlns:a16="http://schemas.microsoft.com/office/drawing/2014/main" id="{EF89BEC2-0F73-4E60-BB3B-50D851253B69}"/>
              </a:ext>
            </a:extLst>
          </p:cNvPr>
          <p:cNvSpPr txBox="1"/>
          <p:nvPr/>
        </p:nvSpPr>
        <p:spPr>
          <a:xfrm>
            <a:off x="2445800" y="3994851"/>
            <a:ext cx="1764000" cy="2220821"/>
          </a:xfrm>
          <a:prstGeom prst="rect">
            <a:avLst/>
          </a:prstGeom>
          <a:solidFill>
            <a:srgbClr val="2E2E38"/>
          </a:solidFill>
        </p:spPr>
        <p:txBody>
          <a:bodyPr wrap="square" lIns="36000" tIns="36576" rIns="36000" bIns="36000" rtlCol="0">
            <a:noAutofit/>
          </a:bodyPr>
          <a:lstStyle/>
          <a:p>
            <a:pPr lvl="0" algn="just">
              <a:buClr>
                <a:srgbClr val="FFE600"/>
              </a:buClr>
              <a:buSzPts val="1000"/>
              <a:tabLst>
                <a:tab pos="182880" algn="l"/>
              </a:tabLst>
            </a:pPr>
            <a:r>
              <a:rPr lang="en-IE" sz="1050" kern="600">
                <a:latin typeface="Calibri" panose="020F0502020204030204" pitchFamily="34" charset="0"/>
                <a:ea typeface="Times New Roman" panose="02020603050405020304" pitchFamily="18" charset="0"/>
                <a:cs typeface="Calibri" panose="020F0502020204030204" pitchFamily="34" charset="0"/>
              </a:rPr>
              <a:t>The goal of the Explore phase is to produce an overall solution design, based on agreed </a:t>
            </a:r>
            <a:r>
              <a:rPr lang="en-IE" sz="1050" kern="600">
                <a:latin typeface="Calibri" panose="020F0502020204030204" pitchFamily="34" charset="0"/>
                <a:ea typeface="Times New Roman" panose="02020603050405020304" pitchFamily="18" charset="0"/>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design principles</a:t>
            </a:r>
            <a:r>
              <a:rPr lang="en-IE" sz="1050" kern="600">
                <a:latin typeface="Calibri" panose="020F0502020204030204" pitchFamily="34" charset="0"/>
                <a:ea typeface="Times New Roman" panose="02020603050405020304" pitchFamily="18" charset="0"/>
                <a:cs typeface="Calibri" panose="020F0502020204030204" pitchFamily="34" charset="0"/>
              </a:rPr>
              <a:t>, that is tested from a technical, functional and business perspective. EY’s </a:t>
            </a:r>
            <a:r>
              <a:rPr lang="en-IE" sz="1050" kern="600">
                <a:latin typeface="Calibri" panose="020F0502020204030204" pitchFamily="34" charset="0"/>
                <a:ea typeface="Times New Roman" panose="02020603050405020304" pitchFamily="18" charset="0"/>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2-stage workshop approach </a:t>
            </a:r>
            <a:r>
              <a:rPr lang="en-IE" sz="1050" kern="600">
                <a:latin typeface="Calibri" panose="020F0502020204030204" pitchFamily="34" charset="0"/>
                <a:ea typeface="Times New Roman" panose="02020603050405020304" pitchFamily="18" charset="0"/>
                <a:cs typeface="Calibri" panose="020F0502020204030204" pitchFamily="34" charset="0"/>
              </a:rPr>
              <a:t>together with the Design Authority governance layer forms a robust process to deliver a fit-for-purpose design.</a:t>
            </a: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4" name="TextBox 133">
            <a:extLst>
              <a:ext uri="{FF2B5EF4-FFF2-40B4-BE49-F238E27FC236}">
                <a16:creationId xmlns:a16="http://schemas.microsoft.com/office/drawing/2014/main" id="{C6FDF5D4-D6D4-4019-BB78-6C1A16E94160}"/>
              </a:ext>
            </a:extLst>
          </p:cNvPr>
          <p:cNvSpPr txBox="1"/>
          <p:nvPr/>
        </p:nvSpPr>
        <p:spPr>
          <a:xfrm>
            <a:off x="4304687" y="3999803"/>
            <a:ext cx="1764000" cy="2220821"/>
          </a:xfrm>
          <a:prstGeom prst="rect">
            <a:avLst/>
          </a:prstGeom>
          <a:solidFill>
            <a:srgbClr val="2E2E38"/>
          </a:solidFill>
        </p:spPr>
        <p:txBody>
          <a:bodyPr wrap="square" lIns="36000" tIns="36576" rIns="36000" bIns="36000" rtlCol="0">
            <a:noAutofit/>
          </a:bodyPr>
          <a:lstStyle/>
          <a:p>
            <a:pPr lvl="0" algn="just">
              <a:buClr>
                <a:srgbClr val="FFE600"/>
              </a:buClr>
              <a:buSzPts val="1000"/>
              <a:tabLst>
                <a:tab pos="182880" algn="l"/>
              </a:tabLst>
            </a:pPr>
            <a:r>
              <a:rPr lang="en-IE" sz="1050" kern="600">
                <a:latin typeface="Calibri" panose="020F0502020204030204" pitchFamily="34" charset="0"/>
                <a:ea typeface="Times New Roman" panose="02020603050405020304" pitchFamily="18" charset="0"/>
                <a:cs typeface="Calibri" panose="020F0502020204030204" pitchFamily="34" charset="0"/>
              </a:rPr>
              <a:t>We will deploy a prioritised sprint approach using 3 week '</a:t>
            </a:r>
            <a:r>
              <a:rPr lang="en-IE" sz="1050" kern="600">
                <a:latin typeface="Calibri" panose="020F0502020204030204" pitchFamily="34" charset="0"/>
                <a:ea typeface="Times New Roman" panose="02020603050405020304" pitchFamily="18"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Build Iterations</a:t>
            </a:r>
            <a:r>
              <a:rPr lang="en-IE" sz="1050" kern="600">
                <a:latin typeface="Calibri" panose="020F0502020204030204" pitchFamily="34" charset="0"/>
                <a:ea typeface="Times New Roman" panose="02020603050405020304" pitchFamily="18" charset="0"/>
                <a:cs typeface="Calibri" panose="020F0502020204030204" pitchFamily="34" charset="0"/>
              </a:rPr>
              <a:t>' to deliver a unit-tested solution against the agreed solution. Working closely in cross-functional teams is a critical success factor at this stage, together with regular playbacks to stakeholders to support a high-quality outcome.</a:t>
            </a: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5" name="TextBox 134">
            <a:extLst>
              <a:ext uri="{FF2B5EF4-FFF2-40B4-BE49-F238E27FC236}">
                <a16:creationId xmlns:a16="http://schemas.microsoft.com/office/drawing/2014/main" id="{4392058A-7785-4989-87C3-FF33A7345CFC}"/>
              </a:ext>
            </a:extLst>
          </p:cNvPr>
          <p:cNvSpPr txBox="1"/>
          <p:nvPr/>
        </p:nvSpPr>
        <p:spPr>
          <a:xfrm>
            <a:off x="6184525" y="4009173"/>
            <a:ext cx="1764000" cy="2209483"/>
          </a:xfrm>
          <a:prstGeom prst="rect">
            <a:avLst/>
          </a:prstGeom>
          <a:solidFill>
            <a:srgbClr val="2E2E38"/>
          </a:solidFill>
        </p:spPr>
        <p:txBody>
          <a:bodyPr wrap="square" lIns="36000" tIns="36576" rIns="36000" bIns="36000" rtlCol="0">
            <a:noAutofit/>
          </a:bodyPr>
          <a:lstStyle/>
          <a:p>
            <a:pPr lvl="0" algn="just">
              <a:buClr>
                <a:srgbClr val="FFE600"/>
              </a:buClr>
              <a:buSzPts val="1000"/>
              <a:tabLst>
                <a:tab pos="182880" algn="l"/>
              </a:tabLst>
            </a:pPr>
            <a:r>
              <a:rPr lang="en-IE" sz="1050" kern="600">
                <a:effectLst/>
                <a:latin typeface="Calibri" panose="020F0502020204030204" pitchFamily="34" charset="0"/>
                <a:ea typeface="Times New Roman" panose="02020603050405020304" pitchFamily="18" charset="0"/>
                <a:cs typeface="Calibri" panose="020F0502020204030204" pitchFamily="34" charset="0"/>
              </a:rPr>
              <a:t>Multiple forms of </a:t>
            </a:r>
            <a:r>
              <a:rPr lang="en-IE" sz="1050" kern="600">
                <a:effectLst/>
                <a:latin typeface="Calibri" panose="020F0502020204030204" pitchFamily="34" charset="0"/>
                <a:ea typeface="Times New Roman" panose="02020603050405020304" pitchFamily="18"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testing</a:t>
            </a:r>
            <a:r>
              <a:rPr lang="en-IE" sz="1050" kern="600">
                <a:effectLst/>
                <a:latin typeface="Calibri" panose="020F0502020204030204" pitchFamily="34" charset="0"/>
                <a:ea typeface="Times New Roman" panose="02020603050405020304" pitchFamily="18" charset="0"/>
                <a:cs typeface="Calibri" panose="020F0502020204030204" pitchFamily="34" charset="0"/>
              </a:rPr>
              <a:t> will be executed during this stage to give assurance that the solution functions correctly, is performant, meets the business requirements and that security roles are correctly mapped. </a:t>
            </a:r>
            <a:r>
              <a:rPr lang="en-IE" sz="1050" kern="600">
                <a:latin typeface="Calibri" panose="020F0502020204030204" pitchFamily="34" charset="0"/>
                <a:ea typeface="Times New Roman" panose="02020603050405020304" pitchFamily="18"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Train-the-Trainer</a:t>
            </a:r>
            <a:r>
              <a:rPr lang="en-IE" sz="1050" kern="600">
                <a:latin typeface="Calibri" panose="020F0502020204030204" pitchFamily="34" charset="0"/>
                <a:ea typeface="Times New Roman" panose="02020603050405020304" pitchFamily="18" charset="0"/>
                <a:cs typeface="Calibri" panose="020F0502020204030204" pitchFamily="34" charset="0"/>
              </a:rPr>
              <a:t> workshops will also be carried out during the Test phase in preparation for cut over.</a:t>
            </a: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6" name="TextBox 135">
            <a:extLst>
              <a:ext uri="{FF2B5EF4-FFF2-40B4-BE49-F238E27FC236}">
                <a16:creationId xmlns:a16="http://schemas.microsoft.com/office/drawing/2014/main" id="{3C49F8C8-C246-4AE4-88F0-DC1C052602D0}"/>
              </a:ext>
            </a:extLst>
          </p:cNvPr>
          <p:cNvSpPr txBox="1"/>
          <p:nvPr/>
        </p:nvSpPr>
        <p:spPr>
          <a:xfrm>
            <a:off x="8064363" y="4000701"/>
            <a:ext cx="1764000" cy="2210027"/>
          </a:xfrm>
          <a:prstGeom prst="rect">
            <a:avLst/>
          </a:prstGeom>
          <a:solidFill>
            <a:srgbClr val="2E2E38"/>
          </a:solidFill>
        </p:spPr>
        <p:txBody>
          <a:bodyPr wrap="square" lIns="36000" tIns="36576" rIns="36000" bIns="36000" rtlCol="0">
            <a:noAutofit/>
          </a:bodyPr>
          <a:lstStyle/>
          <a:p>
            <a:pPr lvl="0" algn="just">
              <a:buClr>
                <a:srgbClr val="FFE600"/>
              </a:buClr>
              <a:buSzPts val="1000"/>
              <a:tabLst>
                <a:tab pos="182880" algn="l"/>
              </a:tabLst>
            </a:pPr>
            <a:r>
              <a:rPr lang="en-IE" sz="1050" kern="600">
                <a:latin typeface="Calibri" panose="020F0502020204030204" pitchFamily="34" charset="0"/>
                <a:ea typeface="Times New Roman" panose="02020603050405020304" pitchFamily="18" charset="0"/>
                <a:cs typeface="Calibri" panose="020F0502020204030204" pitchFamily="34" charset="0"/>
              </a:rPr>
              <a:t>Once the testing stage gates are passed with defects adequately resolved, cutover to the production system can commence based on a carefully planned and rehearsed sequence of steps. Regular control checkpoints and Go/No-go reviews will be carried out. End users will receive training during this phase.</a:t>
            </a: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7" name="TextBox 136">
            <a:extLst>
              <a:ext uri="{FF2B5EF4-FFF2-40B4-BE49-F238E27FC236}">
                <a16:creationId xmlns:a16="http://schemas.microsoft.com/office/drawing/2014/main" id="{B51CC133-C72C-40AC-8D37-B7AA95129E52}"/>
              </a:ext>
            </a:extLst>
          </p:cNvPr>
          <p:cNvSpPr txBox="1"/>
          <p:nvPr/>
        </p:nvSpPr>
        <p:spPr>
          <a:xfrm>
            <a:off x="9944201" y="3998309"/>
            <a:ext cx="1570534" cy="2212419"/>
          </a:xfrm>
          <a:prstGeom prst="rect">
            <a:avLst/>
          </a:prstGeom>
          <a:solidFill>
            <a:srgbClr val="2E2E38"/>
          </a:solidFill>
        </p:spPr>
        <p:txBody>
          <a:bodyPr wrap="square" lIns="36000" tIns="36576" rIns="36000" bIns="36000" rtlCol="0" anchor="t">
            <a:noAutofit/>
          </a:bodyPr>
          <a:lstStyle/>
          <a:p>
            <a:pPr algn="just">
              <a:buClr>
                <a:srgbClr val="FFE600"/>
              </a:buClr>
              <a:buSzPts val="1000"/>
              <a:tabLst>
                <a:tab pos="182880" algn="l"/>
              </a:tabLst>
            </a:pPr>
            <a:r>
              <a:rPr lang="en-IE" sz="1050" kern="600">
                <a:effectLst/>
                <a:latin typeface="Calibri"/>
                <a:ea typeface="Times New Roman" panose="02020603050405020304" pitchFamily="18" charset="0"/>
                <a:cs typeface="Calibri"/>
              </a:rPr>
              <a:t>EY will provide </a:t>
            </a:r>
            <a:r>
              <a:rPr lang="en-IE" sz="1050" kern="600" err="1">
                <a:effectLst/>
                <a:latin typeface="Calibri"/>
                <a:ea typeface="Times New Roman" panose="02020603050405020304" pitchFamily="18" charset="0"/>
                <a:cs typeface="Calibri"/>
              </a:rPr>
              <a:t>hypercare</a:t>
            </a:r>
            <a:r>
              <a:rPr lang="en-IE" sz="1050" kern="600">
                <a:effectLst/>
                <a:latin typeface="Calibri"/>
                <a:ea typeface="Times New Roman" panose="02020603050405020304" pitchFamily="18" charset="0"/>
                <a:cs typeface="Calibri"/>
              </a:rPr>
              <a:t> support </a:t>
            </a:r>
            <a:r>
              <a:rPr lang="en-IE" sz="1050" kern="600">
                <a:latin typeface="Calibri"/>
                <a:ea typeface="Times New Roman" panose="02020603050405020304" pitchFamily="18" charset="0"/>
                <a:cs typeface="Calibri"/>
              </a:rPr>
              <a:t>for the 2 weeks following go-live </a:t>
            </a:r>
            <a:r>
              <a:rPr lang="en-IE" sz="1050" kern="600">
                <a:effectLst/>
                <a:latin typeface="Calibri"/>
                <a:ea typeface="Times New Roman" panose="02020603050405020304" pitchFamily="18" charset="0"/>
                <a:cs typeface="Calibri"/>
              </a:rPr>
              <a:t>and will also execute detailed </a:t>
            </a:r>
            <a:r>
              <a:rPr lang="en-IE" sz="1050" kern="600">
                <a:effectLst/>
                <a:latin typeface="Calibri"/>
                <a:ea typeface="Times New Roman" panose="02020603050405020304" pitchFamily="18" charset="0"/>
                <a:cs typeface="Calibri"/>
                <a:hlinkClick r:id="" action="ppaction://noaction">
                  <a:extLst>
                    <a:ext uri="{A12FA001-AC4F-418D-AE19-62706E023703}">
                      <ahyp:hlinkClr xmlns:ahyp="http://schemas.microsoft.com/office/drawing/2018/hyperlinkcolor" val="tx"/>
                    </a:ext>
                  </a:extLst>
                </a:hlinkClick>
              </a:rPr>
              <a:t>knowledge transfer plan </a:t>
            </a:r>
            <a:r>
              <a:rPr lang="en-IE" sz="1050" kern="600">
                <a:effectLst/>
                <a:latin typeface="Calibri"/>
                <a:ea typeface="Times New Roman" panose="02020603050405020304" pitchFamily="18" charset="0"/>
                <a:cs typeface="Calibri"/>
              </a:rPr>
              <a:t>with its own series of checkpoints to ensure a smooth &amp; successful transfer to support and managed services teams.</a:t>
            </a:r>
          </a:p>
          <a:p>
            <a:pPr lvl="0" algn="just">
              <a:buClr>
                <a:srgbClr val="FFE600"/>
              </a:buClr>
              <a:buSzPts val="1000"/>
              <a:tabLst>
                <a:tab pos="182880" algn="l"/>
              </a:tabLst>
            </a:pPr>
            <a:endParaRPr lang="en-US" sz="1050" kern="6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TextBox 1">
            <a:extLst>
              <a:ext uri="{FF2B5EF4-FFF2-40B4-BE49-F238E27FC236}">
                <a16:creationId xmlns:a16="http://schemas.microsoft.com/office/drawing/2014/main" id="{DF9D52B6-DC85-7F02-9877-48F8654B91EF}"/>
              </a:ext>
            </a:extLst>
          </p:cNvPr>
          <p:cNvSpPr txBox="1"/>
          <p:nvPr/>
        </p:nvSpPr>
        <p:spPr>
          <a:xfrm>
            <a:off x="617106" y="2760747"/>
            <a:ext cx="1712856" cy="807913"/>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algn="ctr"/>
            <a:r>
              <a:rPr lang="en-US"/>
              <a:t>Confirm purpose, vision and scope for the transformation. Kickstart solution design with industry templates and accelerators.</a:t>
            </a:r>
          </a:p>
        </p:txBody>
      </p:sp>
      <p:sp>
        <p:nvSpPr>
          <p:cNvPr id="3" name="TextBox 2">
            <a:extLst>
              <a:ext uri="{FF2B5EF4-FFF2-40B4-BE49-F238E27FC236}">
                <a16:creationId xmlns:a16="http://schemas.microsoft.com/office/drawing/2014/main" id="{37E6BD60-89F6-5432-B306-0689E6014231}"/>
              </a:ext>
            </a:extLst>
          </p:cNvPr>
          <p:cNvSpPr txBox="1"/>
          <p:nvPr/>
        </p:nvSpPr>
        <p:spPr>
          <a:xfrm>
            <a:off x="2445800" y="2759501"/>
            <a:ext cx="1764000" cy="807913"/>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Perform fit-gap to leading practices and design delta solution for gaps, documenting requirements in a prioritised backlog of user stories.</a:t>
            </a:r>
            <a:endParaRPr kumimoji="0" lang="en-US"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A9C4BC0-AF8D-D131-1559-E1462130719D}"/>
              </a:ext>
            </a:extLst>
          </p:cNvPr>
          <p:cNvSpPr txBox="1"/>
          <p:nvPr/>
        </p:nvSpPr>
        <p:spPr>
          <a:xfrm>
            <a:off x="4304687" y="2764453"/>
            <a:ext cx="1764000" cy="646331"/>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Build and unit test solution in time-boxed iterations based on prioritised backlog, load master data. </a:t>
            </a:r>
            <a:endParaRPr kumimoji="0" lang="en-US"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1723C0F9-E358-55D9-9E45-12EF8D101CC8}"/>
              </a:ext>
            </a:extLst>
          </p:cNvPr>
          <p:cNvSpPr txBox="1"/>
          <p:nvPr/>
        </p:nvSpPr>
        <p:spPr>
          <a:xfrm>
            <a:off x="6184525" y="2773823"/>
            <a:ext cx="1764000" cy="323165"/>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Perform integrated testing of solution and train end users.</a:t>
            </a:r>
            <a:endParaRPr kumimoji="0" lang="en-US"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20764219-086A-C3F4-799C-F53E14497AF3}"/>
              </a:ext>
            </a:extLst>
          </p:cNvPr>
          <p:cNvSpPr txBox="1"/>
          <p:nvPr/>
        </p:nvSpPr>
        <p:spPr>
          <a:xfrm>
            <a:off x="8064363" y="2765352"/>
            <a:ext cx="1764000" cy="323165"/>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Cutover to production and deploy new solution.</a:t>
            </a:r>
            <a:endParaRPr kumimoji="0" lang="en-US"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2082D9D-9145-CB86-5900-9E03CCDD9597}"/>
              </a:ext>
            </a:extLst>
          </p:cNvPr>
          <p:cNvSpPr txBox="1"/>
          <p:nvPr/>
        </p:nvSpPr>
        <p:spPr>
          <a:xfrm>
            <a:off x="9944201" y="2762959"/>
            <a:ext cx="1570534" cy="646331"/>
          </a:xfrm>
          <a:prstGeom prst="rect">
            <a:avLst/>
          </a:prstGeom>
        </p:spPr>
        <p:txBody>
          <a:bodyPr wrap="square" lIns="0" tIns="0" rIns="0" bIns="0">
            <a:spAutoFit/>
          </a:bodyPr>
          <a:lstStyle>
            <a:defPPr>
              <a:defRPr lang="en-US"/>
            </a:defPPr>
            <a:lvl1pPr marR="0" lvl="0" indent="0" algn="just" defTabSz="913943" fontAlgn="auto">
              <a:lnSpc>
                <a:spcPct val="100000"/>
              </a:lnSpc>
              <a:spcBef>
                <a:spcPts val="0"/>
              </a:spcBef>
              <a:spcAft>
                <a:spcPts val="0"/>
              </a:spcAft>
              <a:buClrTx/>
              <a:buSzTx/>
              <a:buFontTx/>
              <a:buNone/>
              <a:tabLst/>
              <a:defRPr kumimoji="0" sz="1050" b="0" i="0" u="none" strike="noStrike" kern="0" cap="none" spc="0" normalizeH="0" baseline="0">
                <a:ln>
                  <a:noFill/>
                </a:ln>
                <a:solidFill>
                  <a:schemeClr val="bg2">
                    <a:lumMod val="65000"/>
                    <a:lumOff val="35000"/>
                  </a:schemeClr>
                </a:solidFill>
                <a:effectLst/>
                <a:uLnTx/>
                <a:uFillTx/>
                <a:latin typeface="Calibri" panose="020F0502020204030204" pitchFamily="34" charset="0"/>
                <a:cs typeface="Calibri" panose="020F0502020204030204" pitchFamily="34" charset="0"/>
              </a:defRPr>
            </a:lvl1p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upport new solution through </a:t>
            </a:r>
            <a:r>
              <a:rPr kumimoji="0" lang="en-AU" sz="1050" b="0" i="0" u="none" strike="noStrike" kern="0" cap="none" spc="0" normalizeH="0" baseline="0" noProof="0" err="1">
                <a:ln>
                  <a:noFill/>
                </a:ln>
                <a:solidFill>
                  <a:schemeClr val="bg2">
                    <a:lumMod val="65000"/>
                    <a:lumOff val="35000"/>
                  </a:schemeClr>
                </a:solidFill>
                <a:effectLst/>
                <a:uLnTx/>
                <a:uFillTx/>
                <a:latin typeface="Calibri" panose="020F0502020204030204" pitchFamily="34" charset="0"/>
                <a:cs typeface="Calibri" panose="020F0502020204030204" pitchFamily="34" charset="0"/>
              </a:rPr>
              <a:t>hypercare</a:t>
            </a:r>
            <a:r>
              <a:rPr kumimoji="0" lang="en-AU"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 and handover to service management.</a:t>
            </a:r>
            <a:endParaRPr kumimoji="0" lang="en-US"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143897E2-8453-537F-C527-3CC6B8212C7E}"/>
              </a:ext>
            </a:extLst>
          </p:cNvPr>
          <p:cNvSpPr/>
          <p:nvPr/>
        </p:nvSpPr>
        <p:spPr>
          <a:xfrm>
            <a:off x="609600" y="1431017"/>
            <a:ext cx="10903132" cy="184666"/>
          </a:xfrm>
          <a:prstGeom prst="rect">
            <a:avLst/>
          </a:prstGeom>
        </p:spPr>
        <p:txBody>
          <a:bodyPr wrap="square" lIns="0" tIns="0" rIns="0" bIns="0">
            <a:spAutoFit/>
          </a:bodyPr>
          <a:lstStyle/>
          <a:p>
            <a:pPr defTabSz="913943">
              <a:spcAft>
                <a:spcPts val="600"/>
              </a:spcAft>
              <a:buClr>
                <a:srgbClr val="27ACAA"/>
              </a:buClr>
              <a:buSzPct val="70000"/>
              <a:defRPr/>
            </a:pPr>
            <a:r>
              <a:rPr lang="en-US" sz="1200">
                <a:solidFill>
                  <a:schemeClr val="bg1"/>
                </a:solidFill>
                <a:latin typeface="Calibri" panose="020F0502020204030204" pitchFamily="34" charset="0"/>
                <a:cs typeface="Calibri" panose="020F0502020204030204" pitchFamily="34" charset="0"/>
              </a:rPr>
              <a:t>EY’s Delivery methodology is an agile approach to development </a:t>
            </a:r>
          </a:p>
        </p:txBody>
      </p:sp>
      <p:sp>
        <p:nvSpPr>
          <p:cNvPr id="11" name="TextBox 368">
            <a:extLst>
              <a:ext uri="{FF2B5EF4-FFF2-40B4-BE49-F238E27FC236}">
                <a16:creationId xmlns:a16="http://schemas.microsoft.com/office/drawing/2014/main" id="{AF1C5E65-B0B2-523A-990D-16D29F4C88A2}"/>
              </a:ext>
            </a:extLst>
          </p:cNvPr>
          <p:cNvSpPr txBox="1"/>
          <p:nvPr/>
        </p:nvSpPr>
        <p:spPr>
          <a:xfrm>
            <a:off x="620444" y="2546221"/>
            <a:ext cx="1686540" cy="221580"/>
          </a:xfrm>
          <a:prstGeom prst="rect">
            <a:avLst/>
          </a:prstGeom>
          <a:noFill/>
        </p:spPr>
        <p:txBody>
          <a:bodyPr wrap="square" lIns="0" tIns="36557"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AU" sz="12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Prepare</a:t>
            </a:r>
          </a:p>
        </p:txBody>
      </p:sp>
      <p:sp>
        <p:nvSpPr>
          <p:cNvPr id="12" name="TextBox 370">
            <a:extLst>
              <a:ext uri="{FF2B5EF4-FFF2-40B4-BE49-F238E27FC236}">
                <a16:creationId xmlns:a16="http://schemas.microsoft.com/office/drawing/2014/main" id="{46D966A2-2F7C-5A41-383B-1784DCC45FBD}"/>
              </a:ext>
            </a:extLst>
          </p:cNvPr>
          <p:cNvSpPr txBox="1"/>
          <p:nvPr/>
        </p:nvSpPr>
        <p:spPr>
          <a:xfrm>
            <a:off x="2472567" y="2546249"/>
            <a:ext cx="1716282" cy="221524"/>
          </a:xfrm>
          <a:prstGeom prst="rect">
            <a:avLst/>
          </a:prstGeom>
          <a:noFill/>
        </p:spPr>
        <p:txBody>
          <a:bodyPr wrap="square" lIns="0" tIns="36557" rIns="0" bIns="0" rtlCol="0" anchor="ctr">
            <a:spAutoFit/>
          </a:bodyPr>
          <a:lstStyle>
            <a:defPPr>
              <a:defRPr lang="en-US"/>
            </a:defPPr>
            <a:lvl1pPr marR="0" lvl="0" indent="0" algn="ctr" defTabSz="913943" fontAlgn="auto">
              <a:lnSpc>
                <a:spcPct val="100000"/>
              </a:lnSpc>
              <a:spcBef>
                <a:spcPts val="0"/>
              </a:spcBef>
              <a:spcAft>
                <a:spcPts val="600"/>
              </a:spcAft>
              <a:buClr>
                <a:srgbClr val="FFE600"/>
              </a:buClr>
              <a:buSzPct val="70000"/>
              <a:buFontTx/>
              <a:buNone/>
              <a:tabLst/>
              <a:defRPr kumimoji="0" sz="1200" b="1" i="0" u="none" strike="noStrike" cap="none" spc="0" normalizeH="0" baseline="0">
                <a:ln>
                  <a:noFill/>
                </a:ln>
                <a:solidFill>
                  <a:prstClr val="black"/>
                </a:solidFill>
                <a:effectLst/>
                <a:uLnTx/>
                <a:uFillTx/>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Explore</a:t>
            </a:r>
          </a:p>
        </p:txBody>
      </p:sp>
      <p:sp>
        <p:nvSpPr>
          <p:cNvPr id="13" name="TextBox 372">
            <a:extLst>
              <a:ext uri="{FF2B5EF4-FFF2-40B4-BE49-F238E27FC236}">
                <a16:creationId xmlns:a16="http://schemas.microsoft.com/office/drawing/2014/main" id="{0808B88D-2C4C-73EA-2318-301C4B119183}"/>
              </a:ext>
            </a:extLst>
          </p:cNvPr>
          <p:cNvSpPr txBox="1"/>
          <p:nvPr/>
        </p:nvSpPr>
        <p:spPr>
          <a:xfrm>
            <a:off x="4324520" y="2546221"/>
            <a:ext cx="1736945" cy="221580"/>
          </a:xfrm>
          <a:prstGeom prst="rect">
            <a:avLst/>
          </a:prstGeom>
          <a:noFill/>
        </p:spPr>
        <p:txBody>
          <a:bodyPr wrap="square" lIns="0" tIns="36557" rIns="0" bIns="0" rtlCol="0" anchor="ctr">
            <a:spAutoFit/>
          </a:bodyPr>
          <a:lstStyle>
            <a:defPPr>
              <a:defRPr lang="en-US"/>
            </a:defPPr>
            <a:lvl1pPr marR="0" lvl="0" indent="0" algn="ctr" defTabSz="913943" fontAlgn="auto">
              <a:lnSpc>
                <a:spcPct val="100000"/>
              </a:lnSpc>
              <a:spcBef>
                <a:spcPts val="0"/>
              </a:spcBef>
              <a:spcAft>
                <a:spcPts val="600"/>
              </a:spcAft>
              <a:buClr>
                <a:srgbClr val="FFE600"/>
              </a:buClr>
              <a:buSzPct val="70000"/>
              <a:buFontTx/>
              <a:buNone/>
              <a:tabLst/>
              <a:defRPr kumimoji="0" sz="1200" b="1" i="0" u="none" strike="noStrike" cap="none" spc="0" normalizeH="0" baseline="0">
                <a:ln>
                  <a:noFill/>
                </a:ln>
                <a:solidFill>
                  <a:prstClr val="black"/>
                </a:solidFill>
                <a:effectLst/>
                <a:uLnTx/>
                <a:uFillTx/>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Realise: Build</a:t>
            </a:r>
          </a:p>
        </p:txBody>
      </p:sp>
      <p:sp>
        <p:nvSpPr>
          <p:cNvPr id="14" name="TextBox 374">
            <a:extLst>
              <a:ext uri="{FF2B5EF4-FFF2-40B4-BE49-F238E27FC236}">
                <a16:creationId xmlns:a16="http://schemas.microsoft.com/office/drawing/2014/main" id="{DD58F3A5-8D38-19A3-FBAC-9B01A44B34DD}"/>
              </a:ext>
            </a:extLst>
          </p:cNvPr>
          <p:cNvSpPr txBox="1"/>
          <p:nvPr/>
        </p:nvSpPr>
        <p:spPr>
          <a:xfrm>
            <a:off x="6159985" y="2546221"/>
            <a:ext cx="1848801" cy="221580"/>
          </a:xfrm>
          <a:prstGeom prst="rect">
            <a:avLst/>
          </a:prstGeom>
          <a:noFill/>
        </p:spPr>
        <p:txBody>
          <a:bodyPr wrap="square" lIns="0" tIns="36557" rIns="0" bIns="0" rtlCol="0" anchor="ctr">
            <a:spAutoFit/>
          </a:bodyPr>
          <a:lstStyle>
            <a:defPPr>
              <a:defRPr lang="en-US"/>
            </a:defPPr>
            <a:lvl1pPr marR="0" lvl="0" indent="0" algn="ctr" defTabSz="913943" fontAlgn="auto">
              <a:lnSpc>
                <a:spcPct val="100000"/>
              </a:lnSpc>
              <a:spcBef>
                <a:spcPts val="0"/>
              </a:spcBef>
              <a:spcAft>
                <a:spcPts val="600"/>
              </a:spcAft>
              <a:buClr>
                <a:srgbClr val="FFE600"/>
              </a:buClr>
              <a:buSzPct val="70000"/>
              <a:buFontTx/>
              <a:buNone/>
              <a:tabLst/>
              <a:defRPr kumimoji="0" sz="1200" b="1" i="0" u="none" strike="noStrike" cap="none" spc="0" normalizeH="0" baseline="0">
                <a:ln>
                  <a:noFill/>
                </a:ln>
                <a:solidFill>
                  <a:prstClr val="black"/>
                </a:solidFill>
                <a:effectLst/>
                <a:uLnTx/>
                <a:uFillTx/>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Realise: Test</a:t>
            </a:r>
          </a:p>
        </p:txBody>
      </p:sp>
      <p:sp>
        <p:nvSpPr>
          <p:cNvPr id="15" name="TextBox 376">
            <a:extLst>
              <a:ext uri="{FF2B5EF4-FFF2-40B4-BE49-F238E27FC236}">
                <a16:creationId xmlns:a16="http://schemas.microsoft.com/office/drawing/2014/main" id="{22CFEC05-F18F-617E-5BE7-8DD3131A28DC}"/>
              </a:ext>
            </a:extLst>
          </p:cNvPr>
          <p:cNvSpPr txBox="1"/>
          <p:nvPr/>
        </p:nvSpPr>
        <p:spPr>
          <a:xfrm>
            <a:off x="8064364" y="2546221"/>
            <a:ext cx="1764000" cy="221580"/>
          </a:xfrm>
          <a:prstGeom prst="rect">
            <a:avLst/>
          </a:prstGeom>
          <a:noFill/>
        </p:spPr>
        <p:txBody>
          <a:bodyPr wrap="square" lIns="0" tIns="36557" rIns="0" bIns="0" rtlCol="0" anchor="ctr">
            <a:spAutoFit/>
          </a:bodyPr>
          <a:lstStyle>
            <a:defPPr>
              <a:defRPr lang="en-US"/>
            </a:defPPr>
            <a:lvl1pPr marR="0" lvl="0" indent="0" algn="ctr" defTabSz="913943" fontAlgn="auto">
              <a:lnSpc>
                <a:spcPct val="100000"/>
              </a:lnSpc>
              <a:spcBef>
                <a:spcPts val="0"/>
              </a:spcBef>
              <a:spcAft>
                <a:spcPts val="600"/>
              </a:spcAft>
              <a:buClr>
                <a:srgbClr val="FFE600"/>
              </a:buClr>
              <a:buSzPct val="70000"/>
              <a:buFontTx/>
              <a:buNone/>
              <a:tabLst/>
              <a:defRPr kumimoji="0" sz="1200" b="1" i="0" u="none" strike="noStrike" cap="none" spc="0" normalizeH="0" baseline="0">
                <a:ln>
                  <a:noFill/>
                </a:ln>
                <a:solidFill>
                  <a:prstClr val="black"/>
                </a:solidFill>
                <a:effectLst/>
                <a:uLnTx/>
                <a:uFillTx/>
                <a:latin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a:t>Deploy</a:t>
            </a:r>
          </a:p>
        </p:txBody>
      </p:sp>
      <p:grpSp>
        <p:nvGrpSpPr>
          <p:cNvPr id="16" name="Group 15">
            <a:extLst>
              <a:ext uri="{FF2B5EF4-FFF2-40B4-BE49-F238E27FC236}">
                <a16:creationId xmlns:a16="http://schemas.microsoft.com/office/drawing/2014/main" id="{41D77740-06F7-4A9C-AFDF-A841B3702B3E}"/>
              </a:ext>
            </a:extLst>
          </p:cNvPr>
          <p:cNvGrpSpPr>
            <a:grpSpLocks noChangeAspect="1"/>
          </p:cNvGrpSpPr>
          <p:nvPr/>
        </p:nvGrpSpPr>
        <p:grpSpPr>
          <a:xfrm>
            <a:off x="1085569" y="1892715"/>
            <a:ext cx="817288" cy="597654"/>
            <a:chOff x="2835486" y="1686561"/>
            <a:chExt cx="578454" cy="423005"/>
          </a:xfrm>
        </p:grpSpPr>
        <p:sp>
          <p:nvSpPr>
            <p:cNvPr id="17" name="Freeform: Shape 16">
              <a:extLst>
                <a:ext uri="{FF2B5EF4-FFF2-40B4-BE49-F238E27FC236}">
                  <a16:creationId xmlns:a16="http://schemas.microsoft.com/office/drawing/2014/main" id="{288A0B60-0BFF-5447-948E-F0F5A5D2BD38}"/>
                </a:ext>
              </a:extLst>
            </p:cNvPr>
            <p:cNvSpPr/>
            <p:nvPr/>
          </p:nvSpPr>
          <p:spPr>
            <a:xfrm>
              <a:off x="2975897" y="2018507"/>
              <a:ext cx="219075" cy="85725"/>
            </a:xfrm>
            <a:custGeom>
              <a:avLst/>
              <a:gdLst>
                <a:gd name="connsiteX0" fmla="*/ 111264 w 219075"/>
                <a:gd name="connsiteY0" fmla="*/ 8501 h 85725"/>
                <a:gd name="connsiteX1" fmla="*/ 182225 w 219075"/>
                <a:gd name="connsiteY1" fmla="*/ 8501 h 85725"/>
                <a:gd name="connsiteX2" fmla="*/ 184130 w 219075"/>
                <a:gd name="connsiteY2" fmla="*/ 44410 h 85725"/>
                <a:gd name="connsiteX3" fmla="*/ 211752 w 219075"/>
                <a:gd name="connsiteY3" fmla="*/ 77748 h 85725"/>
                <a:gd name="connsiteX4" fmla="*/ 211752 w 219075"/>
                <a:gd name="connsiteY4" fmla="*/ 77748 h 85725"/>
                <a:gd name="connsiteX5" fmla="*/ 208990 w 219075"/>
                <a:gd name="connsiteY5" fmla="*/ 84892 h 85725"/>
                <a:gd name="connsiteX6" fmla="*/ 111264 w 219075"/>
                <a:gd name="connsiteY6" fmla="*/ 84892 h 85725"/>
                <a:gd name="connsiteX7" fmla="*/ 13537 w 219075"/>
                <a:gd name="connsiteY7" fmla="*/ 84892 h 85725"/>
                <a:gd name="connsiteX8" fmla="*/ 10775 w 219075"/>
                <a:gd name="connsiteY8" fmla="*/ 77748 h 85725"/>
                <a:gd name="connsiteX9" fmla="*/ 10775 w 219075"/>
                <a:gd name="connsiteY9" fmla="*/ 77748 h 85725"/>
                <a:gd name="connsiteX10" fmla="*/ 38397 w 219075"/>
                <a:gd name="connsiteY10" fmla="*/ 44410 h 85725"/>
                <a:gd name="connsiteX11" fmla="*/ 40302 w 219075"/>
                <a:gd name="connsiteY11" fmla="*/ 8501 h 85725"/>
                <a:gd name="connsiteX12" fmla="*/ 111264 w 219075"/>
                <a:gd name="connsiteY12" fmla="*/ 850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85725">
                  <a:moveTo>
                    <a:pt x="111264" y="8501"/>
                  </a:moveTo>
                  <a:lnTo>
                    <a:pt x="182225" y="8501"/>
                  </a:lnTo>
                  <a:cubicBezTo>
                    <a:pt x="182225" y="8501"/>
                    <a:pt x="180510" y="26599"/>
                    <a:pt x="184130" y="44410"/>
                  </a:cubicBezTo>
                  <a:cubicBezTo>
                    <a:pt x="186892" y="58031"/>
                    <a:pt x="196893" y="70128"/>
                    <a:pt x="211752" y="77748"/>
                  </a:cubicBezTo>
                  <a:lnTo>
                    <a:pt x="211752" y="77748"/>
                  </a:lnTo>
                  <a:cubicBezTo>
                    <a:pt x="215943" y="79843"/>
                    <a:pt x="213943" y="84892"/>
                    <a:pt x="208990" y="84892"/>
                  </a:cubicBezTo>
                  <a:lnTo>
                    <a:pt x="111264" y="84892"/>
                  </a:lnTo>
                  <a:lnTo>
                    <a:pt x="13537" y="84892"/>
                  </a:lnTo>
                  <a:cubicBezTo>
                    <a:pt x="8584" y="84892"/>
                    <a:pt x="6584" y="79843"/>
                    <a:pt x="10775" y="77748"/>
                  </a:cubicBezTo>
                  <a:lnTo>
                    <a:pt x="10775" y="77748"/>
                  </a:lnTo>
                  <a:cubicBezTo>
                    <a:pt x="25634" y="70128"/>
                    <a:pt x="35635" y="58031"/>
                    <a:pt x="38397" y="44410"/>
                  </a:cubicBezTo>
                  <a:cubicBezTo>
                    <a:pt x="42017" y="26599"/>
                    <a:pt x="40302" y="8501"/>
                    <a:pt x="40302" y="8501"/>
                  </a:cubicBezTo>
                  <a:lnTo>
                    <a:pt x="111264" y="8501"/>
                  </a:lnTo>
                  <a:close/>
                </a:path>
              </a:pathLst>
            </a:custGeom>
            <a:noFill/>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 name="Freeform: Shape 17">
              <a:extLst>
                <a:ext uri="{FF2B5EF4-FFF2-40B4-BE49-F238E27FC236}">
                  <a16:creationId xmlns:a16="http://schemas.microsoft.com/office/drawing/2014/main" id="{12600F56-6247-E5C2-6BD3-B46DD9B22ED6}"/>
                </a:ext>
              </a:extLst>
            </p:cNvPr>
            <p:cNvSpPr/>
            <p:nvPr/>
          </p:nvSpPr>
          <p:spPr>
            <a:xfrm>
              <a:off x="3073897" y="1984598"/>
              <a:ext cx="19050" cy="19050"/>
            </a:xfrm>
            <a:custGeom>
              <a:avLst/>
              <a:gdLst>
                <a:gd name="connsiteX0" fmla="*/ 18026 w 19050"/>
                <a:gd name="connsiteY0" fmla="*/ 13264 h 19050"/>
                <a:gd name="connsiteX1" fmla="*/ 13264 w 19050"/>
                <a:gd name="connsiteY1" fmla="*/ 18026 h 19050"/>
                <a:gd name="connsiteX2" fmla="*/ 8501 w 19050"/>
                <a:gd name="connsiteY2" fmla="*/ 13264 h 19050"/>
                <a:gd name="connsiteX3" fmla="*/ 13264 w 19050"/>
                <a:gd name="connsiteY3" fmla="*/ 8501 h 19050"/>
                <a:gd name="connsiteX4" fmla="*/ 18026 w 19050"/>
                <a:gd name="connsiteY4" fmla="*/ 1326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026" y="13264"/>
                  </a:moveTo>
                  <a:cubicBezTo>
                    <a:pt x="18026" y="15931"/>
                    <a:pt x="15931" y="18026"/>
                    <a:pt x="13264" y="18026"/>
                  </a:cubicBezTo>
                  <a:cubicBezTo>
                    <a:pt x="10597" y="18026"/>
                    <a:pt x="8501" y="15931"/>
                    <a:pt x="8501" y="13264"/>
                  </a:cubicBezTo>
                  <a:cubicBezTo>
                    <a:pt x="8501" y="10597"/>
                    <a:pt x="10597" y="8501"/>
                    <a:pt x="13264" y="8501"/>
                  </a:cubicBezTo>
                  <a:cubicBezTo>
                    <a:pt x="15931" y="8501"/>
                    <a:pt x="18026" y="10597"/>
                    <a:pt x="18026" y="13264"/>
                  </a:cubicBezTo>
                  <a:close/>
                </a:path>
              </a:pathLst>
            </a:custGeom>
            <a:noFill/>
            <a:ln w="11335" cap="rnd">
              <a:solidFill>
                <a:srgbClr val="FFFFFF"/>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 name="Freeform: Shape 18">
              <a:extLst>
                <a:ext uri="{FF2B5EF4-FFF2-40B4-BE49-F238E27FC236}">
                  <a16:creationId xmlns:a16="http://schemas.microsoft.com/office/drawing/2014/main" id="{241C27EF-4D24-3341-A02C-0B250F884721}"/>
                </a:ext>
              </a:extLst>
            </p:cNvPr>
            <p:cNvSpPr/>
            <p:nvPr/>
          </p:nvSpPr>
          <p:spPr>
            <a:xfrm>
              <a:off x="2835486" y="1960119"/>
              <a:ext cx="419100" cy="66675"/>
            </a:xfrm>
            <a:custGeom>
              <a:avLst/>
              <a:gdLst>
                <a:gd name="connsiteX0" fmla="*/ 415504 w 419100"/>
                <a:gd name="connsiteY0" fmla="*/ 66889 h 66675"/>
                <a:gd name="connsiteX1" fmla="*/ 180808 w 419100"/>
                <a:gd name="connsiteY1" fmla="*/ 66889 h 66675"/>
                <a:gd name="connsiteX2" fmla="*/ 32504 w 419100"/>
                <a:gd name="connsiteY2" fmla="*/ 66889 h 66675"/>
                <a:gd name="connsiteX3" fmla="*/ 8501 w 419100"/>
                <a:gd name="connsiteY3" fmla="*/ 42886 h 66675"/>
                <a:gd name="connsiteX4" fmla="*/ 8501 w 419100"/>
                <a:gd name="connsiteY4" fmla="*/ 8501 h 66675"/>
                <a:gd name="connsiteX5" fmla="*/ 102608 w 419100"/>
                <a:gd name="connsiteY5" fmla="*/ 850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0" h="66675">
                  <a:moveTo>
                    <a:pt x="415504" y="66889"/>
                  </a:moveTo>
                  <a:lnTo>
                    <a:pt x="180808" y="66889"/>
                  </a:lnTo>
                  <a:lnTo>
                    <a:pt x="32504" y="66889"/>
                  </a:lnTo>
                  <a:cubicBezTo>
                    <a:pt x="19264" y="66889"/>
                    <a:pt x="8501" y="56126"/>
                    <a:pt x="8501" y="42886"/>
                  </a:cubicBezTo>
                  <a:lnTo>
                    <a:pt x="8501" y="8501"/>
                  </a:lnTo>
                  <a:lnTo>
                    <a:pt x="102608" y="8501"/>
                  </a:lnTo>
                </a:path>
              </a:pathLst>
            </a:custGeom>
            <a:noFill/>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 name="Freeform: Shape 19">
              <a:extLst>
                <a:ext uri="{FF2B5EF4-FFF2-40B4-BE49-F238E27FC236}">
                  <a16:creationId xmlns:a16="http://schemas.microsoft.com/office/drawing/2014/main" id="{9515D7F8-E171-1C40-50CF-6CBD4642C482}"/>
                </a:ext>
              </a:extLst>
            </p:cNvPr>
            <p:cNvSpPr/>
            <p:nvPr/>
          </p:nvSpPr>
          <p:spPr>
            <a:xfrm>
              <a:off x="2835486" y="1686561"/>
              <a:ext cx="495300" cy="285750"/>
            </a:xfrm>
            <a:custGeom>
              <a:avLst/>
              <a:gdLst>
                <a:gd name="connsiteX0" fmla="*/ 415123 w 495300"/>
                <a:gd name="connsiteY0" fmla="*/ 282059 h 285750"/>
                <a:gd name="connsiteX1" fmla="*/ 8501 w 495300"/>
                <a:gd name="connsiteY1" fmla="*/ 282059 h 285750"/>
                <a:gd name="connsiteX2" fmla="*/ 8501 w 495300"/>
                <a:gd name="connsiteY2" fmla="*/ 217099 h 285750"/>
                <a:gd name="connsiteX3" fmla="*/ 8501 w 495300"/>
                <a:gd name="connsiteY3" fmla="*/ 34504 h 285750"/>
                <a:gd name="connsiteX4" fmla="*/ 34504 w 495300"/>
                <a:gd name="connsiteY4" fmla="*/ 8501 h 285750"/>
                <a:gd name="connsiteX5" fmla="*/ 468940 w 495300"/>
                <a:gd name="connsiteY5" fmla="*/ 8501 h 285750"/>
                <a:gd name="connsiteX6" fmla="*/ 494943 w 495300"/>
                <a:gd name="connsiteY6" fmla="*/ 34504 h 285750"/>
                <a:gd name="connsiteX7" fmla="*/ 494943 w 495300"/>
                <a:gd name="connsiteY7" fmla="*/ 15528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300" h="285750">
                  <a:moveTo>
                    <a:pt x="415123" y="282059"/>
                  </a:moveTo>
                  <a:lnTo>
                    <a:pt x="8501" y="282059"/>
                  </a:lnTo>
                  <a:lnTo>
                    <a:pt x="8501" y="217099"/>
                  </a:lnTo>
                  <a:lnTo>
                    <a:pt x="8501" y="34504"/>
                  </a:lnTo>
                  <a:cubicBezTo>
                    <a:pt x="8501" y="20122"/>
                    <a:pt x="20122" y="8501"/>
                    <a:pt x="34504" y="8501"/>
                  </a:cubicBezTo>
                  <a:lnTo>
                    <a:pt x="468940" y="8501"/>
                  </a:lnTo>
                  <a:cubicBezTo>
                    <a:pt x="483322" y="8501"/>
                    <a:pt x="494943" y="20122"/>
                    <a:pt x="494943" y="34504"/>
                  </a:cubicBezTo>
                  <a:lnTo>
                    <a:pt x="494943" y="155281"/>
                  </a:lnTo>
                </a:path>
              </a:pathLst>
            </a:custGeom>
            <a:noFill/>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 name="Freeform: Shape 20">
              <a:extLst>
                <a:ext uri="{FF2B5EF4-FFF2-40B4-BE49-F238E27FC236}">
                  <a16:creationId xmlns:a16="http://schemas.microsoft.com/office/drawing/2014/main" id="{63051517-BEF1-1A0A-D953-F453E28B5A9B}"/>
                </a:ext>
              </a:extLst>
            </p:cNvPr>
            <p:cNvSpPr/>
            <p:nvPr/>
          </p:nvSpPr>
          <p:spPr>
            <a:xfrm>
              <a:off x="3258396" y="2042701"/>
              <a:ext cx="142875" cy="9525"/>
            </a:xfrm>
            <a:custGeom>
              <a:avLst/>
              <a:gdLst>
                <a:gd name="connsiteX0" fmla="*/ 135469 w 142875"/>
                <a:gd name="connsiteY0" fmla="*/ 8501 h 9525"/>
                <a:gd name="connsiteX1" fmla="*/ 8501 w 142875"/>
                <a:gd name="connsiteY1" fmla="*/ 8501 h 9525"/>
              </a:gdLst>
              <a:ahLst/>
              <a:cxnLst>
                <a:cxn ang="0">
                  <a:pos x="connsiteX0" y="connsiteY0"/>
                </a:cxn>
                <a:cxn ang="0">
                  <a:pos x="connsiteX1" y="connsiteY1"/>
                </a:cxn>
              </a:cxnLst>
              <a:rect l="l" t="t" r="r" b="b"/>
              <a:pathLst>
                <a:path w="142875" h="9525">
                  <a:moveTo>
                    <a:pt x="135469" y="8501"/>
                  </a:moveTo>
                  <a:lnTo>
                    <a:pt x="8501" y="8501"/>
                  </a:lnTo>
                </a:path>
              </a:pathLst>
            </a:custGeom>
            <a:ln w="11335"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2" name="Freeform: Shape 21">
              <a:extLst>
                <a:ext uri="{FF2B5EF4-FFF2-40B4-BE49-F238E27FC236}">
                  <a16:creationId xmlns:a16="http://schemas.microsoft.com/office/drawing/2014/main" id="{06DD81EB-222D-E069-7BBB-97D9BCD2800F}"/>
                </a:ext>
              </a:extLst>
            </p:cNvPr>
            <p:cNvSpPr/>
            <p:nvPr/>
          </p:nvSpPr>
          <p:spPr>
            <a:xfrm>
              <a:off x="3242490" y="1833341"/>
              <a:ext cx="171450" cy="276225"/>
            </a:xfrm>
            <a:custGeom>
              <a:avLst/>
              <a:gdLst>
                <a:gd name="connsiteX0" fmla="*/ 155186 w 171450"/>
                <a:gd name="connsiteY0" fmla="*/ 270153 h 276225"/>
                <a:gd name="connsiteX1" fmla="*/ 20693 w 171450"/>
                <a:gd name="connsiteY1" fmla="*/ 270153 h 276225"/>
                <a:gd name="connsiteX2" fmla="*/ 8501 w 171450"/>
                <a:gd name="connsiteY2" fmla="*/ 257961 h 276225"/>
                <a:gd name="connsiteX3" fmla="*/ 8501 w 171450"/>
                <a:gd name="connsiteY3" fmla="*/ 135279 h 276225"/>
                <a:gd name="connsiteX4" fmla="*/ 8501 w 171450"/>
                <a:gd name="connsiteY4" fmla="*/ 20693 h 276225"/>
                <a:gd name="connsiteX5" fmla="*/ 20693 w 171450"/>
                <a:gd name="connsiteY5" fmla="*/ 8501 h 276225"/>
                <a:gd name="connsiteX6" fmla="*/ 87940 w 171450"/>
                <a:gd name="connsiteY6" fmla="*/ 8501 h 276225"/>
                <a:gd name="connsiteX7" fmla="*/ 155186 w 171450"/>
                <a:gd name="connsiteY7" fmla="*/ 8501 h 276225"/>
                <a:gd name="connsiteX8" fmla="*/ 167378 w 171450"/>
                <a:gd name="connsiteY8" fmla="*/ 20693 h 276225"/>
                <a:gd name="connsiteX9" fmla="*/ 167378 w 171450"/>
                <a:gd name="connsiteY9" fmla="*/ 257961 h 276225"/>
                <a:gd name="connsiteX10" fmla="*/ 155186 w 171450"/>
                <a:gd name="connsiteY10" fmla="*/ 27015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276225">
                  <a:moveTo>
                    <a:pt x="155186" y="270153"/>
                  </a:moveTo>
                  <a:lnTo>
                    <a:pt x="20693" y="270153"/>
                  </a:lnTo>
                  <a:cubicBezTo>
                    <a:pt x="13930" y="270153"/>
                    <a:pt x="8501" y="264724"/>
                    <a:pt x="8501" y="257961"/>
                  </a:cubicBezTo>
                  <a:lnTo>
                    <a:pt x="8501" y="135279"/>
                  </a:lnTo>
                  <a:lnTo>
                    <a:pt x="8501" y="20693"/>
                  </a:lnTo>
                  <a:cubicBezTo>
                    <a:pt x="8501" y="13930"/>
                    <a:pt x="13930" y="8501"/>
                    <a:pt x="20693" y="8501"/>
                  </a:cubicBezTo>
                  <a:lnTo>
                    <a:pt x="87940" y="8501"/>
                  </a:lnTo>
                  <a:lnTo>
                    <a:pt x="155186" y="8501"/>
                  </a:lnTo>
                  <a:cubicBezTo>
                    <a:pt x="161949" y="8501"/>
                    <a:pt x="167378" y="13930"/>
                    <a:pt x="167378" y="20693"/>
                  </a:cubicBezTo>
                  <a:lnTo>
                    <a:pt x="167378" y="257961"/>
                  </a:lnTo>
                  <a:cubicBezTo>
                    <a:pt x="167378" y="264628"/>
                    <a:pt x="161854" y="270153"/>
                    <a:pt x="155186" y="270153"/>
                  </a:cubicBezTo>
                  <a:close/>
                </a:path>
              </a:pathLst>
            </a:custGeom>
            <a:noFill/>
            <a:ln w="11335"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3" name="Freeform: Shape 22">
              <a:extLst>
                <a:ext uri="{FF2B5EF4-FFF2-40B4-BE49-F238E27FC236}">
                  <a16:creationId xmlns:a16="http://schemas.microsoft.com/office/drawing/2014/main" id="{3840A01C-EF40-87C1-CA2A-122BB315ABA2}"/>
                </a:ext>
              </a:extLst>
            </p:cNvPr>
            <p:cNvSpPr/>
            <p:nvPr/>
          </p:nvSpPr>
          <p:spPr>
            <a:xfrm>
              <a:off x="3317737" y="2064894"/>
              <a:ext cx="19050" cy="19050"/>
            </a:xfrm>
            <a:custGeom>
              <a:avLst/>
              <a:gdLst>
                <a:gd name="connsiteX0" fmla="*/ 16883 w 19050"/>
                <a:gd name="connsiteY0" fmla="*/ 12692 h 19050"/>
                <a:gd name="connsiteX1" fmla="*/ 12692 w 19050"/>
                <a:gd name="connsiteY1" fmla="*/ 8501 h 19050"/>
                <a:gd name="connsiteX2" fmla="*/ 8501 w 19050"/>
                <a:gd name="connsiteY2" fmla="*/ 12692 h 19050"/>
                <a:gd name="connsiteX3" fmla="*/ 12692 w 19050"/>
                <a:gd name="connsiteY3" fmla="*/ 16883 h 19050"/>
                <a:gd name="connsiteX4" fmla="*/ 16883 w 19050"/>
                <a:gd name="connsiteY4" fmla="*/ 1269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6883" y="12692"/>
                  </a:moveTo>
                  <a:cubicBezTo>
                    <a:pt x="16883" y="10311"/>
                    <a:pt x="14978" y="8501"/>
                    <a:pt x="12692" y="8501"/>
                  </a:cubicBezTo>
                  <a:cubicBezTo>
                    <a:pt x="10311" y="8501"/>
                    <a:pt x="8501" y="10406"/>
                    <a:pt x="8501" y="12692"/>
                  </a:cubicBezTo>
                  <a:cubicBezTo>
                    <a:pt x="8501" y="15073"/>
                    <a:pt x="10406" y="16883"/>
                    <a:pt x="12692" y="16883"/>
                  </a:cubicBezTo>
                  <a:cubicBezTo>
                    <a:pt x="14978" y="16883"/>
                    <a:pt x="16883" y="14978"/>
                    <a:pt x="16883" y="12692"/>
                  </a:cubicBezTo>
                  <a:close/>
                </a:path>
              </a:pathLst>
            </a:custGeom>
            <a:noFill/>
            <a:ln w="11335"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4" name="Freeform: Shape 23">
              <a:extLst>
                <a:ext uri="{FF2B5EF4-FFF2-40B4-BE49-F238E27FC236}">
                  <a16:creationId xmlns:a16="http://schemas.microsoft.com/office/drawing/2014/main" id="{273B3C01-F212-F680-098C-54B792EA1879}"/>
                </a:ext>
              </a:extLst>
            </p:cNvPr>
            <p:cNvSpPr/>
            <p:nvPr/>
          </p:nvSpPr>
          <p:spPr>
            <a:xfrm>
              <a:off x="3306117" y="1859821"/>
              <a:ext cx="47625" cy="9525"/>
            </a:xfrm>
            <a:custGeom>
              <a:avLst/>
              <a:gdLst>
                <a:gd name="connsiteX0" fmla="*/ 8501 w 47625"/>
                <a:gd name="connsiteY0" fmla="*/ 8501 h 9525"/>
                <a:gd name="connsiteX1" fmla="*/ 24312 w 47625"/>
                <a:gd name="connsiteY1" fmla="*/ 8501 h 9525"/>
                <a:gd name="connsiteX2" fmla="*/ 40029 w 47625"/>
                <a:gd name="connsiteY2" fmla="*/ 8501 h 9525"/>
              </a:gdLst>
              <a:ahLst/>
              <a:cxnLst>
                <a:cxn ang="0">
                  <a:pos x="connsiteX0" y="connsiteY0"/>
                </a:cxn>
                <a:cxn ang="0">
                  <a:pos x="connsiteX1" y="connsiteY1"/>
                </a:cxn>
                <a:cxn ang="0">
                  <a:pos x="connsiteX2" y="connsiteY2"/>
                </a:cxn>
              </a:cxnLst>
              <a:rect l="l" t="t" r="r" b="b"/>
              <a:pathLst>
                <a:path w="47625" h="9525">
                  <a:moveTo>
                    <a:pt x="8501" y="8501"/>
                  </a:moveTo>
                  <a:lnTo>
                    <a:pt x="24312" y="8501"/>
                  </a:lnTo>
                  <a:lnTo>
                    <a:pt x="40029" y="8501"/>
                  </a:lnTo>
                </a:path>
              </a:pathLst>
            </a:custGeom>
            <a:noFill/>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5" name="Freeform: Shape 24">
              <a:extLst>
                <a:ext uri="{FF2B5EF4-FFF2-40B4-BE49-F238E27FC236}">
                  <a16:creationId xmlns:a16="http://schemas.microsoft.com/office/drawing/2014/main" id="{4A2993A5-DDC1-8A48-C0CE-488C07F398A4}"/>
                </a:ext>
              </a:extLst>
            </p:cNvPr>
            <p:cNvSpPr/>
            <p:nvPr/>
          </p:nvSpPr>
          <p:spPr>
            <a:xfrm>
              <a:off x="2992365" y="1753714"/>
              <a:ext cx="190500" cy="133350"/>
            </a:xfrm>
            <a:custGeom>
              <a:avLst/>
              <a:gdLst>
                <a:gd name="connsiteX0" fmla="*/ 9928 w 190500"/>
                <a:gd name="connsiteY0" fmla="*/ 45076 h 133350"/>
                <a:gd name="connsiteX1" fmla="*/ 93367 w 190500"/>
                <a:gd name="connsiteY1" fmla="*/ 128419 h 133350"/>
                <a:gd name="connsiteX2" fmla="*/ 187093 w 190500"/>
                <a:gd name="connsiteY2" fmla="*/ 9928 h 133350"/>
              </a:gdLst>
              <a:ahLst/>
              <a:cxnLst>
                <a:cxn ang="0">
                  <a:pos x="connsiteX0" y="connsiteY0"/>
                </a:cxn>
                <a:cxn ang="0">
                  <a:pos x="connsiteX1" y="connsiteY1"/>
                </a:cxn>
                <a:cxn ang="0">
                  <a:pos x="connsiteX2" y="connsiteY2"/>
                </a:cxn>
              </a:cxnLst>
              <a:rect l="l" t="t" r="r" b="b"/>
              <a:pathLst>
                <a:path w="190500" h="133350">
                  <a:moveTo>
                    <a:pt x="9928" y="45076"/>
                  </a:moveTo>
                  <a:lnTo>
                    <a:pt x="93367" y="128419"/>
                  </a:lnTo>
                  <a:lnTo>
                    <a:pt x="187093" y="9928"/>
                  </a:lnTo>
                </a:path>
              </a:pathLst>
            </a:custGeom>
            <a:noFill/>
            <a:ln w="1323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6" name="Freeform: Shape 25">
              <a:extLst>
                <a:ext uri="{FF2B5EF4-FFF2-40B4-BE49-F238E27FC236}">
                  <a16:creationId xmlns:a16="http://schemas.microsoft.com/office/drawing/2014/main" id="{2C0A210F-5A11-0ACA-384A-E832043B66D1}"/>
                </a:ext>
              </a:extLst>
            </p:cNvPr>
            <p:cNvSpPr/>
            <p:nvPr/>
          </p:nvSpPr>
          <p:spPr>
            <a:xfrm>
              <a:off x="3284568" y="1909234"/>
              <a:ext cx="85725" cy="57150"/>
            </a:xfrm>
            <a:custGeom>
              <a:avLst/>
              <a:gdLst>
                <a:gd name="connsiteX0" fmla="*/ 4618 w 85725"/>
                <a:gd name="connsiteY0" fmla="*/ 21001 h 57150"/>
                <a:gd name="connsiteX1" fmla="*/ 43384 w 85725"/>
                <a:gd name="connsiteY1" fmla="*/ 59767 h 57150"/>
                <a:gd name="connsiteX2" fmla="*/ 87009 w 85725"/>
                <a:gd name="connsiteY2" fmla="*/ 4618 h 57150"/>
              </a:gdLst>
              <a:ahLst/>
              <a:cxnLst>
                <a:cxn ang="0">
                  <a:pos x="connsiteX0" y="connsiteY0"/>
                </a:cxn>
                <a:cxn ang="0">
                  <a:pos x="connsiteX1" y="connsiteY1"/>
                </a:cxn>
                <a:cxn ang="0">
                  <a:pos x="connsiteX2" y="connsiteY2"/>
                </a:cxn>
              </a:cxnLst>
              <a:rect l="l" t="t" r="r" b="b"/>
              <a:pathLst>
                <a:path w="85725" h="57150">
                  <a:moveTo>
                    <a:pt x="4618" y="21001"/>
                  </a:moveTo>
                  <a:lnTo>
                    <a:pt x="43384" y="59767"/>
                  </a:lnTo>
                  <a:lnTo>
                    <a:pt x="87009" y="4618"/>
                  </a:lnTo>
                </a:path>
              </a:pathLst>
            </a:custGeom>
            <a:noFill/>
            <a:ln w="6157"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8" name="Freeform: Shape 27">
              <a:extLst>
                <a:ext uri="{FF2B5EF4-FFF2-40B4-BE49-F238E27FC236}">
                  <a16:creationId xmlns:a16="http://schemas.microsoft.com/office/drawing/2014/main" id="{B50E0E61-4DED-7FA9-8AFB-F9928100100D}"/>
                </a:ext>
              </a:extLst>
            </p:cNvPr>
            <p:cNvSpPr/>
            <p:nvPr/>
          </p:nvSpPr>
          <p:spPr>
            <a:xfrm>
              <a:off x="2858370" y="1858321"/>
              <a:ext cx="142875" cy="85725"/>
            </a:xfrm>
            <a:custGeom>
              <a:avLst/>
              <a:gdLst>
                <a:gd name="connsiteX0" fmla="*/ 7144 w 142875"/>
                <a:gd name="connsiteY0" fmla="*/ 7144 h 85725"/>
                <a:gd name="connsiteX1" fmla="*/ 7144 w 142875"/>
                <a:gd name="connsiteY1" fmla="*/ 86582 h 85725"/>
                <a:gd name="connsiteX2" fmla="*/ 143923 w 142875"/>
                <a:gd name="connsiteY2" fmla="*/ 86582 h 85725"/>
                <a:gd name="connsiteX3" fmla="*/ 7144 w 142875"/>
                <a:gd name="connsiteY3" fmla="*/ 7144 h 85725"/>
              </a:gdLst>
              <a:ahLst/>
              <a:cxnLst>
                <a:cxn ang="0">
                  <a:pos x="connsiteX0" y="connsiteY0"/>
                </a:cxn>
                <a:cxn ang="0">
                  <a:pos x="connsiteX1" y="connsiteY1"/>
                </a:cxn>
                <a:cxn ang="0">
                  <a:pos x="connsiteX2" y="connsiteY2"/>
                </a:cxn>
                <a:cxn ang="0">
                  <a:pos x="connsiteX3" y="connsiteY3"/>
                </a:cxn>
              </a:cxnLst>
              <a:rect l="l" t="t" r="r" b="b"/>
              <a:pathLst>
                <a:path w="142875" h="85725">
                  <a:moveTo>
                    <a:pt x="7144" y="7144"/>
                  </a:moveTo>
                  <a:lnTo>
                    <a:pt x="7144" y="86582"/>
                  </a:lnTo>
                  <a:lnTo>
                    <a:pt x="143923" y="86582"/>
                  </a:lnTo>
                  <a:cubicBezTo>
                    <a:pt x="143923" y="86582"/>
                    <a:pt x="23432" y="86582"/>
                    <a:pt x="7144" y="7144"/>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38" name="Freeform: Shape 137">
              <a:extLst>
                <a:ext uri="{FF2B5EF4-FFF2-40B4-BE49-F238E27FC236}">
                  <a16:creationId xmlns:a16="http://schemas.microsoft.com/office/drawing/2014/main" id="{80B0E46E-2EB3-9200-0237-60F51A7F012B}"/>
                </a:ext>
              </a:extLst>
            </p:cNvPr>
            <p:cNvSpPr/>
            <p:nvPr/>
          </p:nvSpPr>
          <p:spPr>
            <a:xfrm>
              <a:off x="3260611" y="1968239"/>
              <a:ext cx="104775" cy="66675"/>
            </a:xfrm>
            <a:custGeom>
              <a:avLst/>
              <a:gdLst>
                <a:gd name="connsiteX0" fmla="*/ 7144 w 104775"/>
                <a:gd name="connsiteY0" fmla="*/ 7144 h 66675"/>
                <a:gd name="connsiteX1" fmla="*/ 7144 w 104775"/>
                <a:gd name="connsiteY1" fmla="*/ 61627 h 66675"/>
                <a:gd name="connsiteX2" fmla="*/ 100965 w 104775"/>
                <a:gd name="connsiteY2" fmla="*/ 61627 h 66675"/>
                <a:gd name="connsiteX3" fmla="*/ 7144 w 104775"/>
                <a:gd name="connsiteY3" fmla="*/ 7144 h 66675"/>
              </a:gdLst>
              <a:ahLst/>
              <a:cxnLst>
                <a:cxn ang="0">
                  <a:pos x="connsiteX0" y="connsiteY0"/>
                </a:cxn>
                <a:cxn ang="0">
                  <a:pos x="connsiteX1" y="connsiteY1"/>
                </a:cxn>
                <a:cxn ang="0">
                  <a:pos x="connsiteX2" y="connsiteY2"/>
                </a:cxn>
                <a:cxn ang="0">
                  <a:pos x="connsiteX3" y="connsiteY3"/>
                </a:cxn>
              </a:cxnLst>
              <a:rect l="l" t="t" r="r" b="b"/>
              <a:pathLst>
                <a:path w="104775" h="66675">
                  <a:moveTo>
                    <a:pt x="7144" y="7144"/>
                  </a:moveTo>
                  <a:lnTo>
                    <a:pt x="7144" y="61627"/>
                  </a:lnTo>
                  <a:lnTo>
                    <a:pt x="100965" y="61627"/>
                  </a:lnTo>
                  <a:cubicBezTo>
                    <a:pt x="100965" y="61627"/>
                    <a:pt x="18288" y="61627"/>
                    <a:pt x="7144" y="7144"/>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grpSp>
        <p:nvGrpSpPr>
          <p:cNvPr id="139" name="Group 138">
            <a:extLst>
              <a:ext uri="{FF2B5EF4-FFF2-40B4-BE49-F238E27FC236}">
                <a16:creationId xmlns:a16="http://schemas.microsoft.com/office/drawing/2014/main" id="{35A044D0-C05D-F1DD-F833-D80A139F1A84}"/>
              </a:ext>
            </a:extLst>
          </p:cNvPr>
          <p:cNvGrpSpPr>
            <a:grpSpLocks noChangeAspect="1"/>
          </p:cNvGrpSpPr>
          <p:nvPr/>
        </p:nvGrpSpPr>
        <p:grpSpPr>
          <a:xfrm>
            <a:off x="3018024" y="1869625"/>
            <a:ext cx="725083" cy="717954"/>
            <a:chOff x="4176215" y="1667881"/>
            <a:chExt cx="523059" cy="517917"/>
          </a:xfrm>
        </p:grpSpPr>
        <p:sp>
          <p:nvSpPr>
            <p:cNvPr id="140" name="Freeform: Shape 139">
              <a:extLst>
                <a:ext uri="{FF2B5EF4-FFF2-40B4-BE49-F238E27FC236}">
                  <a16:creationId xmlns:a16="http://schemas.microsoft.com/office/drawing/2014/main" id="{073C26CE-B26C-4AAF-CC93-6D33FB11558A}"/>
                </a:ext>
              </a:extLst>
            </p:cNvPr>
            <p:cNvSpPr/>
            <p:nvPr/>
          </p:nvSpPr>
          <p:spPr>
            <a:xfrm>
              <a:off x="4427519" y="1914042"/>
              <a:ext cx="142875" cy="142875"/>
            </a:xfrm>
            <a:custGeom>
              <a:avLst/>
              <a:gdLst>
                <a:gd name="connsiteX0" fmla="*/ 138779 w 142875"/>
                <a:gd name="connsiteY0" fmla="*/ 34576 h 142875"/>
                <a:gd name="connsiteX1" fmla="*/ 101251 w 142875"/>
                <a:gd name="connsiteY1" fmla="*/ 24670 h 142875"/>
                <a:gd name="connsiteX2" fmla="*/ 24670 w 142875"/>
                <a:gd name="connsiteY2" fmla="*/ 101251 h 142875"/>
                <a:gd name="connsiteX3" fmla="*/ 34576 w 142875"/>
                <a:gd name="connsiteY3" fmla="*/ 138779 h 142875"/>
                <a:gd name="connsiteX4" fmla="*/ 7144 w 142875"/>
                <a:gd name="connsiteY4" fmla="*/ 81248 h 142875"/>
                <a:gd name="connsiteX5" fmla="*/ 81248 w 142875"/>
                <a:gd name="connsiteY5" fmla="*/ 7144 h 142875"/>
                <a:gd name="connsiteX6" fmla="*/ 138779 w 142875"/>
                <a:gd name="connsiteY6" fmla="*/ 345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142875">
                  <a:moveTo>
                    <a:pt x="138779" y="34576"/>
                  </a:moveTo>
                  <a:cubicBezTo>
                    <a:pt x="127635" y="28289"/>
                    <a:pt x="114872" y="24670"/>
                    <a:pt x="101251" y="24670"/>
                  </a:cubicBezTo>
                  <a:cubicBezTo>
                    <a:pt x="59055" y="24670"/>
                    <a:pt x="24670" y="59055"/>
                    <a:pt x="24670" y="101251"/>
                  </a:cubicBezTo>
                  <a:cubicBezTo>
                    <a:pt x="24670" y="114872"/>
                    <a:pt x="28289" y="127730"/>
                    <a:pt x="34576" y="138779"/>
                  </a:cubicBezTo>
                  <a:cubicBezTo>
                    <a:pt x="17812" y="125158"/>
                    <a:pt x="7144" y="104394"/>
                    <a:pt x="7144" y="81248"/>
                  </a:cubicBezTo>
                  <a:cubicBezTo>
                    <a:pt x="7144" y="40386"/>
                    <a:pt x="40386" y="7144"/>
                    <a:pt x="81248" y="7144"/>
                  </a:cubicBezTo>
                  <a:cubicBezTo>
                    <a:pt x="104394" y="7144"/>
                    <a:pt x="125159" y="17812"/>
                    <a:pt x="138779" y="34576"/>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1" name="Freeform: Shape 140">
              <a:extLst>
                <a:ext uri="{FF2B5EF4-FFF2-40B4-BE49-F238E27FC236}">
                  <a16:creationId xmlns:a16="http://schemas.microsoft.com/office/drawing/2014/main" id="{D912A5E7-A5AA-A22E-6B34-2A622100B1AA}"/>
                </a:ext>
              </a:extLst>
            </p:cNvPr>
            <p:cNvSpPr/>
            <p:nvPr/>
          </p:nvSpPr>
          <p:spPr>
            <a:xfrm>
              <a:off x="4384949" y="1871473"/>
              <a:ext cx="314325" cy="314325"/>
            </a:xfrm>
            <a:custGeom>
              <a:avLst/>
              <a:gdLst>
                <a:gd name="connsiteX0" fmla="*/ 123817 w 314325"/>
                <a:gd name="connsiteY0" fmla="*/ 8755 h 314325"/>
                <a:gd name="connsiteX1" fmla="*/ 238880 w 314325"/>
                <a:gd name="connsiteY1" fmla="*/ 123817 h 314325"/>
                <a:gd name="connsiteX2" fmla="*/ 214114 w 314325"/>
                <a:gd name="connsiteY2" fmla="*/ 195160 h 314325"/>
                <a:gd name="connsiteX3" fmla="*/ 239641 w 314325"/>
                <a:gd name="connsiteY3" fmla="*/ 220687 h 314325"/>
                <a:gd name="connsiteX4" fmla="*/ 248214 w 314325"/>
                <a:gd name="connsiteY4" fmla="*/ 212114 h 314325"/>
                <a:gd name="connsiteX5" fmla="*/ 303459 w 314325"/>
                <a:gd name="connsiteY5" fmla="*/ 267359 h 314325"/>
                <a:gd name="connsiteX6" fmla="*/ 303459 w 314325"/>
                <a:gd name="connsiteY6" fmla="*/ 303459 h 314325"/>
                <a:gd name="connsiteX7" fmla="*/ 267359 w 314325"/>
                <a:gd name="connsiteY7" fmla="*/ 303459 h 314325"/>
                <a:gd name="connsiteX8" fmla="*/ 212114 w 314325"/>
                <a:gd name="connsiteY8" fmla="*/ 248214 h 314325"/>
                <a:gd name="connsiteX9" fmla="*/ 220687 w 314325"/>
                <a:gd name="connsiteY9" fmla="*/ 239641 h 314325"/>
                <a:gd name="connsiteX10" fmla="*/ 195160 w 314325"/>
                <a:gd name="connsiteY10" fmla="*/ 214114 h 314325"/>
                <a:gd name="connsiteX11" fmla="*/ 123817 w 314325"/>
                <a:gd name="connsiteY11" fmla="*/ 238879 h 314325"/>
                <a:gd name="connsiteX12" fmla="*/ 8756 w 314325"/>
                <a:gd name="connsiteY12" fmla="*/ 123817 h 314325"/>
                <a:gd name="connsiteX13" fmla="*/ 123817 w 314325"/>
                <a:gd name="connsiteY13" fmla="*/ 875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4325" h="314325">
                  <a:moveTo>
                    <a:pt x="123817" y="8755"/>
                  </a:moveTo>
                  <a:cubicBezTo>
                    <a:pt x="187349" y="8755"/>
                    <a:pt x="238880" y="60286"/>
                    <a:pt x="238880" y="123817"/>
                  </a:cubicBezTo>
                  <a:cubicBezTo>
                    <a:pt x="238880" y="150773"/>
                    <a:pt x="229545" y="175538"/>
                    <a:pt x="214114" y="195160"/>
                  </a:cubicBezTo>
                  <a:lnTo>
                    <a:pt x="239641" y="220687"/>
                  </a:lnTo>
                  <a:lnTo>
                    <a:pt x="248214" y="212114"/>
                  </a:lnTo>
                  <a:lnTo>
                    <a:pt x="303459" y="267359"/>
                  </a:lnTo>
                  <a:cubicBezTo>
                    <a:pt x="313460" y="277360"/>
                    <a:pt x="313460" y="293458"/>
                    <a:pt x="303459" y="303459"/>
                  </a:cubicBezTo>
                  <a:cubicBezTo>
                    <a:pt x="293458" y="313460"/>
                    <a:pt x="277361" y="313460"/>
                    <a:pt x="267359" y="303459"/>
                  </a:cubicBezTo>
                  <a:lnTo>
                    <a:pt x="212114" y="248214"/>
                  </a:lnTo>
                  <a:lnTo>
                    <a:pt x="220687" y="239641"/>
                  </a:lnTo>
                  <a:lnTo>
                    <a:pt x="195160" y="214114"/>
                  </a:lnTo>
                  <a:cubicBezTo>
                    <a:pt x="175538" y="229640"/>
                    <a:pt x="150773" y="238879"/>
                    <a:pt x="123817" y="238879"/>
                  </a:cubicBezTo>
                  <a:cubicBezTo>
                    <a:pt x="60286" y="238879"/>
                    <a:pt x="8756" y="187349"/>
                    <a:pt x="8756" y="123817"/>
                  </a:cubicBezTo>
                  <a:cubicBezTo>
                    <a:pt x="8660" y="60286"/>
                    <a:pt x="60190" y="8755"/>
                    <a:pt x="123817" y="8755"/>
                  </a:cubicBezTo>
                  <a:close/>
                </a:path>
              </a:pathLst>
            </a:custGeom>
            <a:noFill/>
            <a:ln w="11674"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2" name="Freeform: Shape 141">
              <a:extLst>
                <a:ext uri="{FF2B5EF4-FFF2-40B4-BE49-F238E27FC236}">
                  <a16:creationId xmlns:a16="http://schemas.microsoft.com/office/drawing/2014/main" id="{91681002-A543-87F6-E29F-39526FB1CED3}"/>
                </a:ext>
              </a:extLst>
            </p:cNvPr>
            <p:cNvSpPr/>
            <p:nvPr/>
          </p:nvSpPr>
          <p:spPr>
            <a:xfrm>
              <a:off x="4600139" y="2099997"/>
              <a:ext cx="9525" cy="9525"/>
            </a:xfrm>
            <a:custGeom>
              <a:avLst/>
              <a:gdLst>
                <a:gd name="connsiteX0" fmla="*/ 5402 w 9525"/>
                <a:gd name="connsiteY0" fmla="*/ 11117 h 9525"/>
                <a:gd name="connsiteX1" fmla="*/ 11117 w 9525"/>
                <a:gd name="connsiteY1" fmla="*/ 5402 h 9525"/>
              </a:gdLst>
              <a:ahLst/>
              <a:cxnLst>
                <a:cxn ang="0">
                  <a:pos x="connsiteX0" y="connsiteY0"/>
                </a:cxn>
                <a:cxn ang="0">
                  <a:pos x="connsiteX1" y="connsiteY1"/>
                </a:cxn>
              </a:cxnLst>
              <a:rect l="l" t="t" r="r" b="b"/>
              <a:pathLst>
                <a:path w="9525" h="9525">
                  <a:moveTo>
                    <a:pt x="5402" y="11117"/>
                  </a:moveTo>
                  <a:lnTo>
                    <a:pt x="11117" y="5402"/>
                  </a:lnTo>
                </a:path>
              </a:pathLst>
            </a:custGeom>
            <a:ln w="7203" cap="rnd">
              <a:solidFill>
                <a:srgbClr val="FFFFFF"/>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3" name="Freeform: Shape 142">
              <a:extLst>
                <a:ext uri="{FF2B5EF4-FFF2-40B4-BE49-F238E27FC236}">
                  <a16:creationId xmlns:a16="http://schemas.microsoft.com/office/drawing/2014/main" id="{35B464AF-2604-CBDE-37B1-A37F9A7B3943}"/>
                </a:ext>
              </a:extLst>
            </p:cNvPr>
            <p:cNvSpPr/>
            <p:nvPr/>
          </p:nvSpPr>
          <p:spPr>
            <a:xfrm>
              <a:off x="4620400" y="2115115"/>
              <a:ext cx="66675" cy="57150"/>
            </a:xfrm>
            <a:custGeom>
              <a:avLst/>
              <a:gdLst>
                <a:gd name="connsiteX0" fmla="*/ 31337 w 66675"/>
                <a:gd name="connsiteY0" fmla="*/ 7144 h 57150"/>
                <a:gd name="connsiteX1" fmla="*/ 57912 w 66675"/>
                <a:gd name="connsiteY1" fmla="*/ 33718 h 57150"/>
                <a:gd name="connsiteX2" fmla="*/ 61246 w 66675"/>
                <a:gd name="connsiteY2" fmla="*/ 41719 h 57150"/>
                <a:gd name="connsiteX3" fmla="*/ 57912 w 66675"/>
                <a:gd name="connsiteY3" fmla="*/ 49720 h 57150"/>
                <a:gd name="connsiteX4" fmla="*/ 49911 w 66675"/>
                <a:gd name="connsiteY4" fmla="*/ 53054 h 57150"/>
                <a:gd name="connsiteX5" fmla="*/ 41910 w 66675"/>
                <a:gd name="connsiteY5" fmla="*/ 49720 h 57150"/>
                <a:gd name="connsiteX6" fmla="*/ 7144 w 66675"/>
                <a:gd name="connsiteY6" fmla="*/ 14954 h 57150"/>
                <a:gd name="connsiteX7" fmla="*/ 31337 w 66675"/>
                <a:gd name="connsiteY7" fmla="*/ 714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31337" y="7144"/>
                  </a:moveTo>
                  <a:lnTo>
                    <a:pt x="57912" y="33718"/>
                  </a:lnTo>
                  <a:cubicBezTo>
                    <a:pt x="60103" y="35909"/>
                    <a:pt x="61246" y="38671"/>
                    <a:pt x="61246" y="41719"/>
                  </a:cubicBezTo>
                  <a:cubicBezTo>
                    <a:pt x="61246" y="44768"/>
                    <a:pt x="60103" y="47625"/>
                    <a:pt x="57912" y="49720"/>
                  </a:cubicBezTo>
                  <a:cubicBezTo>
                    <a:pt x="55721" y="51911"/>
                    <a:pt x="52959" y="53054"/>
                    <a:pt x="49911" y="53054"/>
                  </a:cubicBezTo>
                  <a:cubicBezTo>
                    <a:pt x="46863" y="53054"/>
                    <a:pt x="44006" y="51911"/>
                    <a:pt x="41910" y="49720"/>
                  </a:cubicBezTo>
                  <a:lnTo>
                    <a:pt x="7144" y="14954"/>
                  </a:lnTo>
                  <a:cubicBezTo>
                    <a:pt x="16002" y="14478"/>
                    <a:pt x="24289" y="11620"/>
                    <a:pt x="31337" y="7144"/>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4" name="Freeform: Shape 143">
              <a:extLst>
                <a:ext uri="{FF2B5EF4-FFF2-40B4-BE49-F238E27FC236}">
                  <a16:creationId xmlns:a16="http://schemas.microsoft.com/office/drawing/2014/main" id="{7C54DF14-0F6E-8412-2ADF-54C11E8E5F1B}"/>
                </a:ext>
              </a:extLst>
            </p:cNvPr>
            <p:cNvSpPr/>
            <p:nvPr/>
          </p:nvSpPr>
          <p:spPr>
            <a:xfrm>
              <a:off x="4438785" y="1925308"/>
              <a:ext cx="161925" cy="161925"/>
            </a:xfrm>
            <a:custGeom>
              <a:avLst/>
              <a:gdLst>
                <a:gd name="connsiteX0" fmla="*/ 134561 w 161925"/>
                <a:gd name="connsiteY0" fmla="*/ 5402 h 161925"/>
                <a:gd name="connsiteX1" fmla="*/ 161327 w 161925"/>
                <a:gd name="connsiteY1" fmla="*/ 69982 h 161925"/>
                <a:gd name="connsiteX2" fmla="*/ 69982 w 161925"/>
                <a:gd name="connsiteY2" fmla="*/ 161326 h 161925"/>
                <a:gd name="connsiteX3" fmla="*/ 5402 w 161925"/>
                <a:gd name="connsiteY3" fmla="*/ 134561 h 161925"/>
              </a:gdLst>
              <a:ahLst/>
              <a:cxnLst>
                <a:cxn ang="0">
                  <a:pos x="connsiteX0" y="connsiteY0"/>
                </a:cxn>
                <a:cxn ang="0">
                  <a:pos x="connsiteX1" y="connsiteY1"/>
                </a:cxn>
                <a:cxn ang="0">
                  <a:pos x="connsiteX2" y="connsiteY2"/>
                </a:cxn>
                <a:cxn ang="0">
                  <a:pos x="connsiteX3" y="connsiteY3"/>
                </a:cxn>
              </a:cxnLst>
              <a:rect l="l" t="t" r="r" b="b"/>
              <a:pathLst>
                <a:path w="161925" h="161925">
                  <a:moveTo>
                    <a:pt x="134561" y="5402"/>
                  </a:moveTo>
                  <a:cubicBezTo>
                    <a:pt x="151135" y="21976"/>
                    <a:pt x="161327" y="44740"/>
                    <a:pt x="161327" y="69982"/>
                  </a:cubicBezTo>
                  <a:cubicBezTo>
                    <a:pt x="161327" y="120464"/>
                    <a:pt x="120369" y="161326"/>
                    <a:pt x="69982" y="161326"/>
                  </a:cubicBezTo>
                  <a:cubicBezTo>
                    <a:pt x="44740" y="161326"/>
                    <a:pt x="21880" y="151135"/>
                    <a:pt x="5402" y="134561"/>
                  </a:cubicBezTo>
                </a:path>
              </a:pathLst>
            </a:custGeom>
            <a:noFill/>
            <a:ln w="7203"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5" name="Freeform: Shape 144">
              <a:extLst>
                <a:ext uri="{FF2B5EF4-FFF2-40B4-BE49-F238E27FC236}">
                  <a16:creationId xmlns:a16="http://schemas.microsoft.com/office/drawing/2014/main" id="{81F8E00D-E6D8-BDFD-9361-D0E7F8C6D873}"/>
                </a:ext>
              </a:extLst>
            </p:cNvPr>
            <p:cNvSpPr/>
            <p:nvPr/>
          </p:nvSpPr>
          <p:spPr>
            <a:xfrm>
              <a:off x="4219017" y="1995385"/>
              <a:ext cx="95250" cy="38100"/>
            </a:xfrm>
            <a:custGeom>
              <a:avLst/>
              <a:gdLst>
                <a:gd name="connsiteX0" fmla="*/ 7144 w 95250"/>
                <a:gd name="connsiteY0" fmla="*/ 7144 h 38100"/>
                <a:gd name="connsiteX1" fmla="*/ 93250 w 95250"/>
                <a:gd name="connsiteY1" fmla="*/ 7144 h 38100"/>
                <a:gd name="connsiteX2" fmla="*/ 93250 w 95250"/>
                <a:gd name="connsiteY2" fmla="*/ 32861 h 38100"/>
                <a:gd name="connsiteX3" fmla="*/ 7144 w 95250"/>
                <a:gd name="connsiteY3" fmla="*/ 32861 h 38100"/>
              </a:gdLst>
              <a:ahLst/>
              <a:cxnLst>
                <a:cxn ang="0">
                  <a:pos x="connsiteX0" y="connsiteY0"/>
                </a:cxn>
                <a:cxn ang="0">
                  <a:pos x="connsiteX1" y="connsiteY1"/>
                </a:cxn>
                <a:cxn ang="0">
                  <a:pos x="connsiteX2" y="connsiteY2"/>
                </a:cxn>
                <a:cxn ang="0">
                  <a:pos x="connsiteX3" y="connsiteY3"/>
                </a:cxn>
              </a:cxnLst>
              <a:rect l="l" t="t" r="r" b="b"/>
              <a:pathLst>
                <a:path w="95250" h="38100">
                  <a:moveTo>
                    <a:pt x="7144" y="7144"/>
                  </a:moveTo>
                  <a:lnTo>
                    <a:pt x="93250" y="7144"/>
                  </a:lnTo>
                  <a:lnTo>
                    <a:pt x="93250" y="32861"/>
                  </a:lnTo>
                  <a:lnTo>
                    <a:pt x="7144" y="32861"/>
                  </a:ln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6" name="Freeform: Shape 145">
              <a:extLst>
                <a:ext uri="{FF2B5EF4-FFF2-40B4-BE49-F238E27FC236}">
                  <a16:creationId xmlns:a16="http://schemas.microsoft.com/office/drawing/2014/main" id="{4073D089-9BFE-4035-D1BE-9EBEA134E2C8}"/>
                </a:ext>
              </a:extLst>
            </p:cNvPr>
            <p:cNvSpPr/>
            <p:nvPr/>
          </p:nvSpPr>
          <p:spPr>
            <a:xfrm>
              <a:off x="4176215" y="1667881"/>
              <a:ext cx="323850" cy="438150"/>
            </a:xfrm>
            <a:custGeom>
              <a:avLst/>
              <a:gdLst>
                <a:gd name="connsiteX0" fmla="*/ 238731 w 323850"/>
                <a:gd name="connsiteY0" fmla="*/ 431422 h 438150"/>
                <a:gd name="connsiteX1" fmla="*/ 8512 w 323850"/>
                <a:gd name="connsiteY1" fmla="*/ 431422 h 438150"/>
                <a:gd name="connsiteX2" fmla="*/ 8512 w 323850"/>
                <a:gd name="connsiteY2" fmla="*/ 8512 h 438150"/>
                <a:gd name="connsiteX3" fmla="*/ 316265 w 323850"/>
                <a:gd name="connsiteY3" fmla="*/ 8512 h 438150"/>
                <a:gd name="connsiteX4" fmla="*/ 316265 w 323850"/>
                <a:gd name="connsiteY4" fmla="*/ 192821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438150">
                  <a:moveTo>
                    <a:pt x="238731" y="431422"/>
                  </a:moveTo>
                  <a:lnTo>
                    <a:pt x="8512" y="431422"/>
                  </a:lnTo>
                  <a:lnTo>
                    <a:pt x="8512" y="8512"/>
                  </a:lnTo>
                  <a:lnTo>
                    <a:pt x="316265" y="8512"/>
                  </a:lnTo>
                  <a:lnTo>
                    <a:pt x="316265" y="192821"/>
                  </a:lnTo>
                </a:path>
              </a:pathLst>
            </a:custGeom>
            <a:noFill/>
            <a:ln w="11349"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7" name="Freeform: Shape 146">
              <a:extLst>
                <a:ext uri="{FF2B5EF4-FFF2-40B4-BE49-F238E27FC236}">
                  <a16:creationId xmlns:a16="http://schemas.microsoft.com/office/drawing/2014/main" id="{63E992CF-B361-99FE-EC4A-56F8151EFA2D}"/>
                </a:ext>
              </a:extLst>
            </p:cNvPr>
            <p:cNvSpPr/>
            <p:nvPr/>
          </p:nvSpPr>
          <p:spPr>
            <a:xfrm>
              <a:off x="4217648" y="1709315"/>
              <a:ext cx="152400" cy="152400"/>
            </a:xfrm>
            <a:custGeom>
              <a:avLst/>
              <a:gdLst>
                <a:gd name="connsiteX0" fmla="*/ 8512 w 152400"/>
                <a:gd name="connsiteY0" fmla="*/ 8512 h 152400"/>
                <a:gd name="connsiteX1" fmla="*/ 151291 w 152400"/>
                <a:gd name="connsiteY1" fmla="*/ 8512 h 152400"/>
                <a:gd name="connsiteX2" fmla="*/ 151291 w 152400"/>
                <a:gd name="connsiteY2" fmla="*/ 151292 h 152400"/>
                <a:gd name="connsiteX3" fmla="*/ 8512 w 152400"/>
                <a:gd name="connsiteY3" fmla="*/ 151292 h 152400"/>
              </a:gdLst>
              <a:ahLst/>
              <a:cxnLst>
                <a:cxn ang="0">
                  <a:pos x="connsiteX0" y="connsiteY0"/>
                </a:cxn>
                <a:cxn ang="0">
                  <a:pos x="connsiteX1" y="connsiteY1"/>
                </a:cxn>
                <a:cxn ang="0">
                  <a:pos x="connsiteX2" y="connsiteY2"/>
                </a:cxn>
                <a:cxn ang="0">
                  <a:pos x="connsiteX3" y="connsiteY3"/>
                </a:cxn>
              </a:cxnLst>
              <a:rect l="l" t="t" r="r" b="b"/>
              <a:pathLst>
                <a:path w="152400" h="152400">
                  <a:moveTo>
                    <a:pt x="8512" y="8512"/>
                  </a:moveTo>
                  <a:lnTo>
                    <a:pt x="151291" y="8512"/>
                  </a:lnTo>
                  <a:lnTo>
                    <a:pt x="151291" y="151292"/>
                  </a:lnTo>
                  <a:lnTo>
                    <a:pt x="8512" y="151292"/>
                  </a:lnTo>
                  <a:close/>
                </a:path>
              </a:pathLst>
            </a:custGeom>
            <a:noFill/>
            <a:ln w="11349"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8" name="Freeform: Shape 147">
              <a:extLst>
                <a:ext uri="{FF2B5EF4-FFF2-40B4-BE49-F238E27FC236}">
                  <a16:creationId xmlns:a16="http://schemas.microsoft.com/office/drawing/2014/main" id="{7F0FA57E-EB1B-522B-1904-54BCB392DA37}"/>
                </a:ext>
              </a:extLst>
            </p:cNvPr>
            <p:cNvSpPr/>
            <p:nvPr/>
          </p:nvSpPr>
          <p:spPr>
            <a:xfrm>
              <a:off x="4217648" y="1914769"/>
              <a:ext cx="152400" cy="9525"/>
            </a:xfrm>
            <a:custGeom>
              <a:avLst/>
              <a:gdLst>
                <a:gd name="connsiteX0" fmla="*/ 8512 w 152400"/>
                <a:gd name="connsiteY0" fmla="*/ 8512 h 9525"/>
                <a:gd name="connsiteX1" fmla="*/ 151482 w 152400"/>
                <a:gd name="connsiteY1" fmla="*/ 8512 h 9525"/>
              </a:gdLst>
              <a:ahLst/>
              <a:cxnLst>
                <a:cxn ang="0">
                  <a:pos x="connsiteX0" y="connsiteY0"/>
                </a:cxn>
                <a:cxn ang="0">
                  <a:pos x="connsiteX1" y="connsiteY1"/>
                </a:cxn>
              </a:cxnLst>
              <a:rect l="l" t="t" r="r" b="b"/>
              <a:pathLst>
                <a:path w="152400" h="9525">
                  <a:moveTo>
                    <a:pt x="8512" y="8512"/>
                  </a:moveTo>
                  <a:lnTo>
                    <a:pt x="151482" y="8512"/>
                  </a:lnTo>
                </a:path>
              </a:pathLst>
            </a:custGeom>
            <a:ln w="11349"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9" name="Freeform: Shape 148">
              <a:extLst>
                <a:ext uri="{FF2B5EF4-FFF2-40B4-BE49-F238E27FC236}">
                  <a16:creationId xmlns:a16="http://schemas.microsoft.com/office/drawing/2014/main" id="{8346E38B-7171-2EEB-E5CB-0D34BAC7F955}"/>
                </a:ext>
              </a:extLst>
            </p:cNvPr>
            <p:cNvSpPr/>
            <p:nvPr/>
          </p:nvSpPr>
          <p:spPr>
            <a:xfrm>
              <a:off x="4217648" y="1958870"/>
              <a:ext cx="152400" cy="9525"/>
            </a:xfrm>
            <a:custGeom>
              <a:avLst/>
              <a:gdLst>
                <a:gd name="connsiteX0" fmla="*/ 8512 w 152400"/>
                <a:gd name="connsiteY0" fmla="*/ 8512 h 9525"/>
                <a:gd name="connsiteX1" fmla="*/ 151482 w 152400"/>
                <a:gd name="connsiteY1" fmla="*/ 8512 h 9525"/>
              </a:gdLst>
              <a:ahLst/>
              <a:cxnLst>
                <a:cxn ang="0">
                  <a:pos x="connsiteX0" y="connsiteY0"/>
                </a:cxn>
                <a:cxn ang="0">
                  <a:pos x="connsiteX1" y="connsiteY1"/>
                </a:cxn>
              </a:cxnLst>
              <a:rect l="l" t="t" r="r" b="b"/>
              <a:pathLst>
                <a:path w="152400" h="9525">
                  <a:moveTo>
                    <a:pt x="8512" y="8512"/>
                  </a:moveTo>
                  <a:lnTo>
                    <a:pt x="151482" y="8512"/>
                  </a:lnTo>
                </a:path>
              </a:pathLst>
            </a:custGeom>
            <a:ln w="11349"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0" name="Freeform: Shape 149">
              <a:extLst>
                <a:ext uri="{FF2B5EF4-FFF2-40B4-BE49-F238E27FC236}">
                  <a16:creationId xmlns:a16="http://schemas.microsoft.com/office/drawing/2014/main" id="{51711F03-62C9-2F58-D62D-E81E01BE90BD}"/>
                </a:ext>
              </a:extLst>
            </p:cNvPr>
            <p:cNvSpPr/>
            <p:nvPr/>
          </p:nvSpPr>
          <p:spPr>
            <a:xfrm>
              <a:off x="4248544" y="1740211"/>
              <a:ext cx="95250" cy="95250"/>
            </a:xfrm>
            <a:custGeom>
              <a:avLst/>
              <a:gdLst>
                <a:gd name="connsiteX0" fmla="*/ 7144 w 95250"/>
                <a:gd name="connsiteY0" fmla="*/ 90868 h 95250"/>
                <a:gd name="connsiteX1" fmla="*/ 90868 w 95250"/>
                <a:gd name="connsiteY1" fmla="*/ 90868 h 95250"/>
                <a:gd name="connsiteX2" fmla="*/ 90868 w 95250"/>
                <a:gd name="connsiteY2" fmla="*/ 7144 h 95250"/>
                <a:gd name="connsiteX3" fmla="*/ 7144 w 95250"/>
                <a:gd name="connsiteY3" fmla="*/ 90868 h 95250"/>
              </a:gdLst>
              <a:ahLst/>
              <a:cxnLst>
                <a:cxn ang="0">
                  <a:pos x="connsiteX0" y="connsiteY0"/>
                </a:cxn>
                <a:cxn ang="0">
                  <a:pos x="connsiteX1" y="connsiteY1"/>
                </a:cxn>
                <a:cxn ang="0">
                  <a:pos x="connsiteX2" y="connsiteY2"/>
                </a:cxn>
                <a:cxn ang="0">
                  <a:pos x="connsiteX3" y="connsiteY3"/>
                </a:cxn>
              </a:cxnLst>
              <a:rect l="l" t="t" r="r" b="b"/>
              <a:pathLst>
                <a:path w="95250" h="95250">
                  <a:moveTo>
                    <a:pt x="7144" y="90868"/>
                  </a:moveTo>
                  <a:lnTo>
                    <a:pt x="90868" y="90868"/>
                  </a:lnTo>
                  <a:lnTo>
                    <a:pt x="90868" y="7144"/>
                  </a:lnTo>
                  <a:cubicBezTo>
                    <a:pt x="90868" y="7239"/>
                    <a:pt x="65246" y="66675"/>
                    <a:pt x="7144" y="90868"/>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grpSp>
        <p:nvGrpSpPr>
          <p:cNvPr id="151" name="Group 150">
            <a:extLst>
              <a:ext uri="{FF2B5EF4-FFF2-40B4-BE49-F238E27FC236}">
                <a16:creationId xmlns:a16="http://schemas.microsoft.com/office/drawing/2014/main" id="{9F3365BC-A255-561C-ABCC-045E1198FF65}"/>
              </a:ext>
            </a:extLst>
          </p:cNvPr>
          <p:cNvGrpSpPr>
            <a:grpSpLocks noChangeAspect="1"/>
          </p:cNvGrpSpPr>
          <p:nvPr/>
        </p:nvGrpSpPr>
        <p:grpSpPr>
          <a:xfrm>
            <a:off x="4838206" y="1818645"/>
            <a:ext cx="880854" cy="745790"/>
            <a:chOff x="5513288" y="1662367"/>
            <a:chExt cx="683038" cy="578302"/>
          </a:xfrm>
        </p:grpSpPr>
        <p:sp>
          <p:nvSpPr>
            <p:cNvPr id="152" name="Freeform: Shape 151">
              <a:extLst>
                <a:ext uri="{FF2B5EF4-FFF2-40B4-BE49-F238E27FC236}">
                  <a16:creationId xmlns:a16="http://schemas.microsoft.com/office/drawing/2014/main" id="{DC5EDBEA-4258-98E4-3914-EF2F1906EB3A}"/>
                </a:ext>
              </a:extLst>
            </p:cNvPr>
            <p:cNvSpPr/>
            <p:nvPr/>
          </p:nvSpPr>
          <p:spPr>
            <a:xfrm>
              <a:off x="5592822" y="1702697"/>
              <a:ext cx="47625" cy="47625"/>
            </a:xfrm>
            <a:custGeom>
              <a:avLst/>
              <a:gdLst>
                <a:gd name="connsiteX0" fmla="*/ 40752 w 47625"/>
                <a:gd name="connsiteY0" fmla="*/ 25417 h 47625"/>
                <a:gd name="connsiteX1" fmla="*/ 25417 w 47625"/>
                <a:gd name="connsiteY1" fmla="*/ 10082 h 47625"/>
                <a:gd name="connsiteX2" fmla="*/ 10082 w 47625"/>
                <a:gd name="connsiteY2" fmla="*/ 25417 h 47625"/>
                <a:gd name="connsiteX3" fmla="*/ 25417 w 47625"/>
                <a:gd name="connsiteY3" fmla="*/ 40752 h 47625"/>
                <a:gd name="connsiteX4" fmla="*/ 40752 w 47625"/>
                <a:gd name="connsiteY4" fmla="*/ 2541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0752" y="25417"/>
                  </a:moveTo>
                  <a:cubicBezTo>
                    <a:pt x="40752" y="16940"/>
                    <a:pt x="33894" y="10082"/>
                    <a:pt x="25417" y="10082"/>
                  </a:cubicBezTo>
                  <a:cubicBezTo>
                    <a:pt x="16940" y="10082"/>
                    <a:pt x="10082" y="16940"/>
                    <a:pt x="10082" y="25417"/>
                  </a:cubicBezTo>
                  <a:cubicBezTo>
                    <a:pt x="10082" y="33894"/>
                    <a:pt x="16940" y="40752"/>
                    <a:pt x="25417" y="40752"/>
                  </a:cubicBezTo>
                  <a:cubicBezTo>
                    <a:pt x="33894" y="40752"/>
                    <a:pt x="40752" y="33894"/>
                    <a:pt x="40752" y="25417"/>
                  </a:cubicBezTo>
                  <a:close/>
                </a:path>
              </a:pathLst>
            </a:custGeom>
            <a:noFill/>
            <a:ln w="13443"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3" name="Freeform: Shape 152">
              <a:extLst>
                <a:ext uri="{FF2B5EF4-FFF2-40B4-BE49-F238E27FC236}">
                  <a16:creationId xmlns:a16="http://schemas.microsoft.com/office/drawing/2014/main" id="{AD316524-B40B-D7A8-9BA6-3882C4283C1E}"/>
                </a:ext>
              </a:extLst>
            </p:cNvPr>
            <p:cNvSpPr/>
            <p:nvPr/>
          </p:nvSpPr>
          <p:spPr>
            <a:xfrm>
              <a:off x="5660354" y="1702697"/>
              <a:ext cx="47625" cy="47625"/>
            </a:xfrm>
            <a:custGeom>
              <a:avLst/>
              <a:gdLst>
                <a:gd name="connsiteX0" fmla="*/ 40752 w 47625"/>
                <a:gd name="connsiteY0" fmla="*/ 25417 h 47625"/>
                <a:gd name="connsiteX1" fmla="*/ 25417 w 47625"/>
                <a:gd name="connsiteY1" fmla="*/ 10082 h 47625"/>
                <a:gd name="connsiteX2" fmla="*/ 10082 w 47625"/>
                <a:gd name="connsiteY2" fmla="*/ 25417 h 47625"/>
                <a:gd name="connsiteX3" fmla="*/ 25417 w 47625"/>
                <a:gd name="connsiteY3" fmla="*/ 40752 h 47625"/>
                <a:gd name="connsiteX4" fmla="*/ 40752 w 47625"/>
                <a:gd name="connsiteY4" fmla="*/ 2541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0752" y="25417"/>
                  </a:moveTo>
                  <a:cubicBezTo>
                    <a:pt x="40752" y="16940"/>
                    <a:pt x="33894" y="10082"/>
                    <a:pt x="25417" y="10082"/>
                  </a:cubicBezTo>
                  <a:cubicBezTo>
                    <a:pt x="16940" y="10082"/>
                    <a:pt x="10082" y="16940"/>
                    <a:pt x="10082" y="25417"/>
                  </a:cubicBezTo>
                  <a:cubicBezTo>
                    <a:pt x="10082" y="33894"/>
                    <a:pt x="16940" y="40752"/>
                    <a:pt x="25417" y="40752"/>
                  </a:cubicBezTo>
                  <a:cubicBezTo>
                    <a:pt x="33894" y="40752"/>
                    <a:pt x="40752" y="33894"/>
                    <a:pt x="40752" y="25417"/>
                  </a:cubicBezTo>
                  <a:close/>
                </a:path>
              </a:pathLst>
            </a:custGeom>
            <a:noFill/>
            <a:ln w="13443"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4" name="Freeform: Shape 153">
              <a:extLst>
                <a:ext uri="{FF2B5EF4-FFF2-40B4-BE49-F238E27FC236}">
                  <a16:creationId xmlns:a16="http://schemas.microsoft.com/office/drawing/2014/main" id="{39006659-CBC1-F892-66BD-F82CCE88629C}"/>
                </a:ext>
              </a:extLst>
            </p:cNvPr>
            <p:cNvSpPr/>
            <p:nvPr/>
          </p:nvSpPr>
          <p:spPr>
            <a:xfrm>
              <a:off x="5727982" y="1702697"/>
              <a:ext cx="47625" cy="47625"/>
            </a:xfrm>
            <a:custGeom>
              <a:avLst/>
              <a:gdLst>
                <a:gd name="connsiteX0" fmla="*/ 40752 w 47625"/>
                <a:gd name="connsiteY0" fmla="*/ 25417 h 47625"/>
                <a:gd name="connsiteX1" fmla="*/ 25417 w 47625"/>
                <a:gd name="connsiteY1" fmla="*/ 10082 h 47625"/>
                <a:gd name="connsiteX2" fmla="*/ 10082 w 47625"/>
                <a:gd name="connsiteY2" fmla="*/ 25417 h 47625"/>
                <a:gd name="connsiteX3" fmla="*/ 25417 w 47625"/>
                <a:gd name="connsiteY3" fmla="*/ 40752 h 47625"/>
                <a:gd name="connsiteX4" fmla="*/ 40752 w 47625"/>
                <a:gd name="connsiteY4" fmla="*/ 2541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0752" y="25417"/>
                  </a:moveTo>
                  <a:cubicBezTo>
                    <a:pt x="40752" y="16940"/>
                    <a:pt x="33894" y="10082"/>
                    <a:pt x="25417" y="10082"/>
                  </a:cubicBezTo>
                  <a:cubicBezTo>
                    <a:pt x="16940" y="10082"/>
                    <a:pt x="10082" y="16940"/>
                    <a:pt x="10082" y="25417"/>
                  </a:cubicBezTo>
                  <a:cubicBezTo>
                    <a:pt x="10082" y="33894"/>
                    <a:pt x="16940" y="40752"/>
                    <a:pt x="25417" y="40752"/>
                  </a:cubicBezTo>
                  <a:cubicBezTo>
                    <a:pt x="33894" y="40752"/>
                    <a:pt x="40752" y="33894"/>
                    <a:pt x="40752" y="25417"/>
                  </a:cubicBezTo>
                  <a:close/>
                </a:path>
              </a:pathLst>
            </a:custGeom>
            <a:noFill/>
            <a:ln w="13443"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5" name="Freeform: Shape 154">
              <a:extLst>
                <a:ext uri="{FF2B5EF4-FFF2-40B4-BE49-F238E27FC236}">
                  <a16:creationId xmlns:a16="http://schemas.microsoft.com/office/drawing/2014/main" id="{7E4F0F25-F648-9AB7-76DC-57F1D8BEE4A5}"/>
                </a:ext>
              </a:extLst>
            </p:cNvPr>
            <p:cNvSpPr/>
            <p:nvPr/>
          </p:nvSpPr>
          <p:spPr>
            <a:xfrm>
              <a:off x="5513288" y="1776420"/>
              <a:ext cx="542925" cy="19050"/>
            </a:xfrm>
            <a:custGeom>
              <a:avLst/>
              <a:gdLst>
                <a:gd name="connsiteX0" fmla="*/ 10082 w 542925"/>
                <a:gd name="connsiteY0" fmla="*/ 10082 h 19050"/>
                <a:gd name="connsiteX1" fmla="*/ 540529 w 542925"/>
                <a:gd name="connsiteY1" fmla="*/ 10082 h 19050"/>
              </a:gdLst>
              <a:ahLst/>
              <a:cxnLst>
                <a:cxn ang="0">
                  <a:pos x="connsiteX0" y="connsiteY0"/>
                </a:cxn>
                <a:cxn ang="0">
                  <a:pos x="connsiteX1" y="connsiteY1"/>
                </a:cxn>
              </a:cxnLst>
              <a:rect l="l" t="t" r="r" b="b"/>
              <a:pathLst>
                <a:path w="542925" h="19050">
                  <a:moveTo>
                    <a:pt x="10082" y="10082"/>
                  </a:moveTo>
                  <a:lnTo>
                    <a:pt x="540529" y="10082"/>
                  </a:lnTo>
                </a:path>
              </a:pathLst>
            </a:custGeom>
            <a:ln w="13443"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6" name="Freeform: Shape 155">
              <a:extLst>
                <a:ext uri="{FF2B5EF4-FFF2-40B4-BE49-F238E27FC236}">
                  <a16:creationId xmlns:a16="http://schemas.microsoft.com/office/drawing/2014/main" id="{8D44BD6B-2ACE-6E96-5759-4F0A66A2DEF2}"/>
                </a:ext>
              </a:extLst>
            </p:cNvPr>
            <p:cNvSpPr/>
            <p:nvPr/>
          </p:nvSpPr>
          <p:spPr>
            <a:xfrm>
              <a:off x="5809801" y="1718603"/>
              <a:ext cx="228600" cy="19050"/>
            </a:xfrm>
            <a:custGeom>
              <a:avLst/>
              <a:gdLst>
                <a:gd name="connsiteX0" fmla="*/ 10082 w 228600"/>
                <a:gd name="connsiteY0" fmla="*/ 10082 h 19050"/>
                <a:gd name="connsiteX1" fmla="*/ 221347 w 228600"/>
                <a:gd name="connsiteY1" fmla="*/ 10082 h 19050"/>
              </a:gdLst>
              <a:ahLst/>
              <a:cxnLst>
                <a:cxn ang="0">
                  <a:pos x="connsiteX0" y="connsiteY0"/>
                </a:cxn>
                <a:cxn ang="0">
                  <a:pos x="connsiteX1" y="connsiteY1"/>
                </a:cxn>
              </a:cxnLst>
              <a:rect l="l" t="t" r="r" b="b"/>
              <a:pathLst>
                <a:path w="228600" h="19050">
                  <a:moveTo>
                    <a:pt x="10082" y="10082"/>
                  </a:moveTo>
                  <a:lnTo>
                    <a:pt x="221347" y="10082"/>
                  </a:lnTo>
                </a:path>
              </a:pathLst>
            </a:custGeom>
            <a:ln w="13443"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7" name="Freeform: Shape 156">
              <a:extLst>
                <a:ext uri="{FF2B5EF4-FFF2-40B4-BE49-F238E27FC236}">
                  <a16:creationId xmlns:a16="http://schemas.microsoft.com/office/drawing/2014/main" id="{C6D470DB-4FC4-BC59-D84D-181160F1B71C}"/>
                </a:ext>
              </a:extLst>
            </p:cNvPr>
            <p:cNvSpPr/>
            <p:nvPr/>
          </p:nvSpPr>
          <p:spPr>
            <a:xfrm>
              <a:off x="5997400" y="2045963"/>
              <a:ext cx="104775" cy="104775"/>
            </a:xfrm>
            <a:custGeom>
              <a:avLst/>
              <a:gdLst>
                <a:gd name="connsiteX0" fmla="*/ 99631 w 104775"/>
                <a:gd name="connsiteY0" fmla="*/ 26384 h 104775"/>
                <a:gd name="connsiteX1" fmla="*/ 73247 w 104775"/>
                <a:gd name="connsiteY1" fmla="*/ 19431 h 104775"/>
                <a:gd name="connsiteX2" fmla="*/ 19526 w 104775"/>
                <a:gd name="connsiteY2" fmla="*/ 73152 h 104775"/>
                <a:gd name="connsiteX3" fmla="*/ 26479 w 104775"/>
                <a:gd name="connsiteY3" fmla="*/ 99536 h 104775"/>
                <a:gd name="connsiteX4" fmla="*/ 7144 w 104775"/>
                <a:gd name="connsiteY4" fmla="*/ 59150 h 104775"/>
                <a:gd name="connsiteX5" fmla="*/ 59150 w 104775"/>
                <a:gd name="connsiteY5" fmla="*/ 7144 h 104775"/>
                <a:gd name="connsiteX6" fmla="*/ 99631 w 104775"/>
                <a:gd name="connsiteY6" fmla="*/ 2638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104775">
                  <a:moveTo>
                    <a:pt x="99631" y="26384"/>
                  </a:moveTo>
                  <a:cubicBezTo>
                    <a:pt x="91821" y="22003"/>
                    <a:pt x="82868" y="19431"/>
                    <a:pt x="73247" y="19431"/>
                  </a:cubicBezTo>
                  <a:cubicBezTo>
                    <a:pt x="43625" y="19431"/>
                    <a:pt x="19526" y="43529"/>
                    <a:pt x="19526" y="73152"/>
                  </a:cubicBezTo>
                  <a:cubicBezTo>
                    <a:pt x="19526" y="82772"/>
                    <a:pt x="22098" y="91726"/>
                    <a:pt x="26479" y="99536"/>
                  </a:cubicBezTo>
                  <a:cubicBezTo>
                    <a:pt x="14764" y="90011"/>
                    <a:pt x="7144" y="75438"/>
                    <a:pt x="7144" y="59150"/>
                  </a:cubicBezTo>
                  <a:cubicBezTo>
                    <a:pt x="7144" y="30480"/>
                    <a:pt x="30480" y="7144"/>
                    <a:pt x="59150" y="7144"/>
                  </a:cubicBezTo>
                  <a:cubicBezTo>
                    <a:pt x="75533" y="7144"/>
                    <a:pt x="90106" y="14669"/>
                    <a:pt x="99631" y="26384"/>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8" name="Freeform: Shape 157">
              <a:extLst>
                <a:ext uri="{FF2B5EF4-FFF2-40B4-BE49-F238E27FC236}">
                  <a16:creationId xmlns:a16="http://schemas.microsoft.com/office/drawing/2014/main" id="{C6544EC3-0E67-C7E0-245F-E293034DC2F7}"/>
                </a:ext>
              </a:extLst>
            </p:cNvPr>
            <p:cNvSpPr/>
            <p:nvPr/>
          </p:nvSpPr>
          <p:spPr>
            <a:xfrm>
              <a:off x="5546992" y="1995385"/>
              <a:ext cx="95250" cy="95250"/>
            </a:xfrm>
            <a:custGeom>
              <a:avLst/>
              <a:gdLst>
                <a:gd name="connsiteX0" fmla="*/ 90869 w 95250"/>
                <a:gd name="connsiteY0" fmla="*/ 90868 h 95250"/>
                <a:gd name="connsiteX1" fmla="*/ 7144 w 95250"/>
                <a:gd name="connsiteY1" fmla="*/ 90868 h 95250"/>
                <a:gd name="connsiteX2" fmla="*/ 7144 w 95250"/>
                <a:gd name="connsiteY2" fmla="*/ 7144 h 95250"/>
                <a:gd name="connsiteX3" fmla="*/ 90869 w 95250"/>
                <a:gd name="connsiteY3" fmla="*/ 90868 h 95250"/>
              </a:gdLst>
              <a:ahLst/>
              <a:cxnLst>
                <a:cxn ang="0">
                  <a:pos x="connsiteX0" y="connsiteY0"/>
                </a:cxn>
                <a:cxn ang="0">
                  <a:pos x="connsiteX1" y="connsiteY1"/>
                </a:cxn>
                <a:cxn ang="0">
                  <a:pos x="connsiteX2" y="connsiteY2"/>
                </a:cxn>
                <a:cxn ang="0">
                  <a:pos x="connsiteX3" y="connsiteY3"/>
                </a:cxn>
              </a:cxnLst>
              <a:rect l="l" t="t" r="r" b="b"/>
              <a:pathLst>
                <a:path w="95250" h="95250">
                  <a:moveTo>
                    <a:pt x="90869" y="90868"/>
                  </a:moveTo>
                  <a:lnTo>
                    <a:pt x="7144" y="90868"/>
                  </a:lnTo>
                  <a:lnTo>
                    <a:pt x="7144" y="7144"/>
                  </a:lnTo>
                  <a:cubicBezTo>
                    <a:pt x="7144" y="7144"/>
                    <a:pt x="32766" y="66580"/>
                    <a:pt x="90869" y="90868"/>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59" name="Freeform: Shape 158">
              <a:extLst>
                <a:ext uri="{FF2B5EF4-FFF2-40B4-BE49-F238E27FC236}">
                  <a16:creationId xmlns:a16="http://schemas.microsoft.com/office/drawing/2014/main" id="{A1F50789-9312-B6BB-DDCE-7B1E1D0E5880}"/>
                </a:ext>
              </a:extLst>
            </p:cNvPr>
            <p:cNvSpPr/>
            <p:nvPr/>
          </p:nvSpPr>
          <p:spPr>
            <a:xfrm>
              <a:off x="5956416" y="2000594"/>
              <a:ext cx="200025" cy="200025"/>
            </a:xfrm>
            <a:custGeom>
              <a:avLst/>
              <a:gdLst>
                <a:gd name="connsiteX0" fmla="*/ 130313 w 200025"/>
                <a:gd name="connsiteY0" fmla="*/ 39710 h 200025"/>
                <a:gd name="connsiteX1" fmla="*/ 167840 w 200025"/>
                <a:gd name="connsiteY1" fmla="*/ 130312 h 200025"/>
                <a:gd name="connsiteX2" fmla="*/ 77238 w 200025"/>
                <a:gd name="connsiteY2" fmla="*/ 167840 h 200025"/>
                <a:gd name="connsiteX3" fmla="*/ 39710 w 200025"/>
                <a:gd name="connsiteY3" fmla="*/ 77238 h 200025"/>
                <a:gd name="connsiteX4" fmla="*/ 130313 w 200025"/>
                <a:gd name="connsiteY4" fmla="*/ 3971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200025">
                  <a:moveTo>
                    <a:pt x="130313" y="39710"/>
                  </a:moveTo>
                  <a:cubicBezTo>
                    <a:pt x="165695" y="54366"/>
                    <a:pt x="182497" y="94930"/>
                    <a:pt x="167840" y="130312"/>
                  </a:cubicBezTo>
                  <a:cubicBezTo>
                    <a:pt x="153184" y="165695"/>
                    <a:pt x="112620" y="182496"/>
                    <a:pt x="77238" y="167840"/>
                  </a:cubicBezTo>
                  <a:cubicBezTo>
                    <a:pt x="41856" y="153184"/>
                    <a:pt x="25054" y="112620"/>
                    <a:pt x="39710" y="77238"/>
                  </a:cubicBezTo>
                  <a:cubicBezTo>
                    <a:pt x="54366" y="41856"/>
                    <a:pt x="94930" y="25054"/>
                    <a:pt x="130313" y="39710"/>
                  </a:cubicBezTo>
                  <a:close/>
                </a:path>
              </a:pathLst>
            </a:custGeom>
            <a:noFill/>
            <a:ln w="13443" cap="flat">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0" name="Freeform: Shape 159">
              <a:extLst>
                <a:ext uri="{FF2B5EF4-FFF2-40B4-BE49-F238E27FC236}">
                  <a16:creationId xmlns:a16="http://schemas.microsoft.com/office/drawing/2014/main" id="{BFEA4A0D-32CB-1430-2D87-03AC5B9F58CC}"/>
                </a:ext>
              </a:extLst>
            </p:cNvPr>
            <p:cNvSpPr/>
            <p:nvPr/>
          </p:nvSpPr>
          <p:spPr>
            <a:xfrm>
              <a:off x="5920101" y="1964444"/>
              <a:ext cx="276225" cy="276225"/>
            </a:xfrm>
            <a:custGeom>
              <a:avLst/>
              <a:gdLst>
                <a:gd name="connsiteX0" fmla="*/ 270019 w 276225"/>
                <a:gd name="connsiteY0" fmla="*/ 148194 h 276225"/>
                <a:gd name="connsiteX1" fmla="*/ 270019 w 276225"/>
                <a:gd name="connsiteY1" fmla="*/ 131812 h 276225"/>
                <a:gd name="connsiteX2" fmla="*/ 256875 w 276225"/>
                <a:gd name="connsiteY2" fmla="*/ 118667 h 276225"/>
                <a:gd name="connsiteX3" fmla="*/ 256875 w 276225"/>
                <a:gd name="connsiteY3" fmla="*/ 118667 h 276225"/>
                <a:gd name="connsiteX4" fmla="*/ 244302 w 276225"/>
                <a:gd name="connsiteY4" fmla="*/ 109332 h 276225"/>
                <a:gd name="connsiteX5" fmla="*/ 235539 w 276225"/>
                <a:gd name="connsiteY5" fmla="*/ 88092 h 276225"/>
                <a:gd name="connsiteX6" fmla="*/ 237825 w 276225"/>
                <a:gd name="connsiteY6" fmla="*/ 72566 h 276225"/>
                <a:gd name="connsiteX7" fmla="*/ 237825 w 276225"/>
                <a:gd name="connsiteY7" fmla="*/ 72566 h 276225"/>
                <a:gd name="connsiteX8" fmla="*/ 237825 w 276225"/>
                <a:gd name="connsiteY8" fmla="*/ 53897 h 276225"/>
                <a:gd name="connsiteX9" fmla="*/ 226109 w 276225"/>
                <a:gd name="connsiteY9" fmla="*/ 42276 h 276225"/>
                <a:gd name="connsiteX10" fmla="*/ 207440 w 276225"/>
                <a:gd name="connsiteY10" fmla="*/ 42276 h 276225"/>
                <a:gd name="connsiteX11" fmla="*/ 207440 w 276225"/>
                <a:gd name="connsiteY11" fmla="*/ 42276 h 276225"/>
                <a:gd name="connsiteX12" fmla="*/ 191914 w 276225"/>
                <a:gd name="connsiteY12" fmla="*/ 44563 h 276225"/>
                <a:gd name="connsiteX13" fmla="*/ 170674 w 276225"/>
                <a:gd name="connsiteY13" fmla="*/ 35799 h 276225"/>
                <a:gd name="connsiteX14" fmla="*/ 161339 w 276225"/>
                <a:gd name="connsiteY14" fmla="*/ 23226 h 276225"/>
                <a:gd name="connsiteX15" fmla="*/ 161339 w 276225"/>
                <a:gd name="connsiteY15" fmla="*/ 23226 h 276225"/>
                <a:gd name="connsiteX16" fmla="*/ 148194 w 276225"/>
                <a:gd name="connsiteY16" fmla="*/ 10082 h 276225"/>
                <a:gd name="connsiteX17" fmla="*/ 131811 w 276225"/>
                <a:gd name="connsiteY17" fmla="*/ 10082 h 276225"/>
                <a:gd name="connsiteX18" fmla="*/ 118667 w 276225"/>
                <a:gd name="connsiteY18" fmla="*/ 23226 h 276225"/>
                <a:gd name="connsiteX19" fmla="*/ 118667 w 276225"/>
                <a:gd name="connsiteY19" fmla="*/ 23226 h 276225"/>
                <a:gd name="connsiteX20" fmla="*/ 109333 w 276225"/>
                <a:gd name="connsiteY20" fmla="*/ 35799 h 276225"/>
                <a:gd name="connsiteX21" fmla="*/ 88092 w 276225"/>
                <a:gd name="connsiteY21" fmla="*/ 44563 h 276225"/>
                <a:gd name="connsiteX22" fmla="*/ 72566 w 276225"/>
                <a:gd name="connsiteY22" fmla="*/ 42276 h 276225"/>
                <a:gd name="connsiteX23" fmla="*/ 72566 w 276225"/>
                <a:gd name="connsiteY23" fmla="*/ 42276 h 276225"/>
                <a:gd name="connsiteX24" fmla="*/ 53897 w 276225"/>
                <a:gd name="connsiteY24" fmla="*/ 42276 h 276225"/>
                <a:gd name="connsiteX25" fmla="*/ 42277 w 276225"/>
                <a:gd name="connsiteY25" fmla="*/ 53897 h 276225"/>
                <a:gd name="connsiteX26" fmla="*/ 42277 w 276225"/>
                <a:gd name="connsiteY26" fmla="*/ 72566 h 276225"/>
                <a:gd name="connsiteX27" fmla="*/ 42277 w 276225"/>
                <a:gd name="connsiteY27" fmla="*/ 72566 h 276225"/>
                <a:gd name="connsiteX28" fmla="*/ 44562 w 276225"/>
                <a:gd name="connsiteY28" fmla="*/ 88092 h 276225"/>
                <a:gd name="connsiteX29" fmla="*/ 35800 w 276225"/>
                <a:gd name="connsiteY29" fmla="*/ 109332 h 276225"/>
                <a:gd name="connsiteX30" fmla="*/ 23227 w 276225"/>
                <a:gd name="connsiteY30" fmla="*/ 118667 h 276225"/>
                <a:gd name="connsiteX31" fmla="*/ 23227 w 276225"/>
                <a:gd name="connsiteY31" fmla="*/ 118667 h 276225"/>
                <a:gd name="connsiteX32" fmla="*/ 10082 w 276225"/>
                <a:gd name="connsiteY32" fmla="*/ 131812 h 276225"/>
                <a:gd name="connsiteX33" fmla="*/ 10082 w 276225"/>
                <a:gd name="connsiteY33" fmla="*/ 148194 h 276225"/>
                <a:gd name="connsiteX34" fmla="*/ 23227 w 276225"/>
                <a:gd name="connsiteY34" fmla="*/ 161339 h 276225"/>
                <a:gd name="connsiteX35" fmla="*/ 23227 w 276225"/>
                <a:gd name="connsiteY35" fmla="*/ 161339 h 276225"/>
                <a:gd name="connsiteX36" fmla="*/ 35800 w 276225"/>
                <a:gd name="connsiteY36" fmla="*/ 170673 h 276225"/>
                <a:gd name="connsiteX37" fmla="*/ 44562 w 276225"/>
                <a:gd name="connsiteY37" fmla="*/ 191914 h 276225"/>
                <a:gd name="connsiteX38" fmla="*/ 42277 w 276225"/>
                <a:gd name="connsiteY38" fmla="*/ 207440 h 276225"/>
                <a:gd name="connsiteX39" fmla="*/ 42277 w 276225"/>
                <a:gd name="connsiteY39" fmla="*/ 207440 h 276225"/>
                <a:gd name="connsiteX40" fmla="*/ 42277 w 276225"/>
                <a:gd name="connsiteY40" fmla="*/ 226109 h 276225"/>
                <a:gd name="connsiteX41" fmla="*/ 53897 w 276225"/>
                <a:gd name="connsiteY41" fmla="*/ 237729 h 276225"/>
                <a:gd name="connsiteX42" fmla="*/ 72566 w 276225"/>
                <a:gd name="connsiteY42" fmla="*/ 237729 h 276225"/>
                <a:gd name="connsiteX43" fmla="*/ 72566 w 276225"/>
                <a:gd name="connsiteY43" fmla="*/ 237729 h 276225"/>
                <a:gd name="connsiteX44" fmla="*/ 88092 w 276225"/>
                <a:gd name="connsiteY44" fmla="*/ 235443 h 276225"/>
                <a:gd name="connsiteX45" fmla="*/ 109333 w 276225"/>
                <a:gd name="connsiteY45" fmla="*/ 244206 h 276225"/>
                <a:gd name="connsiteX46" fmla="*/ 118667 w 276225"/>
                <a:gd name="connsiteY46" fmla="*/ 256779 h 276225"/>
                <a:gd name="connsiteX47" fmla="*/ 118667 w 276225"/>
                <a:gd name="connsiteY47" fmla="*/ 256779 h 276225"/>
                <a:gd name="connsiteX48" fmla="*/ 131811 w 276225"/>
                <a:gd name="connsiteY48" fmla="*/ 269924 h 276225"/>
                <a:gd name="connsiteX49" fmla="*/ 148194 w 276225"/>
                <a:gd name="connsiteY49" fmla="*/ 269924 h 276225"/>
                <a:gd name="connsiteX50" fmla="*/ 161339 w 276225"/>
                <a:gd name="connsiteY50" fmla="*/ 256779 h 276225"/>
                <a:gd name="connsiteX51" fmla="*/ 161339 w 276225"/>
                <a:gd name="connsiteY51" fmla="*/ 256779 h 276225"/>
                <a:gd name="connsiteX52" fmla="*/ 170674 w 276225"/>
                <a:gd name="connsiteY52" fmla="*/ 244206 h 276225"/>
                <a:gd name="connsiteX53" fmla="*/ 191914 w 276225"/>
                <a:gd name="connsiteY53" fmla="*/ 235443 h 276225"/>
                <a:gd name="connsiteX54" fmla="*/ 207440 w 276225"/>
                <a:gd name="connsiteY54" fmla="*/ 237729 h 276225"/>
                <a:gd name="connsiteX55" fmla="*/ 207440 w 276225"/>
                <a:gd name="connsiteY55" fmla="*/ 237729 h 276225"/>
                <a:gd name="connsiteX56" fmla="*/ 226109 w 276225"/>
                <a:gd name="connsiteY56" fmla="*/ 237729 h 276225"/>
                <a:gd name="connsiteX57" fmla="*/ 237729 w 276225"/>
                <a:gd name="connsiteY57" fmla="*/ 226109 h 276225"/>
                <a:gd name="connsiteX58" fmla="*/ 237729 w 276225"/>
                <a:gd name="connsiteY58" fmla="*/ 207440 h 276225"/>
                <a:gd name="connsiteX59" fmla="*/ 237729 w 276225"/>
                <a:gd name="connsiteY59" fmla="*/ 207440 h 276225"/>
                <a:gd name="connsiteX60" fmla="*/ 235444 w 276225"/>
                <a:gd name="connsiteY60" fmla="*/ 191914 h 276225"/>
                <a:gd name="connsiteX61" fmla="*/ 244207 w 276225"/>
                <a:gd name="connsiteY61" fmla="*/ 170673 h 276225"/>
                <a:gd name="connsiteX62" fmla="*/ 256779 w 276225"/>
                <a:gd name="connsiteY62" fmla="*/ 161339 h 276225"/>
                <a:gd name="connsiteX63" fmla="*/ 256779 w 276225"/>
                <a:gd name="connsiteY63" fmla="*/ 161339 h 276225"/>
                <a:gd name="connsiteX64" fmla="*/ 270019 w 276225"/>
                <a:gd name="connsiteY64" fmla="*/ 1481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6225" h="276225">
                  <a:moveTo>
                    <a:pt x="270019" y="148194"/>
                  </a:moveTo>
                  <a:lnTo>
                    <a:pt x="270019" y="131812"/>
                  </a:lnTo>
                  <a:cubicBezTo>
                    <a:pt x="270019" y="124572"/>
                    <a:pt x="264114" y="118667"/>
                    <a:pt x="256875" y="118667"/>
                  </a:cubicBezTo>
                  <a:lnTo>
                    <a:pt x="256875" y="118667"/>
                  </a:lnTo>
                  <a:cubicBezTo>
                    <a:pt x="251065" y="118667"/>
                    <a:pt x="245921" y="114857"/>
                    <a:pt x="244302" y="109332"/>
                  </a:cubicBezTo>
                  <a:cubicBezTo>
                    <a:pt x="242111" y="101903"/>
                    <a:pt x="239158" y="94759"/>
                    <a:pt x="235539" y="88092"/>
                  </a:cubicBezTo>
                  <a:cubicBezTo>
                    <a:pt x="232777" y="82948"/>
                    <a:pt x="233729" y="76662"/>
                    <a:pt x="237825" y="72566"/>
                  </a:cubicBezTo>
                  <a:lnTo>
                    <a:pt x="237825" y="72566"/>
                  </a:lnTo>
                  <a:cubicBezTo>
                    <a:pt x="242968" y="67422"/>
                    <a:pt x="242968" y="59040"/>
                    <a:pt x="237825" y="53897"/>
                  </a:cubicBezTo>
                  <a:lnTo>
                    <a:pt x="226109" y="42276"/>
                  </a:lnTo>
                  <a:cubicBezTo>
                    <a:pt x="220966" y="37133"/>
                    <a:pt x="212584" y="37133"/>
                    <a:pt x="207440" y="42276"/>
                  </a:cubicBezTo>
                  <a:lnTo>
                    <a:pt x="207440" y="42276"/>
                  </a:lnTo>
                  <a:cubicBezTo>
                    <a:pt x="203344" y="46372"/>
                    <a:pt x="196962" y="47325"/>
                    <a:pt x="191914" y="44563"/>
                  </a:cubicBezTo>
                  <a:cubicBezTo>
                    <a:pt x="185247" y="40943"/>
                    <a:pt x="178103" y="37990"/>
                    <a:pt x="170674" y="35799"/>
                  </a:cubicBezTo>
                  <a:cubicBezTo>
                    <a:pt x="165149" y="34180"/>
                    <a:pt x="161339" y="29037"/>
                    <a:pt x="161339" y="23226"/>
                  </a:cubicBezTo>
                  <a:lnTo>
                    <a:pt x="161339" y="23226"/>
                  </a:lnTo>
                  <a:cubicBezTo>
                    <a:pt x="161339" y="15988"/>
                    <a:pt x="155434" y="10082"/>
                    <a:pt x="148194" y="10082"/>
                  </a:cubicBezTo>
                  <a:lnTo>
                    <a:pt x="131811" y="10082"/>
                  </a:lnTo>
                  <a:cubicBezTo>
                    <a:pt x="124572" y="10082"/>
                    <a:pt x="118667" y="15988"/>
                    <a:pt x="118667" y="23226"/>
                  </a:cubicBezTo>
                  <a:lnTo>
                    <a:pt x="118667" y="23226"/>
                  </a:lnTo>
                  <a:cubicBezTo>
                    <a:pt x="118667" y="29037"/>
                    <a:pt x="114857" y="34180"/>
                    <a:pt x="109333" y="35799"/>
                  </a:cubicBezTo>
                  <a:cubicBezTo>
                    <a:pt x="101903" y="37990"/>
                    <a:pt x="94759" y="40943"/>
                    <a:pt x="88092" y="44563"/>
                  </a:cubicBezTo>
                  <a:cubicBezTo>
                    <a:pt x="82948" y="47325"/>
                    <a:pt x="76662" y="46372"/>
                    <a:pt x="72566" y="42276"/>
                  </a:cubicBezTo>
                  <a:lnTo>
                    <a:pt x="72566" y="42276"/>
                  </a:lnTo>
                  <a:cubicBezTo>
                    <a:pt x="67422" y="37133"/>
                    <a:pt x="59041" y="37133"/>
                    <a:pt x="53897" y="42276"/>
                  </a:cubicBezTo>
                  <a:lnTo>
                    <a:pt x="42277" y="53897"/>
                  </a:lnTo>
                  <a:cubicBezTo>
                    <a:pt x="37133" y="59040"/>
                    <a:pt x="37133" y="67422"/>
                    <a:pt x="42277" y="72566"/>
                  </a:cubicBezTo>
                  <a:lnTo>
                    <a:pt x="42277" y="72566"/>
                  </a:lnTo>
                  <a:cubicBezTo>
                    <a:pt x="46372" y="76662"/>
                    <a:pt x="47325" y="83043"/>
                    <a:pt x="44562" y="88092"/>
                  </a:cubicBezTo>
                  <a:cubicBezTo>
                    <a:pt x="40943" y="94759"/>
                    <a:pt x="37990" y="101903"/>
                    <a:pt x="35800" y="109332"/>
                  </a:cubicBezTo>
                  <a:cubicBezTo>
                    <a:pt x="34180" y="114857"/>
                    <a:pt x="29037" y="118667"/>
                    <a:pt x="23227" y="118667"/>
                  </a:cubicBezTo>
                  <a:lnTo>
                    <a:pt x="23227" y="118667"/>
                  </a:lnTo>
                  <a:cubicBezTo>
                    <a:pt x="15987" y="118667"/>
                    <a:pt x="10082" y="124572"/>
                    <a:pt x="10082" y="131812"/>
                  </a:cubicBezTo>
                  <a:lnTo>
                    <a:pt x="10082" y="148194"/>
                  </a:lnTo>
                  <a:cubicBezTo>
                    <a:pt x="10082" y="155434"/>
                    <a:pt x="15987" y="161339"/>
                    <a:pt x="23227" y="161339"/>
                  </a:cubicBezTo>
                  <a:lnTo>
                    <a:pt x="23227" y="161339"/>
                  </a:lnTo>
                  <a:cubicBezTo>
                    <a:pt x="29037" y="161339"/>
                    <a:pt x="34180" y="165149"/>
                    <a:pt x="35800" y="170673"/>
                  </a:cubicBezTo>
                  <a:cubicBezTo>
                    <a:pt x="37990" y="178103"/>
                    <a:pt x="40943" y="185247"/>
                    <a:pt x="44562" y="191914"/>
                  </a:cubicBezTo>
                  <a:cubicBezTo>
                    <a:pt x="47325" y="197058"/>
                    <a:pt x="46372" y="203344"/>
                    <a:pt x="42277" y="207440"/>
                  </a:cubicBezTo>
                  <a:lnTo>
                    <a:pt x="42277" y="207440"/>
                  </a:lnTo>
                  <a:cubicBezTo>
                    <a:pt x="37133" y="212584"/>
                    <a:pt x="37133" y="220965"/>
                    <a:pt x="42277" y="226109"/>
                  </a:cubicBezTo>
                  <a:lnTo>
                    <a:pt x="53897" y="237729"/>
                  </a:lnTo>
                  <a:cubicBezTo>
                    <a:pt x="59041" y="242873"/>
                    <a:pt x="67422" y="242873"/>
                    <a:pt x="72566" y="237729"/>
                  </a:cubicBezTo>
                  <a:lnTo>
                    <a:pt x="72566" y="237729"/>
                  </a:lnTo>
                  <a:cubicBezTo>
                    <a:pt x="76662" y="233634"/>
                    <a:pt x="83044" y="232681"/>
                    <a:pt x="88092" y="235443"/>
                  </a:cubicBezTo>
                  <a:cubicBezTo>
                    <a:pt x="94759" y="239063"/>
                    <a:pt x="101903" y="242016"/>
                    <a:pt x="109333" y="244206"/>
                  </a:cubicBezTo>
                  <a:cubicBezTo>
                    <a:pt x="114857" y="245826"/>
                    <a:pt x="118667" y="250969"/>
                    <a:pt x="118667" y="256779"/>
                  </a:cubicBezTo>
                  <a:lnTo>
                    <a:pt x="118667" y="256779"/>
                  </a:lnTo>
                  <a:cubicBezTo>
                    <a:pt x="118667" y="264018"/>
                    <a:pt x="124572" y="269924"/>
                    <a:pt x="131811" y="269924"/>
                  </a:cubicBezTo>
                  <a:lnTo>
                    <a:pt x="148194" y="269924"/>
                  </a:lnTo>
                  <a:cubicBezTo>
                    <a:pt x="155434" y="269924"/>
                    <a:pt x="161339" y="264018"/>
                    <a:pt x="161339" y="256779"/>
                  </a:cubicBezTo>
                  <a:lnTo>
                    <a:pt x="161339" y="256779"/>
                  </a:lnTo>
                  <a:cubicBezTo>
                    <a:pt x="161339" y="250969"/>
                    <a:pt x="165149" y="245826"/>
                    <a:pt x="170674" y="244206"/>
                  </a:cubicBezTo>
                  <a:cubicBezTo>
                    <a:pt x="178103" y="242016"/>
                    <a:pt x="185247" y="239063"/>
                    <a:pt x="191914" y="235443"/>
                  </a:cubicBezTo>
                  <a:cubicBezTo>
                    <a:pt x="197058" y="232681"/>
                    <a:pt x="203344" y="233634"/>
                    <a:pt x="207440" y="237729"/>
                  </a:cubicBezTo>
                  <a:lnTo>
                    <a:pt x="207440" y="237729"/>
                  </a:lnTo>
                  <a:cubicBezTo>
                    <a:pt x="212584" y="242873"/>
                    <a:pt x="220966" y="242873"/>
                    <a:pt x="226109" y="237729"/>
                  </a:cubicBezTo>
                  <a:lnTo>
                    <a:pt x="237729" y="226109"/>
                  </a:lnTo>
                  <a:cubicBezTo>
                    <a:pt x="242873" y="220965"/>
                    <a:pt x="242873" y="212584"/>
                    <a:pt x="237729" y="207440"/>
                  </a:cubicBezTo>
                  <a:lnTo>
                    <a:pt x="237729" y="207440"/>
                  </a:lnTo>
                  <a:cubicBezTo>
                    <a:pt x="233634" y="203344"/>
                    <a:pt x="232681" y="196963"/>
                    <a:pt x="235444" y="191914"/>
                  </a:cubicBezTo>
                  <a:cubicBezTo>
                    <a:pt x="239063" y="185247"/>
                    <a:pt x="242016" y="178103"/>
                    <a:pt x="244207" y="170673"/>
                  </a:cubicBezTo>
                  <a:cubicBezTo>
                    <a:pt x="245826" y="165149"/>
                    <a:pt x="250969" y="161339"/>
                    <a:pt x="256779" y="161339"/>
                  </a:cubicBezTo>
                  <a:lnTo>
                    <a:pt x="256779" y="161339"/>
                  </a:lnTo>
                  <a:cubicBezTo>
                    <a:pt x="264114" y="161339"/>
                    <a:pt x="270019" y="155434"/>
                    <a:pt x="270019" y="148194"/>
                  </a:cubicBezTo>
                  <a:close/>
                </a:path>
              </a:pathLst>
            </a:custGeom>
            <a:noFill/>
            <a:ln w="13443" cap="flat">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1" name="Freeform: Shape 160">
              <a:extLst>
                <a:ext uri="{FF2B5EF4-FFF2-40B4-BE49-F238E27FC236}">
                  <a16:creationId xmlns:a16="http://schemas.microsoft.com/office/drawing/2014/main" id="{826E572C-E1DC-2A32-91B9-E59A7A3D6291}"/>
                </a:ext>
              </a:extLst>
            </p:cNvPr>
            <p:cNvSpPr/>
            <p:nvPr/>
          </p:nvSpPr>
          <p:spPr>
            <a:xfrm>
              <a:off x="5521156" y="1662367"/>
              <a:ext cx="542925" cy="447675"/>
            </a:xfrm>
            <a:custGeom>
              <a:avLst/>
              <a:gdLst>
                <a:gd name="connsiteX0" fmla="*/ 374261 w 542925"/>
                <a:gd name="connsiteY0" fmla="*/ 442079 h 447675"/>
                <a:gd name="connsiteX1" fmla="*/ 18312 w 542925"/>
                <a:gd name="connsiteY1" fmla="*/ 442079 h 447675"/>
                <a:gd name="connsiteX2" fmla="*/ 8501 w 542925"/>
                <a:gd name="connsiteY2" fmla="*/ 432268 h 447675"/>
                <a:gd name="connsiteX3" fmla="*/ 8501 w 542925"/>
                <a:gd name="connsiteY3" fmla="*/ 18312 h 447675"/>
                <a:gd name="connsiteX4" fmla="*/ 18312 w 542925"/>
                <a:gd name="connsiteY4" fmla="*/ 8501 h 447675"/>
                <a:gd name="connsiteX5" fmla="*/ 529042 w 542925"/>
                <a:gd name="connsiteY5" fmla="*/ 8501 h 447675"/>
                <a:gd name="connsiteX6" fmla="*/ 538853 w 542925"/>
                <a:gd name="connsiteY6" fmla="*/ 18312 h 447675"/>
                <a:gd name="connsiteX7" fmla="*/ 538853 w 542925"/>
                <a:gd name="connsiteY7" fmla="*/ 27910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925" h="447675">
                  <a:moveTo>
                    <a:pt x="374261" y="442079"/>
                  </a:moveTo>
                  <a:lnTo>
                    <a:pt x="18312" y="442079"/>
                  </a:lnTo>
                  <a:cubicBezTo>
                    <a:pt x="12882" y="442079"/>
                    <a:pt x="8501" y="437698"/>
                    <a:pt x="8501" y="432268"/>
                  </a:cubicBezTo>
                  <a:lnTo>
                    <a:pt x="8501" y="18312"/>
                  </a:lnTo>
                  <a:cubicBezTo>
                    <a:pt x="8501" y="12883"/>
                    <a:pt x="12882" y="8501"/>
                    <a:pt x="18312" y="8501"/>
                  </a:cubicBezTo>
                  <a:lnTo>
                    <a:pt x="529042" y="8501"/>
                  </a:lnTo>
                  <a:cubicBezTo>
                    <a:pt x="534472" y="8501"/>
                    <a:pt x="538853" y="12883"/>
                    <a:pt x="538853" y="18312"/>
                  </a:cubicBezTo>
                  <a:lnTo>
                    <a:pt x="538853" y="279106"/>
                  </a:lnTo>
                </a:path>
              </a:pathLst>
            </a:custGeom>
            <a:noFill/>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2" name="Freeform: Shape 161">
              <a:extLst>
                <a:ext uri="{FF2B5EF4-FFF2-40B4-BE49-F238E27FC236}">
                  <a16:creationId xmlns:a16="http://schemas.microsoft.com/office/drawing/2014/main" id="{11FC08B4-3A3D-6F38-54C1-E1E007F5A2A1}"/>
                </a:ext>
              </a:extLst>
            </p:cNvPr>
            <p:cNvSpPr/>
            <p:nvPr/>
          </p:nvSpPr>
          <p:spPr>
            <a:xfrm>
              <a:off x="6002436" y="1843991"/>
              <a:ext cx="28575" cy="28575"/>
            </a:xfrm>
            <a:custGeom>
              <a:avLst/>
              <a:gdLst>
                <a:gd name="connsiteX0" fmla="*/ 26331 w 28575"/>
                <a:gd name="connsiteY0" fmla="*/ 16425 h 28575"/>
                <a:gd name="connsiteX1" fmla="*/ 16425 w 28575"/>
                <a:gd name="connsiteY1" fmla="*/ 6519 h 28575"/>
                <a:gd name="connsiteX2" fmla="*/ 6519 w 28575"/>
                <a:gd name="connsiteY2" fmla="*/ 16425 h 28575"/>
                <a:gd name="connsiteX3" fmla="*/ 16425 w 28575"/>
                <a:gd name="connsiteY3" fmla="*/ 26331 h 28575"/>
                <a:gd name="connsiteX4" fmla="*/ 26331 w 28575"/>
                <a:gd name="connsiteY4" fmla="*/ 1642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331" y="16425"/>
                  </a:moveTo>
                  <a:cubicBezTo>
                    <a:pt x="26331" y="10900"/>
                    <a:pt x="21854" y="6519"/>
                    <a:pt x="16425" y="6519"/>
                  </a:cubicBezTo>
                  <a:cubicBezTo>
                    <a:pt x="10900" y="6519"/>
                    <a:pt x="6519" y="10995"/>
                    <a:pt x="6519" y="16425"/>
                  </a:cubicBezTo>
                  <a:cubicBezTo>
                    <a:pt x="6519" y="21949"/>
                    <a:pt x="10995" y="26331"/>
                    <a:pt x="16425" y="26331"/>
                  </a:cubicBezTo>
                  <a:cubicBezTo>
                    <a:pt x="21854" y="26426"/>
                    <a:pt x="26331" y="21949"/>
                    <a:pt x="26331" y="16425"/>
                  </a:cubicBezTo>
                  <a:close/>
                </a:path>
              </a:pathLst>
            </a:custGeom>
            <a:noFill/>
            <a:ln w="8692"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3" name="Freeform: Shape 162">
              <a:extLst>
                <a:ext uri="{FF2B5EF4-FFF2-40B4-BE49-F238E27FC236}">
                  <a16:creationId xmlns:a16="http://schemas.microsoft.com/office/drawing/2014/main" id="{1378A44D-A503-C617-284A-D0E90E760598}"/>
                </a:ext>
              </a:extLst>
            </p:cNvPr>
            <p:cNvSpPr/>
            <p:nvPr/>
          </p:nvSpPr>
          <p:spPr>
            <a:xfrm>
              <a:off x="6002436" y="1904761"/>
              <a:ext cx="28575" cy="28575"/>
            </a:xfrm>
            <a:custGeom>
              <a:avLst/>
              <a:gdLst>
                <a:gd name="connsiteX0" fmla="*/ 26331 w 28575"/>
                <a:gd name="connsiteY0" fmla="*/ 16425 h 28575"/>
                <a:gd name="connsiteX1" fmla="*/ 16425 w 28575"/>
                <a:gd name="connsiteY1" fmla="*/ 6519 h 28575"/>
                <a:gd name="connsiteX2" fmla="*/ 6519 w 28575"/>
                <a:gd name="connsiteY2" fmla="*/ 16425 h 28575"/>
                <a:gd name="connsiteX3" fmla="*/ 16425 w 28575"/>
                <a:gd name="connsiteY3" fmla="*/ 26331 h 28575"/>
                <a:gd name="connsiteX4" fmla="*/ 26331 w 28575"/>
                <a:gd name="connsiteY4" fmla="*/ 1642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331" y="16425"/>
                  </a:moveTo>
                  <a:cubicBezTo>
                    <a:pt x="26331" y="10900"/>
                    <a:pt x="21854" y="6519"/>
                    <a:pt x="16425" y="6519"/>
                  </a:cubicBezTo>
                  <a:cubicBezTo>
                    <a:pt x="10900" y="6519"/>
                    <a:pt x="6519" y="10995"/>
                    <a:pt x="6519" y="16425"/>
                  </a:cubicBezTo>
                  <a:cubicBezTo>
                    <a:pt x="6519" y="21949"/>
                    <a:pt x="10995" y="26331"/>
                    <a:pt x="16425" y="26331"/>
                  </a:cubicBezTo>
                  <a:cubicBezTo>
                    <a:pt x="21854" y="26331"/>
                    <a:pt x="26331" y="21854"/>
                    <a:pt x="26331" y="16425"/>
                  </a:cubicBezTo>
                  <a:close/>
                </a:path>
              </a:pathLst>
            </a:custGeom>
            <a:noFill/>
            <a:ln w="8692"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4" name="Freeform: Shape 163">
              <a:extLst>
                <a:ext uri="{FF2B5EF4-FFF2-40B4-BE49-F238E27FC236}">
                  <a16:creationId xmlns:a16="http://schemas.microsoft.com/office/drawing/2014/main" id="{54670C01-9540-F89D-E551-1DCAE263B5A7}"/>
                </a:ext>
              </a:extLst>
            </p:cNvPr>
            <p:cNvSpPr/>
            <p:nvPr/>
          </p:nvSpPr>
          <p:spPr>
            <a:xfrm>
              <a:off x="5964431" y="1952576"/>
              <a:ext cx="28575" cy="28575"/>
            </a:xfrm>
            <a:custGeom>
              <a:avLst/>
              <a:gdLst>
                <a:gd name="connsiteX0" fmla="*/ 26331 w 28575"/>
                <a:gd name="connsiteY0" fmla="*/ 16425 h 28575"/>
                <a:gd name="connsiteX1" fmla="*/ 16425 w 28575"/>
                <a:gd name="connsiteY1" fmla="*/ 6519 h 28575"/>
                <a:gd name="connsiteX2" fmla="*/ 6519 w 28575"/>
                <a:gd name="connsiteY2" fmla="*/ 16425 h 28575"/>
                <a:gd name="connsiteX3" fmla="*/ 16425 w 28575"/>
                <a:gd name="connsiteY3" fmla="*/ 26331 h 28575"/>
                <a:gd name="connsiteX4" fmla="*/ 26331 w 28575"/>
                <a:gd name="connsiteY4" fmla="*/ 1642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331" y="16425"/>
                  </a:moveTo>
                  <a:cubicBezTo>
                    <a:pt x="26331" y="10900"/>
                    <a:pt x="21854" y="6519"/>
                    <a:pt x="16425" y="6519"/>
                  </a:cubicBezTo>
                  <a:cubicBezTo>
                    <a:pt x="10995" y="6519"/>
                    <a:pt x="6519" y="10995"/>
                    <a:pt x="6519" y="16425"/>
                  </a:cubicBezTo>
                  <a:cubicBezTo>
                    <a:pt x="6519" y="21949"/>
                    <a:pt x="10995" y="26331"/>
                    <a:pt x="16425" y="26331"/>
                  </a:cubicBezTo>
                  <a:cubicBezTo>
                    <a:pt x="21854" y="26331"/>
                    <a:pt x="26331" y="21949"/>
                    <a:pt x="26331" y="16425"/>
                  </a:cubicBezTo>
                  <a:close/>
                </a:path>
              </a:pathLst>
            </a:custGeom>
            <a:noFill/>
            <a:ln w="8692"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5" name="Freeform: Shape 164">
              <a:extLst>
                <a:ext uri="{FF2B5EF4-FFF2-40B4-BE49-F238E27FC236}">
                  <a16:creationId xmlns:a16="http://schemas.microsoft.com/office/drawing/2014/main" id="{D7A225F9-0AE2-330A-4A42-7F5A1DFCCC4D}"/>
                </a:ext>
              </a:extLst>
            </p:cNvPr>
            <p:cNvSpPr/>
            <p:nvPr/>
          </p:nvSpPr>
          <p:spPr>
            <a:xfrm>
              <a:off x="5964431" y="1843991"/>
              <a:ext cx="28575" cy="28575"/>
            </a:xfrm>
            <a:custGeom>
              <a:avLst/>
              <a:gdLst>
                <a:gd name="connsiteX0" fmla="*/ 26331 w 28575"/>
                <a:gd name="connsiteY0" fmla="*/ 16425 h 28575"/>
                <a:gd name="connsiteX1" fmla="*/ 16425 w 28575"/>
                <a:gd name="connsiteY1" fmla="*/ 6519 h 28575"/>
                <a:gd name="connsiteX2" fmla="*/ 6519 w 28575"/>
                <a:gd name="connsiteY2" fmla="*/ 16425 h 28575"/>
                <a:gd name="connsiteX3" fmla="*/ 16425 w 28575"/>
                <a:gd name="connsiteY3" fmla="*/ 26331 h 28575"/>
                <a:gd name="connsiteX4" fmla="*/ 26331 w 28575"/>
                <a:gd name="connsiteY4" fmla="*/ 1642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331" y="16425"/>
                  </a:moveTo>
                  <a:cubicBezTo>
                    <a:pt x="26331" y="10900"/>
                    <a:pt x="21854" y="6519"/>
                    <a:pt x="16425" y="6519"/>
                  </a:cubicBezTo>
                  <a:cubicBezTo>
                    <a:pt x="10995" y="6519"/>
                    <a:pt x="6519" y="10995"/>
                    <a:pt x="6519" y="16425"/>
                  </a:cubicBezTo>
                  <a:cubicBezTo>
                    <a:pt x="6519" y="21949"/>
                    <a:pt x="10995" y="26331"/>
                    <a:pt x="16425" y="26331"/>
                  </a:cubicBezTo>
                  <a:cubicBezTo>
                    <a:pt x="21854" y="26331"/>
                    <a:pt x="26331" y="21949"/>
                    <a:pt x="26331" y="16425"/>
                  </a:cubicBezTo>
                  <a:close/>
                </a:path>
              </a:pathLst>
            </a:custGeom>
            <a:noFill/>
            <a:ln w="8692"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6" name="Freeform: Shape 165">
              <a:extLst>
                <a:ext uri="{FF2B5EF4-FFF2-40B4-BE49-F238E27FC236}">
                  <a16:creationId xmlns:a16="http://schemas.microsoft.com/office/drawing/2014/main" id="{A9B103FE-938A-43DF-1324-B17A8DDD38B3}"/>
                </a:ext>
              </a:extLst>
            </p:cNvPr>
            <p:cNvSpPr/>
            <p:nvPr/>
          </p:nvSpPr>
          <p:spPr>
            <a:xfrm>
              <a:off x="5563104" y="1855382"/>
              <a:ext cx="228600" cy="19050"/>
            </a:xfrm>
            <a:custGeom>
              <a:avLst/>
              <a:gdLst>
                <a:gd name="connsiteX0" fmla="*/ 10082 w 228600"/>
                <a:gd name="connsiteY0" fmla="*/ 10082 h 19050"/>
                <a:gd name="connsiteX1" fmla="*/ 221442 w 228600"/>
                <a:gd name="connsiteY1" fmla="*/ 10082 h 19050"/>
              </a:gdLst>
              <a:ahLst/>
              <a:cxnLst>
                <a:cxn ang="0">
                  <a:pos x="connsiteX0" y="connsiteY0"/>
                </a:cxn>
                <a:cxn ang="0">
                  <a:pos x="connsiteX1" y="connsiteY1"/>
                </a:cxn>
              </a:cxnLst>
              <a:rect l="l" t="t" r="r" b="b"/>
              <a:pathLst>
                <a:path w="228600" h="19050">
                  <a:moveTo>
                    <a:pt x="10082" y="10082"/>
                  </a:moveTo>
                  <a:lnTo>
                    <a:pt x="221442" y="10082"/>
                  </a:lnTo>
                </a:path>
              </a:pathLst>
            </a:custGeom>
            <a:ln w="13443"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7" name="Freeform: Shape 166">
              <a:extLst>
                <a:ext uri="{FF2B5EF4-FFF2-40B4-BE49-F238E27FC236}">
                  <a16:creationId xmlns:a16="http://schemas.microsoft.com/office/drawing/2014/main" id="{6D6C427F-1AFA-C7A9-7B23-415D4FC7D221}"/>
                </a:ext>
              </a:extLst>
            </p:cNvPr>
            <p:cNvSpPr/>
            <p:nvPr/>
          </p:nvSpPr>
          <p:spPr>
            <a:xfrm>
              <a:off x="5563104" y="1911104"/>
              <a:ext cx="228600" cy="19050"/>
            </a:xfrm>
            <a:custGeom>
              <a:avLst/>
              <a:gdLst>
                <a:gd name="connsiteX0" fmla="*/ 10082 w 228600"/>
                <a:gd name="connsiteY0" fmla="*/ 10082 h 19050"/>
                <a:gd name="connsiteX1" fmla="*/ 221442 w 228600"/>
                <a:gd name="connsiteY1" fmla="*/ 10082 h 19050"/>
              </a:gdLst>
              <a:ahLst/>
              <a:cxnLst>
                <a:cxn ang="0">
                  <a:pos x="connsiteX0" y="connsiteY0"/>
                </a:cxn>
                <a:cxn ang="0">
                  <a:pos x="connsiteX1" y="connsiteY1"/>
                </a:cxn>
              </a:cxnLst>
              <a:rect l="l" t="t" r="r" b="b"/>
              <a:pathLst>
                <a:path w="228600" h="19050">
                  <a:moveTo>
                    <a:pt x="10082" y="10082"/>
                  </a:moveTo>
                  <a:lnTo>
                    <a:pt x="221442" y="10082"/>
                  </a:lnTo>
                </a:path>
              </a:pathLst>
            </a:custGeom>
            <a:ln w="13443"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68" name="Freeform: Shape 167">
              <a:extLst>
                <a:ext uri="{FF2B5EF4-FFF2-40B4-BE49-F238E27FC236}">
                  <a16:creationId xmlns:a16="http://schemas.microsoft.com/office/drawing/2014/main" id="{AF21D4F5-0CB9-F398-2983-27F83E62211C}"/>
                </a:ext>
              </a:extLst>
            </p:cNvPr>
            <p:cNvSpPr/>
            <p:nvPr/>
          </p:nvSpPr>
          <p:spPr>
            <a:xfrm>
              <a:off x="5563104" y="1965301"/>
              <a:ext cx="228600" cy="19050"/>
            </a:xfrm>
            <a:custGeom>
              <a:avLst/>
              <a:gdLst>
                <a:gd name="connsiteX0" fmla="*/ 10082 w 228600"/>
                <a:gd name="connsiteY0" fmla="*/ 10082 h 19050"/>
                <a:gd name="connsiteX1" fmla="*/ 221442 w 228600"/>
                <a:gd name="connsiteY1" fmla="*/ 10082 h 19050"/>
              </a:gdLst>
              <a:ahLst/>
              <a:cxnLst>
                <a:cxn ang="0">
                  <a:pos x="connsiteX0" y="connsiteY0"/>
                </a:cxn>
                <a:cxn ang="0">
                  <a:pos x="connsiteX1" y="connsiteY1"/>
                </a:cxn>
              </a:cxnLst>
              <a:rect l="l" t="t" r="r" b="b"/>
              <a:pathLst>
                <a:path w="228600" h="19050">
                  <a:moveTo>
                    <a:pt x="10082" y="10082"/>
                  </a:moveTo>
                  <a:lnTo>
                    <a:pt x="221442" y="10082"/>
                  </a:lnTo>
                </a:path>
              </a:pathLst>
            </a:custGeom>
            <a:ln w="13443"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grpSp>
        <p:nvGrpSpPr>
          <p:cNvPr id="169" name="Group 168">
            <a:extLst>
              <a:ext uri="{FF2B5EF4-FFF2-40B4-BE49-F238E27FC236}">
                <a16:creationId xmlns:a16="http://schemas.microsoft.com/office/drawing/2014/main" id="{145CFE34-2409-BE88-3F5B-B73DCEC91CDC}"/>
              </a:ext>
            </a:extLst>
          </p:cNvPr>
          <p:cNvGrpSpPr>
            <a:grpSpLocks noChangeAspect="1"/>
          </p:cNvGrpSpPr>
          <p:nvPr/>
        </p:nvGrpSpPr>
        <p:grpSpPr>
          <a:xfrm>
            <a:off x="6824196" y="1857609"/>
            <a:ext cx="634305" cy="667866"/>
            <a:chOff x="6934734" y="1656340"/>
            <a:chExt cx="420111" cy="442341"/>
          </a:xfrm>
        </p:grpSpPr>
        <p:sp>
          <p:nvSpPr>
            <p:cNvPr id="170" name="Freeform: Shape 169">
              <a:extLst>
                <a:ext uri="{FF2B5EF4-FFF2-40B4-BE49-F238E27FC236}">
                  <a16:creationId xmlns:a16="http://schemas.microsoft.com/office/drawing/2014/main" id="{DD286756-1DC3-44F4-1709-56A4C91E0D9C}"/>
                </a:ext>
              </a:extLst>
            </p:cNvPr>
            <p:cNvSpPr/>
            <p:nvPr/>
          </p:nvSpPr>
          <p:spPr>
            <a:xfrm>
              <a:off x="7312832" y="1987575"/>
              <a:ext cx="28575" cy="38100"/>
            </a:xfrm>
            <a:custGeom>
              <a:avLst/>
              <a:gdLst>
                <a:gd name="connsiteX0" fmla="*/ 12478 w 28575"/>
                <a:gd name="connsiteY0" fmla="*/ 7144 h 38100"/>
                <a:gd name="connsiteX1" fmla="*/ 7144 w 28575"/>
                <a:gd name="connsiteY1" fmla="*/ 8096 h 38100"/>
                <a:gd name="connsiteX2" fmla="*/ 16859 w 28575"/>
                <a:gd name="connsiteY2" fmla="*/ 22098 h 38100"/>
                <a:gd name="connsiteX3" fmla="*/ 7144 w 28575"/>
                <a:gd name="connsiteY3" fmla="*/ 36100 h 38100"/>
                <a:gd name="connsiteX4" fmla="*/ 12478 w 28575"/>
                <a:gd name="connsiteY4" fmla="*/ 37052 h 38100"/>
                <a:gd name="connsiteX5" fmla="*/ 27527 w 28575"/>
                <a:gd name="connsiteY5" fmla="*/ 22003 h 38100"/>
                <a:gd name="connsiteX6" fmla="*/ 12478 w 28575"/>
                <a:gd name="connsiteY6" fmla="*/ 714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8100">
                  <a:moveTo>
                    <a:pt x="12478" y="7144"/>
                  </a:moveTo>
                  <a:cubicBezTo>
                    <a:pt x="10573" y="7144"/>
                    <a:pt x="8858" y="7525"/>
                    <a:pt x="7144" y="8096"/>
                  </a:cubicBezTo>
                  <a:cubicBezTo>
                    <a:pt x="12859" y="10287"/>
                    <a:pt x="16859" y="15716"/>
                    <a:pt x="16859" y="22098"/>
                  </a:cubicBezTo>
                  <a:cubicBezTo>
                    <a:pt x="16859" y="28480"/>
                    <a:pt x="12764" y="34004"/>
                    <a:pt x="7144" y="36100"/>
                  </a:cubicBezTo>
                  <a:cubicBezTo>
                    <a:pt x="8763" y="36766"/>
                    <a:pt x="10573" y="37052"/>
                    <a:pt x="12478" y="37052"/>
                  </a:cubicBezTo>
                  <a:cubicBezTo>
                    <a:pt x="20764" y="37052"/>
                    <a:pt x="27527" y="30289"/>
                    <a:pt x="27527" y="22003"/>
                  </a:cubicBezTo>
                  <a:cubicBezTo>
                    <a:pt x="27527" y="13716"/>
                    <a:pt x="20764" y="7144"/>
                    <a:pt x="12478" y="7144"/>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1" name="Freeform: Shape 170">
              <a:extLst>
                <a:ext uri="{FF2B5EF4-FFF2-40B4-BE49-F238E27FC236}">
                  <a16:creationId xmlns:a16="http://schemas.microsoft.com/office/drawing/2014/main" id="{2892A5AD-2F83-C88F-006B-9B0F83F445BD}"/>
                </a:ext>
              </a:extLst>
            </p:cNvPr>
            <p:cNvSpPr/>
            <p:nvPr/>
          </p:nvSpPr>
          <p:spPr>
            <a:xfrm>
              <a:off x="7077228" y="1781404"/>
              <a:ext cx="57150" cy="152400"/>
            </a:xfrm>
            <a:custGeom>
              <a:avLst/>
              <a:gdLst>
                <a:gd name="connsiteX0" fmla="*/ 7956 w 57150"/>
                <a:gd name="connsiteY0" fmla="*/ 7956 h 152400"/>
                <a:gd name="connsiteX1" fmla="*/ 35769 w 57150"/>
                <a:gd name="connsiteY1" fmla="*/ 30816 h 152400"/>
                <a:gd name="connsiteX2" fmla="*/ 49199 w 57150"/>
                <a:gd name="connsiteY2" fmla="*/ 59200 h 152400"/>
                <a:gd name="connsiteX3" fmla="*/ 49199 w 57150"/>
                <a:gd name="connsiteY3" fmla="*/ 118922 h 152400"/>
                <a:gd name="connsiteX4" fmla="*/ 16243 w 57150"/>
                <a:gd name="connsiteY4" fmla="*/ 151879 h 152400"/>
                <a:gd name="connsiteX5" fmla="*/ 16243 w 57150"/>
                <a:gd name="connsiteY5" fmla="*/ 1518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152400">
                  <a:moveTo>
                    <a:pt x="7956" y="7956"/>
                  </a:moveTo>
                  <a:lnTo>
                    <a:pt x="35769" y="30816"/>
                  </a:lnTo>
                  <a:cubicBezTo>
                    <a:pt x="44246" y="37769"/>
                    <a:pt x="49199" y="48247"/>
                    <a:pt x="49199" y="59200"/>
                  </a:cubicBezTo>
                  <a:lnTo>
                    <a:pt x="49199" y="118922"/>
                  </a:lnTo>
                  <a:cubicBezTo>
                    <a:pt x="49199" y="137115"/>
                    <a:pt x="34436" y="151879"/>
                    <a:pt x="16243" y="151879"/>
                  </a:cubicBezTo>
                  <a:lnTo>
                    <a:pt x="16243" y="151879"/>
                  </a:lnTo>
                </a:path>
              </a:pathLst>
            </a:custGeom>
            <a:noFill/>
            <a:ln w="1060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2" name="Freeform: Shape 171">
              <a:extLst>
                <a:ext uri="{FF2B5EF4-FFF2-40B4-BE49-F238E27FC236}">
                  <a16:creationId xmlns:a16="http://schemas.microsoft.com/office/drawing/2014/main" id="{776FF786-0F20-AF4A-69B7-C2AFCB81E9D0}"/>
                </a:ext>
              </a:extLst>
            </p:cNvPr>
            <p:cNvSpPr/>
            <p:nvPr/>
          </p:nvSpPr>
          <p:spPr>
            <a:xfrm>
              <a:off x="6934734" y="1781404"/>
              <a:ext cx="57150" cy="152400"/>
            </a:xfrm>
            <a:custGeom>
              <a:avLst/>
              <a:gdLst>
                <a:gd name="connsiteX0" fmla="*/ 49199 w 57150"/>
                <a:gd name="connsiteY0" fmla="*/ 7956 h 152400"/>
                <a:gd name="connsiteX1" fmla="*/ 21386 w 57150"/>
                <a:gd name="connsiteY1" fmla="*/ 30816 h 152400"/>
                <a:gd name="connsiteX2" fmla="*/ 7956 w 57150"/>
                <a:gd name="connsiteY2" fmla="*/ 59200 h 152400"/>
                <a:gd name="connsiteX3" fmla="*/ 7956 w 57150"/>
                <a:gd name="connsiteY3" fmla="*/ 118922 h 152400"/>
                <a:gd name="connsiteX4" fmla="*/ 40912 w 57150"/>
                <a:gd name="connsiteY4" fmla="*/ 151879 h 152400"/>
                <a:gd name="connsiteX5" fmla="*/ 40912 w 57150"/>
                <a:gd name="connsiteY5" fmla="*/ 15187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152400">
                  <a:moveTo>
                    <a:pt x="49199" y="7956"/>
                  </a:moveTo>
                  <a:lnTo>
                    <a:pt x="21386" y="30816"/>
                  </a:lnTo>
                  <a:cubicBezTo>
                    <a:pt x="12909" y="37769"/>
                    <a:pt x="7956" y="48247"/>
                    <a:pt x="7956" y="59200"/>
                  </a:cubicBezTo>
                  <a:lnTo>
                    <a:pt x="7956" y="118922"/>
                  </a:lnTo>
                  <a:cubicBezTo>
                    <a:pt x="7956" y="137115"/>
                    <a:pt x="22720" y="151879"/>
                    <a:pt x="40912" y="151879"/>
                  </a:cubicBezTo>
                  <a:lnTo>
                    <a:pt x="40912" y="151879"/>
                  </a:lnTo>
                </a:path>
              </a:pathLst>
            </a:custGeom>
            <a:noFill/>
            <a:ln w="1060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3" name="Freeform: Shape 172">
              <a:extLst>
                <a:ext uri="{FF2B5EF4-FFF2-40B4-BE49-F238E27FC236}">
                  <a16:creationId xmlns:a16="http://schemas.microsoft.com/office/drawing/2014/main" id="{765A8D50-E2CC-1EC1-4A4F-DEC374C07E2A}"/>
                </a:ext>
              </a:extLst>
            </p:cNvPr>
            <p:cNvSpPr/>
            <p:nvPr/>
          </p:nvSpPr>
          <p:spPr>
            <a:xfrm>
              <a:off x="7046367" y="1841506"/>
              <a:ext cx="47625" cy="257175"/>
            </a:xfrm>
            <a:custGeom>
              <a:avLst/>
              <a:gdLst>
                <a:gd name="connsiteX0" fmla="*/ 45485 w 47625"/>
                <a:gd name="connsiteY0" fmla="*/ 7956 h 257175"/>
                <a:gd name="connsiteX1" fmla="*/ 45675 w 47625"/>
                <a:gd name="connsiteY1" fmla="*/ 27482 h 257175"/>
                <a:gd name="connsiteX2" fmla="*/ 45675 w 47625"/>
                <a:gd name="connsiteY2" fmla="*/ 222459 h 257175"/>
                <a:gd name="connsiteX3" fmla="*/ 17005 w 47625"/>
                <a:gd name="connsiteY3" fmla="*/ 251129 h 257175"/>
                <a:gd name="connsiteX4" fmla="*/ 7956 w 47625"/>
                <a:gd name="connsiteY4" fmla="*/ 251129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57175">
                  <a:moveTo>
                    <a:pt x="45485" y="7956"/>
                  </a:moveTo>
                  <a:lnTo>
                    <a:pt x="45675" y="27482"/>
                  </a:lnTo>
                  <a:lnTo>
                    <a:pt x="45675" y="222459"/>
                  </a:lnTo>
                  <a:cubicBezTo>
                    <a:pt x="45675" y="238270"/>
                    <a:pt x="32816" y="251129"/>
                    <a:pt x="17005" y="251129"/>
                  </a:cubicBezTo>
                  <a:lnTo>
                    <a:pt x="7956" y="251129"/>
                  </a:lnTo>
                </a:path>
              </a:pathLst>
            </a:custGeom>
            <a:noFill/>
            <a:ln w="1060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4" name="Freeform: Shape 173">
              <a:extLst>
                <a:ext uri="{FF2B5EF4-FFF2-40B4-BE49-F238E27FC236}">
                  <a16:creationId xmlns:a16="http://schemas.microsoft.com/office/drawing/2014/main" id="{7F5E3C0B-73B2-408D-5DFD-C7522AB6B006}"/>
                </a:ext>
              </a:extLst>
            </p:cNvPr>
            <p:cNvSpPr/>
            <p:nvPr/>
          </p:nvSpPr>
          <p:spPr>
            <a:xfrm>
              <a:off x="6969120" y="1841506"/>
              <a:ext cx="66675" cy="257175"/>
            </a:xfrm>
            <a:custGeom>
              <a:avLst/>
              <a:gdLst>
                <a:gd name="connsiteX0" fmla="*/ 8147 w 66675"/>
                <a:gd name="connsiteY0" fmla="*/ 7956 h 257175"/>
                <a:gd name="connsiteX1" fmla="*/ 7956 w 66675"/>
                <a:gd name="connsiteY1" fmla="*/ 27482 h 257175"/>
                <a:gd name="connsiteX2" fmla="*/ 7956 w 66675"/>
                <a:gd name="connsiteY2" fmla="*/ 222459 h 257175"/>
                <a:gd name="connsiteX3" fmla="*/ 36626 w 66675"/>
                <a:gd name="connsiteY3" fmla="*/ 251129 h 257175"/>
                <a:gd name="connsiteX4" fmla="*/ 36626 w 66675"/>
                <a:gd name="connsiteY4" fmla="*/ 251129 h 257175"/>
                <a:gd name="connsiteX5" fmla="*/ 65297 w 66675"/>
                <a:gd name="connsiteY5" fmla="*/ 222459 h 257175"/>
                <a:gd name="connsiteX6" fmla="*/ 65297 w 66675"/>
                <a:gd name="connsiteY6" fmla="*/ 10882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257175">
                  <a:moveTo>
                    <a:pt x="8147" y="7956"/>
                  </a:moveTo>
                  <a:lnTo>
                    <a:pt x="7956" y="27482"/>
                  </a:lnTo>
                  <a:lnTo>
                    <a:pt x="7956" y="222459"/>
                  </a:lnTo>
                  <a:cubicBezTo>
                    <a:pt x="7956" y="238270"/>
                    <a:pt x="20815" y="251129"/>
                    <a:pt x="36626" y="251129"/>
                  </a:cubicBezTo>
                  <a:lnTo>
                    <a:pt x="36626" y="251129"/>
                  </a:lnTo>
                  <a:cubicBezTo>
                    <a:pt x="52438" y="251129"/>
                    <a:pt x="65297" y="238270"/>
                    <a:pt x="65297" y="222459"/>
                  </a:cubicBezTo>
                  <a:lnTo>
                    <a:pt x="65297" y="108826"/>
                  </a:lnTo>
                </a:path>
              </a:pathLst>
            </a:custGeom>
            <a:noFill/>
            <a:ln w="1060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5" name="Freeform: Shape 174">
              <a:extLst>
                <a:ext uri="{FF2B5EF4-FFF2-40B4-BE49-F238E27FC236}">
                  <a16:creationId xmlns:a16="http://schemas.microsoft.com/office/drawing/2014/main" id="{8C6DDAB5-6616-7739-DAD0-CB1EF0C7A001}"/>
                </a:ext>
              </a:extLst>
            </p:cNvPr>
            <p:cNvSpPr/>
            <p:nvPr/>
          </p:nvSpPr>
          <p:spPr>
            <a:xfrm>
              <a:off x="6968834" y="1656340"/>
              <a:ext cx="123825" cy="123825"/>
            </a:xfrm>
            <a:custGeom>
              <a:avLst/>
              <a:gdLst>
                <a:gd name="connsiteX0" fmla="*/ 123399 w 123825"/>
                <a:gd name="connsiteY0" fmla="*/ 65677 h 123825"/>
                <a:gd name="connsiteX1" fmla="*/ 65678 w 123825"/>
                <a:gd name="connsiteY1" fmla="*/ 123399 h 123825"/>
                <a:gd name="connsiteX2" fmla="*/ 7956 w 123825"/>
                <a:gd name="connsiteY2" fmla="*/ 65677 h 123825"/>
                <a:gd name="connsiteX3" fmla="*/ 65678 w 123825"/>
                <a:gd name="connsiteY3" fmla="*/ 7956 h 123825"/>
                <a:gd name="connsiteX4" fmla="*/ 123399 w 123825"/>
                <a:gd name="connsiteY4" fmla="*/ 65677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3399" y="65677"/>
                  </a:moveTo>
                  <a:cubicBezTo>
                    <a:pt x="123399" y="97556"/>
                    <a:pt x="97557" y="123399"/>
                    <a:pt x="65678" y="123399"/>
                  </a:cubicBezTo>
                  <a:cubicBezTo>
                    <a:pt x="33799" y="123399"/>
                    <a:pt x="7956" y="97556"/>
                    <a:pt x="7956" y="65677"/>
                  </a:cubicBezTo>
                  <a:cubicBezTo>
                    <a:pt x="7956" y="33799"/>
                    <a:pt x="33799" y="7956"/>
                    <a:pt x="65678" y="7956"/>
                  </a:cubicBezTo>
                  <a:cubicBezTo>
                    <a:pt x="97557" y="7956"/>
                    <a:pt x="123399" y="33799"/>
                    <a:pt x="123399" y="65677"/>
                  </a:cubicBezTo>
                  <a:close/>
                </a:path>
              </a:pathLst>
            </a:custGeom>
            <a:noFill/>
            <a:ln w="10608"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6" name="Freeform: Shape 175">
              <a:extLst>
                <a:ext uri="{FF2B5EF4-FFF2-40B4-BE49-F238E27FC236}">
                  <a16:creationId xmlns:a16="http://schemas.microsoft.com/office/drawing/2014/main" id="{C096BC88-F495-3CC3-0CF2-9FF34576D9B8}"/>
                </a:ext>
              </a:extLst>
            </p:cNvPr>
            <p:cNvSpPr/>
            <p:nvPr/>
          </p:nvSpPr>
          <p:spPr>
            <a:xfrm>
              <a:off x="7014509" y="1678393"/>
              <a:ext cx="57150" cy="85725"/>
            </a:xfrm>
            <a:custGeom>
              <a:avLst/>
              <a:gdLst>
                <a:gd name="connsiteX0" fmla="*/ 20003 w 57150"/>
                <a:gd name="connsiteY0" fmla="*/ 7144 h 85725"/>
                <a:gd name="connsiteX1" fmla="*/ 7144 w 57150"/>
                <a:gd name="connsiteY1" fmla="*/ 9525 h 85725"/>
                <a:gd name="connsiteX2" fmla="*/ 30766 w 57150"/>
                <a:gd name="connsiteY2" fmla="*/ 43625 h 85725"/>
                <a:gd name="connsiteX3" fmla="*/ 7144 w 57150"/>
                <a:gd name="connsiteY3" fmla="*/ 77724 h 85725"/>
                <a:gd name="connsiteX4" fmla="*/ 20003 w 57150"/>
                <a:gd name="connsiteY4" fmla="*/ 80105 h 85725"/>
                <a:gd name="connsiteX5" fmla="*/ 56483 w 57150"/>
                <a:gd name="connsiteY5" fmla="*/ 43625 h 85725"/>
                <a:gd name="connsiteX6" fmla="*/ 20003 w 57150"/>
                <a:gd name="connsiteY6"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85725">
                  <a:moveTo>
                    <a:pt x="20003" y="7144"/>
                  </a:moveTo>
                  <a:cubicBezTo>
                    <a:pt x="15430" y="7144"/>
                    <a:pt x="11144" y="8001"/>
                    <a:pt x="7144" y="9525"/>
                  </a:cubicBezTo>
                  <a:cubicBezTo>
                    <a:pt x="20955" y="14764"/>
                    <a:pt x="30766" y="28004"/>
                    <a:pt x="30766" y="43625"/>
                  </a:cubicBezTo>
                  <a:cubicBezTo>
                    <a:pt x="30766" y="59246"/>
                    <a:pt x="20955" y="72485"/>
                    <a:pt x="7144" y="77724"/>
                  </a:cubicBezTo>
                  <a:cubicBezTo>
                    <a:pt x="11144" y="79248"/>
                    <a:pt x="15430" y="80105"/>
                    <a:pt x="20003" y="80105"/>
                  </a:cubicBezTo>
                  <a:cubicBezTo>
                    <a:pt x="40100" y="80105"/>
                    <a:pt x="56483" y="63722"/>
                    <a:pt x="56483" y="43625"/>
                  </a:cubicBezTo>
                  <a:cubicBezTo>
                    <a:pt x="56483" y="23527"/>
                    <a:pt x="40196" y="7144"/>
                    <a:pt x="20003" y="7144"/>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7" name="Freeform: Shape 176">
              <a:extLst>
                <a:ext uri="{FF2B5EF4-FFF2-40B4-BE49-F238E27FC236}">
                  <a16:creationId xmlns:a16="http://schemas.microsoft.com/office/drawing/2014/main" id="{0B4C3F9A-A242-BC4A-7A4B-B9F2755C5545}"/>
                </a:ext>
              </a:extLst>
            </p:cNvPr>
            <p:cNvSpPr/>
            <p:nvPr/>
          </p:nvSpPr>
          <p:spPr>
            <a:xfrm>
              <a:off x="7312832" y="1743830"/>
              <a:ext cx="28575" cy="38100"/>
            </a:xfrm>
            <a:custGeom>
              <a:avLst/>
              <a:gdLst>
                <a:gd name="connsiteX0" fmla="*/ 12478 w 28575"/>
                <a:gd name="connsiteY0" fmla="*/ 7144 h 38100"/>
                <a:gd name="connsiteX1" fmla="*/ 7144 w 28575"/>
                <a:gd name="connsiteY1" fmla="*/ 8096 h 38100"/>
                <a:gd name="connsiteX2" fmla="*/ 16859 w 28575"/>
                <a:gd name="connsiteY2" fmla="*/ 22098 h 38100"/>
                <a:gd name="connsiteX3" fmla="*/ 7144 w 28575"/>
                <a:gd name="connsiteY3" fmla="*/ 36100 h 38100"/>
                <a:gd name="connsiteX4" fmla="*/ 12478 w 28575"/>
                <a:gd name="connsiteY4" fmla="*/ 37052 h 38100"/>
                <a:gd name="connsiteX5" fmla="*/ 27527 w 28575"/>
                <a:gd name="connsiteY5" fmla="*/ 22003 h 38100"/>
                <a:gd name="connsiteX6" fmla="*/ 12478 w 28575"/>
                <a:gd name="connsiteY6" fmla="*/ 714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8100">
                  <a:moveTo>
                    <a:pt x="12478" y="7144"/>
                  </a:moveTo>
                  <a:cubicBezTo>
                    <a:pt x="10573" y="7144"/>
                    <a:pt x="8858" y="7525"/>
                    <a:pt x="7144" y="8096"/>
                  </a:cubicBezTo>
                  <a:cubicBezTo>
                    <a:pt x="12859" y="10287"/>
                    <a:pt x="16859" y="15716"/>
                    <a:pt x="16859" y="22098"/>
                  </a:cubicBezTo>
                  <a:cubicBezTo>
                    <a:pt x="16859" y="28480"/>
                    <a:pt x="12764" y="34004"/>
                    <a:pt x="7144" y="36100"/>
                  </a:cubicBezTo>
                  <a:cubicBezTo>
                    <a:pt x="8763" y="36767"/>
                    <a:pt x="10573" y="37052"/>
                    <a:pt x="12478" y="37052"/>
                  </a:cubicBezTo>
                  <a:cubicBezTo>
                    <a:pt x="20764" y="37052"/>
                    <a:pt x="27527" y="30290"/>
                    <a:pt x="27527" y="22003"/>
                  </a:cubicBezTo>
                  <a:cubicBezTo>
                    <a:pt x="27527" y="13716"/>
                    <a:pt x="20764" y="7144"/>
                    <a:pt x="12478" y="7144"/>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8" name="Freeform: Shape 177">
              <a:extLst>
                <a:ext uri="{FF2B5EF4-FFF2-40B4-BE49-F238E27FC236}">
                  <a16:creationId xmlns:a16="http://schemas.microsoft.com/office/drawing/2014/main" id="{6A09EA53-A4FD-370A-4DA0-650A581DA573}"/>
                </a:ext>
              </a:extLst>
            </p:cNvPr>
            <p:cNvSpPr/>
            <p:nvPr/>
          </p:nvSpPr>
          <p:spPr>
            <a:xfrm>
              <a:off x="7312832" y="1865750"/>
              <a:ext cx="28575" cy="38100"/>
            </a:xfrm>
            <a:custGeom>
              <a:avLst/>
              <a:gdLst>
                <a:gd name="connsiteX0" fmla="*/ 12478 w 28575"/>
                <a:gd name="connsiteY0" fmla="*/ 7144 h 38100"/>
                <a:gd name="connsiteX1" fmla="*/ 7144 w 28575"/>
                <a:gd name="connsiteY1" fmla="*/ 8096 h 38100"/>
                <a:gd name="connsiteX2" fmla="*/ 16859 w 28575"/>
                <a:gd name="connsiteY2" fmla="*/ 22098 h 38100"/>
                <a:gd name="connsiteX3" fmla="*/ 7144 w 28575"/>
                <a:gd name="connsiteY3" fmla="*/ 36100 h 38100"/>
                <a:gd name="connsiteX4" fmla="*/ 12478 w 28575"/>
                <a:gd name="connsiteY4" fmla="*/ 37052 h 38100"/>
                <a:gd name="connsiteX5" fmla="*/ 27527 w 28575"/>
                <a:gd name="connsiteY5" fmla="*/ 22003 h 38100"/>
                <a:gd name="connsiteX6" fmla="*/ 12478 w 28575"/>
                <a:gd name="connsiteY6" fmla="*/ 714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38100">
                  <a:moveTo>
                    <a:pt x="12478" y="7144"/>
                  </a:moveTo>
                  <a:cubicBezTo>
                    <a:pt x="10573" y="7144"/>
                    <a:pt x="8858" y="7525"/>
                    <a:pt x="7144" y="8096"/>
                  </a:cubicBezTo>
                  <a:cubicBezTo>
                    <a:pt x="12859" y="10287"/>
                    <a:pt x="16859" y="15716"/>
                    <a:pt x="16859" y="22098"/>
                  </a:cubicBezTo>
                  <a:cubicBezTo>
                    <a:pt x="16859" y="28480"/>
                    <a:pt x="12764" y="34004"/>
                    <a:pt x="7144" y="36100"/>
                  </a:cubicBezTo>
                  <a:cubicBezTo>
                    <a:pt x="8763" y="36767"/>
                    <a:pt x="10573" y="37052"/>
                    <a:pt x="12478" y="37052"/>
                  </a:cubicBezTo>
                  <a:cubicBezTo>
                    <a:pt x="20764" y="37052"/>
                    <a:pt x="27527" y="30290"/>
                    <a:pt x="27527" y="22003"/>
                  </a:cubicBezTo>
                  <a:cubicBezTo>
                    <a:pt x="27527" y="13716"/>
                    <a:pt x="20764" y="7144"/>
                    <a:pt x="12478" y="7144"/>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9" name="Freeform: Shape 178">
              <a:extLst>
                <a:ext uri="{FF2B5EF4-FFF2-40B4-BE49-F238E27FC236}">
                  <a16:creationId xmlns:a16="http://schemas.microsoft.com/office/drawing/2014/main" id="{8F105E62-C9FF-BFC9-D3DF-DBE7F0F202A8}"/>
                </a:ext>
              </a:extLst>
            </p:cNvPr>
            <p:cNvSpPr/>
            <p:nvPr/>
          </p:nvSpPr>
          <p:spPr>
            <a:xfrm>
              <a:off x="7209969" y="1757268"/>
              <a:ext cx="95250" cy="257175"/>
            </a:xfrm>
            <a:custGeom>
              <a:avLst/>
              <a:gdLst>
                <a:gd name="connsiteX0" fmla="*/ 86956 w 95250"/>
                <a:gd name="connsiteY0" fmla="*/ 252500 h 257175"/>
                <a:gd name="connsiteX1" fmla="*/ 73335 w 95250"/>
                <a:gd name="connsiteY1" fmla="*/ 252500 h 257175"/>
                <a:gd name="connsiteX2" fmla="*/ 8755 w 95250"/>
                <a:gd name="connsiteY2" fmla="*/ 187921 h 257175"/>
                <a:gd name="connsiteX3" fmla="*/ 8755 w 95250"/>
                <a:gd name="connsiteY3" fmla="*/ 73335 h 257175"/>
                <a:gd name="connsiteX4" fmla="*/ 73335 w 95250"/>
                <a:gd name="connsiteY4" fmla="*/ 8755 h 257175"/>
                <a:gd name="connsiteX5" fmla="*/ 86956 w 95250"/>
                <a:gd name="connsiteY5" fmla="*/ 875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257175">
                  <a:moveTo>
                    <a:pt x="86956" y="252500"/>
                  </a:moveTo>
                  <a:lnTo>
                    <a:pt x="73335" y="252500"/>
                  </a:lnTo>
                  <a:cubicBezTo>
                    <a:pt x="37711" y="252500"/>
                    <a:pt x="8755" y="223639"/>
                    <a:pt x="8755" y="187921"/>
                  </a:cubicBezTo>
                  <a:lnTo>
                    <a:pt x="8755" y="73335"/>
                  </a:lnTo>
                  <a:cubicBezTo>
                    <a:pt x="8755" y="37711"/>
                    <a:pt x="37616" y="8755"/>
                    <a:pt x="73335" y="8755"/>
                  </a:cubicBezTo>
                  <a:lnTo>
                    <a:pt x="86956" y="8755"/>
                  </a:lnTo>
                </a:path>
              </a:pathLst>
            </a:custGeom>
            <a:noFill/>
            <a:ln w="11674"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0" name="Freeform: Shape 179">
              <a:extLst>
                <a:ext uri="{FF2B5EF4-FFF2-40B4-BE49-F238E27FC236}">
                  <a16:creationId xmlns:a16="http://schemas.microsoft.com/office/drawing/2014/main" id="{0F132A27-19F9-63F2-479A-428A7D0C0DB0}"/>
                </a:ext>
              </a:extLst>
            </p:cNvPr>
            <p:cNvSpPr/>
            <p:nvPr/>
          </p:nvSpPr>
          <p:spPr>
            <a:xfrm>
              <a:off x="7288170" y="1851946"/>
              <a:ext cx="66675" cy="66675"/>
            </a:xfrm>
            <a:custGeom>
              <a:avLst/>
              <a:gdLst>
                <a:gd name="connsiteX0" fmla="*/ 35901 w 66675"/>
                <a:gd name="connsiteY0" fmla="*/ 8755 h 66675"/>
                <a:gd name="connsiteX1" fmla="*/ 8755 w 66675"/>
                <a:gd name="connsiteY1" fmla="*/ 35902 h 66675"/>
                <a:gd name="connsiteX2" fmla="*/ 35901 w 66675"/>
                <a:gd name="connsiteY2" fmla="*/ 63048 h 66675"/>
                <a:gd name="connsiteX3" fmla="*/ 63048 w 66675"/>
                <a:gd name="connsiteY3" fmla="*/ 35902 h 66675"/>
                <a:gd name="connsiteX4" fmla="*/ 35901 w 66675"/>
                <a:gd name="connsiteY4" fmla="*/ 875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901" y="8755"/>
                  </a:moveTo>
                  <a:cubicBezTo>
                    <a:pt x="20852" y="8755"/>
                    <a:pt x="8755" y="20947"/>
                    <a:pt x="8755" y="35902"/>
                  </a:cubicBezTo>
                  <a:cubicBezTo>
                    <a:pt x="8755" y="50951"/>
                    <a:pt x="20947" y="63048"/>
                    <a:pt x="35901" y="63048"/>
                  </a:cubicBezTo>
                  <a:cubicBezTo>
                    <a:pt x="50951" y="63048"/>
                    <a:pt x="63048" y="50856"/>
                    <a:pt x="63048" y="35902"/>
                  </a:cubicBezTo>
                  <a:cubicBezTo>
                    <a:pt x="63143" y="20947"/>
                    <a:pt x="50951" y="8755"/>
                    <a:pt x="35901" y="8755"/>
                  </a:cubicBezTo>
                  <a:close/>
                </a:path>
              </a:pathLst>
            </a:custGeom>
            <a:noFill/>
            <a:ln w="11674"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1" name="Freeform: Shape 180">
              <a:extLst>
                <a:ext uri="{FF2B5EF4-FFF2-40B4-BE49-F238E27FC236}">
                  <a16:creationId xmlns:a16="http://schemas.microsoft.com/office/drawing/2014/main" id="{D18D54B6-031A-F3C9-EA18-0B288FFFCCB1}"/>
                </a:ext>
              </a:extLst>
            </p:cNvPr>
            <p:cNvSpPr/>
            <p:nvPr/>
          </p:nvSpPr>
          <p:spPr>
            <a:xfrm>
              <a:off x="7288170" y="1730122"/>
              <a:ext cx="66675" cy="66675"/>
            </a:xfrm>
            <a:custGeom>
              <a:avLst/>
              <a:gdLst>
                <a:gd name="connsiteX0" fmla="*/ 35901 w 66675"/>
                <a:gd name="connsiteY0" fmla="*/ 8755 h 66675"/>
                <a:gd name="connsiteX1" fmla="*/ 8755 w 66675"/>
                <a:gd name="connsiteY1" fmla="*/ 35902 h 66675"/>
                <a:gd name="connsiteX2" fmla="*/ 35901 w 66675"/>
                <a:gd name="connsiteY2" fmla="*/ 63048 h 66675"/>
                <a:gd name="connsiteX3" fmla="*/ 63048 w 66675"/>
                <a:gd name="connsiteY3" fmla="*/ 35902 h 66675"/>
                <a:gd name="connsiteX4" fmla="*/ 35901 w 66675"/>
                <a:gd name="connsiteY4" fmla="*/ 875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901" y="8755"/>
                  </a:moveTo>
                  <a:cubicBezTo>
                    <a:pt x="20852" y="8755"/>
                    <a:pt x="8755" y="20947"/>
                    <a:pt x="8755" y="35902"/>
                  </a:cubicBezTo>
                  <a:cubicBezTo>
                    <a:pt x="8755" y="50951"/>
                    <a:pt x="20947" y="63048"/>
                    <a:pt x="35901" y="63048"/>
                  </a:cubicBezTo>
                  <a:cubicBezTo>
                    <a:pt x="50951" y="63048"/>
                    <a:pt x="63048" y="50856"/>
                    <a:pt x="63048" y="35902"/>
                  </a:cubicBezTo>
                  <a:cubicBezTo>
                    <a:pt x="63143" y="20852"/>
                    <a:pt x="50951" y="8755"/>
                    <a:pt x="35901" y="8755"/>
                  </a:cubicBezTo>
                  <a:close/>
                </a:path>
              </a:pathLst>
            </a:custGeom>
            <a:noFill/>
            <a:ln w="11674"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2" name="Freeform: Shape 181">
              <a:extLst>
                <a:ext uri="{FF2B5EF4-FFF2-40B4-BE49-F238E27FC236}">
                  <a16:creationId xmlns:a16="http://schemas.microsoft.com/office/drawing/2014/main" id="{CCA6B716-5A63-BEED-A110-5888859BBDC7}"/>
                </a:ext>
              </a:extLst>
            </p:cNvPr>
            <p:cNvSpPr/>
            <p:nvPr/>
          </p:nvSpPr>
          <p:spPr>
            <a:xfrm>
              <a:off x="7288170" y="1973771"/>
              <a:ext cx="66675" cy="66675"/>
            </a:xfrm>
            <a:custGeom>
              <a:avLst/>
              <a:gdLst>
                <a:gd name="connsiteX0" fmla="*/ 35901 w 66675"/>
                <a:gd name="connsiteY0" fmla="*/ 8755 h 66675"/>
                <a:gd name="connsiteX1" fmla="*/ 8755 w 66675"/>
                <a:gd name="connsiteY1" fmla="*/ 35902 h 66675"/>
                <a:gd name="connsiteX2" fmla="*/ 35901 w 66675"/>
                <a:gd name="connsiteY2" fmla="*/ 63048 h 66675"/>
                <a:gd name="connsiteX3" fmla="*/ 63048 w 66675"/>
                <a:gd name="connsiteY3" fmla="*/ 35902 h 66675"/>
                <a:gd name="connsiteX4" fmla="*/ 35901 w 66675"/>
                <a:gd name="connsiteY4" fmla="*/ 875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901" y="8755"/>
                  </a:moveTo>
                  <a:cubicBezTo>
                    <a:pt x="20852" y="8755"/>
                    <a:pt x="8755" y="20947"/>
                    <a:pt x="8755" y="35902"/>
                  </a:cubicBezTo>
                  <a:cubicBezTo>
                    <a:pt x="8755" y="50951"/>
                    <a:pt x="20947" y="63048"/>
                    <a:pt x="35901" y="63048"/>
                  </a:cubicBezTo>
                  <a:cubicBezTo>
                    <a:pt x="50951" y="63048"/>
                    <a:pt x="63048" y="50856"/>
                    <a:pt x="63048" y="35902"/>
                  </a:cubicBezTo>
                  <a:cubicBezTo>
                    <a:pt x="63143" y="20947"/>
                    <a:pt x="50951" y="8755"/>
                    <a:pt x="35901" y="8755"/>
                  </a:cubicBezTo>
                  <a:close/>
                </a:path>
              </a:pathLst>
            </a:custGeom>
            <a:noFill/>
            <a:ln w="11674"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3" name="Freeform: Shape 182">
              <a:extLst>
                <a:ext uri="{FF2B5EF4-FFF2-40B4-BE49-F238E27FC236}">
                  <a16:creationId xmlns:a16="http://schemas.microsoft.com/office/drawing/2014/main" id="{5121B2BC-4B21-0CE7-9EE8-0B7F7D2B40CE}"/>
                </a:ext>
              </a:extLst>
            </p:cNvPr>
            <p:cNvSpPr/>
            <p:nvPr/>
          </p:nvSpPr>
          <p:spPr>
            <a:xfrm>
              <a:off x="7213628" y="1882752"/>
              <a:ext cx="85725" cy="9525"/>
            </a:xfrm>
            <a:custGeom>
              <a:avLst/>
              <a:gdLst>
                <a:gd name="connsiteX0" fmla="*/ 83297 w 85725"/>
                <a:gd name="connsiteY0" fmla="*/ 5096 h 9525"/>
                <a:gd name="connsiteX1" fmla="*/ 5096 w 85725"/>
                <a:gd name="connsiteY1" fmla="*/ 5096 h 9525"/>
              </a:gdLst>
              <a:ahLst/>
              <a:cxnLst>
                <a:cxn ang="0">
                  <a:pos x="connsiteX0" y="connsiteY0"/>
                </a:cxn>
                <a:cxn ang="0">
                  <a:pos x="connsiteX1" y="connsiteY1"/>
                </a:cxn>
              </a:cxnLst>
              <a:rect l="l" t="t" r="r" b="b"/>
              <a:pathLst>
                <a:path w="85725" h="9525">
                  <a:moveTo>
                    <a:pt x="83297" y="5096"/>
                  </a:moveTo>
                  <a:lnTo>
                    <a:pt x="5096" y="5096"/>
                  </a:lnTo>
                </a:path>
              </a:pathLst>
            </a:custGeom>
            <a:ln w="679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4" name="Freeform: Shape 183">
              <a:extLst>
                <a:ext uri="{FF2B5EF4-FFF2-40B4-BE49-F238E27FC236}">
                  <a16:creationId xmlns:a16="http://schemas.microsoft.com/office/drawing/2014/main" id="{EDBBE072-86BB-AD32-AF8A-1E24B92C3607}"/>
                </a:ext>
              </a:extLst>
            </p:cNvPr>
            <p:cNvSpPr/>
            <p:nvPr/>
          </p:nvSpPr>
          <p:spPr>
            <a:xfrm>
              <a:off x="7137238" y="1882752"/>
              <a:ext cx="66675" cy="9525"/>
            </a:xfrm>
            <a:custGeom>
              <a:avLst/>
              <a:gdLst>
                <a:gd name="connsiteX0" fmla="*/ 67295 w 66675"/>
                <a:gd name="connsiteY0" fmla="*/ 5096 h 9525"/>
                <a:gd name="connsiteX1" fmla="*/ 5096 w 66675"/>
                <a:gd name="connsiteY1" fmla="*/ 5096 h 9525"/>
              </a:gdLst>
              <a:ahLst/>
              <a:cxnLst>
                <a:cxn ang="0">
                  <a:pos x="connsiteX0" y="connsiteY0"/>
                </a:cxn>
                <a:cxn ang="0">
                  <a:pos x="connsiteX1" y="connsiteY1"/>
                </a:cxn>
              </a:cxnLst>
              <a:rect l="l" t="t" r="r" b="b"/>
              <a:pathLst>
                <a:path w="66675" h="9525">
                  <a:moveTo>
                    <a:pt x="67295" y="5096"/>
                  </a:moveTo>
                  <a:lnTo>
                    <a:pt x="5096" y="5096"/>
                  </a:lnTo>
                </a:path>
              </a:pathLst>
            </a:custGeom>
            <a:ln w="679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grpSp>
        <p:nvGrpSpPr>
          <p:cNvPr id="185" name="Group 184">
            <a:extLst>
              <a:ext uri="{FF2B5EF4-FFF2-40B4-BE49-F238E27FC236}">
                <a16:creationId xmlns:a16="http://schemas.microsoft.com/office/drawing/2014/main" id="{7FD6F1F9-5885-63EE-6813-AA76C94554B5}"/>
              </a:ext>
            </a:extLst>
          </p:cNvPr>
          <p:cNvGrpSpPr>
            <a:grpSpLocks noChangeAspect="1"/>
          </p:cNvGrpSpPr>
          <p:nvPr/>
        </p:nvGrpSpPr>
        <p:grpSpPr>
          <a:xfrm>
            <a:off x="8629917" y="1834228"/>
            <a:ext cx="659479" cy="716291"/>
            <a:chOff x="8218632" y="1585022"/>
            <a:chExt cx="495300" cy="515815"/>
          </a:xfrm>
        </p:grpSpPr>
        <p:sp>
          <p:nvSpPr>
            <p:cNvPr id="186" name="Freeform: Shape 185">
              <a:extLst>
                <a:ext uri="{FF2B5EF4-FFF2-40B4-BE49-F238E27FC236}">
                  <a16:creationId xmlns:a16="http://schemas.microsoft.com/office/drawing/2014/main" id="{F53EFCC7-67AE-B977-B634-6523A6C06414}"/>
                </a:ext>
              </a:extLst>
            </p:cNvPr>
            <p:cNvSpPr/>
            <p:nvPr/>
          </p:nvSpPr>
          <p:spPr>
            <a:xfrm>
              <a:off x="8444021" y="1797361"/>
              <a:ext cx="38100" cy="28575"/>
            </a:xfrm>
            <a:custGeom>
              <a:avLst/>
              <a:gdLst>
                <a:gd name="connsiteX0" fmla="*/ 7144 w 38100"/>
                <a:gd name="connsiteY0" fmla="*/ 22193 h 28575"/>
                <a:gd name="connsiteX1" fmla="*/ 8096 w 38100"/>
                <a:gd name="connsiteY1" fmla="*/ 27527 h 28575"/>
                <a:gd name="connsiteX2" fmla="*/ 22098 w 38100"/>
                <a:gd name="connsiteY2" fmla="*/ 17812 h 28575"/>
                <a:gd name="connsiteX3" fmla="*/ 36100 w 38100"/>
                <a:gd name="connsiteY3" fmla="*/ 27527 h 28575"/>
                <a:gd name="connsiteX4" fmla="*/ 37052 w 38100"/>
                <a:gd name="connsiteY4" fmla="*/ 22193 h 28575"/>
                <a:gd name="connsiteX5" fmla="*/ 22003 w 38100"/>
                <a:gd name="connsiteY5" fmla="*/ 7144 h 28575"/>
                <a:gd name="connsiteX6" fmla="*/ 7144 w 38100"/>
                <a:gd name="connsiteY6" fmla="*/ 2219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28575">
                  <a:moveTo>
                    <a:pt x="7144" y="22193"/>
                  </a:moveTo>
                  <a:cubicBezTo>
                    <a:pt x="7144" y="24098"/>
                    <a:pt x="7525" y="25813"/>
                    <a:pt x="8096" y="27527"/>
                  </a:cubicBezTo>
                  <a:cubicBezTo>
                    <a:pt x="10287" y="21812"/>
                    <a:pt x="15716" y="17812"/>
                    <a:pt x="22098" y="17812"/>
                  </a:cubicBezTo>
                  <a:cubicBezTo>
                    <a:pt x="28480" y="17812"/>
                    <a:pt x="34004" y="21907"/>
                    <a:pt x="36100" y="27527"/>
                  </a:cubicBezTo>
                  <a:cubicBezTo>
                    <a:pt x="36766" y="25908"/>
                    <a:pt x="37052" y="24098"/>
                    <a:pt x="37052" y="22193"/>
                  </a:cubicBezTo>
                  <a:cubicBezTo>
                    <a:pt x="37052" y="13906"/>
                    <a:pt x="30289" y="7144"/>
                    <a:pt x="22003" y="7144"/>
                  </a:cubicBezTo>
                  <a:cubicBezTo>
                    <a:pt x="13716" y="7144"/>
                    <a:pt x="7144" y="13906"/>
                    <a:pt x="7144" y="22193"/>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7" name="Freeform: Shape 186">
              <a:extLst>
                <a:ext uri="{FF2B5EF4-FFF2-40B4-BE49-F238E27FC236}">
                  <a16:creationId xmlns:a16="http://schemas.microsoft.com/office/drawing/2014/main" id="{C629A408-28A6-DF8E-9F36-D68418EA4F07}"/>
                </a:ext>
              </a:extLst>
            </p:cNvPr>
            <p:cNvSpPr/>
            <p:nvPr/>
          </p:nvSpPr>
          <p:spPr>
            <a:xfrm>
              <a:off x="8429829" y="1760403"/>
              <a:ext cx="66675" cy="47625"/>
            </a:xfrm>
            <a:custGeom>
              <a:avLst/>
              <a:gdLst>
                <a:gd name="connsiteX0" fmla="*/ 7144 w 66675"/>
                <a:gd name="connsiteY0" fmla="*/ 36386 h 47625"/>
                <a:gd name="connsiteX1" fmla="*/ 9048 w 66675"/>
                <a:gd name="connsiteY1" fmla="*/ 46673 h 47625"/>
                <a:gd name="connsiteX2" fmla="*/ 36386 w 66675"/>
                <a:gd name="connsiteY2" fmla="*/ 27718 h 47625"/>
                <a:gd name="connsiteX3" fmla="*/ 63722 w 66675"/>
                <a:gd name="connsiteY3" fmla="*/ 46673 h 47625"/>
                <a:gd name="connsiteX4" fmla="*/ 65627 w 66675"/>
                <a:gd name="connsiteY4" fmla="*/ 36386 h 47625"/>
                <a:gd name="connsiteX5" fmla="*/ 36386 w 66675"/>
                <a:gd name="connsiteY5" fmla="*/ 7144 h 47625"/>
                <a:gd name="connsiteX6" fmla="*/ 7144 w 66675"/>
                <a:gd name="connsiteY6" fmla="*/ 3638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47625">
                  <a:moveTo>
                    <a:pt x="7144" y="36386"/>
                  </a:moveTo>
                  <a:cubicBezTo>
                    <a:pt x="7144" y="40006"/>
                    <a:pt x="7811" y="43435"/>
                    <a:pt x="9048" y="46673"/>
                  </a:cubicBezTo>
                  <a:cubicBezTo>
                    <a:pt x="13239" y="35624"/>
                    <a:pt x="23908" y="27718"/>
                    <a:pt x="36386" y="27718"/>
                  </a:cubicBezTo>
                  <a:cubicBezTo>
                    <a:pt x="48863" y="27718"/>
                    <a:pt x="59531" y="35624"/>
                    <a:pt x="63722" y="46673"/>
                  </a:cubicBezTo>
                  <a:cubicBezTo>
                    <a:pt x="64961" y="43435"/>
                    <a:pt x="65627" y="40006"/>
                    <a:pt x="65627" y="36386"/>
                  </a:cubicBezTo>
                  <a:cubicBezTo>
                    <a:pt x="65627" y="20289"/>
                    <a:pt x="52483" y="7144"/>
                    <a:pt x="36386" y="7144"/>
                  </a:cubicBezTo>
                  <a:cubicBezTo>
                    <a:pt x="20288" y="7049"/>
                    <a:pt x="7144" y="20194"/>
                    <a:pt x="7144" y="36386"/>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8" name="Freeform: Shape 187">
              <a:extLst>
                <a:ext uri="{FF2B5EF4-FFF2-40B4-BE49-F238E27FC236}">
                  <a16:creationId xmlns:a16="http://schemas.microsoft.com/office/drawing/2014/main" id="{5D4ABA41-2DF8-75B0-A129-9BB306C9489C}"/>
                </a:ext>
              </a:extLst>
            </p:cNvPr>
            <p:cNvSpPr/>
            <p:nvPr/>
          </p:nvSpPr>
          <p:spPr>
            <a:xfrm>
              <a:off x="8218632" y="1585022"/>
              <a:ext cx="495300" cy="323850"/>
            </a:xfrm>
            <a:custGeom>
              <a:avLst/>
              <a:gdLst>
                <a:gd name="connsiteX0" fmla="*/ 116136 w 495300"/>
                <a:gd name="connsiteY0" fmla="*/ 100039 h 323850"/>
                <a:gd name="connsiteX1" fmla="*/ 64511 w 495300"/>
                <a:gd name="connsiteY1" fmla="*/ 149855 h 323850"/>
                <a:gd name="connsiteX2" fmla="*/ 64416 w 495300"/>
                <a:gd name="connsiteY2" fmla="*/ 151855 h 323850"/>
                <a:gd name="connsiteX3" fmla="*/ 62606 w 495300"/>
                <a:gd name="connsiteY3" fmla="*/ 152522 h 323850"/>
                <a:gd name="connsiteX4" fmla="*/ 8504 w 495300"/>
                <a:gd name="connsiteY4" fmla="*/ 231770 h 323850"/>
                <a:gd name="connsiteX5" fmla="*/ 93562 w 495300"/>
                <a:gd name="connsiteY5" fmla="*/ 316828 h 323850"/>
                <a:gd name="connsiteX6" fmla="*/ 374740 w 495300"/>
                <a:gd name="connsiteY6" fmla="*/ 316828 h 323850"/>
                <a:gd name="connsiteX7" fmla="*/ 431604 w 495300"/>
                <a:gd name="connsiteY7" fmla="*/ 301398 h 323850"/>
                <a:gd name="connsiteX8" fmla="*/ 486944 w 495300"/>
                <a:gd name="connsiteY8" fmla="*/ 204814 h 323850"/>
                <a:gd name="connsiteX9" fmla="*/ 374740 w 495300"/>
                <a:gd name="connsiteY9" fmla="*/ 92800 h 323850"/>
                <a:gd name="connsiteX10" fmla="*/ 372644 w 495300"/>
                <a:gd name="connsiteY10" fmla="*/ 92800 h 323850"/>
                <a:gd name="connsiteX11" fmla="*/ 371692 w 495300"/>
                <a:gd name="connsiteY11" fmla="*/ 90895 h 323850"/>
                <a:gd name="connsiteX12" fmla="*/ 253487 w 495300"/>
                <a:gd name="connsiteY12" fmla="*/ 8504 h 323850"/>
                <a:gd name="connsiteX13" fmla="*/ 132520 w 495300"/>
                <a:gd name="connsiteY13" fmla="*/ 99658 h 323850"/>
                <a:gd name="connsiteX14" fmla="*/ 131757 w 495300"/>
                <a:gd name="connsiteY14" fmla="*/ 102516 h 323850"/>
                <a:gd name="connsiteX15" fmla="*/ 128995 w 495300"/>
                <a:gd name="connsiteY15" fmla="*/ 101754 h 323850"/>
                <a:gd name="connsiteX16" fmla="*/ 116136 w 495300"/>
                <a:gd name="connsiteY16" fmla="*/ 100039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300" h="323850">
                  <a:moveTo>
                    <a:pt x="116136" y="100039"/>
                  </a:moveTo>
                  <a:cubicBezTo>
                    <a:pt x="88228" y="100039"/>
                    <a:pt x="65463" y="121947"/>
                    <a:pt x="64511" y="149855"/>
                  </a:cubicBezTo>
                  <a:lnTo>
                    <a:pt x="64416" y="151855"/>
                  </a:lnTo>
                  <a:lnTo>
                    <a:pt x="62606" y="152522"/>
                  </a:lnTo>
                  <a:cubicBezTo>
                    <a:pt x="30221" y="165095"/>
                    <a:pt x="8504" y="196908"/>
                    <a:pt x="8504" y="231770"/>
                  </a:cubicBezTo>
                  <a:cubicBezTo>
                    <a:pt x="8504" y="278633"/>
                    <a:pt x="46604" y="316828"/>
                    <a:pt x="93562" y="316828"/>
                  </a:cubicBezTo>
                  <a:lnTo>
                    <a:pt x="374740" y="316828"/>
                  </a:lnTo>
                  <a:cubicBezTo>
                    <a:pt x="394838" y="316828"/>
                    <a:pt x="414555" y="311494"/>
                    <a:pt x="431604" y="301398"/>
                  </a:cubicBezTo>
                  <a:cubicBezTo>
                    <a:pt x="465704" y="281395"/>
                    <a:pt x="486944" y="244438"/>
                    <a:pt x="486944" y="204814"/>
                  </a:cubicBezTo>
                  <a:cubicBezTo>
                    <a:pt x="486944" y="142997"/>
                    <a:pt x="436653" y="92800"/>
                    <a:pt x="374740" y="92800"/>
                  </a:cubicBezTo>
                  <a:lnTo>
                    <a:pt x="372644" y="92800"/>
                  </a:lnTo>
                  <a:lnTo>
                    <a:pt x="371692" y="90895"/>
                  </a:lnTo>
                  <a:cubicBezTo>
                    <a:pt x="353500" y="41556"/>
                    <a:pt x="305969" y="8504"/>
                    <a:pt x="253487" y="8504"/>
                  </a:cubicBezTo>
                  <a:cubicBezTo>
                    <a:pt x="197576" y="8504"/>
                    <a:pt x="147855" y="46032"/>
                    <a:pt x="132520" y="99658"/>
                  </a:cubicBezTo>
                  <a:lnTo>
                    <a:pt x="131757" y="102516"/>
                  </a:lnTo>
                  <a:lnTo>
                    <a:pt x="128995" y="101754"/>
                  </a:lnTo>
                  <a:cubicBezTo>
                    <a:pt x="124900" y="100515"/>
                    <a:pt x="120613" y="100039"/>
                    <a:pt x="116136" y="100039"/>
                  </a:cubicBezTo>
                  <a:close/>
                </a:path>
              </a:pathLst>
            </a:custGeom>
            <a:noFill/>
            <a:ln w="11339"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9" name="Freeform: Shape 188">
              <a:extLst>
                <a:ext uri="{FF2B5EF4-FFF2-40B4-BE49-F238E27FC236}">
                  <a16:creationId xmlns:a16="http://schemas.microsoft.com/office/drawing/2014/main" id="{C40D0847-926C-63CD-D2C0-50FD8BB4BA8D}"/>
                </a:ext>
              </a:extLst>
            </p:cNvPr>
            <p:cNvSpPr/>
            <p:nvPr/>
          </p:nvSpPr>
          <p:spPr>
            <a:xfrm>
              <a:off x="8249745" y="1607622"/>
              <a:ext cx="219075" cy="276225"/>
            </a:xfrm>
            <a:custGeom>
              <a:avLst/>
              <a:gdLst>
                <a:gd name="connsiteX0" fmla="*/ 87976 w 219075"/>
                <a:gd name="connsiteY0" fmla="*/ 275749 h 276225"/>
                <a:gd name="connsiteX1" fmla="*/ 12729 w 219075"/>
                <a:gd name="connsiteY1" fmla="*/ 239173 h 276225"/>
                <a:gd name="connsiteX2" fmla="*/ 22730 w 219075"/>
                <a:gd name="connsiteY2" fmla="*/ 170688 h 276225"/>
                <a:gd name="connsiteX3" fmla="*/ 61973 w 219075"/>
                <a:gd name="connsiteY3" fmla="*/ 148876 h 276225"/>
                <a:gd name="connsiteX4" fmla="*/ 73975 w 219075"/>
                <a:gd name="connsiteY4" fmla="*/ 106585 h 276225"/>
                <a:gd name="connsiteX5" fmla="*/ 117694 w 219075"/>
                <a:gd name="connsiteY5" fmla="*/ 104204 h 276225"/>
                <a:gd name="connsiteX6" fmla="*/ 219231 w 219075"/>
                <a:gd name="connsiteY6" fmla="*/ 7144 h 276225"/>
                <a:gd name="connsiteX7" fmla="*/ 144365 w 219075"/>
                <a:gd name="connsiteY7" fmla="*/ 130207 h 276225"/>
                <a:gd name="connsiteX8" fmla="*/ 99026 w 219075"/>
                <a:gd name="connsiteY8" fmla="*/ 139541 h 276225"/>
                <a:gd name="connsiteX9" fmla="*/ 100645 w 219075"/>
                <a:gd name="connsiteY9" fmla="*/ 172212 h 276225"/>
                <a:gd name="connsiteX10" fmla="*/ 56925 w 219075"/>
                <a:gd name="connsiteY10" fmla="*/ 192119 h 276225"/>
                <a:gd name="connsiteX11" fmla="*/ 48543 w 219075"/>
                <a:gd name="connsiteY11" fmla="*/ 226886 h 276225"/>
                <a:gd name="connsiteX12" fmla="*/ 87976 w 219075"/>
                <a:gd name="connsiteY12" fmla="*/ 275749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276225">
                  <a:moveTo>
                    <a:pt x="87976" y="275749"/>
                  </a:moveTo>
                  <a:cubicBezTo>
                    <a:pt x="87976" y="275749"/>
                    <a:pt x="31589" y="280988"/>
                    <a:pt x="12729" y="239173"/>
                  </a:cubicBezTo>
                  <a:cubicBezTo>
                    <a:pt x="2538" y="216503"/>
                    <a:pt x="6538" y="189643"/>
                    <a:pt x="22730" y="170688"/>
                  </a:cubicBezTo>
                  <a:cubicBezTo>
                    <a:pt x="31113" y="160973"/>
                    <a:pt x="43495" y="152019"/>
                    <a:pt x="61973" y="148876"/>
                  </a:cubicBezTo>
                  <a:cubicBezTo>
                    <a:pt x="61973" y="148876"/>
                    <a:pt x="50353" y="121825"/>
                    <a:pt x="73975" y="106585"/>
                  </a:cubicBezTo>
                  <a:cubicBezTo>
                    <a:pt x="73975" y="106585"/>
                    <a:pt x="89215" y="95726"/>
                    <a:pt x="117694" y="104204"/>
                  </a:cubicBezTo>
                  <a:cubicBezTo>
                    <a:pt x="117694" y="104204"/>
                    <a:pt x="128077" y="23051"/>
                    <a:pt x="219231" y="7144"/>
                  </a:cubicBezTo>
                  <a:cubicBezTo>
                    <a:pt x="219231" y="7144"/>
                    <a:pt x="121505" y="40577"/>
                    <a:pt x="144365" y="130207"/>
                  </a:cubicBezTo>
                  <a:cubicBezTo>
                    <a:pt x="144365" y="130207"/>
                    <a:pt x="114837" y="114205"/>
                    <a:pt x="99026" y="139541"/>
                  </a:cubicBezTo>
                  <a:cubicBezTo>
                    <a:pt x="99026" y="139541"/>
                    <a:pt x="87786" y="159258"/>
                    <a:pt x="100645" y="172212"/>
                  </a:cubicBezTo>
                  <a:cubicBezTo>
                    <a:pt x="100645" y="172212"/>
                    <a:pt x="74832" y="167545"/>
                    <a:pt x="56925" y="192119"/>
                  </a:cubicBezTo>
                  <a:cubicBezTo>
                    <a:pt x="49686" y="202121"/>
                    <a:pt x="47114" y="214694"/>
                    <a:pt x="48543" y="226886"/>
                  </a:cubicBezTo>
                  <a:cubicBezTo>
                    <a:pt x="50543" y="243459"/>
                    <a:pt x="58545" y="267843"/>
                    <a:pt x="87976" y="275749"/>
                  </a:cubicBezTo>
                  <a:close/>
                </a:path>
              </a:pathLst>
            </a:custGeom>
            <a:solidFill>
              <a:srgbClr val="FFE5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0" name="Freeform: Shape 189">
              <a:extLst>
                <a:ext uri="{FF2B5EF4-FFF2-40B4-BE49-F238E27FC236}">
                  <a16:creationId xmlns:a16="http://schemas.microsoft.com/office/drawing/2014/main" id="{B8DA3915-6660-1B8C-402B-ED1DBE94CD75}"/>
                </a:ext>
              </a:extLst>
            </p:cNvPr>
            <p:cNvSpPr/>
            <p:nvPr/>
          </p:nvSpPr>
          <p:spPr>
            <a:xfrm>
              <a:off x="8457713" y="1824483"/>
              <a:ext cx="9525" cy="133350"/>
            </a:xfrm>
            <a:custGeom>
              <a:avLst/>
              <a:gdLst>
                <a:gd name="connsiteX0" fmla="*/ 8501 w 9525"/>
                <a:gd name="connsiteY0" fmla="*/ 8501 h 133350"/>
                <a:gd name="connsiteX1" fmla="*/ 8501 w 9525"/>
                <a:gd name="connsiteY1" fmla="*/ 133850 h 133350"/>
              </a:gdLst>
              <a:ahLst/>
              <a:cxnLst>
                <a:cxn ang="0">
                  <a:pos x="connsiteX0" y="connsiteY0"/>
                </a:cxn>
                <a:cxn ang="0">
                  <a:pos x="connsiteX1" y="connsiteY1"/>
                </a:cxn>
              </a:cxnLst>
              <a:rect l="l" t="t" r="r" b="b"/>
              <a:pathLst>
                <a:path w="9525" h="133350">
                  <a:moveTo>
                    <a:pt x="8501" y="8501"/>
                  </a:moveTo>
                  <a:lnTo>
                    <a:pt x="8501" y="133850"/>
                  </a:lnTo>
                </a:path>
              </a:pathLst>
            </a:custGeom>
            <a:ln w="11335"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2" name="Freeform: Shape 191">
              <a:extLst>
                <a:ext uri="{FF2B5EF4-FFF2-40B4-BE49-F238E27FC236}">
                  <a16:creationId xmlns:a16="http://schemas.microsoft.com/office/drawing/2014/main" id="{563E7CC0-CF80-4405-0AB7-285947571EE9}"/>
                </a:ext>
              </a:extLst>
            </p:cNvPr>
            <p:cNvSpPr/>
            <p:nvPr/>
          </p:nvSpPr>
          <p:spPr>
            <a:xfrm>
              <a:off x="8399015" y="2047439"/>
              <a:ext cx="104775" cy="9525"/>
            </a:xfrm>
            <a:custGeom>
              <a:avLst/>
              <a:gdLst>
                <a:gd name="connsiteX0" fmla="*/ 3572 w 104775"/>
                <a:gd name="connsiteY0" fmla="*/ 3572 h 0"/>
                <a:gd name="connsiteX1" fmla="*/ 102251 w 104775"/>
                <a:gd name="connsiteY1" fmla="*/ 3572 h 0"/>
              </a:gdLst>
              <a:ahLst/>
              <a:cxnLst>
                <a:cxn ang="0">
                  <a:pos x="connsiteX0" y="connsiteY0"/>
                </a:cxn>
                <a:cxn ang="0">
                  <a:pos x="connsiteX1" y="connsiteY1"/>
                </a:cxn>
              </a:cxnLst>
              <a:rect l="l" t="t" r="r" b="b"/>
              <a:pathLst>
                <a:path w="104775">
                  <a:moveTo>
                    <a:pt x="3572" y="3572"/>
                  </a:moveTo>
                  <a:lnTo>
                    <a:pt x="102251" y="3572"/>
                  </a:lnTo>
                </a:path>
              </a:pathLst>
            </a:custGeom>
            <a:ln w="4763"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3" name="Freeform: Shape 192">
              <a:extLst>
                <a:ext uri="{FF2B5EF4-FFF2-40B4-BE49-F238E27FC236}">
                  <a16:creationId xmlns:a16="http://schemas.microsoft.com/office/drawing/2014/main" id="{CDB6B5B2-57B4-2015-2AFF-447CD602285F}"/>
                </a:ext>
              </a:extLst>
            </p:cNvPr>
            <p:cNvSpPr/>
            <p:nvPr/>
          </p:nvSpPr>
          <p:spPr>
            <a:xfrm>
              <a:off x="8487169" y="2020150"/>
              <a:ext cx="47625" cy="57150"/>
            </a:xfrm>
            <a:custGeom>
              <a:avLst/>
              <a:gdLst>
                <a:gd name="connsiteX0" fmla="*/ 7144 w 47625"/>
                <a:gd name="connsiteY0" fmla="*/ 54578 h 57150"/>
                <a:gd name="connsiteX1" fmla="*/ 48196 w 47625"/>
                <a:gd name="connsiteY1" fmla="*/ 30861 h 57150"/>
                <a:gd name="connsiteX2" fmla="*/ 7144 w 47625"/>
                <a:gd name="connsiteY2" fmla="*/ 7144 h 57150"/>
              </a:gdLst>
              <a:ahLst/>
              <a:cxnLst>
                <a:cxn ang="0">
                  <a:pos x="connsiteX0" y="connsiteY0"/>
                </a:cxn>
                <a:cxn ang="0">
                  <a:pos x="connsiteX1" y="connsiteY1"/>
                </a:cxn>
                <a:cxn ang="0">
                  <a:pos x="connsiteX2" y="connsiteY2"/>
                </a:cxn>
              </a:cxnLst>
              <a:rect l="l" t="t" r="r" b="b"/>
              <a:pathLst>
                <a:path w="47625" h="57150">
                  <a:moveTo>
                    <a:pt x="7144" y="54578"/>
                  </a:moveTo>
                  <a:lnTo>
                    <a:pt x="48196" y="30861"/>
                  </a:lnTo>
                  <a:lnTo>
                    <a:pt x="7144" y="7144"/>
                  </a:lnTo>
                  <a:close/>
                </a:path>
              </a:pathLst>
            </a:custGeom>
            <a:solidFill>
              <a:sysClr val="windowText" lastClr="0000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4" name="Freeform: Shape 193">
              <a:extLst>
                <a:ext uri="{FF2B5EF4-FFF2-40B4-BE49-F238E27FC236}">
                  <a16:creationId xmlns:a16="http://schemas.microsoft.com/office/drawing/2014/main" id="{91153D9F-1CB7-06A1-93CA-72B07B6EAACC}"/>
                </a:ext>
              </a:extLst>
            </p:cNvPr>
            <p:cNvSpPr/>
            <p:nvPr/>
          </p:nvSpPr>
          <p:spPr>
            <a:xfrm>
              <a:off x="8433210" y="1995719"/>
              <a:ext cx="104775" cy="9525"/>
            </a:xfrm>
            <a:custGeom>
              <a:avLst/>
              <a:gdLst>
                <a:gd name="connsiteX0" fmla="*/ 102155 w 104775"/>
                <a:gd name="connsiteY0" fmla="*/ 3572 h 0"/>
                <a:gd name="connsiteX1" fmla="*/ 3572 w 104775"/>
                <a:gd name="connsiteY1" fmla="*/ 3572 h 0"/>
              </a:gdLst>
              <a:ahLst/>
              <a:cxnLst>
                <a:cxn ang="0">
                  <a:pos x="connsiteX0" y="connsiteY0"/>
                </a:cxn>
                <a:cxn ang="0">
                  <a:pos x="connsiteX1" y="connsiteY1"/>
                </a:cxn>
              </a:cxnLst>
              <a:rect l="l" t="t" r="r" b="b"/>
              <a:pathLst>
                <a:path w="104775">
                  <a:moveTo>
                    <a:pt x="102155" y="3572"/>
                  </a:moveTo>
                  <a:lnTo>
                    <a:pt x="3572" y="3572"/>
                  </a:lnTo>
                </a:path>
              </a:pathLst>
            </a:custGeom>
            <a:ln w="4763"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5" name="Freeform: Shape 194">
              <a:extLst>
                <a:ext uri="{FF2B5EF4-FFF2-40B4-BE49-F238E27FC236}">
                  <a16:creationId xmlns:a16="http://schemas.microsoft.com/office/drawing/2014/main" id="{EB9F253E-4A1B-F3A8-08D9-6AF034947F6C}"/>
                </a:ext>
              </a:extLst>
            </p:cNvPr>
            <p:cNvSpPr/>
            <p:nvPr/>
          </p:nvSpPr>
          <p:spPr>
            <a:xfrm>
              <a:off x="8395443" y="1968334"/>
              <a:ext cx="47625" cy="57150"/>
            </a:xfrm>
            <a:custGeom>
              <a:avLst/>
              <a:gdLst>
                <a:gd name="connsiteX0" fmla="*/ 48292 w 47625"/>
                <a:gd name="connsiteY0" fmla="*/ 7144 h 57150"/>
                <a:gd name="connsiteX1" fmla="*/ 7144 w 47625"/>
                <a:gd name="connsiteY1" fmla="*/ 30956 h 57150"/>
                <a:gd name="connsiteX2" fmla="*/ 48292 w 47625"/>
                <a:gd name="connsiteY2" fmla="*/ 54673 h 57150"/>
              </a:gdLst>
              <a:ahLst/>
              <a:cxnLst>
                <a:cxn ang="0">
                  <a:pos x="connsiteX0" y="connsiteY0"/>
                </a:cxn>
                <a:cxn ang="0">
                  <a:pos x="connsiteX1" y="connsiteY1"/>
                </a:cxn>
                <a:cxn ang="0">
                  <a:pos x="connsiteX2" y="connsiteY2"/>
                </a:cxn>
              </a:cxnLst>
              <a:rect l="l" t="t" r="r" b="b"/>
              <a:pathLst>
                <a:path w="47625" h="57150">
                  <a:moveTo>
                    <a:pt x="48292" y="7144"/>
                  </a:moveTo>
                  <a:lnTo>
                    <a:pt x="7144" y="30956"/>
                  </a:lnTo>
                  <a:lnTo>
                    <a:pt x="48292" y="54673"/>
                  </a:lnTo>
                  <a:close/>
                </a:path>
              </a:pathLst>
            </a:custGeom>
            <a:solidFill>
              <a:sysClr val="windowText" lastClr="00000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6" name="Freeform: Shape 195">
              <a:extLst>
                <a:ext uri="{FF2B5EF4-FFF2-40B4-BE49-F238E27FC236}">
                  <a16:creationId xmlns:a16="http://schemas.microsoft.com/office/drawing/2014/main" id="{9B9D4C52-4CBA-9047-0C31-9404D5384FA8}"/>
                </a:ext>
              </a:extLst>
            </p:cNvPr>
            <p:cNvSpPr/>
            <p:nvPr/>
          </p:nvSpPr>
          <p:spPr>
            <a:xfrm>
              <a:off x="8579953" y="2054927"/>
              <a:ext cx="95250" cy="9525"/>
            </a:xfrm>
            <a:custGeom>
              <a:avLst/>
              <a:gdLst>
                <a:gd name="connsiteX0" fmla="*/ 90667 w 95250"/>
                <a:gd name="connsiteY0" fmla="*/ 8753 h 9525"/>
                <a:gd name="connsiteX1" fmla="*/ 8753 w 95250"/>
                <a:gd name="connsiteY1" fmla="*/ 8753 h 9525"/>
              </a:gdLst>
              <a:ahLst/>
              <a:cxnLst>
                <a:cxn ang="0">
                  <a:pos x="connsiteX0" y="connsiteY0"/>
                </a:cxn>
                <a:cxn ang="0">
                  <a:pos x="connsiteX1" y="connsiteY1"/>
                </a:cxn>
              </a:cxnLst>
              <a:rect l="l" t="t" r="r" b="b"/>
              <a:pathLst>
                <a:path w="95250" h="9525">
                  <a:moveTo>
                    <a:pt x="90667" y="8753"/>
                  </a:moveTo>
                  <a:lnTo>
                    <a:pt x="8753" y="8753"/>
                  </a:lnTo>
                </a:path>
              </a:pathLst>
            </a:custGeom>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7" name="Freeform: Shape 196">
              <a:extLst>
                <a:ext uri="{FF2B5EF4-FFF2-40B4-BE49-F238E27FC236}">
                  <a16:creationId xmlns:a16="http://schemas.microsoft.com/office/drawing/2014/main" id="{68287010-D3DC-64F8-669E-8C2B2D9E2500}"/>
                </a:ext>
              </a:extLst>
            </p:cNvPr>
            <p:cNvSpPr/>
            <p:nvPr/>
          </p:nvSpPr>
          <p:spPr>
            <a:xfrm>
              <a:off x="8569571" y="1919862"/>
              <a:ext cx="114300" cy="180975"/>
            </a:xfrm>
            <a:custGeom>
              <a:avLst/>
              <a:gdLst>
                <a:gd name="connsiteX0" fmla="*/ 103431 w 114300"/>
                <a:gd name="connsiteY0" fmla="*/ 177536 h 180975"/>
                <a:gd name="connsiteX1" fmla="*/ 16658 w 114300"/>
                <a:gd name="connsiteY1" fmla="*/ 177536 h 180975"/>
                <a:gd name="connsiteX2" fmla="*/ 8753 w 114300"/>
                <a:gd name="connsiteY2" fmla="*/ 169630 h 180975"/>
                <a:gd name="connsiteX3" fmla="*/ 8753 w 114300"/>
                <a:gd name="connsiteY3" fmla="*/ 90572 h 180975"/>
                <a:gd name="connsiteX4" fmla="*/ 8753 w 114300"/>
                <a:gd name="connsiteY4" fmla="*/ 16658 h 180975"/>
                <a:gd name="connsiteX5" fmla="*/ 16658 w 114300"/>
                <a:gd name="connsiteY5" fmla="*/ 8753 h 180975"/>
                <a:gd name="connsiteX6" fmla="*/ 60092 w 114300"/>
                <a:gd name="connsiteY6" fmla="*/ 8753 h 180975"/>
                <a:gd name="connsiteX7" fmla="*/ 103431 w 114300"/>
                <a:gd name="connsiteY7" fmla="*/ 8753 h 180975"/>
                <a:gd name="connsiteX8" fmla="*/ 111337 w 114300"/>
                <a:gd name="connsiteY8" fmla="*/ 16658 h 180975"/>
                <a:gd name="connsiteX9" fmla="*/ 111337 w 114300"/>
                <a:gd name="connsiteY9" fmla="*/ 169630 h 180975"/>
                <a:gd name="connsiteX10" fmla="*/ 103431 w 114300"/>
                <a:gd name="connsiteY10" fmla="*/ 17753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 h="180975">
                  <a:moveTo>
                    <a:pt x="103431" y="177536"/>
                  </a:moveTo>
                  <a:lnTo>
                    <a:pt x="16658" y="177536"/>
                  </a:lnTo>
                  <a:cubicBezTo>
                    <a:pt x="12277" y="177536"/>
                    <a:pt x="8753" y="174011"/>
                    <a:pt x="8753" y="169630"/>
                  </a:cubicBezTo>
                  <a:lnTo>
                    <a:pt x="8753" y="90572"/>
                  </a:lnTo>
                  <a:lnTo>
                    <a:pt x="8753" y="16658"/>
                  </a:lnTo>
                  <a:cubicBezTo>
                    <a:pt x="8753" y="12277"/>
                    <a:pt x="12277" y="8753"/>
                    <a:pt x="16658" y="8753"/>
                  </a:cubicBezTo>
                  <a:lnTo>
                    <a:pt x="60092" y="8753"/>
                  </a:lnTo>
                  <a:lnTo>
                    <a:pt x="103431" y="8753"/>
                  </a:lnTo>
                  <a:cubicBezTo>
                    <a:pt x="107813" y="8753"/>
                    <a:pt x="111337" y="12277"/>
                    <a:pt x="111337" y="16658"/>
                  </a:cubicBezTo>
                  <a:lnTo>
                    <a:pt x="111337" y="169630"/>
                  </a:lnTo>
                  <a:cubicBezTo>
                    <a:pt x="111337" y="174011"/>
                    <a:pt x="107813" y="177536"/>
                    <a:pt x="103431" y="177536"/>
                  </a:cubicBezTo>
                  <a:close/>
                </a:path>
              </a:pathLst>
            </a:custGeom>
            <a:noFill/>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8" name="Freeform: Shape 197">
              <a:extLst>
                <a:ext uri="{FF2B5EF4-FFF2-40B4-BE49-F238E27FC236}">
                  <a16:creationId xmlns:a16="http://schemas.microsoft.com/office/drawing/2014/main" id="{118CCDA5-857B-78AA-0631-8EE0A06EB620}"/>
                </a:ext>
              </a:extLst>
            </p:cNvPr>
            <p:cNvSpPr/>
            <p:nvPr/>
          </p:nvSpPr>
          <p:spPr>
            <a:xfrm>
              <a:off x="8618053" y="2069214"/>
              <a:ext cx="19050" cy="19050"/>
            </a:xfrm>
            <a:custGeom>
              <a:avLst/>
              <a:gdLst>
                <a:gd name="connsiteX0" fmla="*/ 14277 w 19050"/>
                <a:gd name="connsiteY0" fmla="*/ 11515 h 19050"/>
                <a:gd name="connsiteX1" fmla="*/ 11515 w 19050"/>
                <a:gd name="connsiteY1" fmla="*/ 8753 h 19050"/>
                <a:gd name="connsiteX2" fmla="*/ 8753 w 19050"/>
                <a:gd name="connsiteY2" fmla="*/ 11515 h 19050"/>
                <a:gd name="connsiteX3" fmla="*/ 11515 w 19050"/>
                <a:gd name="connsiteY3" fmla="*/ 14277 h 19050"/>
                <a:gd name="connsiteX4" fmla="*/ 14277 w 19050"/>
                <a:gd name="connsiteY4" fmla="*/ 1151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4277" y="11515"/>
                  </a:moveTo>
                  <a:cubicBezTo>
                    <a:pt x="14277" y="9991"/>
                    <a:pt x="13039" y="8753"/>
                    <a:pt x="11515" y="8753"/>
                  </a:cubicBezTo>
                  <a:cubicBezTo>
                    <a:pt x="9991" y="8753"/>
                    <a:pt x="8753" y="9991"/>
                    <a:pt x="8753" y="11515"/>
                  </a:cubicBezTo>
                  <a:cubicBezTo>
                    <a:pt x="8753" y="13039"/>
                    <a:pt x="9991" y="14277"/>
                    <a:pt x="11515" y="14277"/>
                  </a:cubicBezTo>
                  <a:cubicBezTo>
                    <a:pt x="13134" y="14182"/>
                    <a:pt x="14277" y="12944"/>
                    <a:pt x="14277" y="11515"/>
                  </a:cubicBezTo>
                  <a:close/>
                </a:path>
              </a:pathLst>
            </a:custGeom>
            <a:noFill/>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99" name="Freeform: Shape 198">
              <a:extLst>
                <a:ext uri="{FF2B5EF4-FFF2-40B4-BE49-F238E27FC236}">
                  <a16:creationId xmlns:a16="http://schemas.microsoft.com/office/drawing/2014/main" id="{C286AD1F-FE3C-4826-E32C-E9EEC3E79FDF}"/>
                </a:ext>
              </a:extLst>
            </p:cNvPr>
            <p:cNvSpPr/>
            <p:nvPr/>
          </p:nvSpPr>
          <p:spPr>
            <a:xfrm>
              <a:off x="8610719" y="1937007"/>
              <a:ext cx="28575" cy="9525"/>
            </a:xfrm>
            <a:custGeom>
              <a:avLst/>
              <a:gdLst>
                <a:gd name="connsiteX0" fmla="*/ 8753 w 28575"/>
                <a:gd name="connsiteY0" fmla="*/ 8753 h 9525"/>
                <a:gd name="connsiteX1" fmla="*/ 18944 w 28575"/>
                <a:gd name="connsiteY1" fmla="*/ 8753 h 9525"/>
                <a:gd name="connsiteX2" fmla="*/ 29041 w 28575"/>
                <a:gd name="connsiteY2" fmla="*/ 8753 h 9525"/>
              </a:gdLst>
              <a:ahLst/>
              <a:cxnLst>
                <a:cxn ang="0">
                  <a:pos x="connsiteX0" y="connsiteY0"/>
                </a:cxn>
                <a:cxn ang="0">
                  <a:pos x="connsiteX1" y="connsiteY1"/>
                </a:cxn>
                <a:cxn ang="0">
                  <a:pos x="connsiteX2" y="connsiteY2"/>
                </a:cxn>
              </a:cxnLst>
              <a:rect l="l" t="t" r="r" b="b"/>
              <a:pathLst>
                <a:path w="28575" h="9525">
                  <a:moveTo>
                    <a:pt x="8753" y="8753"/>
                  </a:moveTo>
                  <a:lnTo>
                    <a:pt x="18944" y="8753"/>
                  </a:lnTo>
                  <a:lnTo>
                    <a:pt x="29041" y="8753"/>
                  </a:lnTo>
                </a:path>
              </a:pathLst>
            </a:custGeom>
            <a:noFill/>
            <a:ln w="11670"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0" name="Freeform: Shape 199">
              <a:extLst>
                <a:ext uri="{FF2B5EF4-FFF2-40B4-BE49-F238E27FC236}">
                  <a16:creationId xmlns:a16="http://schemas.microsoft.com/office/drawing/2014/main" id="{ABF309E5-AFF3-4FEC-E4CC-A751AA315ECC}"/>
                </a:ext>
              </a:extLst>
            </p:cNvPr>
            <p:cNvSpPr/>
            <p:nvPr/>
          </p:nvSpPr>
          <p:spPr>
            <a:xfrm>
              <a:off x="8252864" y="2054927"/>
              <a:ext cx="95250" cy="9525"/>
            </a:xfrm>
            <a:custGeom>
              <a:avLst/>
              <a:gdLst>
                <a:gd name="connsiteX0" fmla="*/ 90668 w 95250"/>
                <a:gd name="connsiteY0" fmla="*/ 8753 h 9525"/>
                <a:gd name="connsiteX1" fmla="*/ 8752 w 95250"/>
                <a:gd name="connsiteY1" fmla="*/ 8753 h 9525"/>
              </a:gdLst>
              <a:ahLst/>
              <a:cxnLst>
                <a:cxn ang="0">
                  <a:pos x="connsiteX0" y="connsiteY0"/>
                </a:cxn>
                <a:cxn ang="0">
                  <a:pos x="connsiteX1" y="connsiteY1"/>
                </a:cxn>
              </a:cxnLst>
              <a:rect l="l" t="t" r="r" b="b"/>
              <a:pathLst>
                <a:path w="95250" h="9525">
                  <a:moveTo>
                    <a:pt x="90668" y="8753"/>
                  </a:moveTo>
                  <a:lnTo>
                    <a:pt x="8752" y="8753"/>
                  </a:lnTo>
                </a:path>
              </a:pathLst>
            </a:custGeom>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1" name="Freeform: Shape 200">
              <a:extLst>
                <a:ext uri="{FF2B5EF4-FFF2-40B4-BE49-F238E27FC236}">
                  <a16:creationId xmlns:a16="http://schemas.microsoft.com/office/drawing/2014/main" id="{3D9C8305-465D-5A96-96B1-F990EEAAC2E1}"/>
                </a:ext>
              </a:extLst>
            </p:cNvPr>
            <p:cNvSpPr/>
            <p:nvPr/>
          </p:nvSpPr>
          <p:spPr>
            <a:xfrm>
              <a:off x="8242482" y="1919862"/>
              <a:ext cx="114300" cy="180975"/>
            </a:xfrm>
            <a:custGeom>
              <a:avLst/>
              <a:gdLst>
                <a:gd name="connsiteX0" fmla="*/ 103431 w 114300"/>
                <a:gd name="connsiteY0" fmla="*/ 177536 h 180975"/>
                <a:gd name="connsiteX1" fmla="*/ 16658 w 114300"/>
                <a:gd name="connsiteY1" fmla="*/ 177536 h 180975"/>
                <a:gd name="connsiteX2" fmla="*/ 8753 w 114300"/>
                <a:gd name="connsiteY2" fmla="*/ 169630 h 180975"/>
                <a:gd name="connsiteX3" fmla="*/ 8753 w 114300"/>
                <a:gd name="connsiteY3" fmla="*/ 90572 h 180975"/>
                <a:gd name="connsiteX4" fmla="*/ 8753 w 114300"/>
                <a:gd name="connsiteY4" fmla="*/ 16658 h 180975"/>
                <a:gd name="connsiteX5" fmla="*/ 16658 w 114300"/>
                <a:gd name="connsiteY5" fmla="*/ 8753 h 180975"/>
                <a:gd name="connsiteX6" fmla="*/ 59997 w 114300"/>
                <a:gd name="connsiteY6" fmla="*/ 8753 h 180975"/>
                <a:gd name="connsiteX7" fmla="*/ 103336 w 114300"/>
                <a:gd name="connsiteY7" fmla="*/ 8753 h 180975"/>
                <a:gd name="connsiteX8" fmla="*/ 111242 w 114300"/>
                <a:gd name="connsiteY8" fmla="*/ 16658 h 180975"/>
                <a:gd name="connsiteX9" fmla="*/ 111242 w 114300"/>
                <a:gd name="connsiteY9" fmla="*/ 169630 h 180975"/>
                <a:gd name="connsiteX10" fmla="*/ 103431 w 114300"/>
                <a:gd name="connsiteY10" fmla="*/ 17753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 h="180975">
                  <a:moveTo>
                    <a:pt x="103431" y="177536"/>
                  </a:moveTo>
                  <a:lnTo>
                    <a:pt x="16658" y="177536"/>
                  </a:lnTo>
                  <a:cubicBezTo>
                    <a:pt x="12277" y="177536"/>
                    <a:pt x="8753" y="174011"/>
                    <a:pt x="8753" y="169630"/>
                  </a:cubicBezTo>
                  <a:lnTo>
                    <a:pt x="8753" y="90572"/>
                  </a:lnTo>
                  <a:lnTo>
                    <a:pt x="8753" y="16658"/>
                  </a:lnTo>
                  <a:cubicBezTo>
                    <a:pt x="8753" y="12277"/>
                    <a:pt x="12277" y="8753"/>
                    <a:pt x="16658" y="8753"/>
                  </a:cubicBezTo>
                  <a:lnTo>
                    <a:pt x="59997" y="8753"/>
                  </a:lnTo>
                  <a:lnTo>
                    <a:pt x="103336" y="8753"/>
                  </a:lnTo>
                  <a:cubicBezTo>
                    <a:pt x="107717" y="8753"/>
                    <a:pt x="111242" y="12277"/>
                    <a:pt x="111242" y="16658"/>
                  </a:cubicBezTo>
                  <a:lnTo>
                    <a:pt x="111242" y="169630"/>
                  </a:lnTo>
                  <a:cubicBezTo>
                    <a:pt x="111336" y="174011"/>
                    <a:pt x="107812" y="177536"/>
                    <a:pt x="103431" y="177536"/>
                  </a:cubicBezTo>
                  <a:close/>
                </a:path>
              </a:pathLst>
            </a:custGeom>
            <a:noFill/>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2" name="Freeform: Shape 201">
              <a:extLst>
                <a:ext uri="{FF2B5EF4-FFF2-40B4-BE49-F238E27FC236}">
                  <a16:creationId xmlns:a16="http://schemas.microsoft.com/office/drawing/2014/main" id="{BBF544D0-3467-10A3-0678-B76D1E013780}"/>
                </a:ext>
              </a:extLst>
            </p:cNvPr>
            <p:cNvSpPr/>
            <p:nvPr/>
          </p:nvSpPr>
          <p:spPr>
            <a:xfrm>
              <a:off x="8291060" y="2069214"/>
              <a:ext cx="19050" cy="19050"/>
            </a:xfrm>
            <a:custGeom>
              <a:avLst/>
              <a:gdLst>
                <a:gd name="connsiteX0" fmla="*/ 14277 w 19050"/>
                <a:gd name="connsiteY0" fmla="*/ 11515 h 19050"/>
                <a:gd name="connsiteX1" fmla="*/ 11515 w 19050"/>
                <a:gd name="connsiteY1" fmla="*/ 8753 h 19050"/>
                <a:gd name="connsiteX2" fmla="*/ 8753 w 19050"/>
                <a:gd name="connsiteY2" fmla="*/ 11515 h 19050"/>
                <a:gd name="connsiteX3" fmla="*/ 11515 w 19050"/>
                <a:gd name="connsiteY3" fmla="*/ 14277 h 19050"/>
                <a:gd name="connsiteX4" fmla="*/ 14277 w 19050"/>
                <a:gd name="connsiteY4" fmla="*/ 1151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4277" y="11515"/>
                  </a:moveTo>
                  <a:cubicBezTo>
                    <a:pt x="14277" y="9991"/>
                    <a:pt x="13039" y="8753"/>
                    <a:pt x="11515" y="8753"/>
                  </a:cubicBezTo>
                  <a:cubicBezTo>
                    <a:pt x="9991" y="8753"/>
                    <a:pt x="8753" y="9991"/>
                    <a:pt x="8753" y="11515"/>
                  </a:cubicBezTo>
                  <a:cubicBezTo>
                    <a:pt x="8753" y="13039"/>
                    <a:pt x="9991" y="14277"/>
                    <a:pt x="11515" y="14277"/>
                  </a:cubicBezTo>
                  <a:cubicBezTo>
                    <a:pt x="13039" y="14277"/>
                    <a:pt x="14277" y="12944"/>
                    <a:pt x="14277" y="11515"/>
                  </a:cubicBezTo>
                  <a:close/>
                </a:path>
              </a:pathLst>
            </a:custGeom>
            <a:solidFill>
              <a:sysClr val="windowText" lastClr="000000"/>
            </a:solidFill>
            <a:ln w="11670" cap="flat">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3" name="Freeform: Shape 202">
              <a:extLst>
                <a:ext uri="{FF2B5EF4-FFF2-40B4-BE49-F238E27FC236}">
                  <a16:creationId xmlns:a16="http://schemas.microsoft.com/office/drawing/2014/main" id="{6D35B1C1-E8ED-EF9D-1208-E4DD97B54DAC}"/>
                </a:ext>
              </a:extLst>
            </p:cNvPr>
            <p:cNvSpPr/>
            <p:nvPr/>
          </p:nvSpPr>
          <p:spPr>
            <a:xfrm>
              <a:off x="8283630" y="1937007"/>
              <a:ext cx="28575" cy="9525"/>
            </a:xfrm>
            <a:custGeom>
              <a:avLst/>
              <a:gdLst>
                <a:gd name="connsiteX0" fmla="*/ 8753 w 28575"/>
                <a:gd name="connsiteY0" fmla="*/ 8753 h 9525"/>
                <a:gd name="connsiteX1" fmla="*/ 18944 w 28575"/>
                <a:gd name="connsiteY1" fmla="*/ 8753 h 9525"/>
                <a:gd name="connsiteX2" fmla="*/ 29040 w 28575"/>
                <a:gd name="connsiteY2" fmla="*/ 8753 h 9525"/>
              </a:gdLst>
              <a:ahLst/>
              <a:cxnLst>
                <a:cxn ang="0">
                  <a:pos x="connsiteX0" y="connsiteY0"/>
                </a:cxn>
                <a:cxn ang="0">
                  <a:pos x="connsiteX1" y="connsiteY1"/>
                </a:cxn>
                <a:cxn ang="0">
                  <a:pos x="connsiteX2" y="connsiteY2"/>
                </a:cxn>
              </a:cxnLst>
              <a:rect l="l" t="t" r="r" b="b"/>
              <a:pathLst>
                <a:path w="28575" h="9525">
                  <a:moveTo>
                    <a:pt x="8753" y="8753"/>
                  </a:moveTo>
                  <a:lnTo>
                    <a:pt x="18944" y="8753"/>
                  </a:lnTo>
                  <a:lnTo>
                    <a:pt x="29040" y="8753"/>
                  </a:lnTo>
                </a:path>
              </a:pathLst>
            </a:custGeom>
            <a:noFill/>
            <a:ln w="11670" cap="rnd">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grpSp>
        <p:nvGrpSpPr>
          <p:cNvPr id="204" name="Group 203">
            <a:extLst>
              <a:ext uri="{FF2B5EF4-FFF2-40B4-BE49-F238E27FC236}">
                <a16:creationId xmlns:a16="http://schemas.microsoft.com/office/drawing/2014/main" id="{351EEB6D-1062-68BD-3097-ADF247377207}"/>
              </a:ext>
            </a:extLst>
          </p:cNvPr>
          <p:cNvGrpSpPr/>
          <p:nvPr/>
        </p:nvGrpSpPr>
        <p:grpSpPr>
          <a:xfrm>
            <a:off x="10375869" y="1821834"/>
            <a:ext cx="716084" cy="739416"/>
            <a:chOff x="10286973" y="1838245"/>
            <a:chExt cx="716084" cy="739416"/>
          </a:xfrm>
        </p:grpSpPr>
        <p:sp>
          <p:nvSpPr>
            <p:cNvPr id="205" name="Freeform: Shape 204">
              <a:extLst>
                <a:ext uri="{FF2B5EF4-FFF2-40B4-BE49-F238E27FC236}">
                  <a16:creationId xmlns:a16="http://schemas.microsoft.com/office/drawing/2014/main" id="{972AF67B-0539-F116-4D13-8918518270D7}"/>
                </a:ext>
              </a:extLst>
            </p:cNvPr>
            <p:cNvSpPr/>
            <p:nvPr/>
          </p:nvSpPr>
          <p:spPr>
            <a:xfrm>
              <a:off x="10467941" y="2082909"/>
              <a:ext cx="307258" cy="307258"/>
            </a:xfrm>
            <a:custGeom>
              <a:avLst/>
              <a:gdLst>
                <a:gd name="connsiteX0" fmla="*/ 122439 w 190500"/>
                <a:gd name="connsiteY0" fmla="*/ 37313 h 190500"/>
                <a:gd name="connsiteX1" fmla="*/ 157699 w 190500"/>
                <a:gd name="connsiteY1" fmla="*/ 122440 h 190500"/>
                <a:gd name="connsiteX2" fmla="*/ 72573 w 190500"/>
                <a:gd name="connsiteY2" fmla="*/ 157699 h 190500"/>
                <a:gd name="connsiteX3" fmla="*/ 37313 w 190500"/>
                <a:gd name="connsiteY3" fmla="*/ 72573 h 190500"/>
                <a:gd name="connsiteX4" fmla="*/ 122439 w 190500"/>
                <a:gd name="connsiteY4" fmla="*/ 37313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22439" y="37313"/>
                  </a:moveTo>
                  <a:cubicBezTo>
                    <a:pt x="155683" y="51083"/>
                    <a:pt x="171469" y="89196"/>
                    <a:pt x="157699" y="122440"/>
                  </a:cubicBezTo>
                  <a:cubicBezTo>
                    <a:pt x="143929" y="155683"/>
                    <a:pt x="105816" y="171470"/>
                    <a:pt x="72573" y="157699"/>
                  </a:cubicBezTo>
                  <a:cubicBezTo>
                    <a:pt x="39329" y="143929"/>
                    <a:pt x="23543" y="105817"/>
                    <a:pt x="37313" y="72573"/>
                  </a:cubicBezTo>
                  <a:cubicBezTo>
                    <a:pt x="51083" y="39329"/>
                    <a:pt x="89196" y="23543"/>
                    <a:pt x="122439" y="37313"/>
                  </a:cubicBezTo>
                  <a:close/>
                </a:path>
              </a:pathLst>
            </a:custGeom>
            <a:noFill/>
            <a:ln w="12633" cap="flat">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6" name="Freeform: Shape 205">
              <a:extLst>
                <a:ext uri="{FF2B5EF4-FFF2-40B4-BE49-F238E27FC236}">
                  <a16:creationId xmlns:a16="http://schemas.microsoft.com/office/drawing/2014/main" id="{B140AD38-2B17-972F-BD12-5B576A9297E8}"/>
                </a:ext>
              </a:extLst>
            </p:cNvPr>
            <p:cNvSpPr/>
            <p:nvPr/>
          </p:nvSpPr>
          <p:spPr>
            <a:xfrm>
              <a:off x="10413241" y="2028558"/>
              <a:ext cx="414798" cy="414798"/>
            </a:xfrm>
            <a:custGeom>
              <a:avLst/>
              <a:gdLst>
                <a:gd name="connsiteX0" fmla="*/ 253410 w 257175"/>
                <a:gd name="connsiteY0" fmla="*/ 139110 h 257175"/>
                <a:gd name="connsiteX1" fmla="*/ 253410 w 257175"/>
                <a:gd name="connsiteY1" fmla="*/ 123775 h 257175"/>
                <a:gd name="connsiteX2" fmla="*/ 241027 w 257175"/>
                <a:gd name="connsiteY2" fmla="*/ 111392 h 257175"/>
                <a:gd name="connsiteX3" fmla="*/ 241027 w 257175"/>
                <a:gd name="connsiteY3" fmla="*/ 111392 h 257175"/>
                <a:gd name="connsiteX4" fmla="*/ 229217 w 257175"/>
                <a:gd name="connsiteY4" fmla="*/ 102629 h 257175"/>
                <a:gd name="connsiteX5" fmla="*/ 220930 w 257175"/>
                <a:gd name="connsiteY5" fmla="*/ 82722 h 257175"/>
                <a:gd name="connsiteX6" fmla="*/ 223120 w 257175"/>
                <a:gd name="connsiteY6" fmla="*/ 68149 h 257175"/>
                <a:gd name="connsiteX7" fmla="*/ 223120 w 257175"/>
                <a:gd name="connsiteY7" fmla="*/ 68149 h 257175"/>
                <a:gd name="connsiteX8" fmla="*/ 223120 w 257175"/>
                <a:gd name="connsiteY8" fmla="*/ 50623 h 257175"/>
                <a:gd name="connsiteX9" fmla="*/ 212262 w 257175"/>
                <a:gd name="connsiteY9" fmla="*/ 39764 h 257175"/>
                <a:gd name="connsiteX10" fmla="*/ 194736 w 257175"/>
                <a:gd name="connsiteY10" fmla="*/ 39764 h 257175"/>
                <a:gd name="connsiteX11" fmla="*/ 194736 w 257175"/>
                <a:gd name="connsiteY11" fmla="*/ 39764 h 257175"/>
                <a:gd name="connsiteX12" fmla="*/ 180163 w 257175"/>
                <a:gd name="connsiteY12" fmla="*/ 41955 h 257175"/>
                <a:gd name="connsiteX13" fmla="*/ 160256 w 257175"/>
                <a:gd name="connsiteY13" fmla="*/ 33668 h 257175"/>
                <a:gd name="connsiteX14" fmla="*/ 151492 w 257175"/>
                <a:gd name="connsiteY14" fmla="*/ 21857 h 257175"/>
                <a:gd name="connsiteX15" fmla="*/ 151492 w 257175"/>
                <a:gd name="connsiteY15" fmla="*/ 21857 h 257175"/>
                <a:gd name="connsiteX16" fmla="*/ 139110 w 257175"/>
                <a:gd name="connsiteY16" fmla="*/ 9475 h 257175"/>
                <a:gd name="connsiteX17" fmla="*/ 123775 w 257175"/>
                <a:gd name="connsiteY17" fmla="*/ 9475 h 257175"/>
                <a:gd name="connsiteX18" fmla="*/ 111392 w 257175"/>
                <a:gd name="connsiteY18" fmla="*/ 21857 h 257175"/>
                <a:gd name="connsiteX19" fmla="*/ 111392 w 257175"/>
                <a:gd name="connsiteY19" fmla="*/ 21857 h 257175"/>
                <a:gd name="connsiteX20" fmla="*/ 102630 w 257175"/>
                <a:gd name="connsiteY20" fmla="*/ 33668 h 257175"/>
                <a:gd name="connsiteX21" fmla="*/ 82722 w 257175"/>
                <a:gd name="connsiteY21" fmla="*/ 41955 h 257175"/>
                <a:gd name="connsiteX22" fmla="*/ 68149 w 257175"/>
                <a:gd name="connsiteY22" fmla="*/ 39764 h 257175"/>
                <a:gd name="connsiteX23" fmla="*/ 68149 w 257175"/>
                <a:gd name="connsiteY23" fmla="*/ 39764 h 257175"/>
                <a:gd name="connsiteX24" fmla="*/ 50623 w 257175"/>
                <a:gd name="connsiteY24" fmla="*/ 39764 h 257175"/>
                <a:gd name="connsiteX25" fmla="*/ 39764 w 257175"/>
                <a:gd name="connsiteY25" fmla="*/ 50623 h 257175"/>
                <a:gd name="connsiteX26" fmla="*/ 39764 w 257175"/>
                <a:gd name="connsiteY26" fmla="*/ 68149 h 257175"/>
                <a:gd name="connsiteX27" fmla="*/ 39764 w 257175"/>
                <a:gd name="connsiteY27" fmla="*/ 68149 h 257175"/>
                <a:gd name="connsiteX28" fmla="*/ 41955 w 257175"/>
                <a:gd name="connsiteY28" fmla="*/ 82722 h 257175"/>
                <a:gd name="connsiteX29" fmla="*/ 33668 w 257175"/>
                <a:gd name="connsiteY29" fmla="*/ 102629 h 257175"/>
                <a:gd name="connsiteX30" fmla="*/ 21857 w 257175"/>
                <a:gd name="connsiteY30" fmla="*/ 111392 h 257175"/>
                <a:gd name="connsiteX31" fmla="*/ 21857 w 257175"/>
                <a:gd name="connsiteY31" fmla="*/ 111392 h 257175"/>
                <a:gd name="connsiteX32" fmla="*/ 9475 w 257175"/>
                <a:gd name="connsiteY32" fmla="*/ 123775 h 257175"/>
                <a:gd name="connsiteX33" fmla="*/ 9475 w 257175"/>
                <a:gd name="connsiteY33" fmla="*/ 139110 h 257175"/>
                <a:gd name="connsiteX34" fmla="*/ 21857 w 257175"/>
                <a:gd name="connsiteY34" fmla="*/ 151492 h 257175"/>
                <a:gd name="connsiteX35" fmla="*/ 21857 w 257175"/>
                <a:gd name="connsiteY35" fmla="*/ 151492 h 257175"/>
                <a:gd name="connsiteX36" fmla="*/ 33668 w 257175"/>
                <a:gd name="connsiteY36" fmla="*/ 160256 h 257175"/>
                <a:gd name="connsiteX37" fmla="*/ 41955 w 257175"/>
                <a:gd name="connsiteY37" fmla="*/ 180163 h 257175"/>
                <a:gd name="connsiteX38" fmla="*/ 39764 w 257175"/>
                <a:gd name="connsiteY38" fmla="*/ 194736 h 257175"/>
                <a:gd name="connsiteX39" fmla="*/ 39764 w 257175"/>
                <a:gd name="connsiteY39" fmla="*/ 194736 h 257175"/>
                <a:gd name="connsiteX40" fmla="*/ 39764 w 257175"/>
                <a:gd name="connsiteY40" fmla="*/ 212262 h 257175"/>
                <a:gd name="connsiteX41" fmla="*/ 50623 w 257175"/>
                <a:gd name="connsiteY41" fmla="*/ 223120 h 257175"/>
                <a:gd name="connsiteX42" fmla="*/ 68149 w 257175"/>
                <a:gd name="connsiteY42" fmla="*/ 223120 h 257175"/>
                <a:gd name="connsiteX43" fmla="*/ 68149 w 257175"/>
                <a:gd name="connsiteY43" fmla="*/ 223120 h 257175"/>
                <a:gd name="connsiteX44" fmla="*/ 82722 w 257175"/>
                <a:gd name="connsiteY44" fmla="*/ 220930 h 257175"/>
                <a:gd name="connsiteX45" fmla="*/ 102630 w 257175"/>
                <a:gd name="connsiteY45" fmla="*/ 229216 h 257175"/>
                <a:gd name="connsiteX46" fmla="*/ 111392 w 257175"/>
                <a:gd name="connsiteY46" fmla="*/ 241028 h 257175"/>
                <a:gd name="connsiteX47" fmla="*/ 111392 w 257175"/>
                <a:gd name="connsiteY47" fmla="*/ 241028 h 257175"/>
                <a:gd name="connsiteX48" fmla="*/ 123775 w 257175"/>
                <a:gd name="connsiteY48" fmla="*/ 253410 h 257175"/>
                <a:gd name="connsiteX49" fmla="*/ 139110 w 257175"/>
                <a:gd name="connsiteY49" fmla="*/ 253410 h 257175"/>
                <a:gd name="connsiteX50" fmla="*/ 151492 w 257175"/>
                <a:gd name="connsiteY50" fmla="*/ 241028 h 257175"/>
                <a:gd name="connsiteX51" fmla="*/ 151492 w 257175"/>
                <a:gd name="connsiteY51" fmla="*/ 241028 h 257175"/>
                <a:gd name="connsiteX52" fmla="*/ 160256 w 257175"/>
                <a:gd name="connsiteY52" fmla="*/ 229216 h 257175"/>
                <a:gd name="connsiteX53" fmla="*/ 180163 w 257175"/>
                <a:gd name="connsiteY53" fmla="*/ 220930 h 257175"/>
                <a:gd name="connsiteX54" fmla="*/ 194736 w 257175"/>
                <a:gd name="connsiteY54" fmla="*/ 223120 h 257175"/>
                <a:gd name="connsiteX55" fmla="*/ 194736 w 257175"/>
                <a:gd name="connsiteY55" fmla="*/ 223120 h 257175"/>
                <a:gd name="connsiteX56" fmla="*/ 212262 w 257175"/>
                <a:gd name="connsiteY56" fmla="*/ 223120 h 257175"/>
                <a:gd name="connsiteX57" fmla="*/ 223120 w 257175"/>
                <a:gd name="connsiteY57" fmla="*/ 212262 h 257175"/>
                <a:gd name="connsiteX58" fmla="*/ 223120 w 257175"/>
                <a:gd name="connsiteY58" fmla="*/ 194736 h 257175"/>
                <a:gd name="connsiteX59" fmla="*/ 223120 w 257175"/>
                <a:gd name="connsiteY59" fmla="*/ 194736 h 257175"/>
                <a:gd name="connsiteX60" fmla="*/ 220930 w 257175"/>
                <a:gd name="connsiteY60" fmla="*/ 180163 h 257175"/>
                <a:gd name="connsiteX61" fmla="*/ 229217 w 257175"/>
                <a:gd name="connsiteY61" fmla="*/ 160256 h 257175"/>
                <a:gd name="connsiteX62" fmla="*/ 241027 w 257175"/>
                <a:gd name="connsiteY62" fmla="*/ 151492 h 257175"/>
                <a:gd name="connsiteX63" fmla="*/ 241027 w 257175"/>
                <a:gd name="connsiteY63" fmla="*/ 151492 h 257175"/>
                <a:gd name="connsiteX64" fmla="*/ 253410 w 257175"/>
                <a:gd name="connsiteY64" fmla="*/ 13911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7175" h="257175">
                  <a:moveTo>
                    <a:pt x="253410" y="139110"/>
                  </a:moveTo>
                  <a:lnTo>
                    <a:pt x="253410" y="123775"/>
                  </a:lnTo>
                  <a:cubicBezTo>
                    <a:pt x="253410" y="116917"/>
                    <a:pt x="247886" y="111392"/>
                    <a:pt x="241027" y="111392"/>
                  </a:cubicBezTo>
                  <a:lnTo>
                    <a:pt x="241027" y="111392"/>
                  </a:lnTo>
                  <a:cubicBezTo>
                    <a:pt x="235598" y="111392"/>
                    <a:pt x="230740" y="107868"/>
                    <a:pt x="229217" y="102629"/>
                  </a:cubicBezTo>
                  <a:cubicBezTo>
                    <a:pt x="227121" y="95676"/>
                    <a:pt x="224359" y="89009"/>
                    <a:pt x="220930" y="82722"/>
                  </a:cubicBezTo>
                  <a:cubicBezTo>
                    <a:pt x="218358" y="77960"/>
                    <a:pt x="219215" y="71959"/>
                    <a:pt x="223120" y="68149"/>
                  </a:cubicBezTo>
                  <a:lnTo>
                    <a:pt x="223120" y="68149"/>
                  </a:lnTo>
                  <a:cubicBezTo>
                    <a:pt x="227978" y="63291"/>
                    <a:pt x="227978" y="55481"/>
                    <a:pt x="223120" y="50623"/>
                  </a:cubicBezTo>
                  <a:lnTo>
                    <a:pt x="212262" y="39764"/>
                  </a:lnTo>
                  <a:cubicBezTo>
                    <a:pt x="207405" y="34907"/>
                    <a:pt x="199594" y="34907"/>
                    <a:pt x="194736" y="39764"/>
                  </a:cubicBezTo>
                  <a:lnTo>
                    <a:pt x="194736" y="39764"/>
                  </a:lnTo>
                  <a:cubicBezTo>
                    <a:pt x="190831" y="43670"/>
                    <a:pt x="184925" y="44527"/>
                    <a:pt x="180163" y="41955"/>
                  </a:cubicBezTo>
                  <a:cubicBezTo>
                    <a:pt x="173876" y="38526"/>
                    <a:pt x="167209" y="35764"/>
                    <a:pt x="160256" y="33668"/>
                  </a:cubicBezTo>
                  <a:cubicBezTo>
                    <a:pt x="155017" y="32144"/>
                    <a:pt x="151492" y="27286"/>
                    <a:pt x="151492" y="21857"/>
                  </a:cubicBezTo>
                  <a:lnTo>
                    <a:pt x="151492" y="21857"/>
                  </a:lnTo>
                  <a:cubicBezTo>
                    <a:pt x="151492" y="14999"/>
                    <a:pt x="145968" y="9475"/>
                    <a:pt x="139110" y="9475"/>
                  </a:cubicBezTo>
                  <a:lnTo>
                    <a:pt x="123775" y="9475"/>
                  </a:lnTo>
                  <a:cubicBezTo>
                    <a:pt x="116917" y="9475"/>
                    <a:pt x="111392" y="14999"/>
                    <a:pt x="111392" y="21857"/>
                  </a:cubicBezTo>
                  <a:lnTo>
                    <a:pt x="111392" y="21857"/>
                  </a:lnTo>
                  <a:cubicBezTo>
                    <a:pt x="111392" y="27286"/>
                    <a:pt x="107868" y="32144"/>
                    <a:pt x="102630" y="33668"/>
                  </a:cubicBezTo>
                  <a:cubicBezTo>
                    <a:pt x="95676" y="35764"/>
                    <a:pt x="89008" y="38526"/>
                    <a:pt x="82722" y="41955"/>
                  </a:cubicBezTo>
                  <a:cubicBezTo>
                    <a:pt x="77960" y="44527"/>
                    <a:pt x="71959" y="43670"/>
                    <a:pt x="68149" y="39764"/>
                  </a:cubicBezTo>
                  <a:lnTo>
                    <a:pt x="68149" y="39764"/>
                  </a:lnTo>
                  <a:cubicBezTo>
                    <a:pt x="63291" y="34907"/>
                    <a:pt x="55481" y="34907"/>
                    <a:pt x="50623" y="39764"/>
                  </a:cubicBezTo>
                  <a:lnTo>
                    <a:pt x="39764" y="50623"/>
                  </a:lnTo>
                  <a:cubicBezTo>
                    <a:pt x="34906" y="55481"/>
                    <a:pt x="34906" y="63291"/>
                    <a:pt x="39764" y="68149"/>
                  </a:cubicBezTo>
                  <a:lnTo>
                    <a:pt x="39764" y="68149"/>
                  </a:lnTo>
                  <a:cubicBezTo>
                    <a:pt x="43670" y="72054"/>
                    <a:pt x="44527" y="77960"/>
                    <a:pt x="41955" y="82722"/>
                  </a:cubicBezTo>
                  <a:cubicBezTo>
                    <a:pt x="38526" y="89009"/>
                    <a:pt x="35764" y="95676"/>
                    <a:pt x="33668" y="102629"/>
                  </a:cubicBezTo>
                  <a:cubicBezTo>
                    <a:pt x="32144" y="107868"/>
                    <a:pt x="27286" y="111392"/>
                    <a:pt x="21857" y="111392"/>
                  </a:cubicBezTo>
                  <a:lnTo>
                    <a:pt x="21857" y="111392"/>
                  </a:lnTo>
                  <a:cubicBezTo>
                    <a:pt x="14999" y="111392"/>
                    <a:pt x="9475" y="116917"/>
                    <a:pt x="9475" y="123775"/>
                  </a:cubicBezTo>
                  <a:lnTo>
                    <a:pt x="9475" y="139110"/>
                  </a:lnTo>
                  <a:cubicBezTo>
                    <a:pt x="9475" y="145968"/>
                    <a:pt x="14999" y="151492"/>
                    <a:pt x="21857" y="151492"/>
                  </a:cubicBezTo>
                  <a:lnTo>
                    <a:pt x="21857" y="151492"/>
                  </a:lnTo>
                  <a:cubicBezTo>
                    <a:pt x="27286" y="151492"/>
                    <a:pt x="32144" y="155017"/>
                    <a:pt x="33668" y="160256"/>
                  </a:cubicBezTo>
                  <a:cubicBezTo>
                    <a:pt x="35764" y="167209"/>
                    <a:pt x="38526" y="173876"/>
                    <a:pt x="41955" y="180163"/>
                  </a:cubicBezTo>
                  <a:cubicBezTo>
                    <a:pt x="44527" y="184925"/>
                    <a:pt x="43670" y="190926"/>
                    <a:pt x="39764" y="194736"/>
                  </a:cubicBezTo>
                  <a:lnTo>
                    <a:pt x="39764" y="194736"/>
                  </a:lnTo>
                  <a:cubicBezTo>
                    <a:pt x="34906" y="199594"/>
                    <a:pt x="34906" y="207404"/>
                    <a:pt x="39764" y="212262"/>
                  </a:cubicBezTo>
                  <a:lnTo>
                    <a:pt x="50623" y="223120"/>
                  </a:lnTo>
                  <a:cubicBezTo>
                    <a:pt x="55481" y="227978"/>
                    <a:pt x="63291" y="227978"/>
                    <a:pt x="68149" y="223120"/>
                  </a:cubicBezTo>
                  <a:lnTo>
                    <a:pt x="68149" y="223120"/>
                  </a:lnTo>
                  <a:cubicBezTo>
                    <a:pt x="72054" y="219215"/>
                    <a:pt x="77960" y="218358"/>
                    <a:pt x="82722" y="220930"/>
                  </a:cubicBezTo>
                  <a:cubicBezTo>
                    <a:pt x="89008" y="224359"/>
                    <a:pt x="95676" y="227121"/>
                    <a:pt x="102630" y="229216"/>
                  </a:cubicBezTo>
                  <a:cubicBezTo>
                    <a:pt x="107868" y="230741"/>
                    <a:pt x="111392" y="235598"/>
                    <a:pt x="111392" y="241028"/>
                  </a:cubicBezTo>
                  <a:lnTo>
                    <a:pt x="111392" y="241028"/>
                  </a:lnTo>
                  <a:cubicBezTo>
                    <a:pt x="111392" y="247886"/>
                    <a:pt x="116917" y="253410"/>
                    <a:pt x="123775" y="253410"/>
                  </a:cubicBezTo>
                  <a:lnTo>
                    <a:pt x="139110" y="253410"/>
                  </a:lnTo>
                  <a:cubicBezTo>
                    <a:pt x="145968" y="253410"/>
                    <a:pt x="151492" y="247886"/>
                    <a:pt x="151492" y="241028"/>
                  </a:cubicBezTo>
                  <a:lnTo>
                    <a:pt x="151492" y="241028"/>
                  </a:lnTo>
                  <a:cubicBezTo>
                    <a:pt x="151492" y="235598"/>
                    <a:pt x="155017" y="230741"/>
                    <a:pt x="160256" y="229216"/>
                  </a:cubicBezTo>
                  <a:cubicBezTo>
                    <a:pt x="167209" y="227121"/>
                    <a:pt x="173876" y="224359"/>
                    <a:pt x="180163" y="220930"/>
                  </a:cubicBezTo>
                  <a:cubicBezTo>
                    <a:pt x="184925" y="218358"/>
                    <a:pt x="190926" y="219215"/>
                    <a:pt x="194736" y="223120"/>
                  </a:cubicBezTo>
                  <a:lnTo>
                    <a:pt x="194736" y="223120"/>
                  </a:lnTo>
                  <a:cubicBezTo>
                    <a:pt x="199594" y="227978"/>
                    <a:pt x="207405" y="227978"/>
                    <a:pt x="212262" y="223120"/>
                  </a:cubicBezTo>
                  <a:lnTo>
                    <a:pt x="223120" y="212262"/>
                  </a:lnTo>
                  <a:cubicBezTo>
                    <a:pt x="227978" y="207404"/>
                    <a:pt x="227978" y="199594"/>
                    <a:pt x="223120" y="194736"/>
                  </a:cubicBezTo>
                  <a:lnTo>
                    <a:pt x="223120" y="194736"/>
                  </a:lnTo>
                  <a:cubicBezTo>
                    <a:pt x="219215" y="190831"/>
                    <a:pt x="218358" y="184925"/>
                    <a:pt x="220930" y="180163"/>
                  </a:cubicBezTo>
                  <a:cubicBezTo>
                    <a:pt x="224359" y="173876"/>
                    <a:pt x="227121" y="167209"/>
                    <a:pt x="229217" y="160256"/>
                  </a:cubicBezTo>
                  <a:cubicBezTo>
                    <a:pt x="230740" y="155017"/>
                    <a:pt x="235598" y="151492"/>
                    <a:pt x="241027" y="151492"/>
                  </a:cubicBezTo>
                  <a:lnTo>
                    <a:pt x="241027" y="151492"/>
                  </a:lnTo>
                  <a:cubicBezTo>
                    <a:pt x="247886" y="151492"/>
                    <a:pt x="253410" y="145968"/>
                    <a:pt x="253410" y="139110"/>
                  </a:cubicBezTo>
                  <a:close/>
                </a:path>
              </a:pathLst>
            </a:custGeom>
            <a:noFill/>
            <a:ln w="12633" cap="flat">
              <a:solidFill>
                <a:sysClr val="windowText" lastClr="00000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8" name="Freeform: Shape 207">
              <a:extLst>
                <a:ext uri="{FF2B5EF4-FFF2-40B4-BE49-F238E27FC236}">
                  <a16:creationId xmlns:a16="http://schemas.microsoft.com/office/drawing/2014/main" id="{23B1D50B-BBD8-DC13-7E79-E085888A2122}"/>
                </a:ext>
              </a:extLst>
            </p:cNvPr>
            <p:cNvSpPr/>
            <p:nvPr/>
          </p:nvSpPr>
          <p:spPr>
            <a:xfrm>
              <a:off x="10286973" y="1857448"/>
              <a:ext cx="291895" cy="506976"/>
            </a:xfrm>
            <a:custGeom>
              <a:avLst/>
              <a:gdLst>
                <a:gd name="connsiteX0" fmla="*/ 180534 w 180975"/>
                <a:gd name="connsiteY0" fmla="*/ 8501 h 314325"/>
                <a:gd name="connsiteX1" fmla="*/ 95571 w 180975"/>
                <a:gd name="connsiteY1" fmla="*/ 65651 h 314325"/>
                <a:gd name="connsiteX2" fmla="*/ 28039 w 180975"/>
                <a:gd name="connsiteY2" fmla="*/ 145090 h 314325"/>
                <a:gd name="connsiteX3" fmla="*/ 23086 w 180975"/>
                <a:gd name="connsiteY3" fmla="*/ 309205 h 314325"/>
              </a:gdLst>
              <a:ahLst/>
              <a:cxnLst>
                <a:cxn ang="0">
                  <a:pos x="connsiteX0" y="connsiteY0"/>
                </a:cxn>
                <a:cxn ang="0">
                  <a:pos x="connsiteX1" y="connsiteY1"/>
                </a:cxn>
                <a:cxn ang="0">
                  <a:pos x="connsiteX2" y="connsiteY2"/>
                </a:cxn>
                <a:cxn ang="0">
                  <a:pos x="connsiteX3" y="connsiteY3"/>
                </a:cxn>
              </a:cxnLst>
              <a:rect l="l" t="t" r="r" b="b"/>
              <a:pathLst>
                <a:path w="180975" h="314325">
                  <a:moveTo>
                    <a:pt x="180534" y="8501"/>
                  </a:moveTo>
                  <a:cubicBezTo>
                    <a:pt x="166437" y="40029"/>
                    <a:pt x="133385" y="41362"/>
                    <a:pt x="95571" y="65651"/>
                  </a:cubicBezTo>
                  <a:cubicBezTo>
                    <a:pt x="66043" y="84606"/>
                    <a:pt x="43088" y="113371"/>
                    <a:pt x="28039" y="145090"/>
                  </a:cubicBezTo>
                  <a:cubicBezTo>
                    <a:pt x="3845" y="195953"/>
                    <a:pt x="2035" y="257008"/>
                    <a:pt x="23086" y="309205"/>
                  </a:cubicBez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09" name="Freeform: Shape 208">
              <a:extLst>
                <a:ext uri="{FF2B5EF4-FFF2-40B4-BE49-F238E27FC236}">
                  <a16:creationId xmlns:a16="http://schemas.microsoft.com/office/drawing/2014/main" id="{966B62C7-F803-2FA9-9224-3A968D89DEBE}"/>
                </a:ext>
              </a:extLst>
            </p:cNvPr>
            <p:cNvSpPr/>
            <p:nvPr/>
          </p:nvSpPr>
          <p:spPr>
            <a:xfrm>
              <a:off x="10521891" y="1838245"/>
              <a:ext cx="92177" cy="76815"/>
            </a:xfrm>
            <a:custGeom>
              <a:avLst/>
              <a:gdLst>
                <a:gd name="connsiteX0" fmla="*/ 8501 w 57150"/>
                <a:gd name="connsiteY0" fmla="*/ 16312 h 47625"/>
                <a:gd name="connsiteX1" fmla="*/ 42791 w 57150"/>
                <a:gd name="connsiteY1" fmla="*/ 8501 h 47625"/>
                <a:gd name="connsiteX2" fmla="*/ 50602 w 57150"/>
                <a:gd name="connsiteY2" fmla="*/ 42696 h 47625"/>
              </a:gdLst>
              <a:ahLst/>
              <a:cxnLst>
                <a:cxn ang="0">
                  <a:pos x="connsiteX0" y="connsiteY0"/>
                </a:cxn>
                <a:cxn ang="0">
                  <a:pos x="connsiteX1" y="connsiteY1"/>
                </a:cxn>
                <a:cxn ang="0">
                  <a:pos x="connsiteX2" y="connsiteY2"/>
                </a:cxn>
              </a:cxnLst>
              <a:rect l="l" t="t" r="r" b="b"/>
              <a:pathLst>
                <a:path w="57150" h="47625">
                  <a:moveTo>
                    <a:pt x="8501" y="16312"/>
                  </a:moveTo>
                  <a:lnTo>
                    <a:pt x="42791" y="8501"/>
                  </a:lnTo>
                  <a:lnTo>
                    <a:pt x="50602" y="42696"/>
                  </a:ln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0" name="Freeform: Shape 209">
              <a:extLst>
                <a:ext uri="{FF2B5EF4-FFF2-40B4-BE49-F238E27FC236}">
                  <a16:creationId xmlns:a16="http://schemas.microsoft.com/office/drawing/2014/main" id="{10445DBC-7294-E3D1-6B22-A0F064D15A8A}"/>
                </a:ext>
              </a:extLst>
            </p:cNvPr>
            <p:cNvSpPr/>
            <p:nvPr/>
          </p:nvSpPr>
          <p:spPr>
            <a:xfrm>
              <a:off x="10325091" y="2424032"/>
              <a:ext cx="568428" cy="153629"/>
            </a:xfrm>
            <a:custGeom>
              <a:avLst/>
              <a:gdLst>
                <a:gd name="connsiteX0" fmla="*/ 8501 w 352425"/>
                <a:gd name="connsiteY0" fmla="*/ 22408 h 95250"/>
                <a:gd name="connsiteX1" fmla="*/ 100513 w 352425"/>
                <a:gd name="connsiteY1" fmla="*/ 67461 h 95250"/>
                <a:gd name="connsiteX2" fmla="*/ 203097 w 352425"/>
                <a:gd name="connsiteY2" fmla="*/ 86225 h 95250"/>
                <a:gd name="connsiteX3" fmla="*/ 347687 w 352425"/>
                <a:gd name="connsiteY3" fmla="*/ 8501 h 95250"/>
              </a:gdLst>
              <a:ahLst/>
              <a:cxnLst>
                <a:cxn ang="0">
                  <a:pos x="connsiteX0" y="connsiteY0"/>
                </a:cxn>
                <a:cxn ang="0">
                  <a:pos x="connsiteX1" y="connsiteY1"/>
                </a:cxn>
                <a:cxn ang="0">
                  <a:pos x="connsiteX2" y="connsiteY2"/>
                </a:cxn>
                <a:cxn ang="0">
                  <a:pos x="connsiteX3" y="connsiteY3"/>
                </a:cxn>
              </a:cxnLst>
              <a:rect l="l" t="t" r="r" b="b"/>
              <a:pathLst>
                <a:path w="352425" h="95250">
                  <a:moveTo>
                    <a:pt x="8501" y="22408"/>
                  </a:moveTo>
                  <a:cubicBezTo>
                    <a:pt x="42887" y="18788"/>
                    <a:pt x="60508" y="46792"/>
                    <a:pt x="100513" y="67461"/>
                  </a:cubicBezTo>
                  <a:cubicBezTo>
                    <a:pt x="131755" y="83558"/>
                    <a:pt x="168045" y="88987"/>
                    <a:pt x="203097" y="86225"/>
                  </a:cubicBezTo>
                  <a:cubicBezTo>
                    <a:pt x="259199" y="81748"/>
                    <a:pt x="313016" y="52792"/>
                    <a:pt x="347687" y="8501"/>
                  </a:cubicBez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1" name="Freeform: Shape 210">
              <a:extLst>
                <a:ext uri="{FF2B5EF4-FFF2-40B4-BE49-F238E27FC236}">
                  <a16:creationId xmlns:a16="http://schemas.microsoft.com/office/drawing/2014/main" id="{802516F2-61D0-BC8A-22FC-AC2F26CF9D68}"/>
                </a:ext>
              </a:extLst>
            </p:cNvPr>
            <p:cNvSpPr/>
            <p:nvPr/>
          </p:nvSpPr>
          <p:spPr>
            <a:xfrm>
              <a:off x="10302047" y="2406366"/>
              <a:ext cx="61452" cy="92177"/>
            </a:xfrm>
            <a:custGeom>
              <a:avLst/>
              <a:gdLst>
                <a:gd name="connsiteX0" fmla="*/ 32409 w 38100"/>
                <a:gd name="connsiteY0" fmla="*/ 58126 h 57150"/>
                <a:gd name="connsiteX1" fmla="*/ 8501 w 38100"/>
                <a:gd name="connsiteY1" fmla="*/ 32409 h 57150"/>
                <a:gd name="connsiteX2" fmla="*/ 34219 w 38100"/>
                <a:gd name="connsiteY2" fmla="*/ 8501 h 57150"/>
              </a:gdLst>
              <a:ahLst/>
              <a:cxnLst>
                <a:cxn ang="0">
                  <a:pos x="connsiteX0" y="connsiteY0"/>
                </a:cxn>
                <a:cxn ang="0">
                  <a:pos x="connsiteX1" y="connsiteY1"/>
                </a:cxn>
                <a:cxn ang="0">
                  <a:pos x="connsiteX2" y="connsiteY2"/>
                </a:cxn>
              </a:cxnLst>
              <a:rect l="l" t="t" r="r" b="b"/>
              <a:pathLst>
                <a:path w="38100" h="57150">
                  <a:moveTo>
                    <a:pt x="32409" y="58126"/>
                  </a:moveTo>
                  <a:lnTo>
                    <a:pt x="8501" y="32409"/>
                  </a:lnTo>
                  <a:lnTo>
                    <a:pt x="34219" y="8501"/>
                  </a:ln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2" name="Freeform: Shape 211">
              <a:extLst>
                <a:ext uri="{FF2B5EF4-FFF2-40B4-BE49-F238E27FC236}">
                  <a16:creationId xmlns:a16="http://schemas.microsoft.com/office/drawing/2014/main" id="{76BA9645-B2B5-4429-DDD9-A876E9530A7A}"/>
                </a:ext>
              </a:extLst>
            </p:cNvPr>
            <p:cNvSpPr/>
            <p:nvPr/>
          </p:nvSpPr>
          <p:spPr>
            <a:xfrm>
              <a:off x="10661694" y="1896777"/>
              <a:ext cx="307258" cy="476250"/>
            </a:xfrm>
            <a:custGeom>
              <a:avLst/>
              <a:gdLst>
                <a:gd name="connsiteX0" fmla="*/ 190238 w 190500"/>
                <a:gd name="connsiteY0" fmla="*/ 295204 h 295275"/>
                <a:gd name="connsiteX1" fmla="*/ 183189 w 190500"/>
                <a:gd name="connsiteY1" fmla="*/ 193000 h 295275"/>
                <a:gd name="connsiteX2" fmla="*/ 148137 w 190500"/>
                <a:gd name="connsiteY2" fmla="*/ 94798 h 295275"/>
                <a:gd name="connsiteX3" fmla="*/ 8501 w 190500"/>
                <a:gd name="connsiteY3" fmla="*/ 8501 h 295275"/>
              </a:gdLst>
              <a:ahLst/>
              <a:cxnLst>
                <a:cxn ang="0">
                  <a:pos x="connsiteX0" y="connsiteY0"/>
                </a:cxn>
                <a:cxn ang="0">
                  <a:pos x="connsiteX1" y="connsiteY1"/>
                </a:cxn>
                <a:cxn ang="0">
                  <a:pos x="connsiteX2" y="connsiteY2"/>
                </a:cxn>
                <a:cxn ang="0">
                  <a:pos x="connsiteX3" y="connsiteY3"/>
                </a:cxn>
              </a:cxnLst>
              <a:rect l="l" t="t" r="r" b="b"/>
              <a:pathLst>
                <a:path w="190500" h="295275">
                  <a:moveTo>
                    <a:pt x="190238" y="295204"/>
                  </a:moveTo>
                  <a:cubicBezTo>
                    <a:pt x="169950" y="267295"/>
                    <a:pt x="185380" y="237958"/>
                    <a:pt x="183189" y="193000"/>
                  </a:cubicBezTo>
                  <a:cubicBezTo>
                    <a:pt x="181475" y="157948"/>
                    <a:pt x="168140" y="123754"/>
                    <a:pt x="148137" y="94798"/>
                  </a:cubicBezTo>
                  <a:cubicBezTo>
                    <a:pt x="116229" y="48411"/>
                    <a:pt x="64222" y="16312"/>
                    <a:pt x="8501" y="8501"/>
                  </a:cubicBez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3" name="Freeform: Shape 212">
              <a:extLst>
                <a:ext uri="{FF2B5EF4-FFF2-40B4-BE49-F238E27FC236}">
                  <a16:creationId xmlns:a16="http://schemas.microsoft.com/office/drawing/2014/main" id="{C7A6CD28-F1B3-0180-763C-DDB7A87DB80B}"/>
                </a:ext>
              </a:extLst>
            </p:cNvPr>
            <p:cNvSpPr/>
            <p:nvPr/>
          </p:nvSpPr>
          <p:spPr>
            <a:xfrm>
              <a:off x="10910880" y="2325709"/>
              <a:ext cx="92177" cy="76815"/>
            </a:xfrm>
            <a:custGeom>
              <a:avLst/>
              <a:gdLst>
                <a:gd name="connsiteX0" fmla="*/ 52412 w 57150"/>
                <a:gd name="connsiteY0" fmla="*/ 8501 h 47625"/>
                <a:gd name="connsiteX1" fmla="*/ 42125 w 57150"/>
                <a:gd name="connsiteY1" fmla="*/ 42124 h 47625"/>
                <a:gd name="connsiteX2" fmla="*/ 8501 w 57150"/>
                <a:gd name="connsiteY2" fmla="*/ 31742 h 47625"/>
              </a:gdLst>
              <a:ahLst/>
              <a:cxnLst>
                <a:cxn ang="0">
                  <a:pos x="connsiteX0" y="connsiteY0"/>
                </a:cxn>
                <a:cxn ang="0">
                  <a:pos x="connsiteX1" y="connsiteY1"/>
                </a:cxn>
                <a:cxn ang="0">
                  <a:pos x="connsiteX2" y="connsiteY2"/>
                </a:cxn>
              </a:cxnLst>
              <a:rect l="l" t="t" r="r" b="b"/>
              <a:pathLst>
                <a:path w="57150" h="47625">
                  <a:moveTo>
                    <a:pt x="52412" y="8501"/>
                  </a:moveTo>
                  <a:lnTo>
                    <a:pt x="42125" y="42124"/>
                  </a:lnTo>
                  <a:lnTo>
                    <a:pt x="8501" y="31742"/>
                  </a:lnTo>
                </a:path>
              </a:pathLst>
            </a:custGeom>
            <a:noFill/>
            <a:ln w="11335" cap="rnd">
              <a:solidFill>
                <a:sysClr val="windowText" lastClr="000000"/>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4" name="Freeform: Shape 213">
              <a:extLst>
                <a:ext uri="{FF2B5EF4-FFF2-40B4-BE49-F238E27FC236}">
                  <a16:creationId xmlns:a16="http://schemas.microsoft.com/office/drawing/2014/main" id="{09641BDB-94AE-DEE7-FF71-30FDDE063B49}"/>
                </a:ext>
              </a:extLst>
            </p:cNvPr>
            <p:cNvSpPr/>
            <p:nvPr/>
          </p:nvSpPr>
          <p:spPr>
            <a:xfrm>
              <a:off x="10532991" y="2152609"/>
              <a:ext cx="168992" cy="92177"/>
            </a:xfrm>
            <a:custGeom>
              <a:avLst/>
              <a:gdLst>
                <a:gd name="connsiteX0" fmla="*/ 7144 w 104775"/>
                <a:gd name="connsiteY0" fmla="*/ 57055 h 57150"/>
                <a:gd name="connsiteX1" fmla="*/ 14764 w 104775"/>
                <a:gd name="connsiteY1" fmla="*/ 57055 h 57150"/>
                <a:gd name="connsiteX2" fmla="*/ 57055 w 104775"/>
                <a:gd name="connsiteY2" fmla="*/ 14764 h 57150"/>
                <a:gd name="connsiteX3" fmla="*/ 99346 w 104775"/>
                <a:gd name="connsiteY3" fmla="*/ 57055 h 57150"/>
                <a:gd name="connsiteX4" fmla="*/ 106966 w 104775"/>
                <a:gd name="connsiteY4" fmla="*/ 57055 h 57150"/>
                <a:gd name="connsiteX5" fmla="*/ 57055 w 104775"/>
                <a:gd name="connsiteY5" fmla="*/ 7144 h 57150"/>
                <a:gd name="connsiteX6" fmla="*/ 7144 w 104775"/>
                <a:gd name="connsiteY6" fmla="*/ 570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57150">
                  <a:moveTo>
                    <a:pt x="7144" y="57055"/>
                  </a:moveTo>
                  <a:lnTo>
                    <a:pt x="14764" y="57055"/>
                  </a:lnTo>
                  <a:cubicBezTo>
                    <a:pt x="14764" y="33718"/>
                    <a:pt x="33719" y="14764"/>
                    <a:pt x="57055" y="14764"/>
                  </a:cubicBezTo>
                  <a:cubicBezTo>
                    <a:pt x="80391" y="14764"/>
                    <a:pt x="99346" y="33718"/>
                    <a:pt x="99346" y="57055"/>
                  </a:cubicBezTo>
                  <a:lnTo>
                    <a:pt x="106966" y="57055"/>
                  </a:lnTo>
                  <a:cubicBezTo>
                    <a:pt x="106966" y="29528"/>
                    <a:pt x="84677" y="7144"/>
                    <a:pt x="57055" y="7144"/>
                  </a:cubicBezTo>
                  <a:cubicBezTo>
                    <a:pt x="29433" y="7144"/>
                    <a:pt x="7144" y="29528"/>
                    <a:pt x="7144" y="57055"/>
                  </a:cubicBezTo>
                  <a:close/>
                </a:path>
              </a:pathLst>
            </a:custGeom>
            <a:solidFill>
              <a:srgbClr val="FFE500"/>
            </a:solidFill>
            <a:ln w="9525" cap="flat">
              <a:solidFill>
                <a:srgbClr val="FFE50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5" name="Freeform: Shape 214">
              <a:extLst>
                <a:ext uri="{FF2B5EF4-FFF2-40B4-BE49-F238E27FC236}">
                  <a16:creationId xmlns:a16="http://schemas.microsoft.com/office/drawing/2014/main" id="{743F810C-F225-23E9-99FD-CE6795D34FD2}"/>
                </a:ext>
              </a:extLst>
            </p:cNvPr>
            <p:cNvSpPr/>
            <p:nvPr/>
          </p:nvSpPr>
          <p:spPr>
            <a:xfrm>
              <a:off x="10555575" y="2180569"/>
              <a:ext cx="138266" cy="76815"/>
            </a:xfrm>
            <a:custGeom>
              <a:avLst/>
              <a:gdLst>
                <a:gd name="connsiteX0" fmla="*/ 7144 w 85725"/>
                <a:gd name="connsiteY0" fmla="*/ 42958 h 47625"/>
                <a:gd name="connsiteX1" fmla="*/ 12573 w 85725"/>
                <a:gd name="connsiteY1" fmla="*/ 42958 h 47625"/>
                <a:gd name="connsiteX2" fmla="*/ 42958 w 85725"/>
                <a:gd name="connsiteY2" fmla="*/ 12573 h 47625"/>
                <a:gd name="connsiteX3" fmla="*/ 73342 w 85725"/>
                <a:gd name="connsiteY3" fmla="*/ 42958 h 47625"/>
                <a:gd name="connsiteX4" fmla="*/ 78771 w 85725"/>
                <a:gd name="connsiteY4" fmla="*/ 42958 h 47625"/>
                <a:gd name="connsiteX5" fmla="*/ 42958 w 85725"/>
                <a:gd name="connsiteY5" fmla="*/ 7144 h 47625"/>
                <a:gd name="connsiteX6" fmla="*/ 7144 w 85725"/>
                <a:gd name="connsiteY6" fmla="*/ 4295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47625">
                  <a:moveTo>
                    <a:pt x="7144" y="42958"/>
                  </a:moveTo>
                  <a:lnTo>
                    <a:pt x="12573" y="42958"/>
                  </a:lnTo>
                  <a:cubicBezTo>
                    <a:pt x="12573" y="26194"/>
                    <a:pt x="26194" y="12573"/>
                    <a:pt x="42958" y="12573"/>
                  </a:cubicBezTo>
                  <a:cubicBezTo>
                    <a:pt x="59721" y="12573"/>
                    <a:pt x="73342" y="26194"/>
                    <a:pt x="73342" y="42958"/>
                  </a:cubicBezTo>
                  <a:lnTo>
                    <a:pt x="78771" y="42958"/>
                  </a:lnTo>
                  <a:cubicBezTo>
                    <a:pt x="78771" y="23146"/>
                    <a:pt x="62674" y="7144"/>
                    <a:pt x="42958" y="7144"/>
                  </a:cubicBezTo>
                  <a:cubicBezTo>
                    <a:pt x="23241" y="7144"/>
                    <a:pt x="7144" y="23146"/>
                    <a:pt x="7144" y="42958"/>
                  </a:cubicBezTo>
                  <a:close/>
                </a:path>
              </a:pathLst>
            </a:custGeom>
            <a:solidFill>
              <a:srgbClr val="C4C4C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sp>
        <p:nvSpPr>
          <p:cNvPr id="216" name="Freeform: Shape 215">
            <a:extLst>
              <a:ext uri="{FF2B5EF4-FFF2-40B4-BE49-F238E27FC236}">
                <a16:creationId xmlns:a16="http://schemas.microsoft.com/office/drawing/2014/main" id="{6767760F-B7B7-A749-7F4A-C3509ACE617D}"/>
              </a:ext>
            </a:extLst>
          </p:cNvPr>
          <p:cNvSpPr>
            <a:spLocks noChangeAspect="1"/>
          </p:cNvSpPr>
          <p:nvPr/>
        </p:nvSpPr>
        <p:spPr>
          <a:xfrm>
            <a:off x="2306984" y="1929008"/>
            <a:ext cx="290620" cy="539719"/>
          </a:xfrm>
          <a:custGeom>
            <a:avLst/>
            <a:gdLst>
              <a:gd name="connsiteX0" fmla="*/ 17812 w 200025"/>
              <a:gd name="connsiteY0" fmla="*/ 17145 h 371475"/>
              <a:gd name="connsiteX1" fmla="*/ 189452 w 200025"/>
              <a:gd name="connsiteY1" fmla="*/ 188690 h 371475"/>
              <a:gd name="connsiteX2" fmla="*/ 17145 w 200025"/>
              <a:gd name="connsiteY2" fmla="*/ 360998 h 371475"/>
            </a:gdLst>
            <a:ahLst/>
            <a:cxnLst>
              <a:cxn ang="0">
                <a:pos x="connsiteX0" y="connsiteY0"/>
              </a:cxn>
              <a:cxn ang="0">
                <a:pos x="connsiteX1" y="connsiteY1"/>
              </a:cxn>
              <a:cxn ang="0">
                <a:pos x="connsiteX2" y="connsiteY2"/>
              </a:cxn>
            </a:cxnLst>
            <a:rect l="l" t="t" r="r" b="b"/>
            <a:pathLst>
              <a:path w="200025" h="371475">
                <a:moveTo>
                  <a:pt x="17812" y="17145"/>
                </a:moveTo>
                <a:lnTo>
                  <a:pt x="189452" y="188690"/>
                </a:lnTo>
                <a:lnTo>
                  <a:pt x="17145" y="360998"/>
                </a:lnTo>
              </a:path>
            </a:pathLst>
          </a:custGeom>
          <a:noFill/>
          <a:ln w="22860" cap="rnd">
            <a:solidFill>
              <a:srgbClr val="C4C4CD"/>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7" name="Freeform: Shape 216">
            <a:extLst>
              <a:ext uri="{FF2B5EF4-FFF2-40B4-BE49-F238E27FC236}">
                <a16:creationId xmlns:a16="http://schemas.microsoft.com/office/drawing/2014/main" id="{8623302B-B71E-F893-BE48-17FAB5B0EFCA}"/>
              </a:ext>
            </a:extLst>
          </p:cNvPr>
          <p:cNvSpPr>
            <a:spLocks noChangeAspect="1"/>
          </p:cNvSpPr>
          <p:nvPr/>
        </p:nvSpPr>
        <p:spPr>
          <a:xfrm>
            <a:off x="4167337" y="1937603"/>
            <a:ext cx="290620" cy="539719"/>
          </a:xfrm>
          <a:custGeom>
            <a:avLst/>
            <a:gdLst>
              <a:gd name="connsiteX0" fmla="*/ 17812 w 200025"/>
              <a:gd name="connsiteY0" fmla="*/ 17145 h 371475"/>
              <a:gd name="connsiteX1" fmla="*/ 189453 w 200025"/>
              <a:gd name="connsiteY1" fmla="*/ 188690 h 371475"/>
              <a:gd name="connsiteX2" fmla="*/ 17145 w 200025"/>
              <a:gd name="connsiteY2" fmla="*/ 360998 h 371475"/>
            </a:gdLst>
            <a:ahLst/>
            <a:cxnLst>
              <a:cxn ang="0">
                <a:pos x="connsiteX0" y="connsiteY0"/>
              </a:cxn>
              <a:cxn ang="0">
                <a:pos x="connsiteX1" y="connsiteY1"/>
              </a:cxn>
              <a:cxn ang="0">
                <a:pos x="connsiteX2" y="connsiteY2"/>
              </a:cxn>
            </a:cxnLst>
            <a:rect l="l" t="t" r="r" b="b"/>
            <a:pathLst>
              <a:path w="200025" h="371475">
                <a:moveTo>
                  <a:pt x="17812" y="17145"/>
                </a:moveTo>
                <a:lnTo>
                  <a:pt x="189453" y="188690"/>
                </a:lnTo>
                <a:lnTo>
                  <a:pt x="17145" y="360998"/>
                </a:lnTo>
              </a:path>
            </a:pathLst>
          </a:custGeom>
          <a:noFill/>
          <a:ln w="22860" cap="rnd">
            <a:solidFill>
              <a:srgbClr val="C4C4CD"/>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8" name="Freeform: Shape 217">
            <a:extLst>
              <a:ext uri="{FF2B5EF4-FFF2-40B4-BE49-F238E27FC236}">
                <a16:creationId xmlns:a16="http://schemas.microsoft.com/office/drawing/2014/main" id="{3DC5C206-87F0-B9CA-5B82-E91D8EFAF4A0}"/>
              </a:ext>
            </a:extLst>
          </p:cNvPr>
          <p:cNvSpPr>
            <a:spLocks noChangeAspect="1"/>
          </p:cNvSpPr>
          <p:nvPr/>
        </p:nvSpPr>
        <p:spPr>
          <a:xfrm>
            <a:off x="5965001" y="1918153"/>
            <a:ext cx="290620" cy="539719"/>
          </a:xfrm>
          <a:custGeom>
            <a:avLst/>
            <a:gdLst>
              <a:gd name="connsiteX0" fmla="*/ 17907 w 200025"/>
              <a:gd name="connsiteY0" fmla="*/ 17145 h 371475"/>
              <a:gd name="connsiteX1" fmla="*/ 189452 w 200025"/>
              <a:gd name="connsiteY1" fmla="*/ 188690 h 371475"/>
              <a:gd name="connsiteX2" fmla="*/ 17145 w 200025"/>
              <a:gd name="connsiteY2" fmla="*/ 360998 h 371475"/>
            </a:gdLst>
            <a:ahLst/>
            <a:cxnLst>
              <a:cxn ang="0">
                <a:pos x="connsiteX0" y="connsiteY0"/>
              </a:cxn>
              <a:cxn ang="0">
                <a:pos x="connsiteX1" y="connsiteY1"/>
              </a:cxn>
              <a:cxn ang="0">
                <a:pos x="connsiteX2" y="connsiteY2"/>
              </a:cxn>
            </a:cxnLst>
            <a:rect l="l" t="t" r="r" b="b"/>
            <a:pathLst>
              <a:path w="200025" h="371475">
                <a:moveTo>
                  <a:pt x="17907" y="17145"/>
                </a:moveTo>
                <a:lnTo>
                  <a:pt x="189452" y="188690"/>
                </a:lnTo>
                <a:lnTo>
                  <a:pt x="17145" y="360998"/>
                </a:lnTo>
              </a:path>
            </a:pathLst>
          </a:custGeom>
          <a:noFill/>
          <a:ln w="22860" cap="rnd">
            <a:solidFill>
              <a:srgbClr val="C4C4CD"/>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19" name="Freeform: Shape 218">
            <a:extLst>
              <a:ext uri="{FF2B5EF4-FFF2-40B4-BE49-F238E27FC236}">
                <a16:creationId xmlns:a16="http://schemas.microsoft.com/office/drawing/2014/main" id="{4DB05CBA-6461-7504-7A3F-9A8814014A28}"/>
              </a:ext>
            </a:extLst>
          </p:cNvPr>
          <p:cNvSpPr>
            <a:spLocks noChangeAspect="1"/>
          </p:cNvSpPr>
          <p:nvPr/>
        </p:nvSpPr>
        <p:spPr>
          <a:xfrm>
            <a:off x="7887640" y="1891860"/>
            <a:ext cx="290620" cy="539719"/>
          </a:xfrm>
          <a:custGeom>
            <a:avLst/>
            <a:gdLst>
              <a:gd name="connsiteX0" fmla="*/ 17907 w 200025"/>
              <a:gd name="connsiteY0" fmla="*/ 17145 h 371475"/>
              <a:gd name="connsiteX1" fmla="*/ 189453 w 200025"/>
              <a:gd name="connsiteY1" fmla="*/ 188690 h 371475"/>
              <a:gd name="connsiteX2" fmla="*/ 17145 w 200025"/>
              <a:gd name="connsiteY2" fmla="*/ 360998 h 371475"/>
            </a:gdLst>
            <a:ahLst/>
            <a:cxnLst>
              <a:cxn ang="0">
                <a:pos x="connsiteX0" y="connsiteY0"/>
              </a:cxn>
              <a:cxn ang="0">
                <a:pos x="connsiteX1" y="connsiteY1"/>
              </a:cxn>
              <a:cxn ang="0">
                <a:pos x="connsiteX2" y="connsiteY2"/>
              </a:cxn>
            </a:cxnLst>
            <a:rect l="l" t="t" r="r" b="b"/>
            <a:pathLst>
              <a:path w="200025" h="371475">
                <a:moveTo>
                  <a:pt x="17907" y="17145"/>
                </a:moveTo>
                <a:lnTo>
                  <a:pt x="189453" y="188690"/>
                </a:lnTo>
                <a:lnTo>
                  <a:pt x="17145" y="360998"/>
                </a:lnTo>
              </a:path>
            </a:pathLst>
          </a:custGeom>
          <a:noFill/>
          <a:ln w="22860" cap="rnd">
            <a:solidFill>
              <a:srgbClr val="C4C4CD"/>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20" name="Freeform: Shape 219">
            <a:extLst>
              <a:ext uri="{FF2B5EF4-FFF2-40B4-BE49-F238E27FC236}">
                <a16:creationId xmlns:a16="http://schemas.microsoft.com/office/drawing/2014/main" id="{B74E4346-E06D-9B75-0CBE-65B10DA87174}"/>
              </a:ext>
            </a:extLst>
          </p:cNvPr>
          <p:cNvSpPr>
            <a:spLocks noChangeAspect="1"/>
          </p:cNvSpPr>
          <p:nvPr/>
        </p:nvSpPr>
        <p:spPr>
          <a:xfrm>
            <a:off x="9780289" y="1909904"/>
            <a:ext cx="290620" cy="539719"/>
          </a:xfrm>
          <a:custGeom>
            <a:avLst/>
            <a:gdLst>
              <a:gd name="connsiteX0" fmla="*/ 17907 w 200025"/>
              <a:gd name="connsiteY0" fmla="*/ 17145 h 371475"/>
              <a:gd name="connsiteX1" fmla="*/ 189452 w 200025"/>
              <a:gd name="connsiteY1" fmla="*/ 188690 h 371475"/>
              <a:gd name="connsiteX2" fmla="*/ 17145 w 200025"/>
              <a:gd name="connsiteY2" fmla="*/ 360998 h 371475"/>
            </a:gdLst>
            <a:ahLst/>
            <a:cxnLst>
              <a:cxn ang="0">
                <a:pos x="connsiteX0" y="connsiteY0"/>
              </a:cxn>
              <a:cxn ang="0">
                <a:pos x="connsiteX1" y="connsiteY1"/>
              </a:cxn>
              <a:cxn ang="0">
                <a:pos x="connsiteX2" y="connsiteY2"/>
              </a:cxn>
            </a:cxnLst>
            <a:rect l="l" t="t" r="r" b="b"/>
            <a:pathLst>
              <a:path w="200025" h="371475">
                <a:moveTo>
                  <a:pt x="17907" y="17145"/>
                </a:moveTo>
                <a:lnTo>
                  <a:pt x="189452" y="188690"/>
                </a:lnTo>
                <a:lnTo>
                  <a:pt x="17145" y="360998"/>
                </a:lnTo>
              </a:path>
            </a:pathLst>
          </a:custGeom>
          <a:noFill/>
          <a:ln w="22860" cap="rnd">
            <a:solidFill>
              <a:srgbClr val="C4C4CD"/>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AU" sz="1799"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221" name="TextBox 364">
            <a:extLst>
              <a:ext uri="{FF2B5EF4-FFF2-40B4-BE49-F238E27FC236}">
                <a16:creationId xmlns:a16="http://schemas.microsoft.com/office/drawing/2014/main" id="{F4211D52-612F-A7BE-EF58-DB931CD8D44B}"/>
              </a:ext>
            </a:extLst>
          </p:cNvPr>
          <p:cNvSpPr txBox="1"/>
          <p:nvPr/>
        </p:nvSpPr>
        <p:spPr>
          <a:xfrm>
            <a:off x="9964619" y="2532312"/>
            <a:ext cx="1548114" cy="221580"/>
          </a:xfrm>
          <a:prstGeom prst="rect">
            <a:avLst/>
          </a:prstGeom>
          <a:noFill/>
        </p:spPr>
        <p:txBody>
          <a:bodyPr wrap="square" lIns="0" tIns="36557"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AU" sz="12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Run</a:t>
            </a:r>
          </a:p>
        </p:txBody>
      </p:sp>
    </p:spTree>
    <p:extLst>
      <p:ext uri="{BB962C8B-B14F-4D97-AF65-F5344CB8AC3E}">
        <p14:creationId xmlns:p14="http://schemas.microsoft.com/office/powerpoint/2010/main" val="3034964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A081074-81FC-4714-8D93-75333A22E593}"/>
              </a:ext>
            </a:extLst>
          </p:cNvPr>
          <p:cNvSpPr>
            <a:spLocks noGrp="1"/>
          </p:cNvSpPr>
          <p:nvPr>
            <p:ph idx="1"/>
          </p:nvPr>
        </p:nvSpPr>
        <p:spPr>
          <a:xfrm>
            <a:off x="1488491" y="1265205"/>
            <a:ext cx="5486399" cy="676788"/>
          </a:xfrm>
        </p:spPr>
        <p:txBody>
          <a:bodyPr/>
          <a:lstStyle/>
          <a:p>
            <a:r>
              <a:rPr lang="en-IE">
                <a:latin typeface="Calibri" panose="020F0502020204030204" pitchFamily="34" charset="0"/>
                <a:cs typeface="Calibri" panose="020F0502020204030204" pitchFamily="34" charset="0"/>
              </a:rPr>
              <a:t>Executive Summary</a:t>
            </a:r>
          </a:p>
        </p:txBody>
      </p:sp>
      <p:sp>
        <p:nvSpPr>
          <p:cNvPr id="5" name="Text Placeholder 4">
            <a:extLst>
              <a:ext uri="{FF2B5EF4-FFF2-40B4-BE49-F238E27FC236}">
                <a16:creationId xmlns:a16="http://schemas.microsoft.com/office/drawing/2014/main" id="{39328D13-F5F8-4305-A1FC-87F650884996}"/>
              </a:ext>
            </a:extLst>
          </p:cNvPr>
          <p:cNvSpPr>
            <a:spLocks noGrp="1"/>
          </p:cNvSpPr>
          <p:nvPr>
            <p:ph type="body" sz="quarter" idx="10"/>
          </p:nvPr>
        </p:nvSpPr>
        <p:spPr>
          <a:xfrm>
            <a:off x="609600" y="1063599"/>
            <a:ext cx="4441371" cy="1080000"/>
          </a:xfrm>
        </p:spPr>
        <p:txBody>
          <a:bodyPr/>
          <a:lstStyle/>
          <a:p>
            <a:r>
              <a:rPr lang="en-IE">
                <a:solidFill>
                  <a:srgbClr val="F6DF09"/>
                </a:solidFill>
                <a:latin typeface="Calibri" panose="020F0502020204030204" pitchFamily="34" charset="0"/>
                <a:cs typeface="Calibri" panose="020F0502020204030204" pitchFamily="34" charset="0"/>
              </a:rPr>
              <a:t>A.</a:t>
            </a:r>
          </a:p>
        </p:txBody>
      </p:sp>
    </p:spTree>
    <p:extLst>
      <p:ext uri="{BB962C8B-B14F-4D97-AF65-F5344CB8AC3E}">
        <p14:creationId xmlns:p14="http://schemas.microsoft.com/office/powerpoint/2010/main" val="16746300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5" name="Straight Connector 204">
            <a:extLst>
              <a:ext uri="{FF2B5EF4-FFF2-40B4-BE49-F238E27FC236}">
                <a16:creationId xmlns:a16="http://schemas.microsoft.com/office/drawing/2014/main" id="{1D41C442-5090-4E54-864C-A68217E213FC}"/>
              </a:ext>
            </a:extLst>
          </p:cNvPr>
          <p:cNvCxnSpPr>
            <a:cxnSpLocks/>
          </p:cNvCxnSpPr>
          <p:nvPr/>
        </p:nvCxnSpPr>
        <p:spPr>
          <a:xfrm>
            <a:off x="3829636" y="1362228"/>
            <a:ext cx="0" cy="4716000"/>
          </a:xfrm>
          <a:prstGeom prst="line">
            <a:avLst/>
          </a:prstGeom>
          <a:noFill/>
          <a:ln w="6350" cap="flat" cmpd="sng" algn="ctr">
            <a:solidFill>
              <a:srgbClr val="C4C4CD">
                <a:alpha val="56000"/>
              </a:srgbClr>
            </a:solidFill>
            <a:prstDash val="solid"/>
            <a:tailEnd type="none"/>
          </a:ln>
          <a:effectLst/>
        </p:spPr>
      </p:cxnSp>
      <p:cxnSp>
        <p:nvCxnSpPr>
          <p:cNvPr id="206" name="Straight Connector 205">
            <a:extLst>
              <a:ext uri="{FF2B5EF4-FFF2-40B4-BE49-F238E27FC236}">
                <a16:creationId xmlns:a16="http://schemas.microsoft.com/office/drawing/2014/main" id="{B605AD6B-1677-49A7-8F77-FE6D0A7C6542}"/>
              </a:ext>
            </a:extLst>
          </p:cNvPr>
          <p:cNvCxnSpPr>
            <a:cxnSpLocks/>
          </p:cNvCxnSpPr>
          <p:nvPr/>
        </p:nvCxnSpPr>
        <p:spPr>
          <a:xfrm>
            <a:off x="4894868" y="1362228"/>
            <a:ext cx="0" cy="4716000"/>
          </a:xfrm>
          <a:prstGeom prst="line">
            <a:avLst/>
          </a:prstGeom>
          <a:noFill/>
          <a:ln w="6350" cap="flat" cmpd="sng" algn="ctr">
            <a:solidFill>
              <a:srgbClr val="C4C4CD">
                <a:alpha val="56000"/>
              </a:srgbClr>
            </a:solidFill>
            <a:prstDash val="solid"/>
            <a:tailEnd type="none"/>
          </a:ln>
          <a:effectLst/>
        </p:spPr>
      </p:cxnSp>
      <p:cxnSp>
        <p:nvCxnSpPr>
          <p:cNvPr id="207" name="Straight Connector 206">
            <a:extLst>
              <a:ext uri="{FF2B5EF4-FFF2-40B4-BE49-F238E27FC236}">
                <a16:creationId xmlns:a16="http://schemas.microsoft.com/office/drawing/2014/main" id="{1630885F-F664-4090-97B1-56C116B70F3E}"/>
              </a:ext>
            </a:extLst>
          </p:cNvPr>
          <p:cNvCxnSpPr>
            <a:cxnSpLocks/>
          </p:cNvCxnSpPr>
          <p:nvPr/>
        </p:nvCxnSpPr>
        <p:spPr>
          <a:xfrm>
            <a:off x="5960100" y="1362228"/>
            <a:ext cx="0" cy="4716000"/>
          </a:xfrm>
          <a:prstGeom prst="line">
            <a:avLst/>
          </a:prstGeom>
          <a:noFill/>
          <a:ln w="6350" cap="flat" cmpd="sng" algn="ctr">
            <a:solidFill>
              <a:srgbClr val="C4C4CD">
                <a:alpha val="56000"/>
              </a:srgbClr>
            </a:solidFill>
            <a:prstDash val="solid"/>
            <a:tailEnd type="none"/>
          </a:ln>
          <a:effectLst/>
        </p:spPr>
      </p:cxnSp>
      <p:cxnSp>
        <p:nvCxnSpPr>
          <p:cNvPr id="208" name="Straight Connector 207">
            <a:extLst>
              <a:ext uri="{FF2B5EF4-FFF2-40B4-BE49-F238E27FC236}">
                <a16:creationId xmlns:a16="http://schemas.microsoft.com/office/drawing/2014/main" id="{AA28490A-8139-41CC-B49F-98C4B84F4E20}"/>
              </a:ext>
            </a:extLst>
          </p:cNvPr>
          <p:cNvCxnSpPr>
            <a:cxnSpLocks/>
          </p:cNvCxnSpPr>
          <p:nvPr/>
        </p:nvCxnSpPr>
        <p:spPr>
          <a:xfrm>
            <a:off x="7025332" y="1362228"/>
            <a:ext cx="0" cy="4716000"/>
          </a:xfrm>
          <a:prstGeom prst="line">
            <a:avLst/>
          </a:prstGeom>
          <a:noFill/>
          <a:ln w="6350" cap="flat" cmpd="sng" algn="ctr">
            <a:solidFill>
              <a:srgbClr val="C4C4CD">
                <a:alpha val="56000"/>
              </a:srgbClr>
            </a:solidFill>
            <a:prstDash val="solid"/>
            <a:tailEnd type="none"/>
          </a:ln>
          <a:effectLst/>
        </p:spPr>
      </p:cxnSp>
      <p:cxnSp>
        <p:nvCxnSpPr>
          <p:cNvPr id="209" name="Straight Connector 208">
            <a:extLst>
              <a:ext uri="{FF2B5EF4-FFF2-40B4-BE49-F238E27FC236}">
                <a16:creationId xmlns:a16="http://schemas.microsoft.com/office/drawing/2014/main" id="{994E2C7A-CD5D-44E8-A70F-51D544CB1041}"/>
              </a:ext>
            </a:extLst>
          </p:cNvPr>
          <p:cNvCxnSpPr>
            <a:cxnSpLocks/>
          </p:cNvCxnSpPr>
          <p:nvPr/>
        </p:nvCxnSpPr>
        <p:spPr>
          <a:xfrm>
            <a:off x="8090564" y="1362228"/>
            <a:ext cx="0" cy="4716000"/>
          </a:xfrm>
          <a:prstGeom prst="line">
            <a:avLst/>
          </a:prstGeom>
          <a:noFill/>
          <a:ln w="6350" cap="flat" cmpd="sng" algn="ctr">
            <a:solidFill>
              <a:srgbClr val="C4C4CD">
                <a:alpha val="56000"/>
              </a:srgbClr>
            </a:solidFill>
            <a:prstDash val="solid"/>
            <a:tailEnd type="none"/>
          </a:ln>
          <a:effectLst/>
        </p:spPr>
      </p:cxnSp>
      <p:cxnSp>
        <p:nvCxnSpPr>
          <p:cNvPr id="210" name="Straight Connector 209">
            <a:extLst>
              <a:ext uri="{FF2B5EF4-FFF2-40B4-BE49-F238E27FC236}">
                <a16:creationId xmlns:a16="http://schemas.microsoft.com/office/drawing/2014/main" id="{263E4BF2-DC1E-4467-AEE0-3B272701DCF0}"/>
              </a:ext>
            </a:extLst>
          </p:cNvPr>
          <p:cNvCxnSpPr>
            <a:cxnSpLocks/>
          </p:cNvCxnSpPr>
          <p:nvPr/>
        </p:nvCxnSpPr>
        <p:spPr>
          <a:xfrm>
            <a:off x="9155796" y="1362228"/>
            <a:ext cx="0" cy="4716000"/>
          </a:xfrm>
          <a:prstGeom prst="line">
            <a:avLst/>
          </a:prstGeom>
          <a:noFill/>
          <a:ln w="6350" cap="flat" cmpd="sng" algn="ctr">
            <a:solidFill>
              <a:srgbClr val="C4C4CD">
                <a:alpha val="56000"/>
              </a:srgbClr>
            </a:solidFill>
            <a:prstDash val="solid"/>
            <a:tailEnd type="none"/>
          </a:ln>
          <a:effectLst/>
        </p:spPr>
      </p:cxn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t>Proposed Project Timeline</a:t>
            </a:r>
          </a:p>
        </p:txBody>
      </p:sp>
      <p:cxnSp>
        <p:nvCxnSpPr>
          <p:cNvPr id="20" name="Straight Connector 19">
            <a:extLst>
              <a:ext uri="{FF2B5EF4-FFF2-40B4-BE49-F238E27FC236}">
                <a16:creationId xmlns:a16="http://schemas.microsoft.com/office/drawing/2014/main" id="{15BB86BA-40A2-40F4-9BC5-67D779A80232}"/>
              </a:ext>
            </a:extLst>
          </p:cNvPr>
          <p:cNvCxnSpPr>
            <a:cxnSpLocks/>
          </p:cNvCxnSpPr>
          <p:nvPr/>
        </p:nvCxnSpPr>
        <p:spPr>
          <a:xfrm>
            <a:off x="2764404" y="1362228"/>
            <a:ext cx="0" cy="4716000"/>
          </a:xfrm>
          <a:prstGeom prst="line">
            <a:avLst/>
          </a:prstGeom>
          <a:noFill/>
          <a:ln w="15875" cap="flat" cmpd="sng" algn="ctr">
            <a:solidFill>
              <a:srgbClr val="C4C4CD"/>
            </a:solidFill>
            <a:prstDash val="solid"/>
            <a:tailEnd type="none"/>
          </a:ln>
          <a:effectLst/>
        </p:spPr>
      </p:cxnSp>
      <p:cxnSp>
        <p:nvCxnSpPr>
          <p:cNvPr id="21" name="Straight Connector 20">
            <a:extLst>
              <a:ext uri="{FF2B5EF4-FFF2-40B4-BE49-F238E27FC236}">
                <a16:creationId xmlns:a16="http://schemas.microsoft.com/office/drawing/2014/main" id="{A5BF21FD-AC29-4AE0-89BA-21B30E8899CD}"/>
              </a:ext>
            </a:extLst>
          </p:cNvPr>
          <p:cNvCxnSpPr>
            <a:cxnSpLocks/>
          </p:cNvCxnSpPr>
          <p:nvPr/>
        </p:nvCxnSpPr>
        <p:spPr>
          <a:xfrm>
            <a:off x="608012" y="1608139"/>
            <a:ext cx="10692000" cy="9056"/>
          </a:xfrm>
          <a:prstGeom prst="line">
            <a:avLst/>
          </a:prstGeom>
          <a:noFill/>
          <a:ln w="38100" cap="flat" cmpd="sng" algn="ctr">
            <a:solidFill>
              <a:srgbClr val="C4C4CD"/>
            </a:solidFill>
            <a:prstDash val="solid"/>
            <a:tailEnd type="none"/>
          </a:ln>
          <a:effectLst/>
        </p:spPr>
      </p:cxnSp>
      <p:sp>
        <p:nvSpPr>
          <p:cNvPr id="61" name="Rectangle 60">
            <a:extLst>
              <a:ext uri="{FF2B5EF4-FFF2-40B4-BE49-F238E27FC236}">
                <a16:creationId xmlns:a16="http://schemas.microsoft.com/office/drawing/2014/main" id="{EDB73CF0-76C8-46A5-9C74-DEB0D40A6862}"/>
              </a:ext>
            </a:extLst>
          </p:cNvPr>
          <p:cNvSpPr/>
          <p:nvPr/>
        </p:nvSpPr>
        <p:spPr>
          <a:xfrm>
            <a:off x="3200877" y="1399583"/>
            <a:ext cx="254297"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1</a:t>
            </a:r>
          </a:p>
        </p:txBody>
      </p:sp>
      <p:sp>
        <p:nvSpPr>
          <p:cNvPr id="62" name="Rectangle 61">
            <a:extLst>
              <a:ext uri="{FF2B5EF4-FFF2-40B4-BE49-F238E27FC236}">
                <a16:creationId xmlns:a16="http://schemas.microsoft.com/office/drawing/2014/main" id="{9FD7B515-9120-4FE1-8FBD-FD06C848CBD3}"/>
              </a:ext>
            </a:extLst>
          </p:cNvPr>
          <p:cNvSpPr/>
          <p:nvPr/>
        </p:nvSpPr>
        <p:spPr>
          <a:xfrm>
            <a:off x="4286710" y="1399583"/>
            <a:ext cx="20021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2</a:t>
            </a:r>
          </a:p>
        </p:txBody>
      </p:sp>
      <p:sp>
        <p:nvSpPr>
          <p:cNvPr id="63" name="Rectangle 62">
            <a:extLst>
              <a:ext uri="{FF2B5EF4-FFF2-40B4-BE49-F238E27FC236}">
                <a16:creationId xmlns:a16="http://schemas.microsoft.com/office/drawing/2014/main" id="{003679B0-78D6-4A30-B9A8-E729D83ECDDE}"/>
              </a:ext>
            </a:extLst>
          </p:cNvPr>
          <p:cNvSpPr/>
          <p:nvPr/>
        </p:nvSpPr>
        <p:spPr>
          <a:xfrm>
            <a:off x="5360969" y="1399583"/>
            <a:ext cx="258241"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3</a:t>
            </a:r>
          </a:p>
        </p:txBody>
      </p:sp>
      <p:sp>
        <p:nvSpPr>
          <p:cNvPr id="64" name="Rectangle 63">
            <a:extLst>
              <a:ext uri="{FF2B5EF4-FFF2-40B4-BE49-F238E27FC236}">
                <a16:creationId xmlns:a16="http://schemas.microsoft.com/office/drawing/2014/main" id="{86C52E4F-D068-4CAE-A8C2-EB5B3530F5B9}"/>
              </a:ext>
            </a:extLst>
          </p:cNvPr>
          <p:cNvSpPr/>
          <p:nvPr/>
        </p:nvSpPr>
        <p:spPr>
          <a:xfrm>
            <a:off x="6435311" y="1399583"/>
            <a:ext cx="20021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4</a:t>
            </a:r>
          </a:p>
        </p:txBody>
      </p:sp>
      <p:sp>
        <p:nvSpPr>
          <p:cNvPr id="65" name="Rectangle 64">
            <a:extLst>
              <a:ext uri="{FF2B5EF4-FFF2-40B4-BE49-F238E27FC236}">
                <a16:creationId xmlns:a16="http://schemas.microsoft.com/office/drawing/2014/main" id="{B8BE428C-8AE7-49FC-9BA6-AE88B8D3E047}"/>
              </a:ext>
            </a:extLst>
          </p:cNvPr>
          <p:cNvSpPr/>
          <p:nvPr/>
        </p:nvSpPr>
        <p:spPr>
          <a:xfrm>
            <a:off x="7479990" y="1399583"/>
            <a:ext cx="20021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lang="en-US" sz="800" kern="0">
                <a:solidFill>
                  <a:srgbClr val="2E2E38"/>
                </a:solidFill>
                <a:latin typeface="EYInterstate Light"/>
              </a:rPr>
              <a:t>M5</a:t>
            </a:r>
            <a:endParaRPr kumimoji="0" lang="en-US" sz="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66" name="Rectangle 65">
            <a:extLst>
              <a:ext uri="{FF2B5EF4-FFF2-40B4-BE49-F238E27FC236}">
                <a16:creationId xmlns:a16="http://schemas.microsoft.com/office/drawing/2014/main" id="{F3F742D9-31EA-4812-A9F9-B29EDD285C41}"/>
              </a:ext>
            </a:extLst>
          </p:cNvPr>
          <p:cNvSpPr/>
          <p:nvPr/>
        </p:nvSpPr>
        <p:spPr>
          <a:xfrm>
            <a:off x="8512554" y="1399583"/>
            <a:ext cx="26989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6</a:t>
            </a:r>
          </a:p>
        </p:txBody>
      </p:sp>
      <p:sp>
        <p:nvSpPr>
          <p:cNvPr id="67" name="Rectangle 66">
            <a:extLst>
              <a:ext uri="{FF2B5EF4-FFF2-40B4-BE49-F238E27FC236}">
                <a16:creationId xmlns:a16="http://schemas.microsoft.com/office/drawing/2014/main" id="{59E59BA5-80D7-44D7-92F5-BEAB931D9B2A}"/>
              </a:ext>
            </a:extLst>
          </p:cNvPr>
          <p:cNvSpPr/>
          <p:nvPr/>
        </p:nvSpPr>
        <p:spPr>
          <a:xfrm>
            <a:off x="9625068" y="1399583"/>
            <a:ext cx="20021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7</a:t>
            </a:r>
          </a:p>
        </p:txBody>
      </p:sp>
      <p:sp>
        <p:nvSpPr>
          <p:cNvPr id="75" name="Rounded Rectangle 156">
            <a:extLst>
              <a:ext uri="{FF2B5EF4-FFF2-40B4-BE49-F238E27FC236}">
                <a16:creationId xmlns:a16="http://schemas.microsoft.com/office/drawing/2014/main" id="{EE3B33AF-CA93-425A-9AB8-62D698B412C9}"/>
              </a:ext>
            </a:extLst>
          </p:cNvPr>
          <p:cNvSpPr/>
          <p:nvPr/>
        </p:nvSpPr>
        <p:spPr bwMode="gray">
          <a:xfrm>
            <a:off x="2829851" y="1663621"/>
            <a:ext cx="1078423" cy="144000"/>
          </a:xfrm>
          <a:prstGeom prst="roundRect">
            <a:avLst>
              <a:gd name="adj" fmla="val 50000"/>
            </a:avLst>
          </a:prstGeom>
          <a:solidFill>
            <a:srgbClr val="C4C4CC"/>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77" name="TextBox 76">
            <a:extLst>
              <a:ext uri="{FF2B5EF4-FFF2-40B4-BE49-F238E27FC236}">
                <a16:creationId xmlns:a16="http://schemas.microsoft.com/office/drawing/2014/main" id="{8CD2B851-E12A-40D3-81C4-81685BDB50D2}"/>
              </a:ext>
            </a:extLst>
          </p:cNvPr>
          <p:cNvSpPr txBox="1"/>
          <p:nvPr/>
        </p:nvSpPr>
        <p:spPr>
          <a:xfrm>
            <a:off x="3025193" y="1668943"/>
            <a:ext cx="648000" cy="13849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IE" sz="900" b="1" i="0" u="none" strike="noStrike" kern="0" cap="none" spc="0" normalizeH="0" baseline="0" noProof="0">
                <a:ln>
                  <a:noFill/>
                </a:ln>
                <a:solidFill>
                  <a:srgbClr val="2E2E38"/>
                </a:solidFill>
                <a:effectLst/>
                <a:uLnTx/>
                <a:uFillTx/>
                <a:latin typeface="EYInterstate" panose="02000503020000020004" pitchFamily="2" charset="0"/>
                <a:ea typeface="Arial Unicode MS" pitchFamily="34" charset="-128"/>
                <a:cs typeface="Arial Unicode MS" pitchFamily="34" charset="-128"/>
              </a:rPr>
              <a:t>PREPARE</a:t>
            </a:r>
          </a:p>
        </p:txBody>
      </p:sp>
      <p:sp>
        <p:nvSpPr>
          <p:cNvPr id="84" name="Rounded Rectangle 156">
            <a:extLst>
              <a:ext uri="{FF2B5EF4-FFF2-40B4-BE49-F238E27FC236}">
                <a16:creationId xmlns:a16="http://schemas.microsoft.com/office/drawing/2014/main" id="{094A912F-3988-493B-9CFE-4A527FF2B477}"/>
              </a:ext>
            </a:extLst>
          </p:cNvPr>
          <p:cNvSpPr/>
          <p:nvPr/>
        </p:nvSpPr>
        <p:spPr bwMode="gray">
          <a:xfrm>
            <a:off x="2821515" y="1851932"/>
            <a:ext cx="289638" cy="90000"/>
          </a:xfrm>
          <a:prstGeom prst="roundRect">
            <a:avLst>
              <a:gd name="adj" fmla="val 50000"/>
            </a:avLst>
          </a:prstGeom>
          <a:solidFill>
            <a:srgbClr val="C4C4CC"/>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197" name="Rectangle 196">
            <a:extLst>
              <a:ext uri="{FF2B5EF4-FFF2-40B4-BE49-F238E27FC236}">
                <a16:creationId xmlns:a16="http://schemas.microsoft.com/office/drawing/2014/main" id="{D3CA6431-80E3-411E-A579-BDACFB448A62}"/>
              </a:ext>
            </a:extLst>
          </p:cNvPr>
          <p:cNvSpPr/>
          <p:nvPr/>
        </p:nvSpPr>
        <p:spPr>
          <a:xfrm>
            <a:off x="6688846" y="1142298"/>
            <a:ext cx="468000" cy="185458"/>
          </a:xfrm>
          <a:prstGeom prst="rect">
            <a:avLst/>
          </a:prstGeom>
          <a:solidFill>
            <a:schemeClr val="tx1"/>
          </a:solid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1058" b="1" i="0" u="none" strike="noStrike" kern="0" cap="none" spc="0" normalizeH="0" baseline="0" noProof="0">
                <a:ln>
                  <a:noFill/>
                </a:ln>
                <a:solidFill>
                  <a:srgbClr val="2E2E38"/>
                </a:solidFill>
                <a:effectLst/>
                <a:uLnTx/>
                <a:uFillTx/>
                <a:latin typeface="EYInterstate Light"/>
                <a:ea typeface="+mn-ea"/>
                <a:cs typeface="+mn-cs"/>
              </a:rPr>
              <a:t>2023</a:t>
            </a:r>
          </a:p>
        </p:txBody>
      </p:sp>
      <p:sp>
        <p:nvSpPr>
          <p:cNvPr id="223" name="Rounded Rectangle 156">
            <a:extLst>
              <a:ext uri="{FF2B5EF4-FFF2-40B4-BE49-F238E27FC236}">
                <a16:creationId xmlns:a16="http://schemas.microsoft.com/office/drawing/2014/main" id="{287652C3-6059-44C4-BE74-3C4FF31F9BA8}"/>
              </a:ext>
            </a:extLst>
          </p:cNvPr>
          <p:cNvSpPr/>
          <p:nvPr/>
        </p:nvSpPr>
        <p:spPr bwMode="gray">
          <a:xfrm>
            <a:off x="3087796" y="2216181"/>
            <a:ext cx="8172000" cy="90000"/>
          </a:xfrm>
          <a:prstGeom prst="roundRect">
            <a:avLst>
              <a:gd name="adj" fmla="val 50000"/>
            </a:avLst>
          </a:prstGeom>
          <a:solidFill>
            <a:srgbClr val="C4C4CC"/>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225" name="Rounded Rectangle 156">
            <a:extLst>
              <a:ext uri="{FF2B5EF4-FFF2-40B4-BE49-F238E27FC236}">
                <a16:creationId xmlns:a16="http://schemas.microsoft.com/office/drawing/2014/main" id="{03D91CB3-7E0F-4EDA-BBC9-690B3ADB29BA}"/>
              </a:ext>
            </a:extLst>
          </p:cNvPr>
          <p:cNvSpPr/>
          <p:nvPr/>
        </p:nvSpPr>
        <p:spPr bwMode="gray">
          <a:xfrm>
            <a:off x="3087796" y="2092751"/>
            <a:ext cx="720000" cy="90000"/>
          </a:xfrm>
          <a:prstGeom prst="roundRect">
            <a:avLst>
              <a:gd name="adj" fmla="val 50000"/>
            </a:avLst>
          </a:prstGeom>
          <a:solidFill>
            <a:srgbClr val="C4C4CC"/>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229" name="Rounded Rectangle 156">
            <a:extLst>
              <a:ext uri="{FF2B5EF4-FFF2-40B4-BE49-F238E27FC236}">
                <a16:creationId xmlns:a16="http://schemas.microsoft.com/office/drawing/2014/main" id="{ABD33973-2BD4-4D88-8134-31E5BC587885}"/>
              </a:ext>
            </a:extLst>
          </p:cNvPr>
          <p:cNvSpPr/>
          <p:nvPr/>
        </p:nvSpPr>
        <p:spPr bwMode="gray">
          <a:xfrm>
            <a:off x="3325593" y="2393301"/>
            <a:ext cx="756000" cy="132628"/>
          </a:xfrm>
          <a:prstGeom prst="roundRect">
            <a:avLst>
              <a:gd name="adj" fmla="val 50000"/>
            </a:avLst>
          </a:prstGeom>
          <a:solidFill>
            <a:srgbClr val="74748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230" name="TextBox 229">
            <a:extLst>
              <a:ext uri="{FF2B5EF4-FFF2-40B4-BE49-F238E27FC236}">
                <a16:creationId xmlns:a16="http://schemas.microsoft.com/office/drawing/2014/main" id="{7CB98892-B8ED-45A8-96F7-46FD01A11B76}"/>
              </a:ext>
            </a:extLst>
          </p:cNvPr>
          <p:cNvSpPr txBox="1"/>
          <p:nvPr/>
        </p:nvSpPr>
        <p:spPr>
          <a:xfrm>
            <a:off x="3428791" y="2389880"/>
            <a:ext cx="876910" cy="14400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IE" sz="900" b="1"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rPr>
              <a:t>EXPLORE </a:t>
            </a:r>
            <a:r>
              <a:rPr kumimoji="0" lang="en-IE" sz="800" b="0"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rPr>
              <a:t>(Design)</a:t>
            </a:r>
            <a:endParaRPr kumimoji="0" lang="en-IE" sz="900" b="0"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endParaRPr>
          </a:p>
        </p:txBody>
      </p:sp>
      <p:sp>
        <p:nvSpPr>
          <p:cNvPr id="231" name="Rounded Rectangle 156">
            <a:extLst>
              <a:ext uri="{FF2B5EF4-FFF2-40B4-BE49-F238E27FC236}">
                <a16:creationId xmlns:a16="http://schemas.microsoft.com/office/drawing/2014/main" id="{19580012-46A2-48F2-A530-63BF6C314EE3}"/>
              </a:ext>
            </a:extLst>
          </p:cNvPr>
          <p:cNvSpPr/>
          <p:nvPr/>
        </p:nvSpPr>
        <p:spPr bwMode="gray">
          <a:xfrm>
            <a:off x="3859767" y="3130492"/>
            <a:ext cx="6300000" cy="144000"/>
          </a:xfrm>
          <a:prstGeom prst="roundRect">
            <a:avLst>
              <a:gd name="adj" fmla="val 50000"/>
            </a:avLst>
          </a:prstGeom>
          <a:solidFill>
            <a:srgbClr val="2E2E38"/>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232" name="TextBox 231">
            <a:extLst>
              <a:ext uri="{FF2B5EF4-FFF2-40B4-BE49-F238E27FC236}">
                <a16:creationId xmlns:a16="http://schemas.microsoft.com/office/drawing/2014/main" id="{37B30702-606C-4020-A71E-0B7F57A7202F}"/>
              </a:ext>
            </a:extLst>
          </p:cNvPr>
          <p:cNvSpPr txBox="1"/>
          <p:nvPr/>
        </p:nvSpPr>
        <p:spPr>
          <a:xfrm>
            <a:off x="4703997" y="3133695"/>
            <a:ext cx="1314415" cy="13849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IE" sz="900" b="1"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rPr>
              <a:t>REALISE - BUILD</a:t>
            </a:r>
            <a:endParaRPr kumimoji="0" lang="en-IE" sz="900" b="0"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endParaRPr>
          </a:p>
        </p:txBody>
      </p:sp>
      <p:sp>
        <p:nvSpPr>
          <p:cNvPr id="233" name="Rounded Rectangle 156">
            <a:extLst>
              <a:ext uri="{FF2B5EF4-FFF2-40B4-BE49-F238E27FC236}">
                <a16:creationId xmlns:a16="http://schemas.microsoft.com/office/drawing/2014/main" id="{E31CD129-283A-453B-86E8-847A409B7725}"/>
              </a:ext>
            </a:extLst>
          </p:cNvPr>
          <p:cNvSpPr/>
          <p:nvPr/>
        </p:nvSpPr>
        <p:spPr bwMode="gray">
          <a:xfrm>
            <a:off x="8119421" y="4265847"/>
            <a:ext cx="2628000" cy="144000"/>
          </a:xfrm>
          <a:prstGeom prst="roundRect">
            <a:avLst>
              <a:gd name="adj" fmla="val 50000"/>
            </a:avLst>
          </a:prstGeom>
          <a:solidFill>
            <a:srgbClr val="2E2E38"/>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234" name="TextBox 233">
            <a:extLst>
              <a:ext uri="{FF2B5EF4-FFF2-40B4-BE49-F238E27FC236}">
                <a16:creationId xmlns:a16="http://schemas.microsoft.com/office/drawing/2014/main" id="{E23601C6-8873-4D1E-B057-1760F9F988F4}"/>
              </a:ext>
            </a:extLst>
          </p:cNvPr>
          <p:cNvSpPr txBox="1"/>
          <p:nvPr/>
        </p:nvSpPr>
        <p:spPr>
          <a:xfrm>
            <a:off x="8409344" y="4280160"/>
            <a:ext cx="1314415" cy="13849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IE" sz="900" b="1"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rPr>
              <a:t>REALISE - TEST</a:t>
            </a:r>
            <a:endParaRPr kumimoji="0" lang="en-IE" sz="900" b="0" i="0" u="none" strike="noStrike" kern="0" cap="none" spc="0" normalizeH="0" baseline="0" noProof="0">
              <a:ln>
                <a:noFill/>
              </a:ln>
              <a:solidFill>
                <a:srgbClr val="F6F5FA"/>
              </a:solidFill>
              <a:effectLst/>
              <a:uLnTx/>
              <a:uFillTx/>
              <a:latin typeface="EYInterstate" panose="02000503020000020004" pitchFamily="2" charset="0"/>
              <a:ea typeface="Arial Unicode MS" pitchFamily="34" charset="-128"/>
              <a:cs typeface="Arial Unicode MS" pitchFamily="34" charset="-128"/>
            </a:endParaRPr>
          </a:p>
        </p:txBody>
      </p:sp>
      <p:sp>
        <p:nvSpPr>
          <p:cNvPr id="235" name="Rounded Rectangle 156">
            <a:extLst>
              <a:ext uri="{FF2B5EF4-FFF2-40B4-BE49-F238E27FC236}">
                <a16:creationId xmlns:a16="http://schemas.microsoft.com/office/drawing/2014/main" id="{858D0BDB-ED29-42B1-A0CB-89F691D64982}"/>
              </a:ext>
            </a:extLst>
          </p:cNvPr>
          <p:cNvSpPr/>
          <p:nvPr/>
        </p:nvSpPr>
        <p:spPr bwMode="gray">
          <a:xfrm>
            <a:off x="9601022" y="5214838"/>
            <a:ext cx="1614426" cy="144000"/>
          </a:xfrm>
          <a:prstGeom prst="roundRect">
            <a:avLst>
              <a:gd name="adj" fmla="val 50000"/>
            </a:avLst>
          </a:prstGeom>
          <a:solidFill>
            <a:srgbClr val="FEE60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2E2E38"/>
              </a:solidFill>
              <a:effectLst/>
              <a:uLnTx/>
              <a:uFillTx/>
              <a:latin typeface="EYInterstate Light"/>
              <a:ea typeface="+mn-ea"/>
              <a:cs typeface="+mn-cs"/>
            </a:endParaRPr>
          </a:p>
        </p:txBody>
      </p:sp>
      <p:sp>
        <p:nvSpPr>
          <p:cNvPr id="236" name="TextBox 235">
            <a:extLst>
              <a:ext uri="{FF2B5EF4-FFF2-40B4-BE49-F238E27FC236}">
                <a16:creationId xmlns:a16="http://schemas.microsoft.com/office/drawing/2014/main" id="{D5D8CF76-E86E-4D7C-BF4D-C2ADCF117DF0}"/>
              </a:ext>
            </a:extLst>
          </p:cNvPr>
          <p:cNvSpPr txBox="1"/>
          <p:nvPr/>
        </p:nvSpPr>
        <p:spPr>
          <a:xfrm>
            <a:off x="9648717" y="5227873"/>
            <a:ext cx="886595" cy="13849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IE" sz="900" b="1" i="0" u="none" strike="noStrike" kern="0" cap="none" spc="0" normalizeH="0" baseline="0" noProof="0">
                <a:ln>
                  <a:noFill/>
                </a:ln>
                <a:solidFill>
                  <a:srgbClr val="2E2E38"/>
                </a:solidFill>
                <a:effectLst/>
                <a:uLnTx/>
                <a:uFillTx/>
                <a:latin typeface="EYInterstate" panose="02000503020000020004" pitchFamily="2" charset="0"/>
                <a:ea typeface="Arial Unicode MS" pitchFamily="34" charset="-128"/>
                <a:cs typeface="Arial Unicode MS" pitchFamily="34" charset="-128"/>
              </a:rPr>
              <a:t>DEPLOY &amp; RUN</a:t>
            </a:r>
            <a:endParaRPr kumimoji="0" lang="en-IE" sz="900" b="0" i="0" u="none" strike="noStrike" kern="0" cap="none" spc="0" normalizeH="0" baseline="0" noProof="0">
              <a:ln>
                <a:noFill/>
              </a:ln>
              <a:solidFill>
                <a:srgbClr val="2E2E38"/>
              </a:solidFill>
              <a:effectLst/>
              <a:uLnTx/>
              <a:uFillTx/>
              <a:latin typeface="EYInterstate" panose="02000503020000020004" pitchFamily="2" charset="0"/>
              <a:ea typeface="Arial Unicode MS" pitchFamily="34" charset="-128"/>
              <a:cs typeface="Arial Unicode MS" pitchFamily="34" charset="-128"/>
            </a:endParaRPr>
          </a:p>
        </p:txBody>
      </p:sp>
      <p:cxnSp>
        <p:nvCxnSpPr>
          <p:cNvPr id="81" name="Straight Connector 80">
            <a:extLst>
              <a:ext uri="{FF2B5EF4-FFF2-40B4-BE49-F238E27FC236}">
                <a16:creationId xmlns:a16="http://schemas.microsoft.com/office/drawing/2014/main" id="{D564B4DB-50B0-4614-8986-8E45437D8607}"/>
              </a:ext>
            </a:extLst>
          </p:cNvPr>
          <p:cNvCxnSpPr>
            <a:cxnSpLocks/>
          </p:cNvCxnSpPr>
          <p:nvPr/>
        </p:nvCxnSpPr>
        <p:spPr>
          <a:xfrm rot="5400000">
            <a:off x="5956249" y="-2986822"/>
            <a:ext cx="0" cy="10656000"/>
          </a:xfrm>
          <a:prstGeom prst="line">
            <a:avLst/>
          </a:prstGeom>
          <a:noFill/>
          <a:ln w="6350" cap="flat" cmpd="sng" algn="ctr">
            <a:solidFill>
              <a:srgbClr val="C4C4CD">
                <a:alpha val="56000"/>
              </a:srgbClr>
            </a:solidFill>
            <a:prstDash val="solid"/>
            <a:tailEnd type="none"/>
          </a:ln>
          <a:effectLst/>
        </p:spPr>
      </p:cxnSp>
      <p:sp>
        <p:nvSpPr>
          <p:cNvPr id="82" name="Rounded Rectangle 156">
            <a:extLst>
              <a:ext uri="{FF2B5EF4-FFF2-40B4-BE49-F238E27FC236}">
                <a16:creationId xmlns:a16="http://schemas.microsoft.com/office/drawing/2014/main" id="{857976EF-AB3E-4B76-A483-6AC2CFD736FA}"/>
              </a:ext>
            </a:extLst>
          </p:cNvPr>
          <p:cNvSpPr/>
          <p:nvPr/>
        </p:nvSpPr>
        <p:spPr bwMode="gray">
          <a:xfrm>
            <a:off x="3325592" y="2693341"/>
            <a:ext cx="504000" cy="90000"/>
          </a:xfrm>
          <a:prstGeom prst="roundRect">
            <a:avLst>
              <a:gd name="adj" fmla="val 50000"/>
            </a:avLst>
          </a:prstGeom>
          <a:solidFill>
            <a:srgbClr val="74748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83" name="Rounded Rectangle 156">
            <a:extLst>
              <a:ext uri="{FF2B5EF4-FFF2-40B4-BE49-F238E27FC236}">
                <a16:creationId xmlns:a16="http://schemas.microsoft.com/office/drawing/2014/main" id="{B24CAAA0-182B-4AFB-AB85-B40272070A7F}"/>
              </a:ext>
            </a:extLst>
          </p:cNvPr>
          <p:cNvSpPr/>
          <p:nvPr/>
        </p:nvSpPr>
        <p:spPr bwMode="gray">
          <a:xfrm>
            <a:off x="3343444" y="2820896"/>
            <a:ext cx="756000" cy="90000"/>
          </a:xfrm>
          <a:prstGeom prst="roundRect">
            <a:avLst>
              <a:gd name="adj" fmla="val 50000"/>
            </a:avLst>
          </a:prstGeom>
          <a:solidFill>
            <a:srgbClr val="74748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85" name="Rounded Rectangle 156">
            <a:extLst>
              <a:ext uri="{FF2B5EF4-FFF2-40B4-BE49-F238E27FC236}">
                <a16:creationId xmlns:a16="http://schemas.microsoft.com/office/drawing/2014/main" id="{B95A80EE-9582-4EA3-B099-0224DDA9650D}"/>
              </a:ext>
            </a:extLst>
          </p:cNvPr>
          <p:cNvSpPr/>
          <p:nvPr/>
        </p:nvSpPr>
        <p:spPr bwMode="gray">
          <a:xfrm>
            <a:off x="3584272" y="2955155"/>
            <a:ext cx="504000" cy="90000"/>
          </a:xfrm>
          <a:prstGeom prst="roundRect">
            <a:avLst>
              <a:gd name="adj" fmla="val 50000"/>
            </a:avLst>
          </a:prstGeom>
          <a:solidFill>
            <a:srgbClr val="74748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cxnSp>
        <p:nvCxnSpPr>
          <p:cNvPr id="95" name="Straight Connector 94">
            <a:extLst>
              <a:ext uri="{FF2B5EF4-FFF2-40B4-BE49-F238E27FC236}">
                <a16:creationId xmlns:a16="http://schemas.microsoft.com/office/drawing/2014/main" id="{D6F7CF6D-773A-49A5-B33F-A1D02248A6B4}"/>
              </a:ext>
            </a:extLst>
          </p:cNvPr>
          <p:cNvCxnSpPr>
            <a:cxnSpLocks/>
          </p:cNvCxnSpPr>
          <p:nvPr/>
        </p:nvCxnSpPr>
        <p:spPr>
          <a:xfrm rot="5400000">
            <a:off x="5961645" y="-2259627"/>
            <a:ext cx="0" cy="10656000"/>
          </a:xfrm>
          <a:prstGeom prst="line">
            <a:avLst/>
          </a:prstGeom>
          <a:noFill/>
          <a:ln w="6350" cap="flat" cmpd="sng" algn="ctr">
            <a:solidFill>
              <a:srgbClr val="C4C4CD">
                <a:alpha val="56000"/>
              </a:srgbClr>
            </a:solidFill>
            <a:prstDash val="solid"/>
            <a:tailEnd type="none"/>
          </a:ln>
          <a:effectLst/>
        </p:spPr>
      </p:cxnSp>
      <p:sp>
        <p:nvSpPr>
          <p:cNvPr id="96" name="Rounded Rectangle 156">
            <a:extLst>
              <a:ext uri="{FF2B5EF4-FFF2-40B4-BE49-F238E27FC236}">
                <a16:creationId xmlns:a16="http://schemas.microsoft.com/office/drawing/2014/main" id="{AC9CD18C-9FED-4E75-97ED-E3FA886A6051}"/>
              </a:ext>
            </a:extLst>
          </p:cNvPr>
          <p:cNvSpPr/>
          <p:nvPr/>
        </p:nvSpPr>
        <p:spPr bwMode="gray">
          <a:xfrm>
            <a:off x="3859767" y="3294253"/>
            <a:ext cx="5292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pic>
        <p:nvPicPr>
          <p:cNvPr id="102" name="Graphic 101" descr="Arrow circle outline">
            <a:extLst>
              <a:ext uri="{FF2B5EF4-FFF2-40B4-BE49-F238E27FC236}">
                <a16:creationId xmlns:a16="http://schemas.microsoft.com/office/drawing/2014/main" id="{4D61CE64-4634-4FF6-97A8-01C268980D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29257" y="3781001"/>
            <a:ext cx="180000" cy="180000"/>
          </a:xfrm>
          <a:prstGeom prst="rect">
            <a:avLst/>
          </a:prstGeom>
        </p:spPr>
      </p:pic>
      <p:pic>
        <p:nvPicPr>
          <p:cNvPr id="103" name="Graphic 102" descr="Arrow circle outline">
            <a:extLst>
              <a:ext uri="{FF2B5EF4-FFF2-40B4-BE49-F238E27FC236}">
                <a16:creationId xmlns:a16="http://schemas.microsoft.com/office/drawing/2014/main" id="{9CAB2CC5-E366-41A9-9DF0-95DAA577F2E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60319" y="3781001"/>
            <a:ext cx="180000" cy="180000"/>
          </a:xfrm>
          <a:prstGeom prst="rect">
            <a:avLst/>
          </a:prstGeom>
        </p:spPr>
      </p:pic>
      <p:pic>
        <p:nvPicPr>
          <p:cNvPr id="104" name="Graphic 103" descr="Arrow circle outline">
            <a:extLst>
              <a:ext uri="{FF2B5EF4-FFF2-40B4-BE49-F238E27FC236}">
                <a16:creationId xmlns:a16="http://schemas.microsoft.com/office/drawing/2014/main" id="{73312242-8242-4636-AA35-402D3E8CF3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22443" y="3781001"/>
            <a:ext cx="180000" cy="180000"/>
          </a:xfrm>
          <a:prstGeom prst="rect">
            <a:avLst/>
          </a:prstGeom>
        </p:spPr>
      </p:pic>
      <p:sp>
        <p:nvSpPr>
          <p:cNvPr id="106" name="Left Brace 105">
            <a:extLst>
              <a:ext uri="{FF2B5EF4-FFF2-40B4-BE49-F238E27FC236}">
                <a16:creationId xmlns:a16="http://schemas.microsoft.com/office/drawing/2014/main" id="{F8065D0F-A83E-4972-B609-81DA3F9F5DC2}"/>
              </a:ext>
            </a:extLst>
          </p:cNvPr>
          <p:cNvSpPr/>
          <p:nvPr/>
        </p:nvSpPr>
        <p:spPr>
          <a:xfrm rot="16200000">
            <a:off x="6980910" y="852812"/>
            <a:ext cx="108000" cy="6300000"/>
          </a:xfrm>
          <a:prstGeom prst="leftBrace">
            <a:avLst/>
          </a:prstGeom>
          <a:ln w="6350">
            <a:solidFill>
              <a:srgbClr val="2E2E38"/>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07" name="TextBox 106">
            <a:extLst>
              <a:ext uri="{FF2B5EF4-FFF2-40B4-BE49-F238E27FC236}">
                <a16:creationId xmlns:a16="http://schemas.microsoft.com/office/drawing/2014/main" id="{F09A7671-556C-48FB-BDD3-91F0E4A914EC}"/>
              </a:ext>
            </a:extLst>
          </p:cNvPr>
          <p:cNvSpPr txBox="1"/>
          <p:nvPr/>
        </p:nvSpPr>
        <p:spPr>
          <a:xfrm>
            <a:off x="5773622" y="4039665"/>
            <a:ext cx="2556000" cy="128497"/>
          </a:xfrm>
          <a:prstGeom prst="rect">
            <a:avLst/>
          </a:prstGeom>
          <a:solidFill>
            <a:schemeClr val="tx1">
              <a:alpha val="52000"/>
            </a:schemeClr>
          </a:solid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rgbClr val="2E2E38"/>
                </a:solidFill>
                <a:effectLst/>
                <a:uLnTx/>
                <a:uFillTx/>
                <a:latin typeface="EYInterstate Light"/>
                <a:ea typeface="+mn-ea"/>
                <a:cs typeface="+mn-cs"/>
              </a:rPr>
              <a:t> Build Iterations: 2 week sprints based on prioritised backlog</a:t>
            </a:r>
          </a:p>
        </p:txBody>
      </p:sp>
      <p:cxnSp>
        <p:nvCxnSpPr>
          <p:cNvPr id="113" name="Straight Connector 112">
            <a:extLst>
              <a:ext uri="{FF2B5EF4-FFF2-40B4-BE49-F238E27FC236}">
                <a16:creationId xmlns:a16="http://schemas.microsoft.com/office/drawing/2014/main" id="{FCE86C2C-DD2A-46A5-BADF-343EB4045293}"/>
              </a:ext>
            </a:extLst>
          </p:cNvPr>
          <p:cNvCxnSpPr>
            <a:cxnSpLocks/>
          </p:cNvCxnSpPr>
          <p:nvPr/>
        </p:nvCxnSpPr>
        <p:spPr>
          <a:xfrm rot="5400000">
            <a:off x="5971820" y="-1122030"/>
            <a:ext cx="0" cy="10656000"/>
          </a:xfrm>
          <a:prstGeom prst="line">
            <a:avLst/>
          </a:prstGeom>
          <a:noFill/>
          <a:ln w="6350" cap="flat" cmpd="sng" algn="ctr">
            <a:solidFill>
              <a:srgbClr val="C4C4CD">
                <a:alpha val="56000"/>
              </a:srgbClr>
            </a:solidFill>
            <a:prstDash val="solid"/>
            <a:tailEnd type="none"/>
          </a:ln>
          <a:effectLst/>
        </p:spPr>
      </p:cxnSp>
      <p:sp>
        <p:nvSpPr>
          <p:cNvPr id="15" name="Rectangle 14">
            <a:extLst>
              <a:ext uri="{FF2B5EF4-FFF2-40B4-BE49-F238E27FC236}">
                <a16:creationId xmlns:a16="http://schemas.microsoft.com/office/drawing/2014/main" id="{38F5E1B3-DD85-45D2-A9CB-9203B84D1955}"/>
              </a:ext>
            </a:extLst>
          </p:cNvPr>
          <p:cNvSpPr/>
          <p:nvPr/>
        </p:nvSpPr>
        <p:spPr>
          <a:xfrm>
            <a:off x="604864" y="1362228"/>
            <a:ext cx="36000" cy="4716000"/>
          </a:xfrm>
          <a:prstGeom prst="rect">
            <a:avLst/>
          </a:prstGeom>
          <a:solidFill>
            <a:srgbClr val="000000">
              <a:lumMod val="65000"/>
              <a:lumOff val="35000"/>
            </a:srgbClr>
          </a:solidFill>
          <a:ln w="9525" cap="flat" cmpd="sng" algn="ctr">
            <a:noFill/>
            <a:prstDash val="solid"/>
          </a:ln>
          <a:effectLst/>
        </p:spPr>
        <p:txBody>
          <a:bodyPr rtlCol="0" anchor="t" anchorCtr="0"/>
          <a:lstStyle/>
          <a:p>
            <a:pPr marL="0" marR="0" lvl="0" indent="0" algn="ctr" defTabSz="870980" rtl="0" eaLnBrk="1" fontAlgn="auto" latinLnBrk="0" hangingPunct="1">
              <a:lnSpc>
                <a:spcPct val="100000"/>
              </a:lnSpc>
              <a:spcBef>
                <a:spcPts val="0"/>
              </a:spcBef>
              <a:spcAft>
                <a:spcPts val="0"/>
              </a:spcAft>
              <a:buClrTx/>
              <a:buSzTx/>
              <a:buFontTx/>
              <a:buNone/>
              <a:tabLst/>
              <a:defRPr/>
            </a:pPr>
            <a:endParaRPr kumimoji="0" lang="en-US" sz="1058" b="0" i="0" u="none" strike="noStrike" kern="0" cap="none" spc="0" normalizeH="0" baseline="0" noProof="0">
              <a:ln>
                <a:noFill/>
              </a:ln>
              <a:solidFill>
                <a:srgbClr val="000000"/>
              </a:solidFill>
              <a:effectLst/>
              <a:uLnTx/>
              <a:uFillTx/>
              <a:latin typeface="EYInterstate Light"/>
              <a:ea typeface="+mn-ea"/>
              <a:cs typeface="+mn-cs"/>
            </a:endParaRPr>
          </a:p>
        </p:txBody>
      </p:sp>
      <p:sp>
        <p:nvSpPr>
          <p:cNvPr id="116" name="Rounded Rectangle 156">
            <a:extLst>
              <a:ext uri="{FF2B5EF4-FFF2-40B4-BE49-F238E27FC236}">
                <a16:creationId xmlns:a16="http://schemas.microsoft.com/office/drawing/2014/main" id="{F4321F32-9C7D-42D1-8F87-18195F7FA551}"/>
              </a:ext>
            </a:extLst>
          </p:cNvPr>
          <p:cNvSpPr/>
          <p:nvPr/>
        </p:nvSpPr>
        <p:spPr bwMode="gray">
          <a:xfrm>
            <a:off x="8122886" y="4452785"/>
            <a:ext cx="2088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136" name="Rounded Rectangle 156">
            <a:extLst>
              <a:ext uri="{FF2B5EF4-FFF2-40B4-BE49-F238E27FC236}">
                <a16:creationId xmlns:a16="http://schemas.microsoft.com/office/drawing/2014/main" id="{C59A6CF4-A67B-4D80-B9F5-2B6703CD8EDB}"/>
              </a:ext>
            </a:extLst>
          </p:cNvPr>
          <p:cNvSpPr/>
          <p:nvPr/>
        </p:nvSpPr>
        <p:spPr bwMode="gray">
          <a:xfrm>
            <a:off x="9605670" y="5413864"/>
            <a:ext cx="1620000" cy="90000"/>
          </a:xfrm>
          <a:prstGeom prst="roundRect">
            <a:avLst>
              <a:gd name="adj" fmla="val 50000"/>
            </a:avLst>
          </a:prstGeom>
          <a:solidFill>
            <a:srgbClr val="FEE60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2E2E38"/>
              </a:solidFill>
              <a:effectLst/>
              <a:uLnTx/>
              <a:uFillTx/>
              <a:latin typeface="EYInterstate Light"/>
              <a:ea typeface="+mn-ea"/>
              <a:cs typeface="+mn-cs"/>
            </a:endParaRPr>
          </a:p>
        </p:txBody>
      </p:sp>
      <p:cxnSp>
        <p:nvCxnSpPr>
          <p:cNvPr id="146" name="Straight Connector 145">
            <a:extLst>
              <a:ext uri="{FF2B5EF4-FFF2-40B4-BE49-F238E27FC236}">
                <a16:creationId xmlns:a16="http://schemas.microsoft.com/office/drawing/2014/main" id="{ECF46D0F-F63F-4FBA-9D75-42D06E1D1AC0}"/>
              </a:ext>
            </a:extLst>
          </p:cNvPr>
          <p:cNvCxnSpPr>
            <a:cxnSpLocks/>
          </p:cNvCxnSpPr>
          <p:nvPr/>
        </p:nvCxnSpPr>
        <p:spPr>
          <a:xfrm rot="5400000">
            <a:off x="5985757" y="-164099"/>
            <a:ext cx="0" cy="10656000"/>
          </a:xfrm>
          <a:prstGeom prst="line">
            <a:avLst/>
          </a:prstGeom>
          <a:noFill/>
          <a:ln w="6350" cap="flat" cmpd="sng" algn="ctr">
            <a:solidFill>
              <a:srgbClr val="C4C4CD">
                <a:alpha val="56000"/>
              </a:srgbClr>
            </a:solidFill>
            <a:prstDash val="solid"/>
            <a:tailEnd type="none"/>
          </a:ln>
          <a:effectLst/>
        </p:spPr>
      </p:cxnSp>
      <p:sp>
        <p:nvSpPr>
          <p:cNvPr id="115" name="Rectangle 114">
            <a:extLst>
              <a:ext uri="{FF2B5EF4-FFF2-40B4-BE49-F238E27FC236}">
                <a16:creationId xmlns:a16="http://schemas.microsoft.com/office/drawing/2014/main" id="{D76F56BD-F9A2-4E24-9AA5-FFE0C200B6E3}"/>
              </a:ext>
            </a:extLst>
          </p:cNvPr>
          <p:cNvSpPr/>
          <p:nvPr/>
        </p:nvSpPr>
        <p:spPr>
          <a:xfrm>
            <a:off x="11286259" y="1362228"/>
            <a:ext cx="36000" cy="4716000"/>
          </a:xfrm>
          <a:prstGeom prst="rect">
            <a:avLst/>
          </a:prstGeom>
          <a:solidFill>
            <a:srgbClr val="000000">
              <a:lumMod val="65000"/>
              <a:lumOff val="35000"/>
            </a:srgbClr>
          </a:solidFill>
          <a:ln w="9525" cap="flat" cmpd="sng" algn="ctr">
            <a:noFill/>
            <a:prstDash val="solid"/>
          </a:ln>
          <a:effectLst/>
        </p:spPr>
        <p:txBody>
          <a:bodyPr rtlCol="0" anchor="t" anchorCtr="0"/>
          <a:lstStyle/>
          <a:p>
            <a:pPr marL="0" marR="0" lvl="0" indent="0" algn="ctr" defTabSz="870980" rtl="0" eaLnBrk="1" fontAlgn="auto" latinLnBrk="0" hangingPunct="1">
              <a:lnSpc>
                <a:spcPct val="100000"/>
              </a:lnSpc>
              <a:spcBef>
                <a:spcPts val="0"/>
              </a:spcBef>
              <a:spcAft>
                <a:spcPts val="0"/>
              </a:spcAft>
              <a:buClrTx/>
              <a:buSzTx/>
              <a:buFontTx/>
              <a:buNone/>
              <a:tabLst/>
              <a:defRPr/>
            </a:pPr>
            <a:endParaRPr kumimoji="0" lang="en-US" sz="1058" b="0" i="0" u="none" strike="noStrike" kern="0" cap="none" spc="0" normalizeH="0" baseline="0" noProof="0">
              <a:ln>
                <a:noFill/>
              </a:ln>
              <a:solidFill>
                <a:srgbClr val="000000"/>
              </a:solidFill>
              <a:effectLst/>
              <a:uLnTx/>
              <a:uFillTx/>
              <a:latin typeface="EYInterstate Light"/>
              <a:ea typeface="+mn-ea"/>
              <a:cs typeface="+mn-cs"/>
            </a:endParaRPr>
          </a:p>
        </p:txBody>
      </p:sp>
      <p:sp>
        <p:nvSpPr>
          <p:cNvPr id="147" name="Rectangle 146">
            <a:extLst>
              <a:ext uri="{FF2B5EF4-FFF2-40B4-BE49-F238E27FC236}">
                <a16:creationId xmlns:a16="http://schemas.microsoft.com/office/drawing/2014/main" id="{B5126396-560A-4C88-9A60-020FA8E180F6}"/>
              </a:ext>
            </a:extLst>
          </p:cNvPr>
          <p:cNvSpPr/>
          <p:nvPr/>
        </p:nvSpPr>
        <p:spPr>
          <a:xfrm>
            <a:off x="823841" y="1444384"/>
            <a:ext cx="1368000" cy="144000"/>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2E2E38"/>
                </a:solidFill>
                <a:effectLst/>
                <a:uLnTx/>
                <a:uFillTx/>
                <a:latin typeface="EYInterstate Light"/>
                <a:ea typeface="+mn-ea"/>
                <a:cs typeface="+mn-cs"/>
              </a:rPr>
              <a:t>Project Phases</a:t>
            </a:r>
          </a:p>
        </p:txBody>
      </p:sp>
      <p:sp>
        <p:nvSpPr>
          <p:cNvPr id="148" name="Rectangle 147">
            <a:extLst>
              <a:ext uri="{FF2B5EF4-FFF2-40B4-BE49-F238E27FC236}">
                <a16:creationId xmlns:a16="http://schemas.microsoft.com/office/drawing/2014/main" id="{CE3F4FEE-7695-4629-ABE2-B54473C11F94}"/>
              </a:ext>
            </a:extLst>
          </p:cNvPr>
          <p:cNvSpPr/>
          <p:nvPr/>
        </p:nvSpPr>
        <p:spPr>
          <a:xfrm>
            <a:off x="687854" y="1658566"/>
            <a:ext cx="1987198" cy="770377"/>
          </a:xfrm>
          <a:prstGeom prst="rect">
            <a:avLst/>
          </a:prstGeom>
          <a:noFill/>
          <a:ln w="9525" cap="flat" cmpd="sng" algn="ctr">
            <a:noFill/>
            <a:prstDash val="solid"/>
          </a:ln>
          <a:effectLst/>
        </p:spPr>
        <p:txBody>
          <a:bodyPr lIns="0" tIns="0" rIns="0" bIns="0" rtlCol="0" anchor="t" anchorCtr="0"/>
          <a:lstStyle/>
          <a:p>
            <a:pPr marL="0" marR="0" lvl="0" indent="0" algn="l" defTabSz="87098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E2E38"/>
                </a:solidFill>
                <a:effectLst/>
                <a:uLnTx/>
                <a:uFillTx/>
                <a:latin typeface="EYInterstate" panose="02000503020000020004" pitchFamily="2" charset="0"/>
                <a:ea typeface="+mn-ea"/>
                <a:cs typeface="+mn-cs"/>
              </a:rPr>
              <a:t>PREPARE</a:t>
            </a:r>
            <a:br>
              <a:rPr kumimoji="0" lang="en-US" sz="700" b="1" i="0" u="none" strike="noStrike" kern="0" cap="none" spc="0" normalizeH="0" baseline="0" noProof="0">
                <a:ln>
                  <a:noFill/>
                </a:ln>
                <a:solidFill>
                  <a:srgbClr val="2E2E38"/>
                </a:solidFill>
                <a:effectLst/>
                <a:uLnTx/>
                <a:uFillTx/>
                <a:latin typeface="EYInterstate Light"/>
                <a:ea typeface="+mn-ea"/>
                <a:cs typeface="+mn-cs"/>
              </a:rPr>
            </a:br>
            <a:r>
              <a:rPr kumimoji="0" lang="en-IN" sz="700" b="0" i="0" u="none" strike="noStrike" kern="1200" cap="none" spc="0" normalizeH="0" baseline="0" noProof="0">
                <a:ln>
                  <a:noFill/>
                </a:ln>
                <a:solidFill>
                  <a:srgbClr val="2E2E38"/>
                </a:solidFill>
                <a:effectLst/>
                <a:uLnTx/>
                <a:uFillTx/>
                <a:latin typeface="EYInterstate Light"/>
                <a:ea typeface="+mn-ea"/>
                <a:cs typeface="+mn-cs"/>
              </a:rPr>
              <a:t>Define Project charter, Project processes, an overall plan, and project org structure. Assign resources and agree on project tooling. Gather inputs for Explore phase including clearly defined requirements.</a:t>
            </a:r>
            <a:endParaRPr kumimoji="0" lang="en-US" sz="7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49" name="Rectangle 148">
            <a:extLst>
              <a:ext uri="{FF2B5EF4-FFF2-40B4-BE49-F238E27FC236}">
                <a16:creationId xmlns:a16="http://schemas.microsoft.com/office/drawing/2014/main" id="{D194A499-DFF7-4A14-ABAF-08B54C7A62B0}"/>
              </a:ext>
            </a:extLst>
          </p:cNvPr>
          <p:cNvSpPr/>
          <p:nvPr/>
        </p:nvSpPr>
        <p:spPr>
          <a:xfrm>
            <a:off x="692890" y="2375127"/>
            <a:ext cx="2080041" cy="667182"/>
          </a:xfrm>
          <a:prstGeom prst="rect">
            <a:avLst/>
          </a:prstGeom>
          <a:noFill/>
          <a:ln w="9525" cap="flat" cmpd="sng" algn="ctr">
            <a:noFill/>
            <a:prstDash val="solid"/>
          </a:ln>
          <a:effectLst/>
        </p:spPr>
        <p:txBody>
          <a:bodyPr lIns="0" tIns="0" rIns="0" bIns="0" rtlCol="0" anchor="t" anchorCtr="0"/>
          <a:lstStyle/>
          <a:p>
            <a:pPr marL="0" marR="0" lvl="0" indent="0" algn="l" defTabSz="87098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E2E38"/>
                </a:solidFill>
                <a:effectLst/>
                <a:uLnTx/>
                <a:uFillTx/>
                <a:latin typeface="EYInterstate" panose="02000503020000020004" pitchFamily="2" charset="0"/>
                <a:ea typeface="+mn-ea"/>
                <a:cs typeface="+mn-cs"/>
              </a:rPr>
              <a:t>EXPLORE</a:t>
            </a:r>
            <a:br>
              <a:rPr kumimoji="0" lang="en-US" sz="700" b="1" i="0" u="none" strike="noStrike" kern="0" cap="none" spc="0" normalizeH="0" baseline="0" noProof="0">
                <a:ln>
                  <a:noFill/>
                </a:ln>
                <a:solidFill>
                  <a:srgbClr val="2E2E38"/>
                </a:solidFill>
                <a:effectLst/>
                <a:uLnTx/>
                <a:uFillTx/>
                <a:latin typeface="EYInterstate Light"/>
                <a:ea typeface="+mn-ea"/>
                <a:cs typeface="+mn-cs"/>
              </a:rPr>
            </a:br>
            <a:r>
              <a:rPr kumimoji="0" lang="en-IN" sz="700" b="0" i="0" u="none" strike="noStrike" kern="1200" cap="none" spc="0" normalizeH="0" baseline="0" noProof="0">
                <a:ln>
                  <a:noFill/>
                </a:ln>
                <a:solidFill>
                  <a:srgbClr val="2E2E38"/>
                </a:solidFill>
                <a:effectLst/>
                <a:uLnTx/>
                <a:uFillTx/>
                <a:latin typeface="EYInterstate Light"/>
                <a:ea typeface="+mn-ea"/>
                <a:cs typeface="+mn-cs"/>
              </a:rPr>
              <a:t>Workshops are conducted to map business processes and identify &amp; resolve gaps. A plan for data cleansing is developed and cleansing activities are initiated. Configuration design and functional specifications are documented. </a:t>
            </a:r>
            <a:endParaRPr kumimoji="0" lang="en-US" sz="7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56" name="Rectangle 155">
            <a:extLst>
              <a:ext uri="{FF2B5EF4-FFF2-40B4-BE49-F238E27FC236}">
                <a16:creationId xmlns:a16="http://schemas.microsoft.com/office/drawing/2014/main" id="{49480E3F-C72F-4CF2-AE93-768826D154E2}"/>
              </a:ext>
            </a:extLst>
          </p:cNvPr>
          <p:cNvSpPr/>
          <p:nvPr/>
        </p:nvSpPr>
        <p:spPr>
          <a:xfrm>
            <a:off x="692889" y="3118707"/>
            <a:ext cx="2080041" cy="990901"/>
          </a:xfrm>
          <a:prstGeom prst="rect">
            <a:avLst/>
          </a:prstGeom>
          <a:noFill/>
          <a:ln w="9525" cap="flat" cmpd="sng" algn="ctr">
            <a:noFill/>
            <a:prstDash val="solid"/>
          </a:ln>
          <a:effectLst/>
        </p:spPr>
        <p:txBody>
          <a:bodyPr lIns="0" tIns="0" rIns="0" bIns="0" rtlCol="0" anchor="t" anchorCtr="0"/>
          <a:lstStyle/>
          <a:p>
            <a:pPr defTabSz="870980">
              <a:defRPr/>
            </a:pPr>
            <a:r>
              <a:rPr kumimoji="0" lang="en-US" sz="700" b="1" i="0" u="none" strike="noStrike" kern="0" cap="none" spc="0" normalizeH="0" baseline="0" noProof="0">
                <a:ln>
                  <a:noFill/>
                </a:ln>
                <a:solidFill>
                  <a:srgbClr val="2E2E38"/>
                </a:solidFill>
                <a:effectLst/>
                <a:uLnTx/>
                <a:uFillTx/>
                <a:latin typeface="EYInterstate"/>
              </a:rPr>
              <a:t>REALISE – BUILD</a:t>
            </a:r>
            <a:br>
              <a:rPr lang="en-US" sz="700" b="1" i="0" u="none" strike="noStrike" kern="0" cap="none" spc="0" normalizeH="0" baseline="0" noProof="0">
                <a:ln>
                  <a:noFill/>
                </a:ln>
                <a:effectLst/>
                <a:uLnTx/>
                <a:uFillTx/>
                <a:latin typeface="EYInterstate Light"/>
              </a:rPr>
            </a:br>
            <a:r>
              <a:rPr lang="en-IN" sz="700">
                <a:solidFill>
                  <a:srgbClr val="2E2E38"/>
                </a:solidFill>
                <a:latin typeface="EYInterstate Light"/>
              </a:rPr>
              <a:t>Platform</a:t>
            </a:r>
            <a:r>
              <a:rPr kumimoji="0" lang="en-IN" sz="700" b="0" i="0" u="none" strike="noStrike" kern="1200" cap="none" spc="0" normalizeH="0" baseline="0" noProof="0">
                <a:ln>
                  <a:noFill/>
                </a:ln>
                <a:solidFill>
                  <a:srgbClr val="2E2E38"/>
                </a:solidFill>
                <a:effectLst/>
                <a:uLnTx/>
                <a:uFillTx/>
                <a:latin typeface="EYInterstate Light"/>
                <a:ea typeface="+mn-ea"/>
                <a:cs typeface="+mn-cs"/>
              </a:rPr>
              <a:t> configuration</a:t>
            </a:r>
            <a:r>
              <a:rPr lang="en-IN" sz="700">
                <a:solidFill>
                  <a:srgbClr val="2E2E38"/>
                </a:solidFill>
                <a:latin typeface="EYInterstate Light"/>
              </a:rPr>
              <a:t>, Infrastructure implementation</a:t>
            </a:r>
            <a:r>
              <a:rPr kumimoji="0" lang="en-IN" sz="700" b="0" i="0" u="none" strike="noStrike" kern="1200" cap="none" spc="0" normalizeH="0" baseline="0" noProof="0">
                <a:ln>
                  <a:noFill/>
                </a:ln>
                <a:solidFill>
                  <a:srgbClr val="2E2E38"/>
                </a:solidFill>
                <a:effectLst/>
                <a:uLnTx/>
                <a:uFillTx/>
                <a:latin typeface="EYInterstate Light"/>
                <a:ea typeface="+mn-ea"/>
                <a:cs typeface="+mn-cs"/>
              </a:rPr>
              <a:t>, </a:t>
            </a:r>
            <a:r>
              <a:rPr lang="en-IN" sz="700">
                <a:solidFill>
                  <a:srgbClr val="2E2E38"/>
                </a:solidFill>
                <a:latin typeface="EYInterstate Light"/>
              </a:rPr>
              <a:t>System configuration and data migration are performed. </a:t>
            </a:r>
            <a:r>
              <a:rPr kumimoji="0" lang="en-IN" sz="700" b="0" i="0" u="none" strike="noStrike" kern="1200" cap="none" spc="0" normalizeH="0" baseline="0" noProof="0">
                <a:ln>
                  <a:noFill/>
                </a:ln>
                <a:solidFill>
                  <a:srgbClr val="2E2E38"/>
                </a:solidFill>
                <a:effectLst/>
                <a:uLnTx/>
                <a:uFillTx/>
                <a:latin typeface="EYInterstate Light"/>
                <a:ea typeface="+mn-ea"/>
                <a:cs typeface="+mn-cs"/>
              </a:rPr>
              <a:t>Unit testing is performed </a:t>
            </a:r>
            <a:r>
              <a:rPr lang="en-IN" sz="700">
                <a:solidFill>
                  <a:srgbClr val="2E2E38"/>
                </a:solidFill>
                <a:latin typeface="EYInterstate Light"/>
              </a:rPr>
              <a:t>on provisioning lab environments.</a:t>
            </a:r>
            <a:endParaRPr lang="en-IN" sz="700" b="0" i="0" u="none" strike="noStrike" cap="none" spc="0" normalizeH="0" baseline="0" noProof="0">
              <a:ln>
                <a:noFill/>
              </a:ln>
              <a:solidFill>
                <a:srgbClr val="2E2E38"/>
              </a:solidFill>
              <a:effectLst/>
              <a:uLnTx/>
              <a:uFillTx/>
              <a:latin typeface="EYInterstate Light"/>
            </a:endParaRPr>
          </a:p>
        </p:txBody>
      </p:sp>
      <p:sp>
        <p:nvSpPr>
          <p:cNvPr id="157" name="Rectangle 156">
            <a:extLst>
              <a:ext uri="{FF2B5EF4-FFF2-40B4-BE49-F238E27FC236}">
                <a16:creationId xmlns:a16="http://schemas.microsoft.com/office/drawing/2014/main" id="{1A2FB8C4-5BEA-405B-BFFE-8B65C0BA244D}"/>
              </a:ext>
            </a:extLst>
          </p:cNvPr>
          <p:cNvSpPr/>
          <p:nvPr/>
        </p:nvSpPr>
        <p:spPr>
          <a:xfrm>
            <a:off x="683363" y="4274549"/>
            <a:ext cx="2058417" cy="990901"/>
          </a:xfrm>
          <a:prstGeom prst="rect">
            <a:avLst/>
          </a:prstGeom>
          <a:noFill/>
          <a:ln w="9525" cap="flat" cmpd="sng" algn="ctr">
            <a:noFill/>
            <a:prstDash val="solid"/>
          </a:ln>
          <a:effectLst/>
        </p:spPr>
        <p:txBody>
          <a:bodyPr lIns="0" tIns="0" rIns="0" bIns="0" rtlCol="0" anchor="t" anchorCtr="0"/>
          <a:lstStyle/>
          <a:p>
            <a:pPr defTabSz="870980">
              <a:defRPr/>
            </a:pPr>
            <a:r>
              <a:rPr kumimoji="0" lang="en-US" sz="700" b="1" i="0" u="none" strike="noStrike" kern="0" cap="none" spc="0" normalizeH="0" baseline="0" noProof="0">
                <a:ln>
                  <a:noFill/>
                </a:ln>
                <a:solidFill>
                  <a:srgbClr val="2E2E38"/>
                </a:solidFill>
                <a:effectLst/>
                <a:uLnTx/>
                <a:uFillTx/>
                <a:latin typeface="EYInterstate"/>
              </a:rPr>
              <a:t>REALISE – TEST</a:t>
            </a:r>
            <a:br>
              <a:rPr lang="en-US" sz="700" b="1" i="0" u="none" strike="noStrike" kern="0" cap="none" spc="0" normalizeH="0" baseline="0" noProof="0">
                <a:ln>
                  <a:noFill/>
                </a:ln>
                <a:effectLst/>
                <a:uLnTx/>
                <a:uFillTx/>
                <a:latin typeface="EYInterstate Light"/>
              </a:rPr>
            </a:br>
            <a:r>
              <a:rPr lang="en-IN" sz="700" kern="0">
                <a:solidFill>
                  <a:srgbClr val="2E2E38"/>
                </a:solidFill>
                <a:latin typeface="EYInterstate Light"/>
              </a:rPr>
              <a:t>UAT testing performed  based on lab requirements with mock data and Go-No</a:t>
            </a:r>
            <a:r>
              <a:rPr kumimoji="0" lang="en-IN" sz="700" b="0" i="0" u="none" strike="noStrike" kern="0" cap="none" spc="0" normalizeH="0" baseline="0" noProof="0">
                <a:ln>
                  <a:noFill/>
                </a:ln>
                <a:solidFill>
                  <a:srgbClr val="2E2E38"/>
                </a:solidFill>
                <a:effectLst/>
                <a:uLnTx/>
                <a:uFillTx/>
                <a:latin typeface="EYInterstate Light"/>
                <a:ea typeface="+mn-ea"/>
                <a:cs typeface="+mn-cs"/>
              </a:rPr>
              <a:t> criteria are agreed with first assessment following UAT.</a:t>
            </a:r>
            <a:r>
              <a:rPr lang="en-IN" sz="700" kern="0">
                <a:solidFill>
                  <a:srgbClr val="2E2E38"/>
                </a:solidFill>
                <a:latin typeface="EYInterstate Light"/>
              </a:rPr>
              <a:t> Solution documentation is availed on UAT completion.</a:t>
            </a:r>
            <a:endParaRPr lang="en-IN" sz="700" b="0" i="0" u="none" strike="noStrike" kern="0" cap="none" spc="0" normalizeH="0" baseline="0" noProof="0">
              <a:ln>
                <a:noFill/>
              </a:ln>
              <a:solidFill>
                <a:srgbClr val="2E2E38"/>
              </a:solidFill>
              <a:effectLst/>
              <a:uLnTx/>
              <a:uFillTx/>
              <a:latin typeface="EYInterstate Light"/>
            </a:endParaRPr>
          </a:p>
        </p:txBody>
      </p:sp>
      <p:sp>
        <p:nvSpPr>
          <p:cNvPr id="158" name="Rectangle 157">
            <a:extLst>
              <a:ext uri="{FF2B5EF4-FFF2-40B4-BE49-F238E27FC236}">
                <a16:creationId xmlns:a16="http://schemas.microsoft.com/office/drawing/2014/main" id="{3232C906-214F-4637-B5C2-4A40E4E67E99}"/>
              </a:ext>
            </a:extLst>
          </p:cNvPr>
          <p:cNvSpPr/>
          <p:nvPr/>
        </p:nvSpPr>
        <p:spPr>
          <a:xfrm>
            <a:off x="692759" y="5218345"/>
            <a:ext cx="2058417" cy="725448"/>
          </a:xfrm>
          <a:prstGeom prst="rect">
            <a:avLst/>
          </a:prstGeom>
          <a:noFill/>
          <a:ln w="9525" cap="flat" cmpd="sng" algn="ctr">
            <a:noFill/>
            <a:prstDash val="solid"/>
          </a:ln>
          <a:effectLst/>
        </p:spPr>
        <p:txBody>
          <a:bodyPr lIns="0" tIns="0" rIns="0" bIns="0" rtlCol="0" anchor="t" anchorCtr="0"/>
          <a:lstStyle/>
          <a:p>
            <a:pPr marL="0" marR="0" lvl="0" indent="0" algn="l" defTabSz="87098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E2E38"/>
                </a:solidFill>
                <a:effectLst/>
                <a:uLnTx/>
                <a:uFillTx/>
                <a:latin typeface="EYInterstate"/>
              </a:rPr>
              <a:t>DEPLOY &amp; RUN</a:t>
            </a:r>
            <a:br>
              <a:rPr lang="en-US" sz="700" b="1" i="0" u="none" strike="noStrike" kern="0" cap="none" spc="0" normalizeH="0" baseline="0" noProof="0">
                <a:ln>
                  <a:noFill/>
                </a:ln>
                <a:effectLst/>
                <a:uLnTx/>
                <a:uFillTx/>
                <a:latin typeface="EYInterstate Light"/>
              </a:rPr>
            </a:br>
            <a:r>
              <a:rPr kumimoji="0" lang="en-IN" sz="700" b="0" i="0" u="none" strike="noStrike" kern="0" cap="none" spc="0" normalizeH="0" baseline="0" noProof="0">
                <a:ln>
                  <a:noFill/>
                </a:ln>
                <a:solidFill>
                  <a:srgbClr val="2E2E38"/>
                </a:solidFill>
                <a:effectLst/>
                <a:uLnTx/>
                <a:uFillTx/>
                <a:latin typeface="EYInterstate Light"/>
                <a:ea typeface="+mn-ea"/>
                <a:cs typeface="+mn-cs"/>
              </a:rPr>
              <a:t>Cut over is commenced and a further Go/No Go assessment is made 2 weeks out from Go Live. End users are trained by Super Users (trained by EY during Test phase). Hypercare support to run for </a:t>
            </a:r>
            <a:r>
              <a:rPr lang="en-IN" sz="700" kern="0">
                <a:solidFill>
                  <a:srgbClr val="2E2E38"/>
                </a:solidFill>
                <a:latin typeface="EYInterstate Light"/>
              </a:rPr>
              <a:t>2</a:t>
            </a:r>
            <a:r>
              <a:rPr kumimoji="0" lang="en-IN" sz="700" b="0" i="0" u="none" strike="noStrike" kern="0" cap="none" spc="0" normalizeH="0" baseline="0" noProof="0">
                <a:ln>
                  <a:noFill/>
                </a:ln>
                <a:solidFill>
                  <a:srgbClr val="2E2E38"/>
                </a:solidFill>
                <a:effectLst/>
                <a:uLnTx/>
                <a:uFillTx/>
                <a:latin typeface="EYInterstate Light"/>
                <a:ea typeface="+mn-ea"/>
                <a:cs typeface="+mn-cs"/>
              </a:rPr>
              <a:t> weeks post Go Live.</a:t>
            </a:r>
            <a:endParaRPr kumimoji="0" lang="en-US" sz="700" b="0" i="0" u="none" strike="noStrike" kern="0" cap="none" spc="0" normalizeH="0" baseline="0" noProof="0">
              <a:ln>
                <a:noFill/>
              </a:ln>
              <a:solidFill>
                <a:srgbClr val="2E2E38"/>
              </a:solidFill>
              <a:effectLst/>
              <a:uLnTx/>
              <a:uFillTx/>
              <a:latin typeface="EYInterstate Light"/>
              <a:ea typeface="+mn-ea"/>
              <a:cs typeface="+mn-cs"/>
            </a:endParaRPr>
          </a:p>
        </p:txBody>
      </p:sp>
      <p:pic>
        <p:nvPicPr>
          <p:cNvPr id="109" name="Graphic 108" descr="Arrow circle outline">
            <a:extLst>
              <a:ext uri="{FF2B5EF4-FFF2-40B4-BE49-F238E27FC236}">
                <a16:creationId xmlns:a16="http://schemas.microsoft.com/office/drawing/2014/main" id="{0CA1B9DF-7146-46AA-A3DA-5064EB2969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91381" y="3781001"/>
            <a:ext cx="180000" cy="180000"/>
          </a:xfrm>
          <a:prstGeom prst="rect">
            <a:avLst/>
          </a:prstGeom>
        </p:spPr>
      </p:pic>
      <p:cxnSp>
        <p:nvCxnSpPr>
          <p:cNvPr id="2" name="Straight Connector 1">
            <a:extLst>
              <a:ext uri="{FF2B5EF4-FFF2-40B4-BE49-F238E27FC236}">
                <a16:creationId xmlns:a16="http://schemas.microsoft.com/office/drawing/2014/main" id="{217BD3EE-CDA0-6072-46C7-4D811DB272D8}"/>
              </a:ext>
            </a:extLst>
          </p:cNvPr>
          <p:cNvCxnSpPr>
            <a:cxnSpLocks/>
          </p:cNvCxnSpPr>
          <p:nvPr/>
        </p:nvCxnSpPr>
        <p:spPr>
          <a:xfrm>
            <a:off x="10221028" y="1362228"/>
            <a:ext cx="0" cy="4716000"/>
          </a:xfrm>
          <a:prstGeom prst="line">
            <a:avLst/>
          </a:prstGeom>
          <a:noFill/>
          <a:ln w="6350" cap="flat" cmpd="sng" algn="ctr">
            <a:solidFill>
              <a:srgbClr val="C4C4CD">
                <a:alpha val="56000"/>
              </a:srgbClr>
            </a:solidFill>
            <a:prstDash val="solid"/>
            <a:tailEnd type="none"/>
          </a:ln>
          <a:effectLst/>
        </p:spPr>
      </p:cxnSp>
      <p:sp>
        <p:nvSpPr>
          <p:cNvPr id="3" name="Rectangle 2">
            <a:extLst>
              <a:ext uri="{FF2B5EF4-FFF2-40B4-BE49-F238E27FC236}">
                <a16:creationId xmlns:a16="http://schemas.microsoft.com/office/drawing/2014/main" id="{EA7D8998-97E7-70E5-7E30-6E8686E34BAA}"/>
              </a:ext>
            </a:extLst>
          </p:cNvPr>
          <p:cNvSpPr/>
          <p:nvPr/>
        </p:nvSpPr>
        <p:spPr>
          <a:xfrm>
            <a:off x="10646756" y="1399583"/>
            <a:ext cx="200216" cy="252565"/>
          </a:xfrm>
          <a:prstGeom prst="rect">
            <a:avLst/>
          </a:prstGeom>
          <a:noFill/>
          <a:ln w="9525" cap="flat" cmpd="sng" algn="ctr">
            <a:noFill/>
            <a:prstDash val="solid"/>
          </a:ln>
          <a:effectLst/>
        </p:spPr>
        <p:txBody>
          <a:bodyPr lIns="0" tIns="0" rIns="0" bIns="0" rtlCol="0" anchor="ctr" anchorCtr="0"/>
          <a:lstStyle/>
          <a:p>
            <a:pPr marL="0" marR="0" lvl="0" indent="0" algn="ctr" defTabSz="87098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2E2E38"/>
                </a:solidFill>
                <a:effectLst/>
                <a:uLnTx/>
                <a:uFillTx/>
                <a:latin typeface="EYInterstate Light"/>
                <a:ea typeface="+mn-ea"/>
                <a:cs typeface="+mn-cs"/>
              </a:rPr>
              <a:t>M8</a:t>
            </a:r>
          </a:p>
        </p:txBody>
      </p:sp>
      <p:sp>
        <p:nvSpPr>
          <p:cNvPr id="4" name="TextBox 3">
            <a:extLst>
              <a:ext uri="{FF2B5EF4-FFF2-40B4-BE49-F238E27FC236}">
                <a16:creationId xmlns:a16="http://schemas.microsoft.com/office/drawing/2014/main" id="{43C322FB-7FF0-1ED1-516D-D9BB8E39563A}"/>
              </a:ext>
            </a:extLst>
          </p:cNvPr>
          <p:cNvSpPr txBox="1"/>
          <p:nvPr/>
        </p:nvSpPr>
        <p:spPr>
          <a:xfrm>
            <a:off x="3111894" y="1824760"/>
            <a:ext cx="914821"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Onboarding &amp; access</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5" name="TextBox 4">
            <a:extLst>
              <a:ext uri="{FF2B5EF4-FFF2-40B4-BE49-F238E27FC236}">
                <a16:creationId xmlns:a16="http://schemas.microsoft.com/office/drawing/2014/main" id="{EA600897-9610-3AA6-513F-7531B84DB427}"/>
              </a:ext>
            </a:extLst>
          </p:cNvPr>
          <p:cNvSpPr txBox="1"/>
          <p:nvPr/>
        </p:nvSpPr>
        <p:spPr>
          <a:xfrm>
            <a:off x="3077673" y="2186328"/>
            <a:ext cx="1311157"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Ongoing Project Management</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6" name="TextBox 5">
            <a:extLst>
              <a:ext uri="{FF2B5EF4-FFF2-40B4-BE49-F238E27FC236}">
                <a16:creationId xmlns:a16="http://schemas.microsoft.com/office/drawing/2014/main" id="{64BF4290-C472-054B-2417-1F5663593DC0}"/>
              </a:ext>
            </a:extLst>
          </p:cNvPr>
          <p:cNvSpPr txBox="1"/>
          <p:nvPr/>
        </p:nvSpPr>
        <p:spPr>
          <a:xfrm>
            <a:off x="3826890" y="2075686"/>
            <a:ext cx="1014824"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Requirements gathering</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7" name="TextBox 6">
            <a:extLst>
              <a:ext uri="{FF2B5EF4-FFF2-40B4-BE49-F238E27FC236}">
                <a16:creationId xmlns:a16="http://schemas.microsoft.com/office/drawing/2014/main" id="{C4A45B85-093A-7C64-E401-12953359A53D}"/>
              </a:ext>
            </a:extLst>
          </p:cNvPr>
          <p:cNvSpPr txBox="1"/>
          <p:nvPr/>
        </p:nvSpPr>
        <p:spPr>
          <a:xfrm>
            <a:off x="3828988" y="2671113"/>
            <a:ext cx="1080000"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High-level design creatio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9" name="TextBox 8">
            <a:extLst>
              <a:ext uri="{FF2B5EF4-FFF2-40B4-BE49-F238E27FC236}">
                <a16:creationId xmlns:a16="http://schemas.microsoft.com/office/drawing/2014/main" id="{4A4ED8D4-E749-1272-CD38-F50EFD6BD847}"/>
              </a:ext>
            </a:extLst>
          </p:cNvPr>
          <p:cNvSpPr txBox="1"/>
          <p:nvPr/>
        </p:nvSpPr>
        <p:spPr>
          <a:xfrm>
            <a:off x="4108325" y="2808034"/>
            <a:ext cx="1065496"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Low-level design creatio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0" name="TextBox 9">
            <a:extLst>
              <a:ext uri="{FF2B5EF4-FFF2-40B4-BE49-F238E27FC236}">
                <a16:creationId xmlns:a16="http://schemas.microsoft.com/office/drawing/2014/main" id="{037EFACB-2860-AD37-A974-AF1F60EC74FD}"/>
              </a:ext>
            </a:extLst>
          </p:cNvPr>
          <p:cNvSpPr txBox="1"/>
          <p:nvPr/>
        </p:nvSpPr>
        <p:spPr>
          <a:xfrm>
            <a:off x="4095884" y="2941811"/>
            <a:ext cx="1300311"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Infrastructure deployment pla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pic>
        <p:nvPicPr>
          <p:cNvPr id="11" name="Graphic 10" descr="Arrow circle outline">
            <a:extLst>
              <a:ext uri="{FF2B5EF4-FFF2-40B4-BE49-F238E27FC236}">
                <a16:creationId xmlns:a16="http://schemas.microsoft.com/office/drawing/2014/main" id="{627F591A-991F-11FE-A9B6-3E417A9E507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53505" y="3781001"/>
            <a:ext cx="180000" cy="180000"/>
          </a:xfrm>
          <a:prstGeom prst="rect">
            <a:avLst/>
          </a:prstGeom>
        </p:spPr>
      </p:pic>
      <p:pic>
        <p:nvPicPr>
          <p:cNvPr id="12" name="Graphic 11" descr="Arrow circle outline">
            <a:extLst>
              <a:ext uri="{FF2B5EF4-FFF2-40B4-BE49-F238E27FC236}">
                <a16:creationId xmlns:a16="http://schemas.microsoft.com/office/drawing/2014/main" id="{4D78EA84-B4A4-2D81-5BC9-15AB32B94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4567" y="3781001"/>
            <a:ext cx="180000" cy="180000"/>
          </a:xfrm>
          <a:prstGeom prst="rect">
            <a:avLst/>
          </a:prstGeom>
        </p:spPr>
      </p:pic>
      <p:pic>
        <p:nvPicPr>
          <p:cNvPr id="13" name="Graphic 12" descr="Arrow circle outline">
            <a:extLst>
              <a:ext uri="{FF2B5EF4-FFF2-40B4-BE49-F238E27FC236}">
                <a16:creationId xmlns:a16="http://schemas.microsoft.com/office/drawing/2014/main" id="{797455B1-C468-36FB-5BA9-0FF4D3D848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46691" y="3781001"/>
            <a:ext cx="180000" cy="180000"/>
          </a:xfrm>
          <a:prstGeom prst="rect">
            <a:avLst/>
          </a:prstGeom>
        </p:spPr>
      </p:pic>
      <p:pic>
        <p:nvPicPr>
          <p:cNvPr id="14" name="Graphic 13" descr="Arrow circle outline">
            <a:extLst>
              <a:ext uri="{FF2B5EF4-FFF2-40B4-BE49-F238E27FC236}">
                <a16:creationId xmlns:a16="http://schemas.microsoft.com/office/drawing/2014/main" id="{B8E04391-B613-AC7C-0BC5-87D8F2A815E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15629" y="3781001"/>
            <a:ext cx="180000" cy="180000"/>
          </a:xfrm>
          <a:prstGeom prst="rect">
            <a:avLst/>
          </a:prstGeom>
        </p:spPr>
      </p:pic>
      <p:pic>
        <p:nvPicPr>
          <p:cNvPr id="16" name="Graphic 15" descr="Arrow circle outline">
            <a:extLst>
              <a:ext uri="{FF2B5EF4-FFF2-40B4-BE49-F238E27FC236}">
                <a16:creationId xmlns:a16="http://schemas.microsoft.com/office/drawing/2014/main" id="{DB3E0CED-8F32-EF45-FA91-51F5E72203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67133" y="3781001"/>
            <a:ext cx="180000" cy="180000"/>
          </a:xfrm>
          <a:prstGeom prst="rect">
            <a:avLst/>
          </a:prstGeom>
        </p:spPr>
      </p:pic>
      <p:pic>
        <p:nvPicPr>
          <p:cNvPr id="17" name="Graphic 16" descr="Arrow circle outline">
            <a:extLst>
              <a:ext uri="{FF2B5EF4-FFF2-40B4-BE49-F238E27FC236}">
                <a16:creationId xmlns:a16="http://schemas.microsoft.com/office/drawing/2014/main" id="{B8D1FDC0-2660-3AB5-348D-35E209CCF6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98195" y="3781001"/>
            <a:ext cx="180000" cy="180000"/>
          </a:xfrm>
          <a:prstGeom prst="rect">
            <a:avLst/>
          </a:prstGeom>
        </p:spPr>
      </p:pic>
      <p:sp>
        <p:nvSpPr>
          <p:cNvPr id="18" name="Rounded Rectangle 156">
            <a:extLst>
              <a:ext uri="{FF2B5EF4-FFF2-40B4-BE49-F238E27FC236}">
                <a16:creationId xmlns:a16="http://schemas.microsoft.com/office/drawing/2014/main" id="{8122A967-FA5C-0C9D-6011-F6231AFFFE40}"/>
              </a:ext>
            </a:extLst>
          </p:cNvPr>
          <p:cNvSpPr/>
          <p:nvPr/>
        </p:nvSpPr>
        <p:spPr bwMode="gray">
          <a:xfrm>
            <a:off x="4975767" y="3510153"/>
            <a:ext cx="4176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19" name="Rounded Rectangle 156">
            <a:extLst>
              <a:ext uri="{FF2B5EF4-FFF2-40B4-BE49-F238E27FC236}">
                <a16:creationId xmlns:a16="http://schemas.microsoft.com/office/drawing/2014/main" id="{A1D77A46-457D-7F2D-E491-31FD9C77E058}"/>
              </a:ext>
            </a:extLst>
          </p:cNvPr>
          <p:cNvSpPr/>
          <p:nvPr/>
        </p:nvSpPr>
        <p:spPr bwMode="gray">
          <a:xfrm>
            <a:off x="7075720" y="3618103"/>
            <a:ext cx="3096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pic>
        <p:nvPicPr>
          <p:cNvPr id="22" name="Graphic 21" descr="Arrow circle outline">
            <a:extLst>
              <a:ext uri="{FF2B5EF4-FFF2-40B4-BE49-F238E27FC236}">
                <a16:creationId xmlns:a16="http://schemas.microsoft.com/office/drawing/2014/main" id="{256135E4-B008-9119-290B-AD0735EAD9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08814" y="3781001"/>
            <a:ext cx="180000" cy="180000"/>
          </a:xfrm>
          <a:prstGeom prst="rect">
            <a:avLst/>
          </a:prstGeom>
        </p:spPr>
      </p:pic>
      <p:pic>
        <p:nvPicPr>
          <p:cNvPr id="23" name="Graphic 22" descr="Arrow circle outline">
            <a:extLst>
              <a:ext uri="{FF2B5EF4-FFF2-40B4-BE49-F238E27FC236}">
                <a16:creationId xmlns:a16="http://schemas.microsoft.com/office/drawing/2014/main" id="{412C4CEC-61ED-C608-151D-7AAC46A7CB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77753" y="3781001"/>
            <a:ext cx="180000" cy="180000"/>
          </a:xfrm>
          <a:prstGeom prst="rect">
            <a:avLst/>
          </a:prstGeom>
        </p:spPr>
      </p:pic>
      <p:sp>
        <p:nvSpPr>
          <p:cNvPr id="24" name="TextBox 23">
            <a:extLst>
              <a:ext uri="{FF2B5EF4-FFF2-40B4-BE49-F238E27FC236}">
                <a16:creationId xmlns:a16="http://schemas.microsoft.com/office/drawing/2014/main" id="{0CB2B9CB-4E90-2688-8079-0A1B87BB8ED3}"/>
              </a:ext>
            </a:extLst>
          </p:cNvPr>
          <p:cNvSpPr txBox="1"/>
          <p:nvPr/>
        </p:nvSpPr>
        <p:spPr>
          <a:xfrm>
            <a:off x="9162332" y="3275233"/>
            <a:ext cx="1300311"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Infrastructure implementatio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5" name="TextBox 24">
            <a:extLst>
              <a:ext uri="{FF2B5EF4-FFF2-40B4-BE49-F238E27FC236}">
                <a16:creationId xmlns:a16="http://schemas.microsoft.com/office/drawing/2014/main" id="{AD205B8B-2BBF-32EE-9DC9-2525516E364E}"/>
              </a:ext>
            </a:extLst>
          </p:cNvPr>
          <p:cNvSpPr txBox="1"/>
          <p:nvPr/>
        </p:nvSpPr>
        <p:spPr>
          <a:xfrm>
            <a:off x="9151110" y="3478433"/>
            <a:ext cx="1008000"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Systems Configuratio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6" name="TextBox 25">
            <a:extLst>
              <a:ext uri="{FF2B5EF4-FFF2-40B4-BE49-F238E27FC236}">
                <a16:creationId xmlns:a16="http://schemas.microsoft.com/office/drawing/2014/main" id="{7345DDE4-F2D8-2106-51F1-AF8F64F43F2A}"/>
              </a:ext>
            </a:extLst>
          </p:cNvPr>
          <p:cNvSpPr txBox="1"/>
          <p:nvPr/>
        </p:nvSpPr>
        <p:spPr>
          <a:xfrm>
            <a:off x="10165168" y="3608207"/>
            <a:ext cx="1130195"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Data Migration &amp; Validation</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7" name="Rounded Rectangle 156">
            <a:extLst>
              <a:ext uri="{FF2B5EF4-FFF2-40B4-BE49-F238E27FC236}">
                <a16:creationId xmlns:a16="http://schemas.microsoft.com/office/drawing/2014/main" id="{4BD255F5-AE1E-C1EB-AC0D-6FEC2D99C2A9}"/>
              </a:ext>
            </a:extLst>
          </p:cNvPr>
          <p:cNvSpPr/>
          <p:nvPr/>
        </p:nvSpPr>
        <p:spPr bwMode="gray">
          <a:xfrm>
            <a:off x="9224986" y="4812087"/>
            <a:ext cx="1548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28" name="TextBox 27">
            <a:extLst>
              <a:ext uri="{FF2B5EF4-FFF2-40B4-BE49-F238E27FC236}">
                <a16:creationId xmlns:a16="http://schemas.microsoft.com/office/drawing/2014/main" id="{85CE4D4C-A0A3-7230-34A3-3D2854C14C40}"/>
              </a:ext>
            </a:extLst>
          </p:cNvPr>
          <p:cNvSpPr txBox="1"/>
          <p:nvPr/>
        </p:nvSpPr>
        <p:spPr>
          <a:xfrm>
            <a:off x="10220648" y="4417412"/>
            <a:ext cx="1024715"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chemeClr val="bg1"/>
                </a:solidFill>
                <a:effectLst/>
                <a:uLnTx/>
                <a:uFillTx/>
                <a:latin typeface="EYInterstate Light"/>
                <a:ea typeface="+mn-ea"/>
                <a:cs typeface="+mn-cs"/>
              </a:rPr>
              <a:t>UAT Planning</a:t>
            </a:r>
          </a:p>
        </p:txBody>
      </p:sp>
      <p:sp>
        <p:nvSpPr>
          <p:cNvPr id="29" name="TextBox 28">
            <a:extLst>
              <a:ext uri="{FF2B5EF4-FFF2-40B4-BE49-F238E27FC236}">
                <a16:creationId xmlns:a16="http://schemas.microsoft.com/office/drawing/2014/main" id="{FE31ABAC-4F4B-5B11-E26A-4C67215AE5B5}"/>
              </a:ext>
            </a:extLst>
          </p:cNvPr>
          <p:cNvSpPr txBox="1"/>
          <p:nvPr/>
        </p:nvSpPr>
        <p:spPr>
          <a:xfrm>
            <a:off x="10210886" y="4901741"/>
            <a:ext cx="1142671" cy="220060"/>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chemeClr val="bg1"/>
                </a:solidFill>
                <a:effectLst/>
                <a:uLnTx/>
                <a:uFillTx/>
                <a:latin typeface="EYInterstate Light"/>
                <a:ea typeface="+mn-ea"/>
                <a:cs typeface="+mn-cs"/>
              </a:rPr>
              <a:t>Solution Documentation Completion</a:t>
            </a:r>
          </a:p>
        </p:txBody>
      </p:sp>
      <p:sp>
        <p:nvSpPr>
          <p:cNvPr id="30" name="TextBox 29">
            <a:extLst>
              <a:ext uri="{FF2B5EF4-FFF2-40B4-BE49-F238E27FC236}">
                <a16:creationId xmlns:a16="http://schemas.microsoft.com/office/drawing/2014/main" id="{53FA0C03-33F6-304D-8822-FBBC01546B40}"/>
              </a:ext>
            </a:extLst>
          </p:cNvPr>
          <p:cNvSpPr txBox="1"/>
          <p:nvPr/>
        </p:nvSpPr>
        <p:spPr>
          <a:xfrm>
            <a:off x="9627553" y="5388460"/>
            <a:ext cx="1078793"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rgbClr val="2E2E38"/>
                </a:solidFill>
                <a:effectLst/>
                <a:uLnTx/>
                <a:uFillTx/>
                <a:latin typeface="EYInterstate Light"/>
                <a:ea typeface="+mn-ea"/>
                <a:cs typeface="+mn-cs"/>
              </a:rPr>
              <a:t>Documentation shared</a:t>
            </a:r>
          </a:p>
        </p:txBody>
      </p:sp>
      <p:sp>
        <p:nvSpPr>
          <p:cNvPr id="32" name="Rounded Rectangle 156">
            <a:extLst>
              <a:ext uri="{FF2B5EF4-FFF2-40B4-BE49-F238E27FC236}">
                <a16:creationId xmlns:a16="http://schemas.microsoft.com/office/drawing/2014/main" id="{65E7D23E-8F7E-6330-3CC8-AF5AE6D42BEF}"/>
              </a:ext>
            </a:extLst>
          </p:cNvPr>
          <p:cNvSpPr/>
          <p:nvPr/>
        </p:nvSpPr>
        <p:spPr bwMode="gray">
          <a:xfrm>
            <a:off x="3087796" y="1964161"/>
            <a:ext cx="720000" cy="90000"/>
          </a:xfrm>
          <a:prstGeom prst="roundRect">
            <a:avLst>
              <a:gd name="adj" fmla="val 50000"/>
            </a:avLst>
          </a:prstGeom>
          <a:solidFill>
            <a:srgbClr val="C4C4CC"/>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33" name="TextBox 32">
            <a:extLst>
              <a:ext uri="{FF2B5EF4-FFF2-40B4-BE49-F238E27FC236}">
                <a16:creationId xmlns:a16="http://schemas.microsoft.com/office/drawing/2014/main" id="{A38B36BD-12C5-4FD2-CAB4-DACFF83B5B00}"/>
              </a:ext>
            </a:extLst>
          </p:cNvPr>
          <p:cNvSpPr txBox="1"/>
          <p:nvPr/>
        </p:nvSpPr>
        <p:spPr>
          <a:xfrm>
            <a:off x="3822093" y="1946835"/>
            <a:ext cx="1269851" cy="128497"/>
          </a:xfrm>
          <a:prstGeom prst="rect">
            <a:avLst/>
          </a:prstGeom>
          <a:solidFill>
            <a:schemeClr val="tx1">
              <a:alpha val="52000"/>
            </a:schemeClr>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Program management start-up</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4" name="Rounded Rectangle 156">
            <a:extLst>
              <a:ext uri="{FF2B5EF4-FFF2-40B4-BE49-F238E27FC236}">
                <a16:creationId xmlns:a16="http://schemas.microsoft.com/office/drawing/2014/main" id="{CD04F63A-5801-F20A-7CCA-D6C92A7D3369}"/>
              </a:ext>
            </a:extLst>
          </p:cNvPr>
          <p:cNvSpPr/>
          <p:nvPr/>
        </p:nvSpPr>
        <p:spPr bwMode="gray">
          <a:xfrm>
            <a:off x="3325592" y="2559991"/>
            <a:ext cx="504000" cy="90000"/>
          </a:xfrm>
          <a:prstGeom prst="roundRect">
            <a:avLst>
              <a:gd name="adj" fmla="val 50000"/>
            </a:avLst>
          </a:prstGeom>
          <a:solidFill>
            <a:srgbClr val="74748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solidFill>
              <a:effectLst/>
              <a:uLnTx/>
              <a:uFillTx/>
              <a:latin typeface="EYInterstate Light"/>
              <a:ea typeface="+mn-ea"/>
              <a:cs typeface="+mn-cs"/>
            </a:endParaRPr>
          </a:p>
        </p:txBody>
      </p:sp>
      <p:sp>
        <p:nvSpPr>
          <p:cNvPr id="35" name="TextBox 34">
            <a:extLst>
              <a:ext uri="{FF2B5EF4-FFF2-40B4-BE49-F238E27FC236}">
                <a16:creationId xmlns:a16="http://schemas.microsoft.com/office/drawing/2014/main" id="{35AF2539-77D5-8B6E-A112-2DE8AF89DABB}"/>
              </a:ext>
            </a:extLst>
          </p:cNvPr>
          <p:cNvSpPr txBox="1"/>
          <p:nvPr/>
        </p:nvSpPr>
        <p:spPr>
          <a:xfrm>
            <a:off x="3828988" y="2537763"/>
            <a:ext cx="1080000" cy="128497"/>
          </a:xfrm>
          <a:prstGeom prst="rect">
            <a:avLst/>
          </a:prstGeom>
          <a:solidFill>
            <a:schemeClr val="tx1">
              <a:alpha val="52000"/>
            </a:schemeClr>
          </a:solid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Requirements review</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6" name="Rounded Rectangle 156">
            <a:extLst>
              <a:ext uri="{FF2B5EF4-FFF2-40B4-BE49-F238E27FC236}">
                <a16:creationId xmlns:a16="http://schemas.microsoft.com/office/drawing/2014/main" id="{6005D52F-F745-4430-C32D-36EBC2FEE6F8}"/>
              </a:ext>
            </a:extLst>
          </p:cNvPr>
          <p:cNvSpPr/>
          <p:nvPr/>
        </p:nvSpPr>
        <p:spPr bwMode="gray">
          <a:xfrm>
            <a:off x="3859767" y="3402203"/>
            <a:ext cx="5292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37" name="TextBox 36">
            <a:extLst>
              <a:ext uri="{FF2B5EF4-FFF2-40B4-BE49-F238E27FC236}">
                <a16:creationId xmlns:a16="http://schemas.microsoft.com/office/drawing/2014/main" id="{F88A0AF3-2CA3-ADF4-C27A-7E8F90BF2EB8}"/>
              </a:ext>
            </a:extLst>
          </p:cNvPr>
          <p:cNvSpPr txBox="1"/>
          <p:nvPr/>
        </p:nvSpPr>
        <p:spPr>
          <a:xfrm>
            <a:off x="9151110" y="3376833"/>
            <a:ext cx="1231140"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Infrastructure testing &amp; QA</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8" name="Rounded Rectangle 156">
            <a:extLst>
              <a:ext uri="{FF2B5EF4-FFF2-40B4-BE49-F238E27FC236}">
                <a16:creationId xmlns:a16="http://schemas.microsoft.com/office/drawing/2014/main" id="{A7F9792D-5199-8065-B3F9-6863CB493B40}"/>
              </a:ext>
            </a:extLst>
          </p:cNvPr>
          <p:cNvSpPr/>
          <p:nvPr/>
        </p:nvSpPr>
        <p:spPr bwMode="gray">
          <a:xfrm>
            <a:off x="8122886" y="4573435"/>
            <a:ext cx="2088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39" name="TextBox 38">
            <a:extLst>
              <a:ext uri="{FF2B5EF4-FFF2-40B4-BE49-F238E27FC236}">
                <a16:creationId xmlns:a16="http://schemas.microsoft.com/office/drawing/2014/main" id="{40A6AF49-A422-82C8-2AE6-7619021B23B6}"/>
              </a:ext>
            </a:extLst>
          </p:cNvPr>
          <p:cNvSpPr txBox="1"/>
          <p:nvPr/>
        </p:nvSpPr>
        <p:spPr>
          <a:xfrm>
            <a:off x="10220648" y="4550077"/>
            <a:ext cx="1024715"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chemeClr val="bg1"/>
                </a:solidFill>
                <a:effectLst/>
                <a:uLnTx/>
                <a:uFillTx/>
                <a:latin typeface="EYInterstate Light"/>
                <a:ea typeface="+mn-ea"/>
                <a:cs typeface="+mn-cs"/>
              </a:rPr>
              <a:t>UAT</a:t>
            </a:r>
          </a:p>
        </p:txBody>
      </p:sp>
      <p:sp>
        <p:nvSpPr>
          <p:cNvPr id="40" name="Rounded Rectangle 156">
            <a:extLst>
              <a:ext uri="{FF2B5EF4-FFF2-40B4-BE49-F238E27FC236}">
                <a16:creationId xmlns:a16="http://schemas.microsoft.com/office/drawing/2014/main" id="{9D62B9F2-3A9D-A354-8384-94B890C647AC}"/>
              </a:ext>
            </a:extLst>
          </p:cNvPr>
          <p:cNvSpPr/>
          <p:nvPr/>
        </p:nvSpPr>
        <p:spPr bwMode="gray">
          <a:xfrm>
            <a:off x="8122886" y="4693057"/>
            <a:ext cx="2088000" cy="90000"/>
          </a:xfrm>
          <a:prstGeom prst="roundRect">
            <a:avLst>
              <a:gd name="adj" fmla="val 50000"/>
            </a:avLst>
          </a:prstGeom>
          <a:solidFill>
            <a:schemeClr val="bg1">
              <a:lumMod val="75000"/>
            </a:schemeClr>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41" name="TextBox 40">
            <a:extLst>
              <a:ext uri="{FF2B5EF4-FFF2-40B4-BE49-F238E27FC236}">
                <a16:creationId xmlns:a16="http://schemas.microsoft.com/office/drawing/2014/main" id="{704E9A83-B964-D3A8-895B-E42760266194}"/>
              </a:ext>
            </a:extLst>
          </p:cNvPr>
          <p:cNvSpPr txBox="1"/>
          <p:nvPr/>
        </p:nvSpPr>
        <p:spPr>
          <a:xfrm>
            <a:off x="10227247" y="4658802"/>
            <a:ext cx="1024715" cy="128497"/>
          </a:xfrm>
          <a:prstGeom prst="rect">
            <a:avLst/>
          </a:prstGeom>
          <a:noFill/>
        </p:spPr>
        <p:txBody>
          <a:bodyPr wrap="square" lIns="0" tIns="36576" rIns="0" bIns="0" rtlCol="0" anchor="ctr">
            <a:spAutoFit/>
          </a:bodyPr>
          <a:lstStyle/>
          <a:p>
            <a:pPr marL="0" marR="0" lvl="0" indent="0"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chemeClr val="bg1"/>
                </a:solidFill>
                <a:effectLst/>
                <a:uLnTx/>
                <a:uFillTx/>
                <a:latin typeface="EYInterstate Light"/>
                <a:ea typeface="+mn-ea"/>
                <a:cs typeface="+mn-cs"/>
              </a:rPr>
              <a:t>Bug </a:t>
            </a:r>
            <a:r>
              <a:rPr lang="en-IE" sz="700">
                <a:solidFill>
                  <a:schemeClr val="bg1"/>
                </a:solidFill>
                <a:latin typeface="EYInterstate Light"/>
              </a:rPr>
              <a:t>fixing</a:t>
            </a:r>
            <a:endParaRPr kumimoji="0" lang="en-IE" sz="700" b="0" i="0" u="none" strike="noStrike" kern="1200" cap="none" spc="0" normalizeH="0" baseline="0" noProof="0">
              <a:ln>
                <a:noFill/>
              </a:ln>
              <a:solidFill>
                <a:schemeClr val="bg1"/>
              </a:solidFill>
              <a:effectLst/>
              <a:uLnTx/>
              <a:uFillTx/>
              <a:latin typeface="EYInterstate Light"/>
              <a:ea typeface="+mn-ea"/>
              <a:cs typeface="+mn-cs"/>
            </a:endParaRPr>
          </a:p>
        </p:txBody>
      </p:sp>
      <p:sp>
        <p:nvSpPr>
          <p:cNvPr id="42" name="Rounded Rectangle 156">
            <a:extLst>
              <a:ext uri="{FF2B5EF4-FFF2-40B4-BE49-F238E27FC236}">
                <a16:creationId xmlns:a16="http://schemas.microsoft.com/office/drawing/2014/main" id="{C0CECF00-EB98-7F87-CCE3-9D753059DD61}"/>
              </a:ext>
            </a:extLst>
          </p:cNvPr>
          <p:cNvSpPr/>
          <p:nvPr/>
        </p:nvSpPr>
        <p:spPr bwMode="gray">
          <a:xfrm>
            <a:off x="9605670" y="5551946"/>
            <a:ext cx="1620000" cy="90000"/>
          </a:xfrm>
          <a:prstGeom prst="roundRect">
            <a:avLst>
              <a:gd name="adj" fmla="val 50000"/>
            </a:avLst>
          </a:prstGeom>
          <a:solidFill>
            <a:srgbClr val="FEE60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2E2E38"/>
              </a:solidFill>
              <a:effectLst/>
              <a:uLnTx/>
              <a:uFillTx/>
              <a:latin typeface="EYInterstate Light"/>
              <a:ea typeface="+mn-ea"/>
              <a:cs typeface="+mn-cs"/>
            </a:endParaRPr>
          </a:p>
        </p:txBody>
      </p:sp>
      <p:sp>
        <p:nvSpPr>
          <p:cNvPr id="43" name="TextBox 42">
            <a:extLst>
              <a:ext uri="{FF2B5EF4-FFF2-40B4-BE49-F238E27FC236}">
                <a16:creationId xmlns:a16="http://schemas.microsoft.com/office/drawing/2014/main" id="{A55A517B-EB38-072F-98A7-FE73984B2BA9}"/>
              </a:ext>
            </a:extLst>
          </p:cNvPr>
          <p:cNvSpPr txBox="1"/>
          <p:nvPr/>
        </p:nvSpPr>
        <p:spPr>
          <a:xfrm>
            <a:off x="9627553" y="5526542"/>
            <a:ext cx="1453196"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E" sz="700" b="0" i="0" u="none" strike="noStrike" kern="1200" cap="none" spc="0" normalizeH="0" baseline="0" noProof="0">
                <a:ln>
                  <a:noFill/>
                </a:ln>
                <a:solidFill>
                  <a:srgbClr val="2E2E38"/>
                </a:solidFill>
                <a:effectLst/>
                <a:uLnTx/>
                <a:uFillTx/>
                <a:latin typeface="EYInterstate Light"/>
                <a:ea typeface="+mn-ea"/>
                <a:cs typeface="+mn-cs"/>
              </a:rPr>
              <a:t>Define support levels/SLAs</a:t>
            </a:r>
          </a:p>
        </p:txBody>
      </p:sp>
      <p:sp>
        <p:nvSpPr>
          <p:cNvPr id="44" name="Rounded Rectangle 156">
            <a:extLst>
              <a:ext uri="{FF2B5EF4-FFF2-40B4-BE49-F238E27FC236}">
                <a16:creationId xmlns:a16="http://schemas.microsoft.com/office/drawing/2014/main" id="{1BBD224B-D0E4-F02A-788F-AD61F70978E6}"/>
              </a:ext>
            </a:extLst>
          </p:cNvPr>
          <p:cNvSpPr/>
          <p:nvPr/>
        </p:nvSpPr>
        <p:spPr bwMode="gray">
          <a:xfrm>
            <a:off x="9595084" y="5723907"/>
            <a:ext cx="1620000" cy="90000"/>
          </a:xfrm>
          <a:prstGeom prst="roundRect">
            <a:avLst>
              <a:gd name="adj" fmla="val 50000"/>
            </a:avLst>
          </a:prstGeom>
          <a:solidFill>
            <a:srgbClr val="FEE60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2E2E38"/>
              </a:solidFill>
              <a:effectLst/>
              <a:uLnTx/>
              <a:uFillTx/>
              <a:latin typeface="EYInterstate Light"/>
              <a:ea typeface="+mn-ea"/>
              <a:cs typeface="+mn-cs"/>
            </a:endParaRPr>
          </a:p>
        </p:txBody>
      </p:sp>
      <p:sp>
        <p:nvSpPr>
          <p:cNvPr id="45" name="TextBox 44">
            <a:extLst>
              <a:ext uri="{FF2B5EF4-FFF2-40B4-BE49-F238E27FC236}">
                <a16:creationId xmlns:a16="http://schemas.microsoft.com/office/drawing/2014/main" id="{C1224C22-CB50-5071-56CE-C7A769DBE5ED}"/>
              </a:ext>
            </a:extLst>
          </p:cNvPr>
          <p:cNvSpPr txBox="1"/>
          <p:nvPr/>
        </p:nvSpPr>
        <p:spPr>
          <a:xfrm>
            <a:off x="9616967" y="5698503"/>
            <a:ext cx="1453196"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Support team training</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6" name="Rounded Rectangle 156">
            <a:extLst>
              <a:ext uri="{FF2B5EF4-FFF2-40B4-BE49-F238E27FC236}">
                <a16:creationId xmlns:a16="http://schemas.microsoft.com/office/drawing/2014/main" id="{60CDED0E-154B-CEA8-A8D1-926559581947}"/>
              </a:ext>
            </a:extLst>
          </p:cNvPr>
          <p:cNvSpPr/>
          <p:nvPr/>
        </p:nvSpPr>
        <p:spPr bwMode="gray">
          <a:xfrm>
            <a:off x="9588943" y="5890179"/>
            <a:ext cx="1620000" cy="90000"/>
          </a:xfrm>
          <a:prstGeom prst="roundRect">
            <a:avLst>
              <a:gd name="adj" fmla="val 50000"/>
            </a:avLst>
          </a:prstGeom>
          <a:solidFill>
            <a:srgbClr val="FEE600"/>
          </a:solidFill>
          <a:ln w="9525" cap="flat" cmpd="sng" algn="ctr">
            <a:noFill/>
            <a:prstDash val="solid"/>
          </a:ln>
          <a:effectLst/>
        </p:spPr>
        <p:txBody>
          <a:bodyPr rtlCol="0" anchor="t" anchorCtr="0"/>
          <a:lstStyle/>
          <a:p>
            <a:pPr marL="0" marR="0" lvl="0" indent="0" algn="ctr" defTabSz="870110" rtl="0" eaLnBrk="1" fontAlgn="auto" latinLnBrk="0" hangingPunct="1">
              <a:lnSpc>
                <a:spcPct val="100000"/>
              </a:lnSpc>
              <a:spcBef>
                <a:spcPts val="0"/>
              </a:spcBef>
              <a:spcAft>
                <a:spcPts val="0"/>
              </a:spcAft>
              <a:buClrTx/>
              <a:buSzTx/>
              <a:buFontTx/>
              <a:buNone/>
              <a:tabLst/>
              <a:defRPr/>
            </a:pPr>
            <a:endParaRPr kumimoji="0" lang="en-US" sz="1056" b="0" i="0" u="none" strike="noStrike" kern="0" cap="none" spc="0" normalizeH="0" baseline="0" noProof="0">
              <a:ln>
                <a:noFill/>
              </a:ln>
              <a:solidFill>
                <a:srgbClr val="2E2E38"/>
              </a:solidFill>
              <a:effectLst/>
              <a:uLnTx/>
              <a:uFillTx/>
              <a:latin typeface="EYInterstate Light"/>
              <a:ea typeface="+mn-ea"/>
              <a:cs typeface="+mn-cs"/>
            </a:endParaRPr>
          </a:p>
        </p:txBody>
      </p:sp>
      <p:sp>
        <p:nvSpPr>
          <p:cNvPr id="47" name="TextBox 46">
            <a:extLst>
              <a:ext uri="{FF2B5EF4-FFF2-40B4-BE49-F238E27FC236}">
                <a16:creationId xmlns:a16="http://schemas.microsoft.com/office/drawing/2014/main" id="{CC083A01-1B7B-34EA-0952-11B67D4723EA}"/>
              </a:ext>
            </a:extLst>
          </p:cNvPr>
          <p:cNvSpPr txBox="1"/>
          <p:nvPr/>
        </p:nvSpPr>
        <p:spPr>
          <a:xfrm>
            <a:off x="9610826" y="5864775"/>
            <a:ext cx="1453196" cy="128497"/>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lang="en-IE" sz="700">
                <a:solidFill>
                  <a:srgbClr val="2E2E38"/>
                </a:solidFill>
                <a:latin typeface="EYInterstate Light"/>
              </a:rPr>
              <a:t>End user training</a:t>
            </a:r>
            <a:endParaRPr kumimoji="0" lang="en-IE" sz="700" b="0" i="0" u="none" strike="noStrike" kern="1200" cap="none" spc="0" normalizeH="0" baseline="0" noProof="0">
              <a:ln>
                <a:noFill/>
              </a:ln>
              <a:solidFill>
                <a:srgbClr val="2E2E38"/>
              </a:solidFill>
              <a:effectLst/>
              <a:uLnTx/>
              <a:uFillTx/>
              <a:latin typeface="EYInterstate Light"/>
              <a:ea typeface="+mn-ea"/>
              <a:cs typeface="+mn-cs"/>
            </a:endParaRPr>
          </a:p>
        </p:txBody>
      </p:sp>
    </p:spTree>
    <p:extLst>
      <p:ext uri="{BB962C8B-B14F-4D97-AF65-F5344CB8AC3E}">
        <p14:creationId xmlns:p14="http://schemas.microsoft.com/office/powerpoint/2010/main" val="1992674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0C1AB61-7B9D-4732-AF01-AD51822FF1E2}"/>
              </a:ext>
            </a:extLst>
          </p:cNvPr>
          <p:cNvSpPr>
            <a:spLocks noGrp="1"/>
          </p:cNvSpPr>
          <p:nvPr>
            <p:ph type="body" sz="quarter" idx="10"/>
          </p:nvPr>
        </p:nvSpPr>
        <p:spPr/>
        <p:txBody>
          <a:bodyPr/>
          <a:lstStyle/>
          <a:p>
            <a:r>
              <a:rPr lang="en-US">
                <a:latin typeface="Calibri" panose="020F0502020204030204" pitchFamily="34" charset="0"/>
                <a:cs typeface="Calibri" panose="020F0502020204030204" pitchFamily="34" charset="0"/>
              </a:rPr>
              <a:t>Prepare</a:t>
            </a:r>
          </a:p>
        </p:txBody>
      </p:sp>
      <p:sp>
        <p:nvSpPr>
          <p:cNvPr id="14" name="Rectangle 13">
            <a:extLst>
              <a:ext uri="{FF2B5EF4-FFF2-40B4-BE49-F238E27FC236}">
                <a16:creationId xmlns:a16="http://schemas.microsoft.com/office/drawing/2014/main" id="{F4C26E3C-C13D-44CF-A615-A5236A7E17ED}"/>
              </a:ext>
            </a:extLst>
          </p:cNvPr>
          <p:cNvSpPr/>
          <p:nvPr/>
        </p:nvSpPr>
        <p:spPr>
          <a:xfrm>
            <a:off x="616900" y="1466850"/>
            <a:ext cx="1642723" cy="807913"/>
          </a:xfrm>
          <a:prstGeom prst="rect">
            <a:avLst/>
          </a:prstGeom>
        </p:spPr>
        <p:txBody>
          <a:bodyPr wrap="square" lIns="0" tIns="0" rIns="0" bIns="0">
            <a:spAutoFit/>
          </a:bodyPr>
          <a:lstStyle/>
          <a:p>
            <a:pPr defTabSz="913943"/>
            <a:r>
              <a:rPr lang="en-AU" sz="1050">
                <a:solidFill>
                  <a:schemeClr val="bg2">
                    <a:lumMod val="65000"/>
                    <a:lumOff val="35000"/>
                  </a:schemeClr>
                </a:solidFill>
                <a:latin typeface="Calibri" panose="020F0502020204030204" pitchFamily="34" charset="0"/>
                <a:cs typeface="Calibri" panose="020F0502020204030204" pitchFamily="34" charset="0"/>
              </a:rPr>
              <a:t>Confirm purpose, vision and scope for the transformation. Kickstart solution design with industry templates and accelerators.</a:t>
            </a:r>
          </a:p>
        </p:txBody>
      </p:sp>
      <p:grpSp>
        <p:nvGrpSpPr>
          <p:cNvPr id="31" name="Group 30">
            <a:extLst>
              <a:ext uri="{FF2B5EF4-FFF2-40B4-BE49-F238E27FC236}">
                <a16:creationId xmlns:a16="http://schemas.microsoft.com/office/drawing/2014/main" id="{9775DAFF-5953-4A2D-A06F-7B9720889F28}"/>
              </a:ext>
            </a:extLst>
          </p:cNvPr>
          <p:cNvGrpSpPr/>
          <p:nvPr/>
        </p:nvGrpSpPr>
        <p:grpSpPr>
          <a:xfrm>
            <a:off x="2825138" y="1466850"/>
            <a:ext cx="8782662" cy="3299543"/>
            <a:chOff x="2825138" y="1466850"/>
            <a:chExt cx="8767551" cy="2731939"/>
          </a:xfrm>
        </p:grpSpPr>
        <p:sp>
          <p:nvSpPr>
            <p:cNvPr id="9" name="Content Placeholder 28">
              <a:extLst>
                <a:ext uri="{FF2B5EF4-FFF2-40B4-BE49-F238E27FC236}">
                  <a16:creationId xmlns:a16="http://schemas.microsoft.com/office/drawing/2014/main" id="{8025C2A4-3C37-49E6-AC49-DBFBF164C7F8}"/>
                </a:ext>
              </a:extLst>
            </p:cNvPr>
            <p:cNvSpPr txBox="1">
              <a:spLocks/>
            </p:cNvSpPr>
            <p:nvPr/>
          </p:nvSpPr>
          <p:spPr>
            <a:xfrm>
              <a:off x="2825138" y="1466850"/>
              <a:ext cx="2197252" cy="2731937"/>
            </a:xfrm>
            <a:prstGeom prst="rect">
              <a:avLst/>
            </a:prstGeom>
            <a:solidFill>
              <a:srgbClr val="2E2E38"/>
            </a:solidFill>
          </p:spPr>
          <p:txBody>
            <a:bodyPr lIns="36000" tIns="36000" rIns="36000" bIns="36000" anchor="t"/>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200"/>
                </a:spcAft>
                <a:buClr>
                  <a:srgbClr val="FFE600"/>
                </a:buClr>
                <a:buNone/>
              </a:pPr>
              <a:r>
                <a:rPr lang="en-IN" sz="900">
                  <a:solidFill>
                    <a:srgbClr val="FFFFFF"/>
                  </a:solidFill>
                  <a:latin typeface="Calibri"/>
                  <a:cs typeface="Calibri"/>
                </a:rPr>
                <a:t>Prepare is the first phase of the implementation and aims to provide the initial planning and preparation for the project.</a:t>
              </a:r>
            </a:p>
            <a:p>
              <a:pPr marL="0" indent="0" defTabSz="913943">
                <a:spcAft>
                  <a:spcPts val="200"/>
                </a:spcAft>
                <a:buClr>
                  <a:srgbClr val="FFE600"/>
                </a:buClr>
                <a:buNone/>
              </a:pPr>
              <a:r>
                <a:rPr lang="en-IN" sz="900">
                  <a:solidFill>
                    <a:srgbClr val="FFFFFF"/>
                  </a:solidFill>
                  <a:latin typeface="Calibri"/>
                  <a:cs typeface="Calibri"/>
                </a:rPr>
                <a:t>A series of scoping workshops are held to confirm the purpose, vision and scope, utilising industry templates and accelerators. The outputs of these workshops are scoping documents which also serve as an input to solution architecture development.</a:t>
              </a:r>
            </a:p>
            <a:p>
              <a:pPr marL="0" indent="0" defTabSz="913943">
                <a:spcAft>
                  <a:spcPts val="200"/>
                </a:spcAft>
                <a:buClr>
                  <a:srgbClr val="FFE600"/>
                </a:buClr>
                <a:buNone/>
              </a:pPr>
              <a:r>
                <a:rPr lang="en-IN" sz="900">
                  <a:solidFill>
                    <a:srgbClr val="FFFFFF"/>
                  </a:solidFill>
                  <a:latin typeface="Calibri"/>
                  <a:cs typeface="Calibri"/>
                </a:rPr>
                <a:t>In parallel, preparation is done for future phases of the project by defining a number of implementation strategies and preparing for data migration and platform management.</a:t>
              </a:r>
            </a:p>
            <a:p>
              <a:pPr marL="356235" indent="-356235" defTabSz="913943">
                <a:spcAft>
                  <a:spcPts val="200"/>
                </a:spcAft>
                <a:buClr>
                  <a:srgbClr val="FFE600"/>
                </a:buClr>
              </a:pPr>
              <a:endParaRPr lang="en-IN" sz="1199">
                <a:solidFill>
                  <a:srgbClr val="2E2E38"/>
                </a:solidFill>
                <a:latin typeface="Calibri" panose="020F0502020204030204" pitchFamily="34" charset="0"/>
                <a:cs typeface="Calibri" panose="020F0502020204030204" pitchFamily="34" charset="0"/>
              </a:endParaRPr>
            </a:p>
          </p:txBody>
        </p:sp>
        <p:sp>
          <p:nvSpPr>
            <p:cNvPr id="10" name="Content Placeholder 30">
              <a:extLst>
                <a:ext uri="{FF2B5EF4-FFF2-40B4-BE49-F238E27FC236}">
                  <a16:creationId xmlns:a16="http://schemas.microsoft.com/office/drawing/2014/main" id="{DFEBAFCF-E1D8-4816-AAC0-9A68C77D40AB}"/>
                </a:ext>
              </a:extLst>
            </p:cNvPr>
            <p:cNvSpPr txBox="1">
              <a:spLocks/>
            </p:cNvSpPr>
            <p:nvPr/>
          </p:nvSpPr>
          <p:spPr>
            <a:xfrm>
              <a:off x="5022390" y="1466850"/>
              <a:ext cx="3890814"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2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orm Program (if not done in Discover)</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or each workstream</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Business Case (if not done in Discover)</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up Infrastructure and Tooling</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duct Solution Scoping</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Solution Architecture, Develop Implementation Strategies</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Data Migration</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mplete Technology Planning</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up Sandbox Environment and Activate Solution</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up Development Environment and Activate Solution</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Test Management</a:t>
              </a:r>
            </a:p>
            <a:p>
              <a:pPr marL="162000" indent="-162000" defTabSz="913943">
                <a:spcAft>
                  <a:spcPts val="200"/>
                </a:spcAft>
                <a:buClr>
                  <a:schemeClr val="tx2"/>
                </a:buClr>
                <a:buSzPct val="70000"/>
                <a:buFont typeface="Arial" panose="020B0604020202020204" pitchFamily="34" charset="0"/>
                <a:buChar char="►"/>
              </a:pPr>
              <a:r>
                <a:rPr lang="en-IN" sz="900">
                  <a:solidFill>
                    <a:schemeClr val="tx1"/>
                  </a:solidFill>
                  <a:latin typeface="Calibri" panose="020F0502020204030204" pitchFamily="34" charset="0"/>
                  <a:cs typeface="Calibri" panose="020F0502020204030204" pitchFamily="34" charset="0"/>
                </a:rPr>
                <a:t>Change Experience for Prepare</a:t>
              </a:r>
            </a:p>
            <a:p>
              <a:pPr marL="162000" indent="-162000" defTabSz="913943">
                <a:spcAft>
                  <a:spcPts val="2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Phase</a:t>
              </a:r>
            </a:p>
            <a:p>
              <a:pPr marL="356438" indent="-356438" defTabSz="913943">
                <a:spcBef>
                  <a:spcPct val="20000"/>
                </a:spcBef>
                <a:spcAft>
                  <a:spcPts val="200"/>
                </a:spcAft>
                <a:buClr>
                  <a:srgbClr val="FFE600"/>
                </a:buClr>
                <a:buSzPct val="110000"/>
                <a:buFont typeface="EYInterstate Light" panose="02000506000000020004" pitchFamily="2" charset="0"/>
                <a:buChar char="•"/>
              </a:pPr>
              <a:endParaRPr lang="en-US">
                <a:solidFill>
                  <a:srgbClr val="2E2E38"/>
                </a:solidFill>
                <a:latin typeface="Calibri" panose="020F0502020204030204" pitchFamily="34" charset="0"/>
                <a:cs typeface="Calibri" panose="020F0502020204030204" pitchFamily="34" charset="0"/>
              </a:endParaRPr>
            </a:p>
            <a:p>
              <a:pPr marL="356438" indent="-356438" defTabSz="913943">
                <a:spcBef>
                  <a:spcPct val="20000"/>
                </a:spcBef>
                <a:spcAft>
                  <a:spcPts val="200"/>
                </a:spcAft>
                <a:buClr>
                  <a:srgbClr val="FFE600"/>
                </a:buClr>
                <a:buSzPct val="110000"/>
                <a:buFont typeface="EYInterstate Light" panose="02000506000000020004" pitchFamily="2" charset="0"/>
                <a:buChar char="•"/>
              </a:pPr>
              <a:endParaRPr lang="en-US">
                <a:solidFill>
                  <a:srgbClr val="2E2E38"/>
                </a:solidFill>
                <a:latin typeface="Calibri" panose="020F0502020204030204" pitchFamily="34" charset="0"/>
                <a:cs typeface="Calibri" panose="020F0502020204030204" pitchFamily="34" charset="0"/>
              </a:endParaRPr>
            </a:p>
            <a:p>
              <a:pPr defTabSz="913943">
                <a:spcAft>
                  <a:spcPts val="200"/>
                </a:spcAft>
              </a:pPr>
              <a:endParaRPr lang="en-US">
                <a:solidFill>
                  <a:srgbClr val="2E2E38"/>
                </a:solidFill>
                <a:latin typeface="Calibri" panose="020F0502020204030204" pitchFamily="34" charset="0"/>
                <a:cs typeface="Calibri" panose="020F0502020204030204" pitchFamily="34" charset="0"/>
              </a:endParaRPr>
            </a:p>
          </p:txBody>
        </p:sp>
        <p:sp>
          <p:nvSpPr>
            <p:cNvPr id="11" name="Content Placeholder 31">
              <a:extLst>
                <a:ext uri="{FF2B5EF4-FFF2-40B4-BE49-F238E27FC236}">
                  <a16:creationId xmlns:a16="http://schemas.microsoft.com/office/drawing/2014/main" id="{607A6B33-3E69-4565-9905-44B6A124AE65}"/>
                </a:ext>
              </a:extLst>
            </p:cNvPr>
            <p:cNvSpPr txBox="1">
              <a:spLocks/>
            </p:cNvSpPr>
            <p:nvPr/>
          </p:nvSpPr>
          <p:spPr>
            <a:xfrm>
              <a:off x="8913204" y="1466850"/>
              <a:ext cx="2679485"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2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Project management plan</a:t>
              </a:r>
            </a:p>
            <a:p>
              <a:pPr marL="162000" indent="-162000" defTabSz="913943">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Project schedule</a:t>
              </a:r>
            </a:p>
            <a:p>
              <a:pPr marL="162000" indent="-162000" defTabSz="913943">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Scoping document</a:t>
              </a:r>
            </a:p>
            <a:p>
              <a:pPr marL="162000" indent="-162000" defTabSz="913943">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Business Process Master List (BPML)</a:t>
              </a:r>
            </a:p>
            <a:p>
              <a:pPr marL="162000" indent="-162000" defTabSz="913943">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Solution architecture document</a:t>
              </a:r>
            </a:p>
            <a:p>
              <a:pPr marL="162000" indent="-162000" defTabSz="913943" fontAlgn="ctr">
                <a:spcAft>
                  <a:spcPts val="200"/>
                </a:spcAft>
                <a:buClr>
                  <a:schemeClr val="tx2"/>
                </a:buClr>
                <a:buSzPct val="70000"/>
                <a:buFont typeface="Arial" panose="020B0604020202020204" pitchFamily="34" charset="0"/>
                <a:buChar char="►"/>
              </a:pPr>
              <a:r>
                <a:rPr lang="en-AU" sz="900">
                  <a:solidFill>
                    <a:srgbClr val="FFFFFF"/>
                  </a:solidFill>
                  <a:latin typeface="Calibri" panose="020F0502020204030204" pitchFamily="34" charset="0"/>
                  <a:cs typeface="Calibri" panose="020F0502020204030204" pitchFamily="34" charset="0"/>
                </a:rPr>
                <a:t>Implementation strategies¹</a:t>
              </a:r>
            </a:p>
            <a:p>
              <a:pPr marL="162000" indent="-162000" defTabSz="913943" fontAlgn="ctr">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Data quality assessment</a:t>
              </a:r>
            </a:p>
            <a:p>
              <a:pPr marL="162000" indent="-162000" defTabSz="913943" fontAlgn="ctr">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Technical operations plan</a:t>
              </a:r>
            </a:p>
            <a:p>
              <a:pPr marL="162000" indent="-162000" defTabSz="913943" fontAlgn="ctr">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EY Industry Solution Development environment</a:t>
              </a:r>
            </a:p>
            <a:p>
              <a:pPr marL="162000" indent="-162000" defTabSz="913943" fontAlgn="ctr">
                <a:spcAft>
                  <a:spcPts val="200"/>
                </a:spcAft>
                <a:buClr>
                  <a:schemeClr val="tx2"/>
                </a:buClr>
                <a:buSzPct val="70000"/>
                <a:buFont typeface="Arial" panose="020B0604020202020204" pitchFamily="34" charset="0"/>
                <a:buChar char="►"/>
              </a:pPr>
              <a:r>
                <a:rPr lang="en-US" sz="900">
                  <a:solidFill>
                    <a:srgbClr val="FFFFFF"/>
                  </a:solidFill>
                  <a:latin typeface="Calibri" panose="020F0502020204030204" pitchFamily="34" charset="0"/>
                  <a:cs typeface="Calibri" panose="020F0502020204030204" pitchFamily="34" charset="0"/>
                </a:rPr>
                <a:t>Project quality gate review</a:t>
              </a:r>
            </a:p>
            <a:p>
              <a:pPr marL="162000" indent="-162000" defTabSz="913943" fontAlgn="ctr">
                <a:spcAft>
                  <a:spcPts val="200"/>
                </a:spcAft>
                <a:buClr>
                  <a:schemeClr val="tx2"/>
                </a:buClr>
                <a:buSzPct val="70000"/>
                <a:buFont typeface="Arial" panose="020B0604020202020204" pitchFamily="34" charset="0"/>
                <a:buChar char="►"/>
              </a:pPr>
              <a:r>
                <a:rPr lang="en-IN" sz="900">
                  <a:solidFill>
                    <a:schemeClr val="tx1"/>
                  </a:solidFill>
                  <a:latin typeface="Calibri" panose="020F0502020204030204" pitchFamily="34" charset="0"/>
                  <a:cs typeface="Calibri" panose="020F0502020204030204" pitchFamily="34" charset="0"/>
                </a:rPr>
                <a:t>Change Experience Deliverables for Prepare</a:t>
              </a:r>
              <a:endParaRPr lang="en-US">
                <a:solidFill>
                  <a:schemeClr val="tx1"/>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9916ADB1-3A9F-46A8-9B4B-D1903DDE3B17}"/>
                </a:ext>
              </a:extLst>
            </p:cNvPr>
            <p:cNvSpPr txBox="1"/>
            <p:nvPr/>
          </p:nvSpPr>
          <p:spPr>
            <a:xfrm>
              <a:off x="5022390" y="4010536"/>
              <a:ext cx="3890814" cy="128037"/>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se lists are indicative and will be updated at a later stage</a:t>
              </a:r>
            </a:p>
          </p:txBody>
        </p:sp>
      </p:grpSp>
      <p:grpSp>
        <p:nvGrpSpPr>
          <p:cNvPr id="18" name="Group 17">
            <a:extLst>
              <a:ext uri="{FF2B5EF4-FFF2-40B4-BE49-F238E27FC236}">
                <a16:creationId xmlns:a16="http://schemas.microsoft.com/office/drawing/2014/main" id="{D1D0496F-781D-48A3-B44C-F07A643E09A1}"/>
              </a:ext>
            </a:extLst>
          </p:cNvPr>
          <p:cNvGrpSpPr/>
          <p:nvPr/>
        </p:nvGrpSpPr>
        <p:grpSpPr>
          <a:xfrm>
            <a:off x="2825135" y="4766397"/>
            <a:ext cx="8782664" cy="1326428"/>
            <a:chOff x="2825135" y="4766397"/>
            <a:chExt cx="8782664" cy="1326428"/>
          </a:xfrm>
        </p:grpSpPr>
        <p:sp>
          <p:nvSpPr>
            <p:cNvPr id="19" name="Freeform 30">
              <a:extLst>
                <a:ext uri="{FF2B5EF4-FFF2-40B4-BE49-F238E27FC236}">
                  <a16:creationId xmlns:a16="http://schemas.microsoft.com/office/drawing/2014/main" id="{2520A62B-819D-4427-9350-604512B594DC}"/>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10F7DB2F-1C63-439B-ACDE-FDFD783F13F3}"/>
                </a:ext>
              </a:extLst>
            </p:cNvPr>
            <p:cNvSpPr/>
            <p:nvPr/>
          </p:nvSpPr>
          <p:spPr>
            <a:xfrm>
              <a:off x="2825137" y="4766399"/>
              <a:ext cx="2429813" cy="226591"/>
            </a:xfrm>
            <a:prstGeom prst="rect">
              <a:avLst/>
            </a:prstGeom>
          </p:spPr>
          <p:txBody>
            <a:bodyPr wrap="square" lIns="36000" tIns="36000" rIns="36000" bIns="36000">
              <a:spAutoFit/>
            </a:bodyPr>
            <a:lstStyle/>
            <a:p>
              <a:pPr defTabSz="913943">
                <a:spcBef>
                  <a:spcPct val="20000"/>
                </a:spcBef>
                <a:buClr>
                  <a:srgbClr val="FFE600"/>
                </a:buClr>
                <a:buSzPct val="70000"/>
              </a:pPr>
              <a:r>
                <a:rPr lang="en-IN" sz="1000" b="1">
                  <a:solidFill>
                    <a:schemeClr val="bg1"/>
                  </a:solidFill>
                  <a:latin typeface="Calibri" panose="020F0502020204030204" pitchFamily="34" charset="0"/>
                  <a:cs typeface="Calibri" panose="020F0502020204030204" pitchFamily="34" charset="0"/>
                </a:rPr>
                <a:t>EY Differentiators</a:t>
              </a:r>
            </a:p>
          </p:txBody>
        </p:sp>
        <p:sp>
          <p:nvSpPr>
            <p:cNvPr id="21" name="Rectangle 20">
              <a:extLst>
                <a:ext uri="{FF2B5EF4-FFF2-40B4-BE49-F238E27FC236}">
                  <a16:creationId xmlns:a16="http://schemas.microsoft.com/office/drawing/2014/main" id="{B1B3DBEF-E9AE-443E-A5D3-82886E3B49FF}"/>
                </a:ext>
              </a:extLst>
            </p:cNvPr>
            <p:cNvSpPr/>
            <p:nvPr/>
          </p:nvSpPr>
          <p:spPr>
            <a:xfrm>
              <a:off x="2825137" y="5034442"/>
              <a:ext cx="8725391" cy="585279"/>
            </a:xfrm>
            <a:prstGeom prst="rect">
              <a:avLst/>
            </a:prstGeom>
          </p:spPr>
          <p:txBody>
            <a:bodyPr wrap="square" lIns="36000" tIns="36000" rIns="36000" bIns="36000">
              <a:spAutoFit/>
            </a:bodyPr>
            <a:lstStyle/>
            <a:p>
              <a:pPr marL="180000" indent="-180000" defTabSz="913943">
                <a:spcAft>
                  <a:spcPts val="400"/>
                </a:spcAft>
                <a:buSzPct val="70000"/>
                <a:buFont typeface="Arial" panose="020B0604020202020204" pitchFamily="34" charset="0"/>
                <a:buChar char="►"/>
              </a:pPr>
              <a:r>
                <a:rPr lang="en-US" sz="999">
                  <a:solidFill>
                    <a:schemeClr val="bg1"/>
                  </a:solidFill>
                  <a:latin typeface="Calibri" panose="020F0502020204030204" pitchFamily="34" charset="0"/>
                  <a:cs typeface="Calibri" panose="020F0502020204030204" pitchFamily="34" charset="0"/>
                </a:rPr>
                <a:t>Industry-based Business Process Master List (BPML) incorporating leading processes, KPIs, risks, controls and automation opportunities and mapped to Power Platform Best Practices</a:t>
              </a:r>
            </a:p>
            <a:p>
              <a:pPr marL="180000" indent="-180000" defTabSz="913943">
                <a:spcAft>
                  <a:spcPts val="400"/>
                </a:spcAft>
                <a:buSzPct val="70000"/>
                <a:buFont typeface="Arial" panose="020B0604020202020204" pitchFamily="34" charset="0"/>
                <a:buChar char="►"/>
              </a:pPr>
              <a:r>
                <a:rPr lang="en-US" sz="999">
                  <a:solidFill>
                    <a:schemeClr val="bg1"/>
                  </a:solidFill>
                  <a:latin typeface="Calibri" panose="020F0502020204030204" pitchFamily="34" charset="0"/>
                  <a:cs typeface="Calibri" panose="020F0502020204030204" pitchFamily="34" charset="0"/>
                </a:rPr>
                <a:t>Business-led scoping workshops based on end-to-end business scenario</a:t>
              </a:r>
            </a:p>
          </p:txBody>
        </p:sp>
      </p:grpSp>
    </p:spTree>
    <p:extLst>
      <p:ext uri="{BB962C8B-B14F-4D97-AF65-F5344CB8AC3E}">
        <p14:creationId xmlns:p14="http://schemas.microsoft.com/office/powerpoint/2010/main" val="29955737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CA9FFA4-95E2-4AE6-A746-790250C06C0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Explore</a:t>
            </a:r>
            <a:endParaRPr lang="en-US">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C016E170-B43C-497B-8794-376E25CAA1BE}"/>
              </a:ext>
            </a:extLst>
          </p:cNvPr>
          <p:cNvSpPr/>
          <p:nvPr/>
        </p:nvSpPr>
        <p:spPr>
          <a:xfrm>
            <a:off x="616900" y="1466850"/>
            <a:ext cx="1725174" cy="807913"/>
          </a:xfrm>
          <a:prstGeom prst="rect">
            <a:avLst/>
          </a:prstGeom>
        </p:spPr>
        <p:txBody>
          <a:bodyPr wrap="square" lIns="0" tIns="0" rIns="0" bIns="0">
            <a:spAutoFit/>
          </a:bodyPr>
          <a:lstStyle/>
          <a:p>
            <a:pPr defTabSz="913943"/>
            <a:r>
              <a:rPr lang="en-IN" sz="1050">
                <a:solidFill>
                  <a:schemeClr val="bg2">
                    <a:lumMod val="65000"/>
                    <a:lumOff val="35000"/>
                  </a:schemeClr>
                </a:solidFill>
                <a:latin typeface="Calibri" panose="020F0502020204030204" pitchFamily="34" charset="0"/>
                <a:cs typeface="Calibri" panose="020F0502020204030204" pitchFamily="34" charset="0"/>
              </a:rPr>
              <a:t>Perform fit-gap to leading practices and design delta solution for gaps, documenting requirements in a prioritised backlog of user stories.</a:t>
            </a:r>
          </a:p>
        </p:txBody>
      </p:sp>
      <p:grpSp>
        <p:nvGrpSpPr>
          <p:cNvPr id="56" name="Group 55">
            <a:extLst>
              <a:ext uri="{FF2B5EF4-FFF2-40B4-BE49-F238E27FC236}">
                <a16:creationId xmlns:a16="http://schemas.microsoft.com/office/drawing/2014/main" id="{ADB59D28-ABB9-4E83-A3CE-1D9A459B583A}"/>
              </a:ext>
            </a:extLst>
          </p:cNvPr>
          <p:cNvGrpSpPr/>
          <p:nvPr/>
        </p:nvGrpSpPr>
        <p:grpSpPr>
          <a:xfrm>
            <a:off x="2825138" y="1466850"/>
            <a:ext cx="8782662" cy="3299543"/>
            <a:chOff x="2825138" y="1466850"/>
            <a:chExt cx="8767551" cy="2731939"/>
          </a:xfrm>
        </p:grpSpPr>
        <p:sp>
          <p:nvSpPr>
            <p:cNvPr id="57" name="Content Placeholder 28">
              <a:extLst>
                <a:ext uri="{FF2B5EF4-FFF2-40B4-BE49-F238E27FC236}">
                  <a16:creationId xmlns:a16="http://schemas.microsoft.com/office/drawing/2014/main" id="{0AA75384-FE52-4B4A-AF69-168014780E96}"/>
                </a:ext>
              </a:extLst>
            </p:cNvPr>
            <p:cNvSpPr txBox="1">
              <a:spLocks/>
            </p:cNvSpPr>
            <p:nvPr/>
          </p:nvSpPr>
          <p:spPr>
            <a:xfrm>
              <a:off x="2825138" y="1466850"/>
              <a:ext cx="2197252" cy="2731937"/>
            </a:xfrm>
            <a:prstGeom prst="rect">
              <a:avLst/>
            </a:prstGeom>
            <a:solidFill>
              <a:srgbClr val="2E2E38"/>
            </a:solidFill>
          </p:spPr>
          <p:txBody>
            <a:bodyPr lIns="36000" tIns="36000" rIns="36000" bIns="36000"/>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100"/>
                </a:spcAft>
                <a:buClr>
                  <a:srgbClr val="FFE600"/>
                </a:buClr>
                <a:buNone/>
              </a:pPr>
              <a:r>
                <a:rPr lang="en-IN" sz="900">
                  <a:solidFill>
                    <a:srgbClr val="FFFFFF"/>
                  </a:solidFill>
                  <a:latin typeface="Calibri" panose="020F0502020204030204" pitchFamily="34" charset="0"/>
                  <a:cs typeface="Calibri" panose="020F0502020204030204" pitchFamily="34" charset="0"/>
                </a:rPr>
                <a:t>The purpose of Explore is to confirm whether business requirements can be satisfied and define whether they can be met through standard Power Platform functionality or custom developments.</a:t>
              </a:r>
            </a:p>
            <a:p>
              <a:pPr marL="0" indent="0" defTabSz="913943">
                <a:spcAft>
                  <a:spcPts val="100"/>
                </a:spcAft>
                <a:buClr>
                  <a:srgbClr val="FFE600"/>
                </a:buClr>
                <a:buNone/>
              </a:pPr>
              <a:r>
                <a:rPr lang="en-IN" sz="900">
                  <a:solidFill>
                    <a:srgbClr val="FFFFFF"/>
                  </a:solidFill>
                  <a:latin typeface="Calibri" panose="020F0502020204030204" pitchFamily="34" charset="0"/>
                  <a:cs typeface="Calibri" panose="020F0502020204030204" pitchFamily="34" charset="0"/>
                </a:rPr>
                <a:t>This is done via two cycles of workshops — ‘Workshop A’ aims to perform a fit-gap against what is available as standard (leveraging EY Industry Solution) and ‘Workshop B’ aims to confirm the design for the delta gaps which cannot be met by standard. All requirements are captured as user stories in a backlog which is prioritised and groomed in preparation for Realise — Build.</a:t>
              </a:r>
              <a:endParaRPr lang="en-IN" sz="1199">
                <a:solidFill>
                  <a:srgbClr val="2E2E38"/>
                </a:solidFill>
                <a:latin typeface="Calibri" panose="020F0502020204030204" pitchFamily="34" charset="0"/>
                <a:cs typeface="Calibri" panose="020F0502020204030204" pitchFamily="34" charset="0"/>
              </a:endParaRPr>
            </a:p>
          </p:txBody>
        </p:sp>
        <p:sp>
          <p:nvSpPr>
            <p:cNvPr id="58" name="Content Placeholder 30">
              <a:extLst>
                <a:ext uri="{FF2B5EF4-FFF2-40B4-BE49-F238E27FC236}">
                  <a16:creationId xmlns:a16="http://schemas.microsoft.com/office/drawing/2014/main" id="{21055A3F-7131-4606-8957-8C51E1AE8E0F}"/>
                </a:ext>
              </a:extLst>
            </p:cNvPr>
            <p:cNvSpPr txBox="1">
              <a:spLocks/>
            </p:cNvSpPr>
            <p:nvPr/>
          </p:nvSpPr>
          <p:spPr>
            <a:xfrm>
              <a:off x="5022390" y="1466850"/>
              <a:ext cx="3890814"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Manage Each Workstream</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rain Program Team</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Explore Benefits </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reate Initial Solution Backlog</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duct Fit to Standard Design, Delta Design, Detailed Desig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Update Solution Backlog, Solution Architecture</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Analytics and Information Management Plan, Data Cleansing and Migration Plan, Test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up Test Environment and Activate Solu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up Quality Environment and Activate Solu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Technical Solution Design, Security and Controls Plan, Centres of Excellence</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duct Release Planning</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Establish Service Management</a:t>
              </a:r>
            </a:p>
            <a:p>
              <a:pPr marL="162000" indent="-162000" defTabSz="913943">
                <a:spcAft>
                  <a:spcPts val="1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for Explore</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Phase</a:t>
              </a:r>
            </a:p>
          </p:txBody>
        </p:sp>
        <p:sp>
          <p:nvSpPr>
            <p:cNvPr id="59" name="Content Placeholder 31">
              <a:extLst>
                <a:ext uri="{FF2B5EF4-FFF2-40B4-BE49-F238E27FC236}">
                  <a16:creationId xmlns:a16="http://schemas.microsoft.com/office/drawing/2014/main" id="{A20C7613-B33C-498F-ADB1-7BC599DA3953}"/>
                </a:ext>
              </a:extLst>
            </p:cNvPr>
            <p:cNvSpPr txBox="1">
              <a:spLocks/>
            </p:cNvSpPr>
            <p:nvPr/>
          </p:nvSpPr>
          <p:spPr>
            <a:xfrm>
              <a:off x="8913204" y="1466850"/>
              <a:ext cx="2679485"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enefits value dashboard</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ioritised solution backlog</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usiness Process Documents¹ </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chnology catalogs² </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unctional specification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Enterprise role matrix</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ata governance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ata cleansing and migration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Analytics and IM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st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st and QA environment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chnical solution desig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curity and controls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ject quality gate review</a:t>
              </a:r>
            </a:p>
            <a:p>
              <a:pPr marL="162000" indent="-162000" defTabSz="913943">
                <a:spcAft>
                  <a:spcPts val="1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Deliverables for Explore</a:t>
              </a:r>
            </a:p>
          </p:txBody>
        </p:sp>
        <p:sp>
          <p:nvSpPr>
            <p:cNvPr id="60" name="TextBox 59">
              <a:extLst>
                <a:ext uri="{FF2B5EF4-FFF2-40B4-BE49-F238E27FC236}">
                  <a16:creationId xmlns:a16="http://schemas.microsoft.com/office/drawing/2014/main" id="{A57EEBBC-118F-4C1C-96D4-9D5DBA2E039F}"/>
                </a:ext>
              </a:extLst>
            </p:cNvPr>
            <p:cNvSpPr txBox="1"/>
            <p:nvPr/>
          </p:nvSpPr>
          <p:spPr>
            <a:xfrm>
              <a:off x="7701875" y="3952788"/>
              <a:ext cx="3890814" cy="128886"/>
            </a:xfrm>
            <a:prstGeom prst="rect">
              <a:avLst/>
            </a:prstGeom>
            <a:noFill/>
          </p:spPr>
          <p:txBody>
            <a:bodyPr wrap="square" lIns="0" tIns="36557" rIns="0" bIns="0" rtlCol="0">
              <a:spAutoFit/>
            </a:bodyPr>
            <a:lstStyle/>
            <a:p>
              <a:pPr defTabSz="913943">
                <a:lnSpc>
                  <a:spcPct val="85000"/>
                </a:lnSpc>
                <a:spcAft>
                  <a:spcPts val="1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 list of Deliverables are indicative and will be updated at a later stage</a:t>
              </a:r>
            </a:p>
          </p:txBody>
        </p:sp>
      </p:grpSp>
      <p:grpSp>
        <p:nvGrpSpPr>
          <p:cNvPr id="16" name="Group 15">
            <a:extLst>
              <a:ext uri="{FF2B5EF4-FFF2-40B4-BE49-F238E27FC236}">
                <a16:creationId xmlns:a16="http://schemas.microsoft.com/office/drawing/2014/main" id="{02FD6A31-A361-4C43-AB0E-A6D3D811E3DE}"/>
              </a:ext>
            </a:extLst>
          </p:cNvPr>
          <p:cNvGrpSpPr/>
          <p:nvPr/>
        </p:nvGrpSpPr>
        <p:grpSpPr>
          <a:xfrm>
            <a:off x="2825135" y="4766397"/>
            <a:ext cx="8782664" cy="1326428"/>
            <a:chOff x="2825135" y="4766397"/>
            <a:chExt cx="8782664" cy="1326428"/>
          </a:xfrm>
        </p:grpSpPr>
        <p:sp>
          <p:nvSpPr>
            <p:cNvPr id="17" name="Freeform 30">
              <a:extLst>
                <a:ext uri="{FF2B5EF4-FFF2-40B4-BE49-F238E27FC236}">
                  <a16:creationId xmlns:a16="http://schemas.microsoft.com/office/drawing/2014/main" id="{0CB1FD82-D503-41C5-B816-948600E7BF7A}"/>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2B56B21-84B4-44CA-89FF-57F1024989B2}"/>
                </a:ext>
              </a:extLst>
            </p:cNvPr>
            <p:cNvSpPr/>
            <p:nvPr/>
          </p:nvSpPr>
          <p:spPr>
            <a:xfrm>
              <a:off x="2825137" y="4766399"/>
              <a:ext cx="2429813" cy="226591"/>
            </a:xfrm>
            <a:prstGeom prst="rect">
              <a:avLst/>
            </a:prstGeom>
          </p:spPr>
          <p:txBody>
            <a:bodyPr wrap="square" lIns="36000" tIns="36000" rIns="36000" bIns="36000">
              <a:spAutoFit/>
            </a:bodyPr>
            <a:lstStyle/>
            <a:p>
              <a:pPr defTabSz="913943">
                <a:spcBef>
                  <a:spcPct val="20000"/>
                </a:spcBef>
                <a:buClr>
                  <a:srgbClr val="FFE600"/>
                </a:buClr>
                <a:buSzPct val="70000"/>
              </a:pPr>
              <a:r>
                <a:rPr lang="en-IN" sz="1000" b="1">
                  <a:solidFill>
                    <a:schemeClr val="bg1"/>
                  </a:solidFill>
                  <a:latin typeface="Calibri" panose="020F0502020204030204" pitchFamily="34" charset="0"/>
                  <a:cs typeface="Calibri" panose="020F0502020204030204" pitchFamily="34" charset="0"/>
                </a:rPr>
                <a:t>EY Differentiators</a:t>
              </a:r>
            </a:p>
          </p:txBody>
        </p:sp>
        <p:sp>
          <p:nvSpPr>
            <p:cNvPr id="19" name="Rectangle 18">
              <a:extLst>
                <a:ext uri="{FF2B5EF4-FFF2-40B4-BE49-F238E27FC236}">
                  <a16:creationId xmlns:a16="http://schemas.microsoft.com/office/drawing/2014/main" id="{CD6CA3EF-926A-4110-ADC0-3318C0FE5FB5}"/>
                </a:ext>
              </a:extLst>
            </p:cNvPr>
            <p:cNvSpPr/>
            <p:nvPr/>
          </p:nvSpPr>
          <p:spPr>
            <a:xfrm>
              <a:off x="2825137" y="5034442"/>
              <a:ext cx="8725391" cy="585279"/>
            </a:xfrm>
            <a:prstGeom prst="rect">
              <a:avLst/>
            </a:prstGeom>
          </p:spPr>
          <p:txBody>
            <a:bodyPr wrap="square" lIns="36000" tIns="36000" rIns="36000" bIns="36000">
              <a:spAutoFit/>
            </a:bodyPr>
            <a:lstStyle/>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Industry-based Business Process Master List (BPML) incorporating leading processes, KPIs, risks, controls and automation opportunities and mapped to Power Platform Best Practices</a:t>
              </a:r>
            </a:p>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Business-led design workshops based on end-to-end business scenario</a:t>
              </a:r>
            </a:p>
          </p:txBody>
        </p:sp>
      </p:grpSp>
    </p:spTree>
    <p:extLst>
      <p:ext uri="{BB962C8B-B14F-4D97-AF65-F5344CB8AC3E}">
        <p14:creationId xmlns:p14="http://schemas.microsoft.com/office/powerpoint/2010/main" val="2559800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Placeholder 41">
            <a:extLst>
              <a:ext uri="{FF2B5EF4-FFF2-40B4-BE49-F238E27FC236}">
                <a16:creationId xmlns:a16="http://schemas.microsoft.com/office/drawing/2014/main" id="{7A2A1567-4D86-4A9F-BD55-A3B8F6944A83}"/>
              </a:ext>
            </a:extLst>
          </p:cNvPr>
          <p:cNvSpPr>
            <a:spLocks noGrp="1"/>
          </p:cNvSpPr>
          <p:nvPr>
            <p:ph type="body" sz="quarter" idx="10"/>
          </p:nvPr>
        </p:nvSpPr>
        <p:spPr/>
        <p:txBody>
          <a:bodyPr/>
          <a:lstStyle/>
          <a:p>
            <a:r>
              <a:rPr lang="en-US">
                <a:latin typeface="Calibri" panose="020F0502020204030204" pitchFamily="34" charset="0"/>
                <a:cs typeface="Calibri" panose="020F0502020204030204" pitchFamily="34" charset="0"/>
              </a:rPr>
              <a:t>Realise — Build</a:t>
            </a:r>
          </a:p>
        </p:txBody>
      </p:sp>
      <p:sp>
        <p:nvSpPr>
          <p:cNvPr id="43" name="Rectangle 42">
            <a:extLst>
              <a:ext uri="{FF2B5EF4-FFF2-40B4-BE49-F238E27FC236}">
                <a16:creationId xmlns:a16="http://schemas.microsoft.com/office/drawing/2014/main" id="{0B72E9CB-889A-49ED-BA6F-4FA66D5CEC56}"/>
              </a:ext>
            </a:extLst>
          </p:cNvPr>
          <p:cNvSpPr/>
          <p:nvPr/>
        </p:nvSpPr>
        <p:spPr>
          <a:xfrm>
            <a:off x="616900" y="1466850"/>
            <a:ext cx="1651515" cy="646331"/>
          </a:xfrm>
          <a:prstGeom prst="rect">
            <a:avLst/>
          </a:prstGeom>
        </p:spPr>
        <p:txBody>
          <a:bodyPr wrap="square" lIns="0" tIns="0" rIns="0" bIns="0">
            <a:spAutoFit/>
          </a:bodyPr>
          <a:lstStyle/>
          <a:p>
            <a:pPr defTabSz="913943"/>
            <a:r>
              <a:rPr lang="en-IN" sz="1050">
                <a:solidFill>
                  <a:schemeClr val="bg2">
                    <a:lumMod val="65000"/>
                    <a:lumOff val="35000"/>
                  </a:schemeClr>
                </a:solidFill>
                <a:latin typeface="Calibri" panose="020F0502020204030204" pitchFamily="34" charset="0"/>
                <a:cs typeface="Calibri" panose="020F0502020204030204" pitchFamily="34" charset="0"/>
              </a:rPr>
              <a:t>Build and unit test solution in time-boxed sprints based on prioritised backlog and load master data. </a:t>
            </a:r>
          </a:p>
        </p:txBody>
      </p:sp>
      <p:grpSp>
        <p:nvGrpSpPr>
          <p:cNvPr id="53" name="Group 52">
            <a:extLst>
              <a:ext uri="{FF2B5EF4-FFF2-40B4-BE49-F238E27FC236}">
                <a16:creationId xmlns:a16="http://schemas.microsoft.com/office/drawing/2014/main" id="{363527C8-8A2D-44AC-8FEC-6CA160C0D993}"/>
              </a:ext>
            </a:extLst>
          </p:cNvPr>
          <p:cNvGrpSpPr/>
          <p:nvPr/>
        </p:nvGrpSpPr>
        <p:grpSpPr>
          <a:xfrm>
            <a:off x="2825138" y="1466850"/>
            <a:ext cx="8782662" cy="3299642"/>
            <a:chOff x="2825138" y="1466850"/>
            <a:chExt cx="8782662" cy="2731939"/>
          </a:xfrm>
        </p:grpSpPr>
        <p:sp>
          <p:nvSpPr>
            <p:cNvPr id="46" name="Content Placeholder 28">
              <a:extLst>
                <a:ext uri="{FF2B5EF4-FFF2-40B4-BE49-F238E27FC236}">
                  <a16:creationId xmlns:a16="http://schemas.microsoft.com/office/drawing/2014/main" id="{18021D37-0390-49B1-BFF5-E4E086F2910B}"/>
                </a:ext>
              </a:extLst>
            </p:cNvPr>
            <p:cNvSpPr txBox="1">
              <a:spLocks/>
            </p:cNvSpPr>
            <p:nvPr/>
          </p:nvSpPr>
          <p:spPr>
            <a:xfrm>
              <a:off x="2825138" y="1466850"/>
              <a:ext cx="2201039" cy="2731937"/>
            </a:xfrm>
            <a:prstGeom prst="rect">
              <a:avLst/>
            </a:prstGeom>
            <a:solidFill>
              <a:srgbClr val="2E2E38"/>
            </a:solidFill>
          </p:spPr>
          <p:txBody>
            <a:bodyPr lIns="36000" tIns="36000" rIns="36000" bIns="36000" anchor="t"/>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100"/>
                </a:spcAft>
                <a:buClr>
                  <a:srgbClr val="FFE600"/>
                </a:buClr>
                <a:buNone/>
              </a:pPr>
              <a:r>
                <a:rPr lang="en-IN" sz="900">
                  <a:solidFill>
                    <a:srgbClr val="FFFFFF"/>
                  </a:solidFill>
                  <a:latin typeface="Calibri"/>
                  <a:cs typeface="Calibri"/>
                </a:rPr>
                <a:t>The purpose of Realise — Build is to take the output of explore (a prioritised solution backlog) and build the solution in a number of time-boxed iterations (called sprints). Unit testing and documentation is also done within these sprints.</a:t>
              </a:r>
            </a:p>
            <a:p>
              <a:pPr marL="0" indent="0" defTabSz="913943">
                <a:spcAft>
                  <a:spcPts val="100"/>
                </a:spcAft>
                <a:buClr>
                  <a:srgbClr val="FFE600"/>
                </a:buClr>
                <a:buNone/>
              </a:pPr>
              <a:r>
                <a:rPr lang="en-IN" sz="900">
                  <a:solidFill>
                    <a:srgbClr val="FFFFFF"/>
                  </a:solidFill>
                  <a:latin typeface="Calibri"/>
                  <a:cs typeface="Calibri"/>
                </a:rPr>
                <a:t>Each sprint lasts 2-4 weeks and follows the same pattern: Sprint Planning —Sprint Execution — Business Playback — Sprint Retrospective.</a:t>
              </a:r>
            </a:p>
            <a:p>
              <a:pPr marL="0" indent="0" defTabSz="913943">
                <a:spcAft>
                  <a:spcPts val="100"/>
                </a:spcAft>
                <a:buNone/>
              </a:pPr>
              <a:r>
                <a:rPr lang="en-IN" sz="900">
                  <a:solidFill>
                    <a:srgbClr val="FFFFFF"/>
                  </a:solidFill>
                  <a:latin typeface="Calibri"/>
                  <a:cs typeface="Calibri"/>
                </a:rPr>
                <a:t>Environment after environment, resources are provisioned across all laboratories and basic validations are attempted through Unit testing. </a:t>
              </a:r>
              <a:endParaRPr lang="en-IN" sz="1150">
                <a:solidFill>
                  <a:srgbClr val="2E2E38"/>
                </a:solidFill>
                <a:latin typeface="Calibri"/>
                <a:cs typeface="Calibri"/>
              </a:endParaRPr>
            </a:p>
            <a:p>
              <a:pPr marL="0" indent="0" defTabSz="913943">
                <a:spcAft>
                  <a:spcPts val="100"/>
                </a:spcAft>
                <a:buNone/>
              </a:pPr>
              <a:r>
                <a:rPr lang="en-IN" sz="900">
                  <a:solidFill>
                    <a:srgbClr val="FFFFFF"/>
                  </a:solidFill>
                  <a:latin typeface="Calibri"/>
                  <a:cs typeface="Calibri"/>
                </a:rPr>
                <a:t>Master data is loaded on confirmation in preparation for user acceptance testing performed in the next phase.</a:t>
              </a:r>
              <a:endParaRPr lang="en-IN" sz="1150">
                <a:solidFill>
                  <a:srgbClr val="2E2E38"/>
                </a:solidFill>
                <a:latin typeface="Calibri"/>
                <a:cs typeface="Calibri"/>
              </a:endParaRPr>
            </a:p>
          </p:txBody>
        </p:sp>
        <p:sp>
          <p:nvSpPr>
            <p:cNvPr id="47" name="Content Placeholder 30">
              <a:extLst>
                <a:ext uri="{FF2B5EF4-FFF2-40B4-BE49-F238E27FC236}">
                  <a16:creationId xmlns:a16="http://schemas.microsoft.com/office/drawing/2014/main" id="{C8F03D23-7AFC-41EF-A872-615941D47F3F}"/>
                </a:ext>
              </a:extLst>
            </p:cNvPr>
            <p:cNvSpPr txBox="1">
              <a:spLocks/>
            </p:cNvSpPr>
            <p:nvPr/>
          </p:nvSpPr>
          <p:spPr>
            <a:xfrm>
              <a:off x="5026177" y="1466850"/>
              <a:ext cx="3897520"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liver the Program</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Manage Each Workstream</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Realise Benefit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RICEFWF Technical Specification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Execute Sprint zero Baseline Build</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liver Build Sprint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Long Lead Time/Enabler RICEFW Object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erform Data Cleansing</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uild Analytics and Reporting Solu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Data Migra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uild Security and Control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Testing</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Update Technical Solution Desig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 up Staging/Training Environment and Activate Solu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uild Technical Solutio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Service Management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velop Cutover and Deployment Plan</a:t>
              </a:r>
            </a:p>
            <a:p>
              <a:pPr marL="162000" indent="-162000" defTabSz="913943">
                <a:spcAft>
                  <a:spcPts val="1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for Realise Build</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Phase</a:t>
              </a:r>
            </a:p>
          </p:txBody>
        </p:sp>
        <p:sp>
          <p:nvSpPr>
            <p:cNvPr id="48" name="Content Placeholder 31">
              <a:extLst>
                <a:ext uri="{FF2B5EF4-FFF2-40B4-BE49-F238E27FC236}">
                  <a16:creationId xmlns:a16="http://schemas.microsoft.com/office/drawing/2014/main" id="{CDA33BBC-470B-4979-88E9-9192F32024B8}"/>
                </a:ext>
              </a:extLst>
            </p:cNvPr>
            <p:cNvSpPr txBox="1">
              <a:spLocks/>
            </p:cNvSpPr>
            <p:nvPr/>
          </p:nvSpPr>
          <p:spPr>
            <a:xfrm>
              <a:off x="8923697" y="1466850"/>
              <a:ext cx="2684103"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enefits realisation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print zero baseline build</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olution build (including RICEFWF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chnical specifications</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st plans¹</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raining environment</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rvice Management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utover and Deployment Plan</a:t>
              </a:r>
            </a:p>
            <a:p>
              <a:pPr marL="162000" indent="-162000" defTabSz="913943">
                <a:spcAft>
                  <a:spcPts val="1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ject quality gate review</a:t>
              </a:r>
            </a:p>
            <a:p>
              <a:pPr marL="162000" indent="-162000" defTabSz="913943">
                <a:spcAft>
                  <a:spcPts val="1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Deliverables for Realise (Build)</a:t>
              </a:r>
            </a:p>
          </p:txBody>
        </p:sp>
      </p:grpSp>
      <p:sp>
        <p:nvSpPr>
          <p:cNvPr id="49" name="TextBox 48">
            <a:extLst>
              <a:ext uri="{FF2B5EF4-FFF2-40B4-BE49-F238E27FC236}">
                <a16:creationId xmlns:a16="http://schemas.microsoft.com/office/drawing/2014/main" id="{DFF2444D-0748-41B2-9083-3D80672757AA}"/>
              </a:ext>
            </a:extLst>
          </p:cNvPr>
          <p:cNvSpPr txBox="1"/>
          <p:nvPr/>
        </p:nvSpPr>
        <p:spPr>
          <a:xfrm>
            <a:off x="7710280" y="4478565"/>
            <a:ext cx="3897520" cy="154577"/>
          </a:xfrm>
          <a:prstGeom prst="rect">
            <a:avLst/>
          </a:prstGeom>
          <a:noFill/>
        </p:spPr>
        <p:txBody>
          <a:bodyPr wrap="square" lIns="0" tIns="36557" rIns="0" bIns="0" rtlCol="0">
            <a:spAutoFit/>
          </a:bodyPr>
          <a:lstStyle/>
          <a:p>
            <a:pPr defTabSz="913943">
              <a:lnSpc>
                <a:spcPct val="85000"/>
              </a:lnSpc>
              <a:spcAft>
                <a:spcPts val="1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 list of Deliverables are indicative and will be updated at a later stage</a:t>
            </a:r>
          </a:p>
        </p:txBody>
      </p:sp>
      <p:grpSp>
        <p:nvGrpSpPr>
          <p:cNvPr id="2" name="Group 1">
            <a:extLst>
              <a:ext uri="{FF2B5EF4-FFF2-40B4-BE49-F238E27FC236}">
                <a16:creationId xmlns:a16="http://schemas.microsoft.com/office/drawing/2014/main" id="{FCD9732B-67A2-49DC-B342-3A0D1B8BBE31}"/>
              </a:ext>
            </a:extLst>
          </p:cNvPr>
          <p:cNvGrpSpPr/>
          <p:nvPr/>
        </p:nvGrpSpPr>
        <p:grpSpPr>
          <a:xfrm>
            <a:off x="2825135" y="4766397"/>
            <a:ext cx="8782664" cy="1326428"/>
            <a:chOff x="2825135" y="4766397"/>
            <a:chExt cx="8782664" cy="1326428"/>
          </a:xfrm>
        </p:grpSpPr>
        <p:sp>
          <p:nvSpPr>
            <p:cNvPr id="44" name="Freeform 30">
              <a:extLst>
                <a:ext uri="{FF2B5EF4-FFF2-40B4-BE49-F238E27FC236}">
                  <a16:creationId xmlns:a16="http://schemas.microsoft.com/office/drawing/2014/main" id="{40708CD4-1B34-4F5C-ADCA-9F8E71BFC488}"/>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sp>
          <p:nvSpPr>
            <p:cNvPr id="50" name="Rectangle 49">
              <a:extLst>
                <a:ext uri="{FF2B5EF4-FFF2-40B4-BE49-F238E27FC236}">
                  <a16:creationId xmlns:a16="http://schemas.microsoft.com/office/drawing/2014/main" id="{7237A51C-699B-49AC-96CA-34875D919FA3}"/>
                </a:ext>
              </a:extLst>
            </p:cNvPr>
            <p:cNvSpPr/>
            <p:nvPr/>
          </p:nvSpPr>
          <p:spPr>
            <a:xfrm>
              <a:off x="2825137" y="4766399"/>
              <a:ext cx="2429813" cy="226591"/>
            </a:xfrm>
            <a:prstGeom prst="rect">
              <a:avLst/>
            </a:prstGeom>
          </p:spPr>
          <p:txBody>
            <a:bodyPr wrap="square" lIns="36000" tIns="36000" rIns="36000" bIns="36000">
              <a:spAutoFit/>
            </a:bodyPr>
            <a:lstStyle/>
            <a:p>
              <a:pPr defTabSz="913943">
                <a:spcBef>
                  <a:spcPct val="20000"/>
                </a:spcBef>
                <a:buClr>
                  <a:srgbClr val="FFE600"/>
                </a:buClr>
                <a:buSzPct val="70000"/>
              </a:pPr>
              <a:r>
                <a:rPr lang="en-IN" sz="1000" b="1">
                  <a:solidFill>
                    <a:schemeClr val="bg1"/>
                  </a:solidFill>
                  <a:latin typeface="Calibri" panose="020F0502020204030204" pitchFamily="34" charset="0"/>
                  <a:cs typeface="Calibri" panose="020F0502020204030204" pitchFamily="34" charset="0"/>
                </a:rPr>
                <a:t>EY Differentiators</a:t>
              </a:r>
            </a:p>
          </p:txBody>
        </p:sp>
        <p:sp>
          <p:nvSpPr>
            <p:cNvPr id="51" name="Rectangle 50">
              <a:extLst>
                <a:ext uri="{FF2B5EF4-FFF2-40B4-BE49-F238E27FC236}">
                  <a16:creationId xmlns:a16="http://schemas.microsoft.com/office/drawing/2014/main" id="{AC0FB360-512C-4266-875A-2A8FD3174718}"/>
                </a:ext>
              </a:extLst>
            </p:cNvPr>
            <p:cNvSpPr/>
            <p:nvPr/>
          </p:nvSpPr>
          <p:spPr>
            <a:xfrm>
              <a:off x="2825137" y="5034442"/>
              <a:ext cx="8725391" cy="585279"/>
            </a:xfrm>
            <a:prstGeom prst="rect">
              <a:avLst/>
            </a:prstGeom>
          </p:spPr>
          <p:txBody>
            <a:bodyPr wrap="square" lIns="36000" tIns="36000" rIns="36000" bIns="36000">
              <a:spAutoFit/>
            </a:bodyPr>
            <a:lstStyle/>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Embedded data and change management within functional scrum teams to minimise risk associated with data migration and drive better business adoption of solution</a:t>
              </a:r>
            </a:p>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Technical IP (rapid cloud infrastructure) to accelerate build of technical solution</a:t>
              </a:r>
            </a:p>
          </p:txBody>
        </p:sp>
      </p:grpSp>
    </p:spTree>
    <p:extLst>
      <p:ext uri="{BB962C8B-B14F-4D97-AF65-F5344CB8AC3E}">
        <p14:creationId xmlns:p14="http://schemas.microsoft.com/office/powerpoint/2010/main" val="13745385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a:extLst>
              <a:ext uri="{FF2B5EF4-FFF2-40B4-BE49-F238E27FC236}">
                <a16:creationId xmlns:a16="http://schemas.microsoft.com/office/drawing/2014/main" id="{266AADAC-213F-42B0-9017-330E1ACF7361}"/>
              </a:ext>
            </a:extLst>
          </p:cNvPr>
          <p:cNvSpPr>
            <a:spLocks noGrp="1"/>
          </p:cNvSpPr>
          <p:nvPr>
            <p:ph type="body" sz="quarter" idx="10"/>
          </p:nvPr>
        </p:nvSpPr>
        <p:spPr>
          <a:xfrm>
            <a:off x="609600" y="647271"/>
            <a:ext cx="10974388" cy="523983"/>
          </a:xfrm>
        </p:spPr>
        <p:txBody>
          <a:bodyPr/>
          <a:lstStyle/>
          <a:p>
            <a:r>
              <a:rPr lang="en-US">
                <a:latin typeface="Calibri" panose="020F0502020204030204" pitchFamily="34" charset="0"/>
                <a:cs typeface="Calibri" panose="020F0502020204030204" pitchFamily="34" charset="0"/>
              </a:rPr>
              <a:t>Realise — Test</a:t>
            </a:r>
          </a:p>
        </p:txBody>
      </p:sp>
      <p:sp>
        <p:nvSpPr>
          <p:cNvPr id="32" name="Rectangle 31">
            <a:extLst>
              <a:ext uri="{FF2B5EF4-FFF2-40B4-BE49-F238E27FC236}">
                <a16:creationId xmlns:a16="http://schemas.microsoft.com/office/drawing/2014/main" id="{598102A4-A5A8-4A7F-9343-CB4B666F5D46}"/>
              </a:ext>
            </a:extLst>
          </p:cNvPr>
          <p:cNvSpPr/>
          <p:nvPr/>
        </p:nvSpPr>
        <p:spPr>
          <a:xfrm>
            <a:off x="616900" y="1466850"/>
            <a:ext cx="1596827" cy="323165"/>
          </a:xfrm>
          <a:prstGeom prst="rect">
            <a:avLst/>
          </a:prstGeom>
        </p:spPr>
        <p:txBody>
          <a:bodyPr wrap="square" lIns="0" tIns="0" rIns="0" bIns="0">
            <a:spAutoFit/>
          </a:bodyPr>
          <a:lstStyle/>
          <a:p>
            <a:pPr defTabSz="913943"/>
            <a:r>
              <a:rPr lang="en-IN" sz="1050">
                <a:solidFill>
                  <a:schemeClr val="bg2">
                    <a:lumMod val="65000"/>
                    <a:lumOff val="35000"/>
                  </a:schemeClr>
                </a:solidFill>
                <a:latin typeface="Calibri" panose="020F0502020204030204" pitchFamily="34" charset="0"/>
                <a:cs typeface="Calibri" panose="020F0502020204030204" pitchFamily="34" charset="0"/>
              </a:rPr>
              <a:t>Perform integrated testing of solution and train end users.</a:t>
            </a:r>
          </a:p>
        </p:txBody>
      </p:sp>
      <p:sp>
        <p:nvSpPr>
          <p:cNvPr id="33" name="Freeform 30">
            <a:extLst>
              <a:ext uri="{FF2B5EF4-FFF2-40B4-BE49-F238E27FC236}">
                <a16:creationId xmlns:a16="http://schemas.microsoft.com/office/drawing/2014/main" id="{5654E8A2-1FCC-4911-8BA7-12B1FFBA4E80}"/>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grpSp>
        <p:nvGrpSpPr>
          <p:cNvPr id="34" name="Group 33">
            <a:extLst>
              <a:ext uri="{FF2B5EF4-FFF2-40B4-BE49-F238E27FC236}">
                <a16:creationId xmlns:a16="http://schemas.microsoft.com/office/drawing/2014/main" id="{EC528EBB-046F-4C54-B4DA-E9CB912C66DE}"/>
              </a:ext>
            </a:extLst>
          </p:cNvPr>
          <p:cNvGrpSpPr/>
          <p:nvPr/>
        </p:nvGrpSpPr>
        <p:grpSpPr>
          <a:xfrm>
            <a:off x="2825138" y="1466850"/>
            <a:ext cx="8782662" cy="3299642"/>
            <a:chOff x="2825138" y="1466850"/>
            <a:chExt cx="8782662" cy="2731939"/>
          </a:xfrm>
        </p:grpSpPr>
        <p:sp>
          <p:nvSpPr>
            <p:cNvPr id="35" name="Content Placeholder 28">
              <a:extLst>
                <a:ext uri="{FF2B5EF4-FFF2-40B4-BE49-F238E27FC236}">
                  <a16:creationId xmlns:a16="http://schemas.microsoft.com/office/drawing/2014/main" id="{1D844D77-8344-4662-A545-0479C696B9B1}"/>
                </a:ext>
              </a:extLst>
            </p:cNvPr>
            <p:cNvSpPr txBox="1">
              <a:spLocks/>
            </p:cNvSpPr>
            <p:nvPr/>
          </p:nvSpPr>
          <p:spPr>
            <a:xfrm>
              <a:off x="2825138" y="1466850"/>
              <a:ext cx="2201039" cy="2731937"/>
            </a:xfrm>
            <a:prstGeom prst="rect">
              <a:avLst/>
            </a:prstGeom>
            <a:solidFill>
              <a:srgbClr val="2E2E38"/>
            </a:solidFill>
          </p:spPr>
          <p:txBody>
            <a:bodyPr lIns="36000" tIns="36000" rIns="36000" bIns="36000" anchor="t"/>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300"/>
                </a:spcAft>
                <a:buClr>
                  <a:srgbClr val="FFE600"/>
                </a:buClr>
                <a:buNone/>
              </a:pPr>
              <a:r>
                <a:rPr lang="en-IN" sz="900">
                  <a:solidFill>
                    <a:srgbClr val="FFFFFF"/>
                  </a:solidFill>
                  <a:latin typeface="Calibri"/>
                  <a:cs typeface="Calibri"/>
                </a:rPr>
                <a:t>Realise — Test is the second part of the Realise phase in Activate and has been separated into its own phase to provide the necessary focus and rigor on user acceptance testing (UAT).</a:t>
              </a:r>
            </a:p>
            <a:p>
              <a:pPr marL="0" indent="0" defTabSz="913943">
                <a:spcAft>
                  <a:spcPts val="300"/>
                </a:spcAft>
                <a:buClr>
                  <a:srgbClr val="FFE600"/>
                </a:buClr>
                <a:buNone/>
              </a:pPr>
              <a:r>
                <a:rPr lang="en-IN" sz="900">
                  <a:solidFill>
                    <a:srgbClr val="FFFFFF"/>
                  </a:solidFill>
                  <a:latin typeface="Calibri"/>
                  <a:cs typeface="Calibri"/>
                </a:rPr>
                <a:t>In this phase,  test cycles are performed, training is provided via a train-the-trainer approach and preparation takes place for cutover and deployment.</a:t>
              </a:r>
            </a:p>
            <a:p>
              <a:pPr marL="0" indent="0" defTabSz="913943">
                <a:spcAft>
                  <a:spcPts val="300"/>
                </a:spcAft>
                <a:buClr>
                  <a:srgbClr val="FFE600"/>
                </a:buClr>
                <a:buNone/>
              </a:pPr>
              <a:r>
                <a:rPr lang="en-IN" sz="900">
                  <a:solidFill>
                    <a:srgbClr val="FFFFFF"/>
                  </a:solidFill>
                  <a:latin typeface="Calibri"/>
                  <a:cs typeface="Calibri"/>
                </a:rPr>
                <a:t>These test phases are not undertaken in sprints. On each lab environment coming available, UAT plans are carried out on the platform to validate and affirm its operational effectiveness. </a:t>
              </a:r>
            </a:p>
          </p:txBody>
        </p:sp>
        <p:sp>
          <p:nvSpPr>
            <p:cNvPr id="36" name="Content Placeholder 30">
              <a:extLst>
                <a:ext uri="{FF2B5EF4-FFF2-40B4-BE49-F238E27FC236}">
                  <a16:creationId xmlns:a16="http://schemas.microsoft.com/office/drawing/2014/main" id="{0E0201E2-B126-4229-8260-044505A30EA2}"/>
                </a:ext>
              </a:extLst>
            </p:cNvPr>
            <p:cNvSpPr txBox="1">
              <a:spLocks/>
            </p:cNvSpPr>
            <p:nvPr/>
          </p:nvSpPr>
          <p:spPr>
            <a:xfrm>
              <a:off x="5026177" y="1466850"/>
              <a:ext cx="3897520"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3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liver the Program</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Manage Each Workstream</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rack and Monitor Benefits Realisation</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duct System Integration Testing, System and Performance Testing, Regression Testing, User Acceptance Testing, Security Roles and Controls Testing, Cybersecurity Testing, Data Migration Mock Runs</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erform Final Data Cleansing</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Validate Migration Data</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 up Production Environment</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t up Failover Infrastructure</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st Technical Infrastructure</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Service Management</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Update Cutover and Deployment Plan</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the Cutover, Deployment, Hypercare</a:t>
              </a:r>
            </a:p>
            <a:p>
              <a:pPr marL="162000" indent="-162000" defTabSz="913943">
                <a:spcAft>
                  <a:spcPts val="3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for Realise Test</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Phase</a:t>
              </a:r>
            </a:p>
          </p:txBody>
        </p:sp>
        <p:sp>
          <p:nvSpPr>
            <p:cNvPr id="37" name="Content Placeholder 31">
              <a:extLst>
                <a:ext uri="{FF2B5EF4-FFF2-40B4-BE49-F238E27FC236}">
                  <a16:creationId xmlns:a16="http://schemas.microsoft.com/office/drawing/2014/main" id="{B0665B52-1C2A-47BB-9E65-C91FB6549EEC}"/>
                </a:ext>
              </a:extLst>
            </p:cNvPr>
            <p:cNvSpPr txBox="1">
              <a:spLocks/>
            </p:cNvSpPr>
            <p:nvPr/>
          </p:nvSpPr>
          <p:spPr>
            <a:xfrm>
              <a:off x="8923697" y="1466850"/>
              <a:ext cx="2684103"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3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st results sign-off¹</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inal data cleansing report</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duction environment</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ailover infrastructure</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Rollback plan</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tingency plan</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Hypercare support plan</a:t>
              </a:r>
            </a:p>
            <a:p>
              <a:pPr marL="162000" indent="-162000" defTabSz="913943">
                <a:spcAft>
                  <a:spcPts val="3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ject quality gate review</a:t>
              </a:r>
            </a:p>
            <a:p>
              <a:pPr marL="162000" indent="-162000" defTabSz="913943">
                <a:spcAft>
                  <a:spcPts val="3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Deliverables for Realise</a:t>
              </a:r>
            </a:p>
          </p:txBody>
        </p:sp>
      </p:grpSp>
      <p:sp>
        <p:nvSpPr>
          <p:cNvPr id="38" name="TextBox 37">
            <a:extLst>
              <a:ext uri="{FF2B5EF4-FFF2-40B4-BE49-F238E27FC236}">
                <a16:creationId xmlns:a16="http://schemas.microsoft.com/office/drawing/2014/main" id="{C4AF990C-959B-4614-B03D-48DBF06E93D9}"/>
              </a:ext>
            </a:extLst>
          </p:cNvPr>
          <p:cNvSpPr txBox="1"/>
          <p:nvPr/>
        </p:nvSpPr>
        <p:spPr>
          <a:xfrm>
            <a:off x="7710280" y="4470836"/>
            <a:ext cx="3897520" cy="155664"/>
          </a:xfrm>
          <a:prstGeom prst="rect">
            <a:avLst/>
          </a:prstGeom>
          <a:noFill/>
        </p:spPr>
        <p:txBody>
          <a:bodyPr wrap="square" lIns="0" tIns="36557" rIns="0" bIns="0" rtlCol="0">
            <a:spAutoFit/>
          </a:bodyPr>
          <a:lstStyle/>
          <a:p>
            <a:pPr defTabSz="913943">
              <a:lnSpc>
                <a:spcPct val="85000"/>
              </a:lnSpc>
              <a:spcAft>
                <a:spcPts val="1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 list of Deliverables are indicative and will be updated at a later stage</a:t>
            </a:r>
          </a:p>
        </p:txBody>
      </p:sp>
      <p:sp>
        <p:nvSpPr>
          <p:cNvPr id="39" name="Rectangle 38">
            <a:extLst>
              <a:ext uri="{FF2B5EF4-FFF2-40B4-BE49-F238E27FC236}">
                <a16:creationId xmlns:a16="http://schemas.microsoft.com/office/drawing/2014/main" id="{582E976D-7A37-4DD6-A4BC-5F1BA0FF822C}"/>
              </a:ext>
            </a:extLst>
          </p:cNvPr>
          <p:cNvSpPr/>
          <p:nvPr/>
        </p:nvSpPr>
        <p:spPr>
          <a:xfrm>
            <a:off x="2825137" y="4766399"/>
            <a:ext cx="2429813" cy="226591"/>
          </a:xfrm>
          <a:prstGeom prst="rect">
            <a:avLst/>
          </a:prstGeom>
        </p:spPr>
        <p:txBody>
          <a:bodyPr wrap="square" lIns="36000" tIns="36000" rIns="36000" bIns="36000">
            <a:spAutoFit/>
          </a:bodyPr>
          <a:lstStyle/>
          <a:p>
            <a:pPr defTabSz="913943">
              <a:spcBef>
                <a:spcPct val="20000"/>
              </a:spcBef>
              <a:buClr>
                <a:srgbClr val="FFE600"/>
              </a:buClr>
              <a:buSzPct val="70000"/>
            </a:pPr>
            <a:r>
              <a:rPr lang="en-IN" sz="1000" b="1">
                <a:solidFill>
                  <a:schemeClr val="bg1"/>
                </a:solidFill>
                <a:latin typeface="Calibri" panose="020F0502020204030204" pitchFamily="34" charset="0"/>
                <a:cs typeface="Calibri" panose="020F0502020204030204" pitchFamily="34" charset="0"/>
              </a:rPr>
              <a:t>EY Differentiators</a:t>
            </a:r>
          </a:p>
        </p:txBody>
      </p:sp>
      <p:sp>
        <p:nvSpPr>
          <p:cNvPr id="40" name="Rectangle 39">
            <a:extLst>
              <a:ext uri="{FF2B5EF4-FFF2-40B4-BE49-F238E27FC236}">
                <a16:creationId xmlns:a16="http://schemas.microsoft.com/office/drawing/2014/main" id="{ED5DDB61-3C35-4FE1-BE46-6069B2703B98}"/>
              </a:ext>
            </a:extLst>
          </p:cNvPr>
          <p:cNvSpPr/>
          <p:nvPr/>
        </p:nvSpPr>
        <p:spPr>
          <a:xfrm>
            <a:off x="2825137" y="5034442"/>
            <a:ext cx="8725391" cy="585279"/>
          </a:xfrm>
          <a:prstGeom prst="rect">
            <a:avLst/>
          </a:prstGeom>
        </p:spPr>
        <p:txBody>
          <a:bodyPr wrap="square" lIns="36000" tIns="36000" rIns="36000" bIns="36000">
            <a:spAutoFit/>
          </a:bodyPr>
          <a:lstStyle/>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EY’s approach in separating out Realise — Test as a separate phase and not mandating it be completed in sprints ensures that there is enough focus and rigor on systems integration testing without any competing demands from Build</a:t>
            </a:r>
          </a:p>
          <a:p>
            <a:pPr marL="180000" indent="-180000" defTabSz="913943">
              <a:spcAft>
                <a:spcPts val="400"/>
              </a:spcAft>
              <a:buSzPct val="70000"/>
              <a:buFont typeface="Arial" panose="020B0604020202020204" pitchFamily="34" charset="0"/>
              <a:buChar char="►"/>
            </a:pPr>
            <a:r>
              <a:rPr lang="en-IN" sz="999">
                <a:solidFill>
                  <a:schemeClr val="bg1"/>
                </a:solidFill>
                <a:latin typeface="Calibri" panose="020F0502020204030204" pitchFamily="34" charset="0"/>
                <a:cs typeface="Calibri" panose="020F0502020204030204" pitchFamily="34" charset="0"/>
              </a:rPr>
              <a:t>Automated testing can be performed if desired</a:t>
            </a:r>
          </a:p>
        </p:txBody>
      </p:sp>
    </p:spTree>
    <p:extLst>
      <p:ext uri="{BB962C8B-B14F-4D97-AF65-F5344CB8AC3E}">
        <p14:creationId xmlns:p14="http://schemas.microsoft.com/office/powerpoint/2010/main" val="13890447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86C9DCA3-438A-49EB-92E1-A53AAEA18134}"/>
              </a:ext>
            </a:extLst>
          </p:cNvPr>
          <p:cNvSpPr>
            <a:spLocks noGrp="1"/>
          </p:cNvSpPr>
          <p:nvPr>
            <p:ph type="body" sz="quarter" idx="10"/>
          </p:nvPr>
        </p:nvSpPr>
        <p:spPr>
          <a:xfrm>
            <a:off x="609600" y="647271"/>
            <a:ext cx="10974388" cy="523983"/>
          </a:xfrm>
        </p:spPr>
        <p:txBody>
          <a:bodyPr/>
          <a:lstStyle/>
          <a:p>
            <a:r>
              <a:rPr lang="en-IN">
                <a:latin typeface="Calibri" panose="020F0502020204030204" pitchFamily="34" charset="0"/>
                <a:cs typeface="Calibri" panose="020F0502020204030204" pitchFamily="34" charset="0"/>
              </a:rPr>
              <a:t>Deploy</a:t>
            </a:r>
            <a:endParaRPr lang="en-US">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2F758893-5C2F-420F-B109-308296351634}"/>
              </a:ext>
            </a:extLst>
          </p:cNvPr>
          <p:cNvSpPr/>
          <p:nvPr/>
        </p:nvSpPr>
        <p:spPr>
          <a:xfrm>
            <a:off x="616900" y="1466850"/>
            <a:ext cx="1596827" cy="323165"/>
          </a:xfrm>
          <a:prstGeom prst="rect">
            <a:avLst/>
          </a:prstGeom>
        </p:spPr>
        <p:txBody>
          <a:bodyPr wrap="square" lIns="0" tIns="0" rIns="0" bIns="0">
            <a:spAutoFit/>
          </a:bodyPr>
          <a:lstStyle/>
          <a:p>
            <a:pPr defTabSz="913943"/>
            <a:r>
              <a:rPr lang="en-IN" sz="1050">
                <a:solidFill>
                  <a:schemeClr val="bg2">
                    <a:lumMod val="65000"/>
                    <a:lumOff val="35000"/>
                  </a:schemeClr>
                </a:solidFill>
                <a:latin typeface="Calibri" panose="020F0502020204030204" pitchFamily="34" charset="0"/>
                <a:cs typeface="Calibri" panose="020F0502020204030204" pitchFamily="34" charset="0"/>
              </a:rPr>
              <a:t>Cutover to production and deploy new solution.</a:t>
            </a:r>
          </a:p>
        </p:txBody>
      </p:sp>
      <p:sp>
        <p:nvSpPr>
          <p:cNvPr id="40" name="Freeform 30">
            <a:extLst>
              <a:ext uri="{FF2B5EF4-FFF2-40B4-BE49-F238E27FC236}">
                <a16:creationId xmlns:a16="http://schemas.microsoft.com/office/drawing/2014/main" id="{8D7F5519-B9A5-4B98-BF90-A8950CD91FD8}"/>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grpSp>
        <p:nvGrpSpPr>
          <p:cNvPr id="41" name="Group 40">
            <a:extLst>
              <a:ext uri="{FF2B5EF4-FFF2-40B4-BE49-F238E27FC236}">
                <a16:creationId xmlns:a16="http://schemas.microsoft.com/office/drawing/2014/main" id="{05630DD8-52D5-409C-9A91-21E140CC15E2}"/>
              </a:ext>
            </a:extLst>
          </p:cNvPr>
          <p:cNvGrpSpPr/>
          <p:nvPr/>
        </p:nvGrpSpPr>
        <p:grpSpPr>
          <a:xfrm>
            <a:off x="2825138" y="1466849"/>
            <a:ext cx="8782662" cy="3299642"/>
            <a:chOff x="2825138" y="1466849"/>
            <a:chExt cx="8782662" cy="2731939"/>
          </a:xfrm>
        </p:grpSpPr>
        <p:sp>
          <p:nvSpPr>
            <p:cNvPr id="42" name="Content Placeholder 28">
              <a:extLst>
                <a:ext uri="{FF2B5EF4-FFF2-40B4-BE49-F238E27FC236}">
                  <a16:creationId xmlns:a16="http://schemas.microsoft.com/office/drawing/2014/main" id="{B5B84A48-0393-4F3A-ADB4-D63AE8A21562}"/>
                </a:ext>
              </a:extLst>
            </p:cNvPr>
            <p:cNvSpPr txBox="1">
              <a:spLocks/>
            </p:cNvSpPr>
            <p:nvPr/>
          </p:nvSpPr>
          <p:spPr>
            <a:xfrm>
              <a:off x="2825138" y="1466850"/>
              <a:ext cx="2201039" cy="2731937"/>
            </a:xfrm>
            <a:prstGeom prst="rect">
              <a:avLst/>
            </a:prstGeom>
            <a:solidFill>
              <a:srgbClr val="2E2E38"/>
            </a:solidFill>
          </p:spPr>
          <p:txBody>
            <a:bodyPr lIns="36000" tIns="36000" rIns="36000" bIns="36000"/>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400"/>
                </a:spcAft>
                <a:buClr>
                  <a:srgbClr val="FFE600"/>
                </a:buClr>
                <a:buNone/>
              </a:pPr>
              <a:r>
                <a:rPr lang="en-IN" sz="900">
                  <a:solidFill>
                    <a:srgbClr val="FFFFFF"/>
                  </a:solidFill>
                  <a:latin typeface="Calibri" panose="020F0502020204030204" pitchFamily="34" charset="0"/>
                  <a:cs typeface="Calibri" panose="020F0502020204030204" pitchFamily="34" charset="0"/>
                </a:rPr>
                <a:t>The purpose of the Deploy phase is to cutover from project environments to the live Production environment and deploy the solution to end users.</a:t>
              </a:r>
            </a:p>
            <a:p>
              <a:pPr marL="0" indent="0" defTabSz="913943">
                <a:spcAft>
                  <a:spcPts val="400"/>
                </a:spcAft>
                <a:buClr>
                  <a:srgbClr val="FFE600"/>
                </a:buClr>
                <a:buNone/>
              </a:pPr>
              <a:r>
                <a:rPr lang="en-IN" sz="900">
                  <a:solidFill>
                    <a:srgbClr val="FFFFFF"/>
                  </a:solidFill>
                  <a:latin typeface="Calibri" panose="020F0502020204030204" pitchFamily="34" charset="0"/>
                  <a:cs typeface="Calibri" panose="020F0502020204030204" pitchFamily="34" charset="0"/>
                </a:rPr>
                <a:t>Although the actual cutover usually takes place on a weekend, the Deploy phase is a longer period of time and includes both pre- and post-Go-Live activities.</a:t>
              </a:r>
            </a:p>
            <a:p>
              <a:pPr marL="0" indent="0" defTabSz="913943">
                <a:spcAft>
                  <a:spcPts val="400"/>
                </a:spcAft>
                <a:buClr>
                  <a:srgbClr val="FFE600"/>
                </a:buClr>
                <a:buNone/>
              </a:pPr>
              <a:r>
                <a:rPr lang="en-IN" sz="900">
                  <a:solidFill>
                    <a:srgbClr val="FFFFFF"/>
                  </a:solidFill>
                  <a:latin typeface="Calibri" panose="020F0502020204030204" pitchFamily="34" charset="0"/>
                  <a:cs typeface="Calibri" panose="020F0502020204030204" pitchFamily="34" charset="0"/>
                </a:rPr>
                <a:t>In addition to solution deployment, final end user training occurs and preparation for hypercare and transition to service management is performed.</a:t>
              </a:r>
            </a:p>
          </p:txBody>
        </p:sp>
        <p:sp>
          <p:nvSpPr>
            <p:cNvPr id="43" name="Content Placeholder 30">
              <a:extLst>
                <a:ext uri="{FF2B5EF4-FFF2-40B4-BE49-F238E27FC236}">
                  <a16:creationId xmlns:a16="http://schemas.microsoft.com/office/drawing/2014/main" id="{59C4EDA0-C605-4DC0-8F46-77EC237836CD}"/>
                </a:ext>
              </a:extLst>
            </p:cNvPr>
            <p:cNvSpPr txBox="1">
              <a:spLocks/>
            </p:cNvSpPr>
            <p:nvPr/>
          </p:nvSpPr>
          <p:spPr>
            <a:xfrm>
              <a:off x="5026177" y="1466850"/>
              <a:ext cx="3897520"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4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Deliver the Program</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Manage Each Workstream</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the Business for Go-Live</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Technical Infrastructure for Go-Live</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vision Production Acces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Finalise Cutover and Deployment Preparation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firm Cutover and Deployment Readines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Hypercare</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utover to Production </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epare for Service Management</a:t>
              </a:r>
            </a:p>
            <a:p>
              <a:pPr marL="162000" indent="-162000" defTabSz="913943">
                <a:spcAft>
                  <a:spcPts val="4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for Deploy</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Phase</a:t>
              </a:r>
            </a:p>
          </p:txBody>
        </p:sp>
        <p:sp>
          <p:nvSpPr>
            <p:cNvPr id="44" name="Content Placeholder 31">
              <a:extLst>
                <a:ext uri="{FF2B5EF4-FFF2-40B4-BE49-F238E27FC236}">
                  <a16:creationId xmlns:a16="http://schemas.microsoft.com/office/drawing/2014/main" id="{36729384-0A67-4899-95E2-755F7DC6F032}"/>
                </a:ext>
              </a:extLst>
            </p:cNvPr>
            <p:cNvSpPr txBox="1">
              <a:spLocks/>
            </p:cNvSpPr>
            <p:nvPr/>
          </p:nvSpPr>
          <p:spPr>
            <a:xfrm>
              <a:off x="8923697" y="1466849"/>
              <a:ext cx="2684103"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4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utover runbook</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echnical system test results sign-off</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Go/no-go report</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mote to Production checklist</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duction data load sign-off</a:t>
              </a:r>
            </a:p>
            <a:p>
              <a:pPr marL="162000" indent="-162000" defTabSz="913943">
                <a:spcAft>
                  <a:spcPts val="4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Deliverables for Deploy</a:t>
              </a:r>
            </a:p>
          </p:txBody>
        </p:sp>
      </p:grpSp>
      <p:sp>
        <p:nvSpPr>
          <p:cNvPr id="45" name="TextBox 44">
            <a:extLst>
              <a:ext uri="{FF2B5EF4-FFF2-40B4-BE49-F238E27FC236}">
                <a16:creationId xmlns:a16="http://schemas.microsoft.com/office/drawing/2014/main" id="{2C2C1BF3-7620-4FEE-8324-305D8B1314FF}"/>
              </a:ext>
            </a:extLst>
          </p:cNvPr>
          <p:cNvSpPr txBox="1"/>
          <p:nvPr/>
        </p:nvSpPr>
        <p:spPr>
          <a:xfrm>
            <a:off x="7710280" y="4484915"/>
            <a:ext cx="3897520" cy="154577"/>
          </a:xfrm>
          <a:prstGeom prst="rect">
            <a:avLst/>
          </a:prstGeom>
          <a:noFill/>
        </p:spPr>
        <p:txBody>
          <a:bodyPr wrap="square" lIns="0" tIns="36557" rIns="0" bIns="0" rtlCol="0">
            <a:spAutoFit/>
          </a:bodyPr>
          <a:lstStyle/>
          <a:p>
            <a:pPr defTabSz="913943">
              <a:lnSpc>
                <a:spcPct val="85000"/>
              </a:lnSpc>
              <a:spcAft>
                <a:spcPts val="1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 list of Deliverables are indicative and will be updated at a later stage</a:t>
            </a:r>
          </a:p>
        </p:txBody>
      </p:sp>
    </p:spTree>
    <p:extLst>
      <p:ext uri="{BB962C8B-B14F-4D97-AF65-F5344CB8AC3E}">
        <p14:creationId xmlns:p14="http://schemas.microsoft.com/office/powerpoint/2010/main" val="10183516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829B9C71-BC31-4FE9-8CEE-0E15053C167F}"/>
              </a:ext>
            </a:extLst>
          </p:cNvPr>
          <p:cNvSpPr>
            <a:spLocks noGrp="1"/>
          </p:cNvSpPr>
          <p:nvPr>
            <p:ph type="body" sz="quarter" idx="10"/>
          </p:nvPr>
        </p:nvSpPr>
        <p:spPr>
          <a:xfrm>
            <a:off x="609600" y="647271"/>
            <a:ext cx="10974388" cy="523983"/>
          </a:xfrm>
        </p:spPr>
        <p:txBody>
          <a:bodyPr/>
          <a:lstStyle/>
          <a:p>
            <a:r>
              <a:rPr lang="en-IN">
                <a:latin typeface="Calibri" panose="020F0502020204030204" pitchFamily="34" charset="0"/>
                <a:cs typeface="Calibri" panose="020F0502020204030204" pitchFamily="34" charset="0"/>
              </a:rPr>
              <a:t>Run</a:t>
            </a:r>
            <a:endParaRPr lang="en-US">
              <a:latin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6B353CFE-55EF-4DBF-A4B2-1D3C5D41145A}"/>
              </a:ext>
            </a:extLst>
          </p:cNvPr>
          <p:cNvSpPr/>
          <p:nvPr/>
        </p:nvSpPr>
        <p:spPr>
          <a:xfrm>
            <a:off x="616900" y="1466850"/>
            <a:ext cx="1596827" cy="646331"/>
          </a:xfrm>
          <a:prstGeom prst="rect">
            <a:avLst/>
          </a:prstGeom>
        </p:spPr>
        <p:txBody>
          <a:bodyPr wrap="square" lIns="0" tIns="0" rIns="0" bIns="0">
            <a:spAutoFit/>
          </a:bodyPr>
          <a:lstStyle/>
          <a:p>
            <a:pPr defTabSz="913943"/>
            <a:r>
              <a:rPr lang="en-IN" sz="1050">
                <a:solidFill>
                  <a:schemeClr val="bg2">
                    <a:lumMod val="65000"/>
                    <a:lumOff val="35000"/>
                  </a:schemeClr>
                </a:solidFill>
                <a:latin typeface="Calibri" panose="020F0502020204030204" pitchFamily="34" charset="0"/>
                <a:cs typeface="Calibri" panose="020F0502020204030204" pitchFamily="34" charset="0"/>
              </a:rPr>
              <a:t>Support new solution through </a:t>
            </a:r>
            <a:r>
              <a:rPr lang="en-IN" sz="1050" err="1">
                <a:solidFill>
                  <a:schemeClr val="bg2">
                    <a:lumMod val="65000"/>
                    <a:lumOff val="35000"/>
                  </a:schemeClr>
                </a:solidFill>
                <a:latin typeface="Calibri" panose="020F0502020204030204" pitchFamily="34" charset="0"/>
                <a:cs typeface="Calibri" panose="020F0502020204030204" pitchFamily="34" charset="0"/>
              </a:rPr>
              <a:t>hypercare</a:t>
            </a:r>
            <a:r>
              <a:rPr lang="en-IN" sz="1050">
                <a:solidFill>
                  <a:schemeClr val="bg2">
                    <a:lumMod val="65000"/>
                    <a:lumOff val="35000"/>
                  </a:schemeClr>
                </a:solidFill>
                <a:latin typeface="Calibri" panose="020F0502020204030204" pitchFamily="34" charset="0"/>
                <a:cs typeface="Calibri" panose="020F0502020204030204" pitchFamily="34" charset="0"/>
              </a:rPr>
              <a:t> and handover to service management.</a:t>
            </a:r>
          </a:p>
        </p:txBody>
      </p:sp>
      <p:sp>
        <p:nvSpPr>
          <p:cNvPr id="27" name="Freeform 30">
            <a:extLst>
              <a:ext uri="{FF2B5EF4-FFF2-40B4-BE49-F238E27FC236}">
                <a16:creationId xmlns:a16="http://schemas.microsoft.com/office/drawing/2014/main" id="{7A34AB32-A986-4F95-B734-C675CF46B67A}"/>
              </a:ext>
            </a:extLst>
          </p:cNvPr>
          <p:cNvSpPr/>
          <p:nvPr/>
        </p:nvSpPr>
        <p:spPr>
          <a:xfrm rot="10800000">
            <a:off x="2825135" y="4766397"/>
            <a:ext cx="8782664" cy="1326428"/>
          </a:xfrm>
          <a:prstGeom prst="rect">
            <a:avLst/>
          </a:prstGeom>
          <a:solidFill>
            <a:srgbClr val="C4C4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9">
              <a:solidFill>
                <a:schemeClr val="bg1"/>
              </a:solidFill>
              <a:latin typeface="Calibri" panose="020F0502020204030204" pitchFamily="34" charset="0"/>
              <a:cs typeface="Calibri" panose="020F0502020204030204" pitchFamily="34" charset="0"/>
            </a:endParaRPr>
          </a:p>
        </p:txBody>
      </p:sp>
      <p:grpSp>
        <p:nvGrpSpPr>
          <p:cNvPr id="28" name="Group 27">
            <a:extLst>
              <a:ext uri="{FF2B5EF4-FFF2-40B4-BE49-F238E27FC236}">
                <a16:creationId xmlns:a16="http://schemas.microsoft.com/office/drawing/2014/main" id="{D7ED352A-7950-4E76-A72B-F9FB44A4EC6B}"/>
              </a:ext>
            </a:extLst>
          </p:cNvPr>
          <p:cNvGrpSpPr/>
          <p:nvPr/>
        </p:nvGrpSpPr>
        <p:grpSpPr>
          <a:xfrm>
            <a:off x="2825138" y="1466850"/>
            <a:ext cx="8782662" cy="3299642"/>
            <a:chOff x="2825138" y="1466850"/>
            <a:chExt cx="8782662" cy="2731939"/>
          </a:xfrm>
        </p:grpSpPr>
        <p:sp>
          <p:nvSpPr>
            <p:cNvPr id="29" name="Content Placeholder 28">
              <a:extLst>
                <a:ext uri="{FF2B5EF4-FFF2-40B4-BE49-F238E27FC236}">
                  <a16:creationId xmlns:a16="http://schemas.microsoft.com/office/drawing/2014/main" id="{6F5F9F8A-DF12-4D8F-BA86-7C9E39CA8EAA}"/>
                </a:ext>
              </a:extLst>
            </p:cNvPr>
            <p:cNvSpPr txBox="1">
              <a:spLocks/>
            </p:cNvSpPr>
            <p:nvPr/>
          </p:nvSpPr>
          <p:spPr>
            <a:xfrm>
              <a:off x="2825138" y="1466850"/>
              <a:ext cx="2201039" cy="2731937"/>
            </a:xfrm>
            <a:prstGeom prst="rect">
              <a:avLst/>
            </a:prstGeom>
            <a:solidFill>
              <a:srgbClr val="2E2E38"/>
            </a:solidFill>
          </p:spPr>
          <p:txBody>
            <a:bodyPr lIns="36000" tIns="36000" rIns="36000" bIns="36000"/>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Aft>
                  <a:spcPts val="400"/>
                </a:spcAft>
                <a:buClr>
                  <a:srgbClr val="FFE600"/>
                </a:buClr>
                <a:buNone/>
              </a:pPr>
              <a:r>
                <a:rPr lang="en-IN" sz="900">
                  <a:solidFill>
                    <a:srgbClr val="FFFFFF"/>
                  </a:solidFill>
                  <a:latin typeface="Calibri" panose="020F0502020204030204" pitchFamily="34" charset="0"/>
                  <a:cs typeface="Calibri" panose="020F0502020204030204" pitchFamily="34" charset="0"/>
                </a:rPr>
                <a:t>The purpose of the Run phase is to provide hypercare support to the newly-deployed solution.</a:t>
              </a:r>
            </a:p>
            <a:p>
              <a:pPr marL="0" indent="0" defTabSz="913943">
                <a:spcAft>
                  <a:spcPts val="400"/>
                </a:spcAft>
                <a:buClr>
                  <a:srgbClr val="FFE600"/>
                </a:buClr>
                <a:buNone/>
              </a:pPr>
              <a:r>
                <a:rPr lang="en-IN" sz="900">
                  <a:solidFill>
                    <a:srgbClr val="FFFFFF"/>
                  </a:solidFill>
                  <a:latin typeface="Calibri" panose="020F0502020204030204" pitchFamily="34" charset="0"/>
                  <a:cs typeface="Calibri" panose="020F0502020204030204" pitchFamily="34" charset="0"/>
                </a:rPr>
                <a:t>After Hypercare is exited, the solution transitions to service management and assessments are done to further optimise and automate the solution.</a:t>
              </a:r>
            </a:p>
          </p:txBody>
        </p:sp>
        <p:sp>
          <p:nvSpPr>
            <p:cNvPr id="30" name="Content Placeholder 30">
              <a:extLst>
                <a:ext uri="{FF2B5EF4-FFF2-40B4-BE49-F238E27FC236}">
                  <a16:creationId xmlns:a16="http://schemas.microsoft.com/office/drawing/2014/main" id="{14A00B0D-5F6B-480B-A4FB-1A1D38ECED5B}"/>
                </a:ext>
              </a:extLst>
            </p:cNvPr>
            <p:cNvSpPr txBox="1">
              <a:spLocks/>
            </p:cNvSpPr>
            <p:nvPr/>
          </p:nvSpPr>
          <p:spPr>
            <a:xfrm>
              <a:off x="5026177" y="1466850"/>
              <a:ext cx="3897520" cy="2731938"/>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400"/>
                </a:spcAft>
              </a:pPr>
              <a:r>
                <a:rPr lang="en-US" sz="900" b="1">
                  <a:solidFill>
                    <a:srgbClr val="FFFFFF"/>
                  </a:solidFill>
                  <a:latin typeface="Calibri" panose="020F0502020204030204" pitchFamily="34" charset="0"/>
                  <a:cs typeface="Calibri" panose="020F0502020204030204" pitchFamily="34" charset="0"/>
                </a:rPr>
                <a:t>Key Activitie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lose the Program</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Optimise Benefits Realisation</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Conduct Post Go-Live Training</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vide Hypercare Support for Solution</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vide Hypercare for Technical Infrastructure</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Transition to Service Management</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Assess and Optimise Service Management</a:t>
              </a:r>
            </a:p>
            <a:p>
              <a:pPr marL="162000" indent="-162000" defTabSz="913943">
                <a:spcAft>
                  <a:spcPts val="4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for Run</a:t>
              </a:r>
            </a:p>
          </p:txBody>
        </p:sp>
        <p:sp>
          <p:nvSpPr>
            <p:cNvPr id="31" name="Content Placeholder 31">
              <a:extLst>
                <a:ext uri="{FF2B5EF4-FFF2-40B4-BE49-F238E27FC236}">
                  <a16:creationId xmlns:a16="http://schemas.microsoft.com/office/drawing/2014/main" id="{0EB1A8E1-D7EC-4D9F-AEA4-A83EAA122376}"/>
                </a:ext>
              </a:extLst>
            </p:cNvPr>
            <p:cNvSpPr txBox="1">
              <a:spLocks/>
            </p:cNvSpPr>
            <p:nvPr/>
          </p:nvSpPr>
          <p:spPr>
            <a:xfrm>
              <a:off x="8923697" y="1466850"/>
              <a:ext cx="2684103" cy="2731939"/>
            </a:xfrm>
            <a:prstGeom prst="rect">
              <a:avLst/>
            </a:prstGeom>
            <a:solidFill>
              <a:srgbClr val="2E2E38"/>
            </a:solidFill>
          </p:spPr>
          <p:txBody>
            <a:bodyPr vert="horz" lIns="36000" tIns="36000" rIns="36000" bIns="36000" rtlCol="0" anchor="t"/>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400"/>
                </a:spcAft>
              </a:pPr>
              <a:r>
                <a:rPr lang="en-US" b="1">
                  <a:solidFill>
                    <a:srgbClr val="FFFFFF"/>
                  </a:solidFill>
                  <a:latin typeface="Calibri" panose="020F0502020204030204" pitchFamily="34" charset="0"/>
                  <a:cs typeface="Calibri" panose="020F0502020204030204" pitchFamily="34" charset="0"/>
                </a:rPr>
                <a:t>Key Deliverables*</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Value audit strategy</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Benchmarking strategy</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ject closure report</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ost-implementation review</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Service management assessment</a:t>
              </a:r>
            </a:p>
            <a:p>
              <a:pPr marL="162000" indent="-162000" defTabSz="913943">
                <a:spcAft>
                  <a:spcPts val="400"/>
                </a:spcAft>
                <a:buClr>
                  <a:schemeClr val="tx2"/>
                </a:buClr>
                <a:buSzPct val="70000"/>
                <a:buFont typeface="Arial" panose="020B0604020202020204" pitchFamily="34" charset="0"/>
                <a:buChar char="►"/>
              </a:pPr>
              <a:r>
                <a:rPr lang="en-IN" sz="900">
                  <a:solidFill>
                    <a:srgbClr val="FFFFFF"/>
                  </a:solidFill>
                  <a:latin typeface="Calibri" panose="020F0502020204030204" pitchFamily="34" charset="0"/>
                  <a:cs typeface="Calibri" panose="020F0502020204030204" pitchFamily="34" charset="0"/>
                </a:rPr>
                <a:t>Project quality gate review</a:t>
              </a:r>
            </a:p>
            <a:p>
              <a:pPr marL="162000" indent="-162000" defTabSz="913943">
                <a:spcAft>
                  <a:spcPts val="400"/>
                </a:spcAft>
                <a:buClr>
                  <a:schemeClr val="tx2"/>
                </a:buClr>
                <a:buSzPct val="70000"/>
                <a:buFont typeface="Arial" panose="020B0604020202020204" pitchFamily="34" charset="0"/>
                <a:buChar char="►"/>
              </a:pPr>
              <a:r>
                <a:rPr lang="en-IN" sz="900">
                  <a:solidFill>
                    <a:schemeClr val="tx2"/>
                  </a:solidFill>
                  <a:latin typeface="Calibri" panose="020F0502020204030204" pitchFamily="34" charset="0"/>
                  <a:cs typeface="Calibri" panose="020F0502020204030204" pitchFamily="34" charset="0"/>
                </a:rPr>
                <a:t>Change Experience Deliverables for Run</a:t>
              </a:r>
            </a:p>
          </p:txBody>
        </p:sp>
      </p:grpSp>
      <p:sp>
        <p:nvSpPr>
          <p:cNvPr id="32" name="TextBox 31">
            <a:extLst>
              <a:ext uri="{FF2B5EF4-FFF2-40B4-BE49-F238E27FC236}">
                <a16:creationId xmlns:a16="http://schemas.microsoft.com/office/drawing/2014/main" id="{9C64E6CD-3BCD-432B-A682-795E3995E7F3}"/>
              </a:ext>
            </a:extLst>
          </p:cNvPr>
          <p:cNvSpPr txBox="1"/>
          <p:nvPr/>
        </p:nvSpPr>
        <p:spPr>
          <a:xfrm>
            <a:off x="7710279" y="4437806"/>
            <a:ext cx="3897520" cy="154577"/>
          </a:xfrm>
          <a:prstGeom prst="rect">
            <a:avLst/>
          </a:prstGeom>
          <a:noFill/>
        </p:spPr>
        <p:txBody>
          <a:bodyPr wrap="square" lIns="0" tIns="36557" rIns="0" bIns="0" rtlCol="0">
            <a:spAutoFit/>
          </a:bodyPr>
          <a:lstStyle/>
          <a:p>
            <a:pPr defTabSz="913943">
              <a:lnSpc>
                <a:spcPct val="85000"/>
              </a:lnSpc>
              <a:spcAft>
                <a:spcPts val="100"/>
              </a:spcAft>
              <a:buClr>
                <a:srgbClr val="FFE600"/>
              </a:buClr>
              <a:buSzPct val="70000"/>
            </a:pPr>
            <a:r>
              <a:rPr lang="en-GB" sz="900">
                <a:solidFill>
                  <a:srgbClr val="FFFFFF"/>
                </a:solidFill>
                <a:latin typeface="Calibri" panose="020F0502020204030204" pitchFamily="34" charset="0"/>
                <a:cs typeface="Calibri" panose="020F0502020204030204" pitchFamily="34" charset="0"/>
              </a:rPr>
              <a:t>*The list of Deliverables are indicative and will be updated at a later stage</a:t>
            </a:r>
          </a:p>
        </p:txBody>
      </p:sp>
      <p:sp>
        <p:nvSpPr>
          <p:cNvPr id="33" name="Rectangle 32">
            <a:extLst>
              <a:ext uri="{FF2B5EF4-FFF2-40B4-BE49-F238E27FC236}">
                <a16:creationId xmlns:a16="http://schemas.microsoft.com/office/drawing/2014/main" id="{9C072FDC-61EB-4FC6-BB12-0801F4832B1E}"/>
              </a:ext>
            </a:extLst>
          </p:cNvPr>
          <p:cNvSpPr/>
          <p:nvPr/>
        </p:nvSpPr>
        <p:spPr>
          <a:xfrm>
            <a:off x="2825137" y="4766399"/>
            <a:ext cx="2429813" cy="226591"/>
          </a:xfrm>
          <a:prstGeom prst="rect">
            <a:avLst/>
          </a:prstGeom>
        </p:spPr>
        <p:txBody>
          <a:bodyPr wrap="square" lIns="36000" tIns="36000" rIns="36000" bIns="36000">
            <a:spAutoFit/>
          </a:bodyPr>
          <a:lstStyle/>
          <a:p>
            <a:pPr defTabSz="913943">
              <a:spcBef>
                <a:spcPct val="20000"/>
              </a:spcBef>
              <a:buClr>
                <a:srgbClr val="FFE600"/>
              </a:buClr>
              <a:buSzPct val="70000"/>
            </a:pPr>
            <a:r>
              <a:rPr lang="en-IN" sz="1000" b="1">
                <a:solidFill>
                  <a:schemeClr val="bg1"/>
                </a:solidFill>
                <a:latin typeface="Calibri" panose="020F0502020204030204" pitchFamily="34" charset="0"/>
                <a:cs typeface="Calibri" panose="020F0502020204030204" pitchFamily="34" charset="0"/>
              </a:rPr>
              <a:t>EY Differentiators</a:t>
            </a:r>
          </a:p>
        </p:txBody>
      </p:sp>
      <p:sp>
        <p:nvSpPr>
          <p:cNvPr id="34" name="Rectangle 33">
            <a:extLst>
              <a:ext uri="{FF2B5EF4-FFF2-40B4-BE49-F238E27FC236}">
                <a16:creationId xmlns:a16="http://schemas.microsoft.com/office/drawing/2014/main" id="{AF62FBE9-58AC-4A22-90B5-C3D5DBEF536F}"/>
              </a:ext>
            </a:extLst>
          </p:cNvPr>
          <p:cNvSpPr/>
          <p:nvPr/>
        </p:nvSpPr>
        <p:spPr>
          <a:xfrm>
            <a:off x="2825137" y="5034442"/>
            <a:ext cx="8725391" cy="636575"/>
          </a:xfrm>
          <a:prstGeom prst="rect">
            <a:avLst/>
          </a:prstGeom>
        </p:spPr>
        <p:txBody>
          <a:bodyPr wrap="square" lIns="36000" tIns="36000" rIns="36000" bIns="36000">
            <a:spAutoFit/>
          </a:bodyPr>
          <a:lstStyle/>
          <a:p>
            <a:pPr marL="180000" indent="-180000" defTabSz="913943">
              <a:spcAft>
                <a:spcPts val="400"/>
              </a:spcAft>
              <a:buSzPct val="70000"/>
              <a:buFont typeface="Arial" panose="020B0604020202020204" pitchFamily="34" charset="0"/>
              <a:buChar char="►"/>
            </a:pPr>
            <a:r>
              <a:rPr lang="en-IN" sz="999" b="1">
                <a:solidFill>
                  <a:schemeClr val="bg1"/>
                </a:solidFill>
                <a:latin typeface="Calibri" panose="020F0502020204030204" pitchFamily="34" charset="0"/>
                <a:cs typeface="Calibri" panose="020F0502020204030204" pitchFamily="34" charset="0"/>
              </a:rPr>
              <a:t>EY delivery </a:t>
            </a:r>
            <a:r>
              <a:rPr lang="en-IN" sz="999">
                <a:solidFill>
                  <a:schemeClr val="bg1"/>
                </a:solidFill>
                <a:latin typeface="Calibri" panose="020F0502020204030204" pitchFamily="34" charset="0"/>
                <a:cs typeface="Calibri" panose="020F0502020204030204" pitchFamily="34" charset="0"/>
              </a:rPr>
              <a:t>method which provides a framework for measuring and implementing ongoing optimisation across the organisation</a:t>
            </a:r>
          </a:p>
          <a:p>
            <a:pPr marL="180000" indent="-180000" defTabSz="913943">
              <a:spcAft>
                <a:spcPts val="400"/>
              </a:spcAft>
              <a:buSzPct val="70000"/>
              <a:buFont typeface="Arial" panose="020B0604020202020204" pitchFamily="34" charset="0"/>
              <a:buChar char="►"/>
            </a:pPr>
            <a:r>
              <a:rPr lang="en-IN" sz="999" b="1">
                <a:solidFill>
                  <a:schemeClr val="bg1"/>
                </a:solidFill>
                <a:latin typeface="Calibri" panose="020F0502020204030204" pitchFamily="34" charset="0"/>
                <a:cs typeface="Calibri" panose="020F0502020204030204" pitchFamily="34" charset="0"/>
              </a:rPr>
              <a:t>EY Benchmark</a:t>
            </a:r>
            <a:r>
              <a:rPr lang="en-IN" sz="999">
                <a:solidFill>
                  <a:schemeClr val="bg1"/>
                </a:solidFill>
                <a:latin typeface="Calibri" panose="020F0502020204030204" pitchFamily="34" charset="0"/>
                <a:cs typeface="Calibri" panose="020F0502020204030204" pitchFamily="34" charset="0"/>
              </a:rPr>
              <a:t> platform with industry-tailored metrics and KPIs for organisations to be assessed against</a:t>
            </a:r>
          </a:p>
          <a:p>
            <a:pPr marL="180000" indent="-180000" defTabSz="913943">
              <a:spcAft>
                <a:spcPts val="400"/>
              </a:spcAft>
              <a:buSzPct val="70000"/>
              <a:buFont typeface="Arial" panose="020B0604020202020204" pitchFamily="34" charset="0"/>
              <a:buChar char="►"/>
            </a:pPr>
            <a:r>
              <a:rPr lang="en-IN" sz="999" b="1">
                <a:solidFill>
                  <a:schemeClr val="bg1"/>
                </a:solidFill>
                <a:latin typeface="Calibri" panose="020F0502020204030204" pitchFamily="34" charset="0"/>
                <a:cs typeface="Calibri" panose="020F0502020204030204" pitchFamily="34" charset="0"/>
              </a:rPr>
              <a:t>EY’s Change Experience</a:t>
            </a:r>
            <a:r>
              <a:rPr lang="en-IN" sz="999">
                <a:solidFill>
                  <a:schemeClr val="bg1"/>
                </a:solidFill>
                <a:latin typeface="Calibri" panose="020F0502020204030204" pitchFamily="34" charset="0"/>
                <a:cs typeface="Calibri" panose="020F0502020204030204" pitchFamily="34" charset="0"/>
              </a:rPr>
              <a:t> which focuses on business adoption and optimisation through lenses such as behavioural change and capability development</a:t>
            </a:r>
          </a:p>
        </p:txBody>
      </p:sp>
    </p:spTree>
    <p:extLst>
      <p:ext uri="{BB962C8B-B14F-4D97-AF65-F5344CB8AC3E}">
        <p14:creationId xmlns:p14="http://schemas.microsoft.com/office/powerpoint/2010/main" val="34566356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219201" y="1265205"/>
            <a:ext cx="5486399" cy="676788"/>
          </a:xfrm>
        </p:spPr>
        <p:txBody>
          <a:bodyPr/>
          <a:lstStyle/>
          <a:p>
            <a:r>
              <a:rPr lang="en-IE">
                <a:latin typeface="Calibri"/>
                <a:cs typeface="Calibri"/>
              </a:rPr>
              <a:t>Pricing</a:t>
            </a:r>
            <a:endParaRPr lang="en-US"/>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panose="020F0502020204030204" pitchFamily="34" charset="0"/>
                <a:cs typeface="Calibri" panose="020F0502020204030204" pitchFamily="34" charset="0"/>
              </a:rPr>
              <a:t>F.</a:t>
            </a:r>
          </a:p>
        </p:txBody>
      </p:sp>
      <p:sp>
        <p:nvSpPr>
          <p:cNvPr id="2" name="TextBox 1">
            <a:extLst>
              <a:ext uri="{FF2B5EF4-FFF2-40B4-BE49-F238E27FC236}">
                <a16:creationId xmlns:a16="http://schemas.microsoft.com/office/drawing/2014/main" id="{35CD8BED-68CF-D983-C8AF-A9AD64B592B0}"/>
              </a:ext>
            </a:extLst>
          </p:cNvPr>
          <p:cNvSpPr txBox="1"/>
          <p:nvPr/>
        </p:nvSpPr>
        <p:spPr>
          <a:xfrm>
            <a:off x="609600" y="3713593"/>
            <a:ext cx="6096000" cy="369332"/>
          </a:xfrm>
          <a:prstGeom prst="rect">
            <a:avLst/>
          </a:prstGeom>
          <a:noFill/>
        </p:spPr>
        <p:txBody>
          <a:bodyPr wrap="square" lIns="91440" tIns="45720" rIns="91440" bIns="45720" anchor="t">
            <a:spAutoFit/>
          </a:bodyPr>
          <a:lstStyle/>
          <a:p>
            <a:pPr fontAlgn="base"/>
            <a:r>
              <a:rPr lang="en-GB" b="0" i="0">
                <a:effectLst/>
                <a:latin typeface="Calibri"/>
                <a:cs typeface="Calibri"/>
              </a:rPr>
              <a:t>F.1 –</a:t>
            </a:r>
            <a:r>
              <a:rPr lang="en-GB">
                <a:latin typeface="EYInterstate Light"/>
                <a:cs typeface="Calibri"/>
              </a:rPr>
              <a:t> EY Services &amp;  Costs</a:t>
            </a:r>
            <a:endParaRPr lang="en-GB">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48899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82F83F-5237-4981-8270-3E8F19986FC6}"/>
              </a:ext>
            </a:extLst>
          </p:cNvPr>
          <p:cNvSpPr>
            <a:spLocks noGrp="1"/>
          </p:cNvSpPr>
          <p:nvPr>
            <p:ph idx="1"/>
          </p:nvPr>
        </p:nvSpPr>
        <p:spPr/>
        <p:txBody>
          <a:bodyPr/>
          <a:lstStyle/>
          <a:p>
            <a:pPr lvl="1"/>
            <a:r>
              <a:rPr lang="en-IE"/>
              <a:t>EY Service Costs</a:t>
            </a:r>
          </a:p>
          <a:p>
            <a:r>
              <a:rPr lang="en-IE"/>
              <a:t>EY will deliver immediate value to the Department through a highly competitive offer, which we commit to on a Time &amp; Materials basis. Following the Explore phase, we will carry out a joint review of the effort required to deliver the design, with the view to making a further reduction in our price should the effort come in lower than our baseline estimate. </a:t>
            </a:r>
          </a:p>
          <a:p>
            <a:r>
              <a:rPr lang="en-IE"/>
              <a:t>Additionally, we commit to review the Managed Service costs every 6 months with the view of reducing the cost to the Department based on the experienced volume</a:t>
            </a:r>
          </a:p>
          <a:p>
            <a:endParaRPr lang="en-IE"/>
          </a:p>
          <a:p>
            <a:endParaRPr lang="en-IE"/>
          </a:p>
          <a:p>
            <a:endParaRPr lang="en-IE"/>
          </a:p>
          <a:p>
            <a:endParaRPr lang="en-IE"/>
          </a:p>
          <a:p>
            <a:endParaRPr lang="en-IE"/>
          </a:p>
          <a:p>
            <a:endParaRPr lang="en-IE"/>
          </a:p>
          <a:p>
            <a:endParaRPr lang="en-IE"/>
          </a:p>
          <a:p>
            <a:endParaRPr lang="en-IE"/>
          </a:p>
          <a:p>
            <a:endParaRPr lang="en-IE"/>
          </a:p>
          <a:p>
            <a:endParaRPr lang="en-IE"/>
          </a:p>
          <a:p>
            <a:endParaRPr lang="en-IE"/>
          </a:p>
          <a:p>
            <a:endParaRPr lang="en-IE"/>
          </a:p>
          <a:p>
            <a:endParaRPr lang="en-IE"/>
          </a:p>
          <a:p>
            <a:endParaRPr lang="en-IE" sz="900" i="1"/>
          </a:p>
          <a:p>
            <a:r>
              <a:rPr lang="en-IE" sz="900" i="1"/>
              <a:t>        </a:t>
            </a:r>
          </a:p>
          <a:p>
            <a:r>
              <a:rPr lang="en-IE" sz="900" i="1"/>
              <a:t>          * We have applied a 13% discount across the full implementation engagement as our investment. </a:t>
            </a:r>
            <a:br>
              <a:rPr lang="en-IE" sz="900" i="1"/>
            </a:br>
            <a:r>
              <a:rPr lang="en-IE" sz="900" i="1"/>
              <a:t>        ** Only relevant where A/M/C activity is estimated to be &gt;40 hrs effort. Below this threshold all AMC activity is included in Base Service Cost. </a:t>
            </a:r>
            <a:br>
              <a:rPr lang="en-IE" sz="900" i="1"/>
            </a:br>
            <a:r>
              <a:rPr lang="en-IE" sz="900" i="1"/>
              <a:t>       *** Included in Base Service Cost, without caps or limits for L1, L2, L3 requests per month.</a:t>
            </a:r>
            <a:br>
              <a:rPr lang="en-IE" sz="900" i="1"/>
            </a:br>
            <a:r>
              <a:rPr lang="en-IE" sz="900" i="1"/>
              <a:t>     **** Per clarification questions, EY assume the Department will procure licenses directly from Microsoft, i.e., via an existing Enterprise Agreement via SoftwareOne . </a:t>
            </a:r>
            <a:br>
              <a:rPr lang="en-IE" sz="900" i="1"/>
            </a:br>
            <a:endParaRPr lang="en-IE" sz="900" i="1"/>
          </a:p>
          <a:p>
            <a:endParaRPr lang="en-IE" sz="900" i="1"/>
          </a:p>
          <a:p>
            <a:endParaRPr lang="en-IE"/>
          </a:p>
          <a:p>
            <a:endParaRPr lang="en-IE"/>
          </a:p>
          <a:p>
            <a:endParaRPr lang="en-IE"/>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pPr lvl="0">
              <a:spcAft>
                <a:spcPts val="600"/>
              </a:spcAft>
              <a:buClr>
                <a:srgbClr val="FFFFFF"/>
              </a:buClr>
            </a:pPr>
            <a:r>
              <a:rPr lang="en-GB">
                <a:latin typeface="EYInterstate Light"/>
              </a:rPr>
              <a:t>F</a:t>
            </a:r>
            <a:r>
              <a:rPr lang="en-GB" sz="2400" b="0">
                <a:latin typeface="EYInterstate Light"/>
              </a:rPr>
              <a:t>.1 – </a:t>
            </a:r>
            <a:r>
              <a:rPr lang="en-GB">
                <a:latin typeface="EYInterstate Light"/>
              </a:rPr>
              <a:t>Pricing </a:t>
            </a:r>
            <a:r>
              <a:rPr lang="en-GB" sz="2400" b="0">
                <a:latin typeface="EYInterstate Light"/>
              </a:rPr>
              <a:t>proposal</a:t>
            </a:r>
          </a:p>
        </p:txBody>
      </p:sp>
      <p:graphicFrame>
        <p:nvGraphicFramePr>
          <p:cNvPr id="12" name="Table 11">
            <a:extLst>
              <a:ext uri="{FF2B5EF4-FFF2-40B4-BE49-F238E27FC236}">
                <a16:creationId xmlns:a16="http://schemas.microsoft.com/office/drawing/2014/main" id="{183FB9C6-ACB9-4D4B-9259-7992482ACD7A}"/>
              </a:ext>
            </a:extLst>
          </p:cNvPr>
          <p:cNvGraphicFramePr>
            <a:graphicFrameLocks noGrp="1"/>
          </p:cNvGraphicFramePr>
          <p:nvPr>
            <p:extLst>
              <p:ext uri="{D42A27DB-BD31-4B8C-83A1-F6EECF244321}">
                <p14:modId xmlns:p14="http://schemas.microsoft.com/office/powerpoint/2010/main" val="2006603288"/>
              </p:ext>
            </p:extLst>
          </p:nvPr>
        </p:nvGraphicFramePr>
        <p:xfrm>
          <a:off x="742581" y="2293084"/>
          <a:ext cx="10974283" cy="1447755"/>
        </p:xfrm>
        <a:graphic>
          <a:graphicData uri="http://schemas.openxmlformats.org/drawingml/2006/table">
            <a:tbl>
              <a:tblPr firstRow="1" firstCol="1" bandRow="1"/>
              <a:tblGrid>
                <a:gridCol w="4656399">
                  <a:extLst>
                    <a:ext uri="{9D8B030D-6E8A-4147-A177-3AD203B41FA5}">
                      <a16:colId xmlns:a16="http://schemas.microsoft.com/office/drawing/2014/main" val="2918779454"/>
                    </a:ext>
                  </a:extLst>
                </a:gridCol>
                <a:gridCol w="1579471">
                  <a:extLst>
                    <a:ext uri="{9D8B030D-6E8A-4147-A177-3AD203B41FA5}">
                      <a16:colId xmlns:a16="http://schemas.microsoft.com/office/drawing/2014/main" val="227274289"/>
                    </a:ext>
                  </a:extLst>
                </a:gridCol>
                <a:gridCol w="1579471">
                  <a:extLst>
                    <a:ext uri="{9D8B030D-6E8A-4147-A177-3AD203B41FA5}">
                      <a16:colId xmlns:a16="http://schemas.microsoft.com/office/drawing/2014/main" val="2704048548"/>
                    </a:ext>
                  </a:extLst>
                </a:gridCol>
                <a:gridCol w="1579471">
                  <a:extLst>
                    <a:ext uri="{9D8B030D-6E8A-4147-A177-3AD203B41FA5}">
                      <a16:colId xmlns:a16="http://schemas.microsoft.com/office/drawing/2014/main" val="1666715969"/>
                    </a:ext>
                  </a:extLst>
                </a:gridCol>
                <a:gridCol w="1579471">
                  <a:extLst>
                    <a:ext uri="{9D8B030D-6E8A-4147-A177-3AD203B41FA5}">
                      <a16:colId xmlns:a16="http://schemas.microsoft.com/office/drawing/2014/main" val="2637839846"/>
                    </a:ext>
                  </a:extLst>
                </a:gridCol>
              </a:tblGrid>
              <a:tr h="0">
                <a:tc>
                  <a:txBody>
                    <a:bodyPr/>
                    <a:lstStyle/>
                    <a:p>
                      <a:pPr algn="l" fontAlgn="b"/>
                      <a:r>
                        <a:rPr lang="en-IE" sz="1000" b="0" i="0" u="none" strike="noStrike">
                          <a:solidFill>
                            <a:schemeClr val="tx1"/>
                          </a:solidFill>
                          <a:effectLst/>
                          <a:latin typeface="+mn-lt"/>
                        </a:rPr>
                        <a:t>Price component (ex VAT)</a:t>
                      </a:r>
                    </a:p>
                  </a:txBody>
                  <a:tcPr marL="36000" marR="36000" marT="36000" marB="36000" anchor="b">
                    <a:lnL w="12700" cmpd="sng">
                      <a:noFill/>
                      <a:prstDash val="soli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1</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2</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3</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Total</a:t>
                      </a:r>
                    </a:p>
                  </a:txBody>
                  <a:tcPr marL="36000" marR="36000" marT="36000" marB="36000" anchor="b">
                    <a:lnL w="76200" cap="flat" cmpd="sng" algn="ctr">
                      <a:no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8039749"/>
                  </a:ext>
                </a:extLst>
              </a:tr>
              <a:tr h="0">
                <a:tc>
                  <a:txBody>
                    <a:bodyPr/>
                    <a:lstStyle/>
                    <a:p>
                      <a:pPr algn="l" rtl="0" fontAlgn="ctr"/>
                      <a:r>
                        <a:rPr lang="en-IE" sz="1000" b="0" i="0" u="none" strike="noStrike">
                          <a:solidFill>
                            <a:srgbClr val="2E2E38"/>
                          </a:solidFill>
                          <a:effectLst/>
                          <a:latin typeface="+mn-lt"/>
                        </a:rPr>
                        <a:t>Digital Customer Contact Centre Implementation*</a:t>
                      </a:r>
                    </a:p>
                  </a:txBody>
                  <a:tcPr marL="36000" marR="36000" marT="36000" marB="36000" anchor="ctr">
                    <a:lnL w="12700" cmpd="sng">
                      <a:noFill/>
                      <a:prstDash val="soli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674,063.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kumimoji="0" lang="en-IE" sz="1000" b="0" i="0" u="none" strike="noStrike" kern="1200" cap="none" spc="0" normalizeH="0" baseline="0" noProof="0">
                          <a:ln>
                            <a:noFill/>
                          </a:ln>
                          <a:solidFill>
                            <a:srgbClr val="000000"/>
                          </a:solidFill>
                          <a:effectLst/>
                          <a:uLnTx/>
                          <a:uFillTx/>
                          <a:latin typeface="EYInterstate Light"/>
                          <a:ea typeface="+mn-ea"/>
                          <a:cs typeface="+mn-cs"/>
                        </a:rPr>
                        <a:t> €0</a:t>
                      </a:r>
                      <a:endParaRPr lang="en-IE" sz="1000" b="0" i="0" u="none" strike="noStrike" kern="1200">
                        <a:solidFill>
                          <a:srgbClr val="000000"/>
                        </a:solidFill>
                        <a:effectLst/>
                        <a:latin typeface="+mn-lt"/>
                        <a:ea typeface="+mn-ea"/>
                        <a:cs typeface="+mn-cs"/>
                      </a:endParaRP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kumimoji="0" lang="en-IE" sz="1000" b="0" i="0" u="none" strike="noStrike" kern="1200" cap="none" spc="0" normalizeH="0" baseline="0" noProof="0">
                          <a:ln>
                            <a:noFill/>
                          </a:ln>
                          <a:solidFill>
                            <a:srgbClr val="000000"/>
                          </a:solidFill>
                          <a:effectLst/>
                          <a:uLnTx/>
                          <a:uFillTx/>
                          <a:latin typeface="EYInterstate Light"/>
                          <a:ea typeface="+mn-ea"/>
                          <a:cs typeface="+mn-cs"/>
                        </a:rPr>
                        <a:t> €0</a:t>
                      </a:r>
                      <a:endParaRPr lang="en-IE" sz="1000" b="0" i="0" u="none" strike="noStrike" kern="1200">
                        <a:solidFill>
                          <a:srgbClr val="000000"/>
                        </a:solidFill>
                        <a:effectLst/>
                        <a:latin typeface="+mn-lt"/>
                        <a:ea typeface="+mn-ea"/>
                        <a:cs typeface="+mn-cs"/>
                      </a:endParaRP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IE" sz="1000" b="0" i="0" u="none" strike="noStrike" kern="1200">
                          <a:solidFill>
                            <a:srgbClr val="000000"/>
                          </a:solidFill>
                          <a:effectLst/>
                          <a:latin typeface="+mn-lt"/>
                          <a:ea typeface="+mn-ea"/>
                          <a:cs typeface="+mn-cs"/>
                        </a:rPr>
                        <a:t>€1,674,063.00 </a:t>
                      </a:r>
                      <a:endParaRPr lang="en-IE" sz="1000" b="0" i="0" u="none" strike="noStrike">
                        <a:solidFill>
                          <a:srgbClr val="000000"/>
                        </a:solidFill>
                        <a:effectLst/>
                        <a:latin typeface="+mn-lt"/>
                      </a:endParaRPr>
                    </a:p>
                  </a:txBody>
                  <a:tcPr marL="36000" marR="36000" marT="36000" marB="36000" anchor="ctr">
                    <a:lnL w="76200" cap="flat" cmpd="sng" algn="ctr">
                      <a:noFill/>
                      <a:prstDash val="solid"/>
                      <a:round/>
                      <a:headEnd type="none" w="med" len="med"/>
                      <a:tailEnd type="none" w="med" len="med"/>
                    </a:lnL>
                    <a:lnR w="12700" cmpd="sng">
                      <a:noFill/>
                      <a:prstDash val="soli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3327506"/>
                  </a:ext>
                </a:extLst>
              </a:tr>
              <a:tr h="0">
                <a:tc>
                  <a:txBody>
                    <a:bodyPr/>
                    <a:lstStyle/>
                    <a:p>
                      <a:pPr lvl="0" algn="l" rtl="0" fontAlgn="ctr"/>
                      <a:r>
                        <a:rPr lang="en-IE" sz="1000" b="0" i="0" u="none" strike="noStrike">
                          <a:solidFill>
                            <a:srgbClr val="2E2E38"/>
                          </a:solidFill>
                          <a:effectLst/>
                          <a:latin typeface="+mn-lt"/>
                        </a:rPr>
                        <a:t>Managed Services</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0 </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62,000.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62,000.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IE" sz="1000" b="0" i="0" u="none" strike="noStrike" kern="1200">
                          <a:solidFill>
                            <a:srgbClr val="000000"/>
                          </a:solidFill>
                          <a:effectLst/>
                          <a:latin typeface="+mn-lt"/>
                          <a:ea typeface="+mn-ea"/>
                          <a:cs typeface="+mn-cs"/>
                        </a:rPr>
                        <a:t>€324</a:t>
                      </a:r>
                      <a:r>
                        <a:rPr lang="en-IE" sz="1000" b="0" i="0" u="none" strike="noStrike">
                          <a:solidFill>
                            <a:srgbClr val="000000"/>
                          </a:solidFill>
                          <a:effectLst/>
                          <a:latin typeface="+mn-lt"/>
                        </a:rPr>
                        <a:t>,000.00</a:t>
                      </a:r>
                    </a:p>
                  </a:txBody>
                  <a:tcPr marL="36000" marR="36000" marT="36000" marB="36000" anchor="ctr">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8265628"/>
                  </a:ext>
                </a:extLst>
              </a:tr>
              <a:tr h="0">
                <a:tc>
                  <a:txBody>
                    <a:bodyPr/>
                    <a:lstStyle/>
                    <a:p>
                      <a:pPr marL="0" marR="0" lvl="0" indent="-275996" algn="l" defTabSz="913943" rtl="0" eaLnBrk="1" fontAlgn="ctr" latinLnBrk="0" hangingPunct="1">
                        <a:lnSpc>
                          <a:spcPct val="100000"/>
                        </a:lnSpc>
                        <a:spcBef>
                          <a:spcPts val="0"/>
                        </a:spcBef>
                        <a:spcAft>
                          <a:spcPts val="0"/>
                        </a:spcAft>
                        <a:buClrTx/>
                        <a:buSzTx/>
                        <a:buFontTx/>
                        <a:buNone/>
                        <a:tabLst/>
                        <a:defRPr/>
                      </a:pPr>
                      <a:r>
                        <a:rPr lang="en-IE" sz="1000" b="0" i="0" u="none" strike="noStrike">
                          <a:solidFill>
                            <a:srgbClr val="2E2E38"/>
                          </a:solidFill>
                          <a:effectLst/>
                          <a:latin typeface="+mn-lt"/>
                        </a:rPr>
                        <a:t>Additional Costs for Adds/Moves/Changes**</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16,50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b" latinLnBrk="0" hangingPunct="1">
                        <a:lnSpc>
                          <a:spcPct val="100000"/>
                        </a:lnSpc>
                        <a:spcBef>
                          <a:spcPts val="0"/>
                        </a:spcBef>
                        <a:spcAft>
                          <a:spcPts val="0"/>
                        </a:spcAft>
                        <a:buClrTx/>
                        <a:buSzTx/>
                        <a:buFontTx/>
                        <a:buNone/>
                        <a:tabLst/>
                        <a:defRPr/>
                      </a:pPr>
                      <a:r>
                        <a:rPr lang="en-IE" sz="1000" b="0" i="0" u="none" strike="noStrike" kern="1200">
                          <a:solidFill>
                            <a:srgbClr val="000000"/>
                          </a:solidFill>
                          <a:effectLst/>
                          <a:latin typeface="+mn-lt"/>
                          <a:ea typeface="+mn-ea"/>
                          <a:cs typeface="+mn-cs"/>
                        </a:rPr>
                        <a:t>€16,50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b" latinLnBrk="0" hangingPunct="1">
                        <a:lnSpc>
                          <a:spcPct val="100000"/>
                        </a:lnSpc>
                        <a:spcBef>
                          <a:spcPts val="0"/>
                        </a:spcBef>
                        <a:spcAft>
                          <a:spcPts val="0"/>
                        </a:spcAft>
                        <a:buClrTx/>
                        <a:buSzTx/>
                        <a:buFontTx/>
                        <a:buNone/>
                        <a:tabLst/>
                        <a:defRPr/>
                      </a:pPr>
                      <a:r>
                        <a:rPr lang="en-IE" sz="1000" b="0" i="0" u="none" strike="noStrike">
                          <a:solidFill>
                            <a:srgbClr val="000000"/>
                          </a:solidFill>
                          <a:effectLst/>
                          <a:latin typeface="+mn-lt"/>
                        </a:rPr>
                        <a:t>€0</a:t>
                      </a:r>
                    </a:p>
                  </a:txBody>
                  <a:tcPr marL="36000" marR="36000" marT="36000" marB="3600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4103597"/>
                  </a:ext>
                </a:extLst>
              </a:tr>
              <a:tr h="97915">
                <a:tc>
                  <a:txBody>
                    <a:bodyPr/>
                    <a:lstStyle/>
                    <a:p>
                      <a:pPr marL="0" marR="0" lvl="0" indent="-275996" algn="l" defTabSz="913943" rtl="0" eaLnBrk="1" fontAlgn="ctr" latinLnBrk="0" hangingPunct="1">
                        <a:lnSpc>
                          <a:spcPct val="100000"/>
                        </a:lnSpc>
                        <a:spcBef>
                          <a:spcPts val="0"/>
                        </a:spcBef>
                        <a:spcAft>
                          <a:spcPts val="0"/>
                        </a:spcAft>
                        <a:buClrTx/>
                        <a:buSzTx/>
                        <a:buFontTx/>
                        <a:buNone/>
                        <a:tabLst/>
                        <a:defRPr/>
                      </a:pPr>
                      <a:r>
                        <a:rPr lang="en-IE" sz="1000" b="0" i="0" u="none" strike="noStrike">
                          <a:solidFill>
                            <a:srgbClr val="2E2E38"/>
                          </a:solidFill>
                          <a:effectLst/>
                          <a:latin typeface="+mn-lt"/>
                        </a:rPr>
                        <a:t>Additional Costs for Incident Response***</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 €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kumimoji="0" lang="en-IE" sz="1000" b="0" i="0" u="none" strike="noStrike" kern="1200" cap="none" spc="0" normalizeH="0" baseline="0" noProof="0">
                          <a:ln>
                            <a:noFill/>
                          </a:ln>
                          <a:solidFill>
                            <a:srgbClr val="000000"/>
                          </a:solidFill>
                          <a:effectLst/>
                          <a:uLnTx/>
                          <a:uFillTx/>
                          <a:latin typeface="EYInterstate Light"/>
                          <a:ea typeface="+mn-ea"/>
                          <a:cs typeface="+mn-cs"/>
                        </a:rPr>
                        <a:t> €0</a:t>
                      </a:r>
                      <a:endParaRPr lang="en-IE" sz="1000" b="0" i="0" u="none" strike="noStrike" kern="1200">
                        <a:solidFill>
                          <a:srgbClr val="000000"/>
                        </a:solidFill>
                        <a:effectLst/>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en-IE" sz="1000" b="0" i="0" u="none" strike="noStrike" kern="1200" cap="none" spc="0" normalizeH="0" baseline="0" noProof="0">
                          <a:ln>
                            <a:noFill/>
                          </a:ln>
                          <a:solidFill>
                            <a:srgbClr val="000000"/>
                          </a:solidFill>
                          <a:effectLst/>
                          <a:uLnTx/>
                          <a:uFillTx/>
                          <a:latin typeface="EYInterstate Light"/>
                          <a:ea typeface="+mn-ea"/>
                          <a:cs typeface="+mn-cs"/>
                        </a:rPr>
                        <a:t> €0</a:t>
                      </a:r>
                      <a:endParaRPr lang="en-IE" sz="1000" b="0" i="0" u="none" strike="noStrike" kern="1200">
                        <a:solidFill>
                          <a:srgbClr val="000000"/>
                        </a:solidFill>
                        <a:effectLst/>
                        <a:latin typeface="+mn-lt"/>
                        <a:ea typeface="+mn-ea"/>
                        <a:cs typeface="+mn-cs"/>
                      </a:endParaRP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b" latinLnBrk="0" hangingPunct="1">
                        <a:lnSpc>
                          <a:spcPct val="100000"/>
                        </a:lnSpc>
                        <a:spcBef>
                          <a:spcPts val="0"/>
                        </a:spcBef>
                        <a:spcAft>
                          <a:spcPts val="0"/>
                        </a:spcAft>
                        <a:buClrTx/>
                        <a:buSzTx/>
                        <a:buFontTx/>
                        <a:buNone/>
                        <a:tabLst/>
                        <a:defRPr/>
                      </a:pPr>
                      <a:r>
                        <a:rPr lang="en-IE" sz="1000" b="0" i="0" u="none" strike="noStrike">
                          <a:solidFill>
                            <a:srgbClr val="000000"/>
                          </a:solidFill>
                          <a:effectLst/>
                          <a:latin typeface="+mn-lt"/>
                        </a:rPr>
                        <a:t>€0</a:t>
                      </a:r>
                    </a:p>
                  </a:txBody>
                  <a:tcPr marL="36000" marR="36000" marT="36000" marB="3600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196615"/>
                  </a:ext>
                </a:extLst>
              </a:tr>
              <a:tr h="0">
                <a:tc>
                  <a:txBody>
                    <a:bodyPr/>
                    <a:lstStyle/>
                    <a:p>
                      <a:pPr>
                        <a:lnSpc>
                          <a:spcPts val="1350"/>
                        </a:lnSpc>
                        <a:spcBef>
                          <a:spcPts val="300"/>
                        </a:spcBef>
                        <a:spcAft>
                          <a:spcPts val="300"/>
                        </a:spcAft>
                      </a:pPr>
                      <a:r>
                        <a:rPr lang="en-IE" sz="1000" b="0">
                          <a:solidFill>
                            <a:schemeClr val="bg1"/>
                          </a:solidFill>
                          <a:effectLst/>
                          <a:latin typeface="+mn-lt"/>
                          <a:ea typeface="Arial" panose="020B0604020202020204" pitchFamily="34" charset="0"/>
                          <a:cs typeface="Angsana New" panose="02020603050405020304" pitchFamily="18" charset="-34"/>
                        </a:rPr>
                        <a:t>Total price</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r">
                        <a:lnSpc>
                          <a:spcPts val="1350"/>
                        </a:lnSpc>
                        <a:spcBef>
                          <a:spcPts val="300"/>
                        </a:spcBef>
                        <a:spcAft>
                          <a:spcPts val="300"/>
                        </a:spcAft>
                      </a:pPr>
                      <a:r>
                        <a:rPr lang="en-IE" sz="1000" b="1" i="0" u="none" strike="noStrike" kern="1200">
                          <a:solidFill>
                            <a:srgbClr val="000000"/>
                          </a:solidFill>
                          <a:effectLst/>
                          <a:latin typeface="+mn-lt"/>
                          <a:ea typeface="+mn-ea"/>
                          <a:cs typeface="+mn-cs"/>
                        </a:rPr>
                        <a:t>€1,674,063.00 </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r" fontAlgn="b"/>
                      <a:r>
                        <a:rPr lang="en-IE" sz="1000" b="1" i="0" u="none" strike="noStrike" kern="1200">
                          <a:solidFill>
                            <a:srgbClr val="000000"/>
                          </a:solidFill>
                          <a:effectLst/>
                          <a:latin typeface="+mn-lt"/>
                          <a:ea typeface="+mn-ea"/>
                          <a:cs typeface="+mn-cs"/>
                        </a:rPr>
                        <a:t> €162,000.00 </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r" fontAlgn="b"/>
                      <a:r>
                        <a:rPr lang="en-IE" sz="1000" b="1" i="0" u="none" strike="noStrike" kern="1200">
                          <a:solidFill>
                            <a:srgbClr val="000000"/>
                          </a:solidFill>
                          <a:effectLst/>
                          <a:latin typeface="+mn-lt"/>
                          <a:ea typeface="+mn-ea"/>
                          <a:cs typeface="+mn-cs"/>
                        </a:rPr>
                        <a:t> €162,000.00 </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algn="r" defTabSz="913943" rtl="0" eaLnBrk="1" fontAlgn="b" latinLnBrk="0" hangingPunct="1"/>
                      <a:r>
                        <a:rPr lang="en-IE" sz="1000" b="1" i="0" u="none" strike="noStrike" kern="1200">
                          <a:solidFill>
                            <a:srgbClr val="000000"/>
                          </a:solidFill>
                          <a:effectLst/>
                          <a:latin typeface="+mn-lt"/>
                          <a:ea typeface="+mn-ea"/>
                          <a:cs typeface="+mn-cs"/>
                        </a:rPr>
                        <a:t> €1,998,063.00 </a:t>
                      </a:r>
                    </a:p>
                  </a:txBody>
                  <a:tcPr marL="36000" marR="36000" marT="36000" marB="36000" anchor="ctr">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385282526"/>
                  </a:ext>
                </a:extLst>
              </a:tr>
            </a:tbl>
          </a:graphicData>
        </a:graphic>
      </p:graphicFrame>
      <p:graphicFrame>
        <p:nvGraphicFramePr>
          <p:cNvPr id="7" name="Table 6">
            <a:extLst>
              <a:ext uri="{FF2B5EF4-FFF2-40B4-BE49-F238E27FC236}">
                <a16:creationId xmlns:a16="http://schemas.microsoft.com/office/drawing/2014/main" id="{26804FF2-D42E-4EB9-A798-9FD034B5B5BA}"/>
              </a:ext>
            </a:extLst>
          </p:cNvPr>
          <p:cNvGraphicFramePr>
            <a:graphicFrameLocks noGrp="1"/>
          </p:cNvGraphicFramePr>
          <p:nvPr>
            <p:extLst>
              <p:ext uri="{D42A27DB-BD31-4B8C-83A1-F6EECF244321}">
                <p14:modId xmlns:p14="http://schemas.microsoft.com/office/powerpoint/2010/main" val="3189509771"/>
              </p:ext>
            </p:extLst>
          </p:nvPr>
        </p:nvGraphicFramePr>
        <p:xfrm>
          <a:off x="742580" y="3795930"/>
          <a:ext cx="10974283" cy="1582230"/>
        </p:xfrm>
        <a:graphic>
          <a:graphicData uri="http://schemas.openxmlformats.org/drawingml/2006/table">
            <a:tbl>
              <a:tblPr firstRow="1" firstCol="1" bandRow="1"/>
              <a:tblGrid>
                <a:gridCol w="4656399">
                  <a:extLst>
                    <a:ext uri="{9D8B030D-6E8A-4147-A177-3AD203B41FA5}">
                      <a16:colId xmlns:a16="http://schemas.microsoft.com/office/drawing/2014/main" val="2918779454"/>
                    </a:ext>
                  </a:extLst>
                </a:gridCol>
                <a:gridCol w="1579471">
                  <a:extLst>
                    <a:ext uri="{9D8B030D-6E8A-4147-A177-3AD203B41FA5}">
                      <a16:colId xmlns:a16="http://schemas.microsoft.com/office/drawing/2014/main" val="227274289"/>
                    </a:ext>
                  </a:extLst>
                </a:gridCol>
                <a:gridCol w="1579471">
                  <a:extLst>
                    <a:ext uri="{9D8B030D-6E8A-4147-A177-3AD203B41FA5}">
                      <a16:colId xmlns:a16="http://schemas.microsoft.com/office/drawing/2014/main" val="2704048548"/>
                    </a:ext>
                  </a:extLst>
                </a:gridCol>
                <a:gridCol w="1579471">
                  <a:extLst>
                    <a:ext uri="{9D8B030D-6E8A-4147-A177-3AD203B41FA5}">
                      <a16:colId xmlns:a16="http://schemas.microsoft.com/office/drawing/2014/main" val="1666715969"/>
                    </a:ext>
                  </a:extLst>
                </a:gridCol>
                <a:gridCol w="1579471">
                  <a:extLst>
                    <a:ext uri="{9D8B030D-6E8A-4147-A177-3AD203B41FA5}">
                      <a16:colId xmlns:a16="http://schemas.microsoft.com/office/drawing/2014/main" val="2637839846"/>
                    </a:ext>
                  </a:extLst>
                </a:gridCol>
              </a:tblGrid>
              <a:tr h="0">
                <a:tc>
                  <a:txBody>
                    <a:bodyPr/>
                    <a:lstStyle/>
                    <a:p>
                      <a:pPr algn="l" fontAlgn="b"/>
                      <a:r>
                        <a:rPr lang="en-IE" sz="1000" b="0" i="0" u="none" strike="noStrike">
                          <a:solidFill>
                            <a:schemeClr val="tx1"/>
                          </a:solidFill>
                          <a:effectLst/>
                          <a:latin typeface="+mn-lt"/>
                        </a:rPr>
                        <a:t>Price component (ex VAT)</a:t>
                      </a:r>
                    </a:p>
                  </a:txBody>
                  <a:tcPr marL="36000" marR="36000" marT="36000" marB="36000" anchor="b">
                    <a:lnL w="12700" cmpd="sng">
                      <a:noFill/>
                      <a:prstDash val="soli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1</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2</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Year 3</a:t>
                      </a:r>
                    </a:p>
                  </a:txBody>
                  <a:tcPr marL="36000" marR="36000" marT="36000" marB="3600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r" fontAlgn="b"/>
                      <a:r>
                        <a:rPr lang="en-IE" sz="1000" b="0" i="0" u="none" strike="noStrike">
                          <a:solidFill>
                            <a:schemeClr val="tx1"/>
                          </a:solidFill>
                          <a:effectLst/>
                          <a:latin typeface="+mn-lt"/>
                        </a:rPr>
                        <a:t>Total</a:t>
                      </a:r>
                    </a:p>
                  </a:txBody>
                  <a:tcPr marL="36000" marR="36000" marT="36000" marB="36000" anchor="b">
                    <a:lnL w="76200" cap="flat" cmpd="sng" algn="ctr">
                      <a:no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8039749"/>
                  </a:ext>
                </a:extLst>
              </a:tr>
              <a:tr h="0">
                <a:tc>
                  <a:txBody>
                    <a:bodyPr/>
                    <a:lstStyle/>
                    <a:p>
                      <a:pPr algn="l" rtl="0" fontAlgn="ctr"/>
                      <a:r>
                        <a:rPr lang="en-IE" sz="1000" b="0" i="0" u="none" strike="noStrike">
                          <a:solidFill>
                            <a:srgbClr val="2E2E38"/>
                          </a:solidFill>
                          <a:effectLst/>
                          <a:latin typeface="+mn-lt"/>
                        </a:rPr>
                        <a:t>Digital Customer Contact Centre licenses</a:t>
                      </a:r>
                    </a:p>
                  </a:txBody>
                  <a:tcPr marL="36000" marR="36000" marT="36000" marB="36000" anchor="ctr">
                    <a:lnL w="12700" cmpd="sng">
                      <a:noFill/>
                      <a:prstDash val="soli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1,844.62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71,067.72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71,067.72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153,980.06</a:t>
                      </a:r>
                    </a:p>
                  </a:txBody>
                  <a:tcPr marL="9525" marR="9525" marT="9525" marB="0" anchor="b">
                    <a:lnL w="76200" cap="flat" cmpd="sng" algn="ctr">
                      <a:noFill/>
                      <a:prstDash val="solid"/>
                      <a:round/>
                      <a:headEnd type="none" w="med" len="med"/>
                      <a:tailEnd type="none" w="med" len="med"/>
                    </a:lnL>
                    <a:lnR w="12700" cmpd="sng">
                      <a:noFill/>
                      <a:prstDash val="solid"/>
                    </a:lnR>
                    <a:lnT w="12700" cmpd="sng">
                      <a:noFill/>
                      <a:prstDash val="soli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3327506"/>
                  </a:ext>
                </a:extLst>
              </a:tr>
              <a:tr h="0">
                <a:tc>
                  <a:txBody>
                    <a:bodyPr/>
                    <a:lstStyle/>
                    <a:p>
                      <a:pPr lvl="0" algn="l" rtl="0" fontAlgn="ctr"/>
                      <a:r>
                        <a:rPr lang="en-IE" sz="1000" b="0" i="0" u="none" strike="noStrike">
                          <a:solidFill>
                            <a:srgbClr val="2E2E38"/>
                          </a:solidFill>
                          <a:effectLst/>
                          <a:latin typeface="+mn-lt"/>
                        </a:rPr>
                        <a:t>Customer Online Portal System licenses</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24,713.76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48,282.56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48,282.56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321,278.88</a:t>
                      </a:r>
                    </a:p>
                  </a:txBody>
                  <a:tcPr marL="9525" marR="9525" marT="9525" marB="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8265628"/>
                  </a:ext>
                </a:extLst>
              </a:tr>
              <a:tr h="0">
                <a:tc>
                  <a:txBody>
                    <a:bodyPr/>
                    <a:lstStyle/>
                    <a:p>
                      <a:pPr marL="0" marR="0" lvl="0" indent="-275996" algn="l" defTabSz="913943" rtl="0" eaLnBrk="1" fontAlgn="ctr" latinLnBrk="0" hangingPunct="1">
                        <a:lnSpc>
                          <a:spcPct val="100000"/>
                        </a:lnSpc>
                        <a:spcBef>
                          <a:spcPts val="0"/>
                        </a:spcBef>
                        <a:spcAft>
                          <a:spcPts val="0"/>
                        </a:spcAft>
                        <a:buClrTx/>
                        <a:buSzTx/>
                        <a:buFontTx/>
                        <a:buNone/>
                        <a:tabLst/>
                        <a:defRPr/>
                      </a:pPr>
                      <a:r>
                        <a:rPr lang="en-IE" sz="1000" b="0" i="0" u="none" strike="noStrike">
                          <a:solidFill>
                            <a:srgbClr val="2E2E38"/>
                          </a:solidFill>
                          <a:effectLst/>
                          <a:latin typeface="+mn-lt"/>
                        </a:rPr>
                        <a:t>Cybersecurity Protections</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1,240.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7,440.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                    €7,440.00 </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16,120.00</a:t>
                      </a:r>
                    </a:p>
                  </a:txBody>
                  <a:tcPr marL="9525" marR="9525" marT="9525" marB="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4103597"/>
                  </a:ext>
                </a:extLst>
              </a:tr>
              <a:tr h="0">
                <a:tc>
                  <a:txBody>
                    <a:bodyPr/>
                    <a:lstStyle/>
                    <a:p>
                      <a:pPr marL="0" marR="0" lvl="0" indent="-275996" algn="l" defTabSz="913943" rtl="0" eaLnBrk="1" fontAlgn="ctr" latinLnBrk="0" hangingPunct="1">
                        <a:lnSpc>
                          <a:spcPct val="100000"/>
                        </a:lnSpc>
                        <a:spcBef>
                          <a:spcPts val="0"/>
                        </a:spcBef>
                        <a:spcAft>
                          <a:spcPts val="0"/>
                        </a:spcAft>
                        <a:buClrTx/>
                        <a:buSzTx/>
                        <a:buFontTx/>
                        <a:buNone/>
                        <a:tabLst/>
                        <a:defRPr/>
                      </a:pPr>
                      <a:r>
                        <a:rPr lang="en-IE" sz="1000" b="0" i="0" u="none" strike="noStrike">
                          <a:solidFill>
                            <a:srgbClr val="2E2E38"/>
                          </a:solidFill>
                          <a:effectLst/>
                          <a:latin typeface="+mn-lt"/>
                        </a:rPr>
                        <a:t>Ancillary Azure Services</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19,689.66</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6,357.96</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b" latinLnBrk="0" hangingPunct="1">
                        <a:lnSpc>
                          <a:spcPct val="100000"/>
                        </a:lnSpc>
                        <a:spcBef>
                          <a:spcPts val="0"/>
                        </a:spcBef>
                        <a:spcAft>
                          <a:spcPts val="0"/>
                        </a:spcAft>
                        <a:buClrTx/>
                        <a:buSzTx/>
                        <a:buFontTx/>
                        <a:buNone/>
                        <a:tabLst/>
                        <a:defRPr/>
                      </a:pPr>
                      <a:r>
                        <a:rPr lang="en-IE" sz="1000" b="0" i="0" u="none" strike="noStrike" kern="1200">
                          <a:solidFill>
                            <a:srgbClr val="000000"/>
                          </a:solidFill>
                          <a:effectLst/>
                          <a:latin typeface="+mn-lt"/>
                          <a:ea typeface="+mn-ea"/>
                          <a:cs typeface="+mn-cs"/>
                        </a:rPr>
                        <a:t>€6,357.96</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32,405.58</a:t>
                      </a:r>
                    </a:p>
                  </a:txBody>
                  <a:tcPr marL="9525" marR="9525" marT="9525" marB="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9549483"/>
                  </a:ext>
                </a:extLst>
              </a:tr>
              <a:tr h="0">
                <a:tc>
                  <a:txBody>
                    <a:bodyPr/>
                    <a:lstStyle/>
                    <a:p>
                      <a:pPr marL="0" marR="0" lvl="0" indent="-275996" algn="l" defTabSz="913943" rtl="0" eaLnBrk="1" fontAlgn="ctr" latinLnBrk="0" hangingPunct="1">
                        <a:lnSpc>
                          <a:spcPct val="100000"/>
                        </a:lnSpc>
                        <a:spcBef>
                          <a:spcPts val="0"/>
                        </a:spcBef>
                        <a:spcAft>
                          <a:spcPts val="0"/>
                        </a:spcAft>
                        <a:buClrTx/>
                        <a:buSzTx/>
                        <a:buFontTx/>
                        <a:buNone/>
                        <a:tabLst/>
                        <a:defRPr/>
                      </a:pPr>
                      <a:r>
                        <a:rPr lang="en-IE" sz="1000" b="0" i="0" u="none" strike="noStrike">
                          <a:solidFill>
                            <a:srgbClr val="2E2E38"/>
                          </a:solidFill>
                          <a:effectLst/>
                          <a:latin typeface="+mn-lt"/>
                        </a:rPr>
                        <a:t>ID-pal Liveness Check &amp; Facial Comparison</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2,000.0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IE" sz="1000" b="0" i="0" u="none" strike="noStrike" kern="1200">
                          <a:solidFill>
                            <a:srgbClr val="000000"/>
                          </a:solidFill>
                          <a:effectLst/>
                          <a:latin typeface="+mn-lt"/>
                          <a:ea typeface="+mn-ea"/>
                          <a:cs typeface="+mn-cs"/>
                        </a:rPr>
                        <a:t>€188,000.0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b" latinLnBrk="0" hangingPunct="1">
                        <a:lnSpc>
                          <a:spcPct val="100000"/>
                        </a:lnSpc>
                        <a:spcBef>
                          <a:spcPts val="0"/>
                        </a:spcBef>
                        <a:spcAft>
                          <a:spcPts val="0"/>
                        </a:spcAft>
                        <a:buClrTx/>
                        <a:buSzTx/>
                        <a:buFontTx/>
                        <a:buNone/>
                        <a:tabLst/>
                        <a:defRPr/>
                      </a:pPr>
                      <a:r>
                        <a:rPr lang="en-IE" sz="1000" b="0" i="0" u="none" strike="noStrike" kern="1200">
                          <a:solidFill>
                            <a:srgbClr val="000000"/>
                          </a:solidFill>
                          <a:effectLst/>
                          <a:latin typeface="+mn-lt"/>
                          <a:ea typeface="+mn-ea"/>
                          <a:cs typeface="+mn-cs"/>
                        </a:rPr>
                        <a:t>€188,000.00</a:t>
                      </a:r>
                    </a:p>
                  </a:txBody>
                  <a:tcPr marL="36000" marR="36000" marT="36000" marB="36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3943" rtl="0" eaLnBrk="1" fontAlgn="t" latinLnBrk="0" hangingPunct="1"/>
                      <a:r>
                        <a:rPr lang="en-IE" sz="1000" b="0" i="0" u="none" strike="noStrike" kern="1200">
                          <a:solidFill>
                            <a:srgbClr val="000000"/>
                          </a:solidFill>
                          <a:effectLst/>
                          <a:latin typeface="+mn-lt"/>
                          <a:ea typeface="+mn-ea"/>
                          <a:cs typeface="+mn-cs"/>
                        </a:rPr>
                        <a:t>€378,000.00</a:t>
                      </a:r>
                    </a:p>
                  </a:txBody>
                  <a:tcPr marL="9525" marR="9525" marT="9525" marB="0" anchor="b">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113689"/>
                  </a:ext>
                </a:extLst>
              </a:tr>
              <a:tr h="0">
                <a:tc>
                  <a:txBody>
                    <a:bodyPr/>
                    <a:lstStyle/>
                    <a:p>
                      <a:pPr>
                        <a:lnSpc>
                          <a:spcPts val="1350"/>
                        </a:lnSpc>
                        <a:spcBef>
                          <a:spcPts val="300"/>
                        </a:spcBef>
                        <a:spcAft>
                          <a:spcPts val="300"/>
                        </a:spcAft>
                      </a:pPr>
                      <a:r>
                        <a:rPr lang="en-IE" sz="1000" b="0">
                          <a:solidFill>
                            <a:schemeClr val="bg1"/>
                          </a:solidFill>
                          <a:effectLst/>
                          <a:latin typeface="+mn-lt"/>
                          <a:ea typeface="Arial" panose="020B0604020202020204" pitchFamily="34" charset="0"/>
                          <a:cs typeface="Angsana New" panose="02020603050405020304" pitchFamily="18" charset="-34"/>
                        </a:rPr>
                        <a:t>Total price****</a:t>
                      </a:r>
                    </a:p>
                  </a:txBody>
                  <a:tcPr marL="36000" marR="36000" marT="36000" marB="36000" anchor="ctr">
                    <a:lnL w="12700" cmpd="sng">
                      <a:noFill/>
                      <a:prstDash val="soli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algn="r" defTabSz="913943" rtl="0" eaLnBrk="1" fontAlgn="t" latinLnBrk="0" hangingPunct="1"/>
                      <a:r>
                        <a:rPr lang="en-IE" sz="1000" b="1" i="0" u="none" strike="noStrike" kern="1200">
                          <a:solidFill>
                            <a:srgbClr val="000000"/>
                          </a:solidFill>
                          <a:effectLst/>
                          <a:latin typeface="+mn-lt"/>
                          <a:ea typeface="+mn-ea"/>
                          <a:cs typeface="+mn-cs"/>
                        </a:rPr>
                        <a:t>€57,488.04</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algn="r" defTabSz="913943" rtl="0" eaLnBrk="1" fontAlgn="t" latinLnBrk="0" hangingPunct="1"/>
                      <a:r>
                        <a:rPr lang="en-IE" sz="1000" b="1" i="0" u="none" strike="noStrike" kern="1200">
                          <a:solidFill>
                            <a:srgbClr val="000000"/>
                          </a:solidFill>
                          <a:effectLst/>
                          <a:latin typeface="+mn-lt"/>
                          <a:ea typeface="+mn-ea"/>
                          <a:cs typeface="+mn-cs"/>
                        </a:rPr>
                        <a:t>  €421,148.24</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algn="r" defTabSz="913943" rtl="0" eaLnBrk="1" fontAlgn="t" latinLnBrk="0" hangingPunct="1"/>
                      <a:r>
                        <a:rPr lang="en-IE" sz="1000" b="1" i="0" u="none" strike="noStrike" kern="1200">
                          <a:solidFill>
                            <a:srgbClr val="000000"/>
                          </a:solidFill>
                          <a:effectLst/>
                          <a:latin typeface="+mn-lt"/>
                          <a:ea typeface="+mn-ea"/>
                          <a:cs typeface="+mn-cs"/>
                        </a:rPr>
                        <a:t>€421,148.24</a:t>
                      </a:r>
                    </a:p>
                  </a:txBody>
                  <a:tcPr marL="9525" marR="9525" marT="952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algn="r" defTabSz="913943" rtl="0" eaLnBrk="1" fontAlgn="t" latinLnBrk="0" hangingPunct="1"/>
                      <a:r>
                        <a:rPr lang="en-IE" sz="1000" b="1" i="0" u="none" strike="noStrike" kern="1200">
                          <a:solidFill>
                            <a:srgbClr val="000000"/>
                          </a:solidFill>
                          <a:effectLst/>
                          <a:latin typeface="+mn-lt"/>
                          <a:ea typeface="+mn-ea"/>
                          <a:cs typeface="+mn-cs"/>
                        </a:rPr>
                        <a:t>€899,784.52</a:t>
                      </a:r>
                    </a:p>
                  </a:txBody>
                  <a:tcPr marL="9525" marR="9525" marT="9525" marB="0" anchor="ctr">
                    <a:lnL w="76200" cap="flat" cmpd="sng" algn="ctr">
                      <a:noFill/>
                      <a:prstDash val="solid"/>
                      <a:round/>
                      <a:headEnd type="none" w="med" len="med"/>
                      <a:tailEnd type="none" w="med" len="med"/>
                    </a:lnL>
                    <a:lnR w="12700" cmpd="sng">
                      <a:noFill/>
                      <a:prstDash val="solid"/>
                    </a:lnR>
                    <a:lnT w="6350" cap="flat" cmpd="sng" algn="ctr">
                      <a:solidFill>
                        <a:srgbClr val="C4C4CD"/>
                      </a:solidFill>
                      <a:prstDash val="solid"/>
                      <a:round/>
                      <a:headEnd type="none" w="med" len="med"/>
                      <a:tailEnd type="none" w="med" len="med"/>
                    </a:lnT>
                    <a:lnB w="12700"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385282526"/>
                  </a:ext>
                </a:extLst>
              </a:tr>
            </a:tbl>
          </a:graphicData>
        </a:graphic>
      </p:graphicFrame>
    </p:spTree>
    <p:extLst>
      <p:ext uri="{BB962C8B-B14F-4D97-AF65-F5344CB8AC3E}">
        <p14:creationId xmlns:p14="http://schemas.microsoft.com/office/powerpoint/2010/main" val="2363107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219201" y="1265205"/>
            <a:ext cx="5486399" cy="676788"/>
          </a:xfrm>
        </p:spPr>
        <p:txBody>
          <a:bodyPr/>
          <a:lstStyle/>
          <a:p>
            <a:r>
              <a:rPr lang="en-IE">
                <a:latin typeface="Calibri" panose="020F0502020204030204" pitchFamily="34" charset="0"/>
                <a:cs typeface="Calibri" panose="020F0502020204030204" pitchFamily="34" charset="0"/>
              </a:rPr>
              <a:t>Contract Management &amp; Quality Assurance</a:t>
            </a: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panose="020F0502020204030204" pitchFamily="34" charset="0"/>
                <a:cs typeface="Calibri" panose="020F0502020204030204" pitchFamily="34" charset="0"/>
              </a:rPr>
              <a:t>F.</a:t>
            </a:r>
          </a:p>
        </p:txBody>
      </p:sp>
      <p:sp>
        <p:nvSpPr>
          <p:cNvPr id="2" name="TextBox 1">
            <a:extLst>
              <a:ext uri="{FF2B5EF4-FFF2-40B4-BE49-F238E27FC236}">
                <a16:creationId xmlns:a16="http://schemas.microsoft.com/office/drawing/2014/main" id="{35CD8BED-68CF-D983-C8AF-A9AD64B592B0}"/>
              </a:ext>
            </a:extLst>
          </p:cNvPr>
          <p:cNvSpPr txBox="1"/>
          <p:nvPr/>
        </p:nvSpPr>
        <p:spPr>
          <a:xfrm>
            <a:off x="609600" y="3713593"/>
            <a:ext cx="6096000" cy="923330"/>
          </a:xfrm>
          <a:prstGeom prst="rect">
            <a:avLst/>
          </a:prstGeom>
          <a:noFill/>
        </p:spPr>
        <p:txBody>
          <a:bodyPr wrap="square" lIns="91440" tIns="45720" rIns="91440" bIns="45720" anchor="t">
            <a:spAutoFit/>
          </a:bodyPr>
          <a:lstStyle/>
          <a:p>
            <a:pPr fontAlgn="base"/>
            <a:r>
              <a:rPr lang="en-GB" b="0" i="0">
                <a:effectLst/>
                <a:latin typeface="Calibri" panose="020F0502020204030204" pitchFamily="34" charset="0"/>
                <a:cs typeface="Calibri" panose="020F0502020204030204" pitchFamily="34" charset="0"/>
              </a:rPr>
              <a:t>F.1 – Governance</a:t>
            </a:r>
            <a:r>
              <a:rPr lang="en-GB">
                <a:latin typeface="Calibri" panose="020F0502020204030204" pitchFamily="34" charset="0"/>
                <a:cs typeface="Calibri" panose="020F0502020204030204" pitchFamily="34" charset="0"/>
              </a:rPr>
              <a:t> </a:t>
            </a:r>
          </a:p>
          <a:p>
            <a:pPr fontAlgn="base"/>
            <a:r>
              <a:rPr lang="en-GB">
                <a:latin typeface="Calibri" panose="020F0502020204030204" pitchFamily="34" charset="0"/>
                <a:cs typeface="Calibri" panose="020F0502020204030204" pitchFamily="34" charset="0"/>
              </a:rPr>
              <a:t>F.2 – Quality Assurance Process</a:t>
            </a:r>
            <a:endParaRPr lang="en-US">
              <a:latin typeface="Calibri" panose="020F0502020204030204" pitchFamily="34" charset="0"/>
              <a:cs typeface="Calibri" panose="020F0502020204030204" pitchFamily="34" charset="0"/>
            </a:endParaRPr>
          </a:p>
          <a:p>
            <a:pPr fontAlgn="base"/>
            <a:r>
              <a:rPr lang="en-GB">
                <a:latin typeface="Calibri" panose="020F0502020204030204" pitchFamily="34" charset="0"/>
                <a:cs typeface="Calibri" panose="020F0502020204030204" pitchFamily="34" charset="0"/>
              </a:rPr>
              <a:t>F.3 – Training &amp; Knowledge Transfer</a:t>
            </a:r>
          </a:p>
        </p:txBody>
      </p:sp>
    </p:spTree>
    <p:extLst>
      <p:ext uri="{BB962C8B-B14F-4D97-AF65-F5344CB8AC3E}">
        <p14:creationId xmlns:p14="http://schemas.microsoft.com/office/powerpoint/2010/main" val="1324215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A2479D-7BB0-416C-B8C6-6F8A651B4A6C}"/>
              </a:ext>
            </a:extLst>
          </p:cNvPr>
          <p:cNvSpPr>
            <a:spLocks noGrp="1"/>
          </p:cNvSpPr>
          <p:nvPr>
            <p:ph idx="1"/>
          </p:nvPr>
        </p:nvSpPr>
        <p:spPr>
          <a:xfrm>
            <a:off x="609600" y="1453691"/>
            <a:ext cx="11068681" cy="4608000"/>
          </a:xfrm>
        </p:spPr>
        <p:txBody>
          <a:bodyPr/>
          <a:lstStyle/>
          <a:p>
            <a:pPr lvl="1"/>
            <a:r>
              <a:rPr lang="en-GB" sz="1100" b="0" i="0" u="none" strike="noStrike">
                <a:effectLst/>
                <a:latin typeface="Calibri" panose="020F0502020204030204" pitchFamily="34" charset="0"/>
                <a:cs typeface="Calibri" panose="020F0502020204030204" pitchFamily="34" charset="0"/>
              </a:rPr>
              <a:t>EY is firmly committed to working with St. James's Hospital to help deliver your Cloud Storage Technology transformation project based on Microsoft’s Azure Cloud </a:t>
            </a:r>
            <a:r>
              <a:rPr lang="en-GB" sz="1100">
                <a:latin typeface="Calibri" panose="020F0502020204030204" pitchFamily="34" charset="0"/>
                <a:cs typeface="Calibri" panose="020F0502020204030204" pitchFamily="34" charset="0"/>
              </a:rPr>
              <a:t>p</a:t>
            </a:r>
            <a:r>
              <a:rPr lang="en-GB" sz="1100" b="0" i="0" u="none" strike="noStrike">
                <a:effectLst/>
                <a:latin typeface="Calibri" panose="020F0502020204030204" pitchFamily="34" charset="0"/>
                <a:cs typeface="Calibri" panose="020F0502020204030204" pitchFamily="34" charset="0"/>
              </a:rPr>
              <a:t>latform, and to support you in an accelerated delivery that achieves your strategic objectives. Below are the key differentiators for why EY are the right partner for you on this journey.</a:t>
            </a:r>
            <a:endParaRPr lang="en-IE" sz="1100">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7483C35A-FFCD-4BDC-86DA-68091FD80D19}"/>
              </a:ext>
            </a:extLst>
          </p:cNvPr>
          <p:cNvSpPr/>
          <p:nvPr/>
        </p:nvSpPr>
        <p:spPr>
          <a:xfrm>
            <a:off x="575145" y="4025461"/>
            <a:ext cx="3479143" cy="1270828"/>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lang="en-IE">
                <a:solidFill>
                  <a:srgbClr val="FFE600"/>
                </a:solidFill>
                <a:latin typeface="Calibri" panose="020F0502020204030204" pitchFamily="34" charset="0"/>
                <a:cs typeface="Calibri" panose="020F0502020204030204" pitchFamily="34" charset="0"/>
              </a:rPr>
              <a:t>Innovation</a:t>
            </a:r>
          </a:p>
          <a:p>
            <a:pPr marL="0" marR="0" lvl="0" indent="0" algn="l" defTabSz="914400" rtl="0" eaLnBrk="1" fontAlgn="auto" latinLnBrk="0" hangingPunct="1">
              <a:lnSpc>
                <a:spcPct val="100000"/>
              </a:lnSpc>
              <a:spcAft>
                <a:spcPts val="500"/>
              </a:spcAft>
              <a:buClrTx/>
              <a:buSzTx/>
              <a:buFontTx/>
              <a:buNone/>
              <a:tabLst/>
              <a:defRPr/>
            </a:pPr>
            <a:r>
              <a:rPr lang="en-US" sz="1200" b="0" i="0" u="none" strike="noStrike">
                <a:solidFill>
                  <a:srgbClr val="FFFFFF"/>
                </a:solidFill>
                <a:effectLst/>
                <a:latin typeface="Calibri" panose="020F0502020204030204" pitchFamily="34" charset="0"/>
                <a:cs typeface="Calibri" panose="020F0502020204030204" pitchFamily="34" charset="0"/>
              </a:rPr>
              <a:t>We challenge and offer innovation in every engagement we take on. From Day 1 we drive innovative methods of design, adoption, implementation and operations.</a:t>
            </a:r>
            <a:r>
              <a:rPr lang="en-US" sz="1200" b="0" i="0">
                <a:solidFill>
                  <a:srgbClr val="FFFFFF"/>
                </a:solidFill>
                <a:effectLst/>
                <a:latin typeface="Calibri" panose="020F0502020204030204" pitchFamily="34" charset="0"/>
                <a:cs typeface="Calibri" panose="020F0502020204030204" pitchFamily="34" charset="0"/>
              </a:rPr>
              <a:t>​</a:t>
            </a:r>
            <a:endParaRPr kumimoji="0" lang="en-IE" sz="12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34790857-0E6B-498B-A0A0-0E26D92FB17A}"/>
              </a:ext>
            </a:extLst>
          </p:cNvPr>
          <p:cNvSpPr/>
          <p:nvPr/>
        </p:nvSpPr>
        <p:spPr>
          <a:xfrm>
            <a:off x="575146" y="1966450"/>
            <a:ext cx="3479143" cy="1252984"/>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lang="en-IE">
                <a:solidFill>
                  <a:srgbClr val="FFE600"/>
                </a:solidFill>
                <a:latin typeface="Calibri" panose="020F0502020204030204" pitchFamily="34" charset="0"/>
                <a:cs typeface="Calibri" panose="020F0502020204030204" pitchFamily="34" charset="0"/>
              </a:rPr>
              <a:t>Our Solution</a:t>
            </a:r>
            <a:endParaRPr kumimoji="0" lang="en-IE" i="0" u="none" strike="noStrike" kern="120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a:p>
            <a:pPr>
              <a:spcAft>
                <a:spcPts val="500"/>
              </a:spcAft>
              <a:defRPr/>
            </a:pPr>
            <a:r>
              <a:rPr lang="en-US" sz="1200">
                <a:solidFill>
                  <a:srgbClr val="FFFFFF"/>
                </a:solidFill>
                <a:latin typeface="Calibri" panose="020F0502020204030204" pitchFamily="34" charset="0"/>
                <a:cs typeface="Calibri" panose="020F0502020204030204" pitchFamily="34" charset="0"/>
              </a:rPr>
              <a:t>Leveraging the Microsoft Cloud platform and the specific services it has to offer to meet your requirements.</a:t>
            </a:r>
            <a:endParaRPr lang="en-IE" sz="1200">
              <a:solidFill>
                <a:srgbClr val="FFFFFF"/>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F9187787-2ECD-4EC5-AE0A-B5ECF722AF41}"/>
              </a:ext>
            </a:extLst>
          </p:cNvPr>
          <p:cNvSpPr/>
          <p:nvPr/>
        </p:nvSpPr>
        <p:spPr>
          <a:xfrm>
            <a:off x="4276261" y="1962553"/>
            <a:ext cx="3479143" cy="1252984"/>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lang="en-IE">
                <a:solidFill>
                  <a:srgbClr val="FFE600"/>
                </a:solidFill>
                <a:latin typeface="Calibri" panose="020F0502020204030204" pitchFamily="34" charset="0"/>
                <a:cs typeface="Calibri" panose="020F0502020204030204" pitchFamily="34" charset="0"/>
              </a:rPr>
              <a:t>Our Health Care Sector experience</a:t>
            </a:r>
            <a:endParaRPr kumimoji="0" lang="en-IE" b="0" i="0" u="none" strike="noStrike" kern="120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500"/>
              </a:spcAft>
              <a:buClrTx/>
              <a:buSzTx/>
              <a:buFontTx/>
              <a:buNone/>
              <a:tabLst/>
              <a:defRPr/>
            </a:pPr>
            <a:r>
              <a:rPr lang="en-US" sz="1200" i="0" u="none" strike="noStrike">
                <a:solidFill>
                  <a:srgbClr val="FFFFFF"/>
                </a:solidFill>
                <a:effectLst/>
                <a:latin typeface="Calibri" panose="020F0502020204030204" pitchFamily="34" charset="0"/>
                <a:cs typeface="Calibri" panose="020F0502020204030204" pitchFamily="34" charset="0"/>
              </a:rPr>
              <a:t>We know and have extensive Health Care Sector experience, delivering transformation projects with excellence</a:t>
            </a:r>
            <a:endParaRPr kumimoji="0" lang="en-IE" sz="12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ADD56C1B-C979-4732-A114-6F2187BB5E15}"/>
              </a:ext>
            </a:extLst>
          </p:cNvPr>
          <p:cNvSpPr/>
          <p:nvPr/>
        </p:nvSpPr>
        <p:spPr>
          <a:xfrm>
            <a:off x="8026218" y="1955149"/>
            <a:ext cx="3396868" cy="1252984"/>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kumimoji="0" lang="en-IE" i="0" u="none" strike="noStrike" kern="1200" cap="none" spc="0" normalizeH="0" baseline="0" noProof="0">
                <a:ln>
                  <a:noFill/>
                </a:ln>
                <a:solidFill>
                  <a:srgbClr val="FFE600"/>
                </a:solidFill>
                <a:effectLst/>
                <a:uLnTx/>
                <a:uFillTx/>
                <a:latin typeface="Calibri"/>
                <a:cs typeface="Calibri"/>
              </a:rPr>
              <a:t>We Have </a:t>
            </a:r>
            <a:r>
              <a:rPr lang="en-IE">
                <a:solidFill>
                  <a:srgbClr val="FFE600"/>
                </a:solidFill>
                <a:latin typeface="Calibri"/>
                <a:cs typeface="Calibri"/>
              </a:rPr>
              <a:t>Extensive</a:t>
            </a:r>
            <a:r>
              <a:rPr kumimoji="0" lang="en-IE" i="0" u="none" strike="noStrike" kern="1200" cap="none" spc="0" normalizeH="0" baseline="0" noProof="0">
                <a:ln>
                  <a:noFill/>
                </a:ln>
                <a:solidFill>
                  <a:srgbClr val="FFE600"/>
                </a:solidFill>
                <a:effectLst/>
                <a:uLnTx/>
                <a:uFillTx/>
                <a:latin typeface="Calibri"/>
                <a:cs typeface="Calibri"/>
              </a:rPr>
              <a:t> </a:t>
            </a:r>
            <a:r>
              <a:rPr kumimoji="0" lang="en-IE" sz="1800" b="0" i="0" u="none" strike="noStrike" kern="1200" cap="none" spc="0" normalizeH="0" baseline="0" noProof="0">
                <a:ln>
                  <a:noFill/>
                </a:ln>
                <a:solidFill>
                  <a:srgbClr val="FFE600"/>
                </a:solidFill>
                <a:effectLst/>
                <a:uLnTx/>
                <a:uFillTx/>
                <a:latin typeface="Calibri"/>
                <a:cs typeface="Calibri"/>
              </a:rPr>
              <a:t>Microsoft</a:t>
            </a:r>
            <a:r>
              <a:rPr kumimoji="0" lang="en-IE" i="0" u="none" strike="noStrike" kern="1200" cap="none" spc="0" normalizeH="0" baseline="0" noProof="0">
                <a:ln>
                  <a:noFill/>
                </a:ln>
                <a:solidFill>
                  <a:srgbClr val="FFE600"/>
                </a:solidFill>
                <a:effectLst/>
                <a:uLnTx/>
                <a:uFillTx/>
                <a:latin typeface="Calibri"/>
                <a:cs typeface="Calibri"/>
              </a:rPr>
              <a:t> Capabilities &amp; Credentials</a:t>
            </a:r>
          </a:p>
          <a:p>
            <a:pPr>
              <a:spcAft>
                <a:spcPts val="500"/>
              </a:spcAft>
              <a:defRPr/>
            </a:pPr>
            <a:r>
              <a:rPr lang="en-US" sz="1200" b="0" i="0" u="none" strike="noStrike">
                <a:solidFill>
                  <a:srgbClr val="FFFFFF"/>
                </a:solidFill>
                <a:effectLst/>
                <a:latin typeface="Calibri"/>
                <a:cs typeface="Calibri"/>
              </a:rPr>
              <a:t>We are experts </a:t>
            </a:r>
            <a:r>
              <a:rPr lang="en-US" sz="1200">
                <a:solidFill>
                  <a:srgbClr val="FFFFFF"/>
                </a:solidFill>
                <a:latin typeface="Calibri"/>
                <a:cs typeface="Calibri"/>
              </a:rPr>
              <a:t>in supporting organizations transformation ambitions, leveraging Microsoft technologies, globally.</a:t>
            </a:r>
            <a:endParaRPr kumimoji="0" lang="en-IE" sz="1200" b="0" i="0" u="none" strike="noStrike" kern="1200" cap="none" spc="0" normalizeH="0" baseline="0" noProof="0">
              <a:ln>
                <a:noFill/>
              </a:ln>
              <a:solidFill>
                <a:srgbClr val="FFFFFF"/>
              </a:solidFill>
              <a:effectLst/>
              <a:uLnTx/>
              <a:uFillTx/>
              <a:latin typeface="Calibri"/>
              <a:cs typeface="Calibri"/>
            </a:endParaRPr>
          </a:p>
        </p:txBody>
      </p:sp>
      <p:sp>
        <p:nvSpPr>
          <p:cNvPr id="13" name="TextBox 12">
            <a:extLst>
              <a:ext uri="{FF2B5EF4-FFF2-40B4-BE49-F238E27FC236}">
                <a16:creationId xmlns:a16="http://schemas.microsoft.com/office/drawing/2014/main" id="{636F3126-F165-FDC1-45E5-02BE7CF277D9}"/>
              </a:ext>
            </a:extLst>
          </p:cNvPr>
          <p:cNvSpPr txBox="1"/>
          <p:nvPr/>
        </p:nvSpPr>
        <p:spPr>
          <a:xfrm>
            <a:off x="513719" y="3257579"/>
            <a:ext cx="3479143" cy="600164"/>
          </a:xfrm>
          <a:prstGeom prst="rect">
            <a:avLst/>
          </a:prstGeom>
          <a:noFill/>
        </p:spPr>
        <p:txBody>
          <a:bodyPr wrap="square">
            <a:spAutoFit/>
          </a:bodyPr>
          <a:lstStyle/>
          <a:p>
            <a:pPr algn="just" rtl="0" fontAlgn="base"/>
            <a:r>
              <a:rPr lang="en-IE" sz="1100">
                <a:solidFill>
                  <a:schemeClr val="bg1"/>
                </a:solidFill>
                <a:latin typeface="Calibri" panose="020F0502020204030204" pitchFamily="34" charset="0"/>
                <a:cs typeface="Calibri" panose="020F0502020204030204" pitchFamily="34" charset="0"/>
              </a:rPr>
              <a:t>Our proposed solution is based on the use of Microsoft technologies, centred around Microsoft Azure and all the platform components Azure has to offer.</a:t>
            </a:r>
          </a:p>
        </p:txBody>
      </p:sp>
      <p:sp>
        <p:nvSpPr>
          <p:cNvPr id="19" name="TextBox 18">
            <a:extLst>
              <a:ext uri="{FF2B5EF4-FFF2-40B4-BE49-F238E27FC236}">
                <a16:creationId xmlns:a16="http://schemas.microsoft.com/office/drawing/2014/main" id="{8C1FD6F4-9AA7-0DCE-BBF9-69D2EC3B9008}"/>
              </a:ext>
            </a:extLst>
          </p:cNvPr>
          <p:cNvSpPr txBox="1"/>
          <p:nvPr/>
        </p:nvSpPr>
        <p:spPr>
          <a:xfrm>
            <a:off x="4232193" y="3240635"/>
            <a:ext cx="3617607" cy="600164"/>
          </a:xfrm>
          <a:prstGeom prst="rect">
            <a:avLst/>
          </a:prstGeom>
          <a:noFill/>
        </p:spPr>
        <p:txBody>
          <a:bodyPr wrap="square">
            <a:spAutoFit/>
          </a:bodyPr>
          <a:lstStyle/>
          <a:p>
            <a:pPr algn="just" fontAlgn="base"/>
            <a:r>
              <a:rPr lang="en-IE" sz="1100">
                <a:solidFill>
                  <a:schemeClr val="bg1"/>
                </a:solidFill>
                <a:latin typeface="Calibri" panose="020F0502020204030204" pitchFamily="34" charset="0"/>
                <a:cs typeface="Calibri" panose="020F0502020204030204" pitchFamily="34" charset="0"/>
              </a:rPr>
              <a:t>In addition to our technical capabilities, we bring strong, relevant experience of designing, building and running Health Care Sector transformation projects.</a:t>
            </a:r>
            <a:endParaRPr lang="en-IE" sz="1200" b="0" i="0">
              <a:solidFill>
                <a:srgbClr val="2E2E38"/>
              </a:solidFill>
              <a:effectLst/>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EEA738DE-84E8-8598-E4FC-B5BA45A78882}"/>
              </a:ext>
            </a:extLst>
          </p:cNvPr>
          <p:cNvSpPr txBox="1"/>
          <p:nvPr/>
        </p:nvSpPr>
        <p:spPr>
          <a:xfrm>
            <a:off x="7938705" y="3217828"/>
            <a:ext cx="3533688" cy="769441"/>
          </a:xfrm>
          <a:prstGeom prst="rect">
            <a:avLst/>
          </a:prstGeom>
          <a:noFill/>
        </p:spPr>
        <p:txBody>
          <a:bodyPr wrap="square">
            <a:spAutoFit/>
          </a:bodyPr>
          <a:lstStyle/>
          <a:p>
            <a:pPr algn="just" rtl="0" fontAlgn="base"/>
            <a:r>
              <a:rPr lang="en-IE" sz="1100">
                <a:solidFill>
                  <a:schemeClr val="bg1"/>
                </a:solidFill>
                <a:latin typeface="Calibri" panose="020F0502020204030204" pitchFamily="34" charset="0"/>
                <a:cs typeface="Calibri" panose="020F0502020204030204" pitchFamily="34" charset="0"/>
              </a:rPr>
              <a:t>EY is one of the top Microsoft partners globally, providing a unique focus on transformation &amp; implementation services with a strong value proposition in the domains of technology consulting and delivery.</a:t>
            </a:r>
            <a:endParaRPr lang="en-US" sz="1100">
              <a:solidFill>
                <a:schemeClr val="bg1"/>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354B584B-A525-30FD-3039-BB24767C3CE4}"/>
              </a:ext>
            </a:extLst>
          </p:cNvPr>
          <p:cNvSpPr txBox="1"/>
          <p:nvPr/>
        </p:nvSpPr>
        <p:spPr>
          <a:xfrm>
            <a:off x="513719" y="5366782"/>
            <a:ext cx="3601993" cy="769441"/>
          </a:xfrm>
          <a:prstGeom prst="rect">
            <a:avLst/>
          </a:prstGeom>
          <a:noFill/>
        </p:spPr>
        <p:txBody>
          <a:bodyPr wrap="square">
            <a:spAutoFit/>
          </a:bodyPr>
          <a:lstStyle/>
          <a:p>
            <a:pPr algn="just" rtl="0" fontAlgn="base"/>
            <a:r>
              <a:rPr lang="en-IE" sz="1100">
                <a:solidFill>
                  <a:schemeClr val="bg1"/>
                </a:solidFill>
                <a:latin typeface="Calibri" panose="020F0502020204030204" pitchFamily="34" charset="0"/>
                <a:cs typeface="Calibri" panose="020F0502020204030204" pitchFamily="34" charset="0"/>
              </a:rPr>
              <a:t>W</a:t>
            </a:r>
            <a:r>
              <a:rPr lang="en-IE" sz="1100" b="0" i="0" u="none" strike="noStrike">
                <a:solidFill>
                  <a:schemeClr val="bg1"/>
                </a:solidFill>
                <a:effectLst/>
                <a:latin typeface="Calibri" panose="020F0502020204030204" pitchFamily="34" charset="0"/>
                <a:cs typeface="Calibri" panose="020F0502020204030204" pitchFamily="34" charset="0"/>
              </a:rPr>
              <a:t>e take pride in our focus on client service and </a:t>
            </a:r>
            <a:r>
              <a:rPr lang="en-IE" sz="1100">
                <a:solidFill>
                  <a:schemeClr val="bg1"/>
                </a:solidFill>
                <a:latin typeface="Calibri" panose="020F0502020204030204" pitchFamily="34" charset="0"/>
                <a:cs typeface="Calibri" panose="020F0502020204030204" pitchFamily="34" charset="0"/>
              </a:rPr>
              <a:t>work alongside our clients to help solve complex problems. We will also constructively challenge the status quo where we see opportunities to </a:t>
            </a:r>
            <a:r>
              <a:rPr lang="en-IE" sz="1100" b="0" i="0" u="none" strike="noStrike">
                <a:solidFill>
                  <a:schemeClr val="bg1"/>
                </a:solidFill>
                <a:effectLst/>
                <a:latin typeface="Calibri" panose="020F0502020204030204" pitchFamily="34" charset="0"/>
                <a:cs typeface="Calibri" panose="020F0502020204030204" pitchFamily="34" charset="0"/>
              </a:rPr>
              <a:t>improve.</a:t>
            </a:r>
            <a:r>
              <a:rPr lang="en-IE" sz="1100" b="0" i="0">
                <a:solidFill>
                  <a:schemeClr val="bg1"/>
                </a:solidFill>
                <a:effectLst/>
                <a:latin typeface="Calibri" panose="020F0502020204030204" pitchFamily="34" charset="0"/>
                <a:cs typeface="Calibri" panose="020F0502020204030204" pitchFamily="34" charset="0"/>
              </a:rPr>
              <a:t>​</a:t>
            </a:r>
            <a:endParaRPr lang="en-US" sz="1100">
              <a:solidFill>
                <a:schemeClr val="bg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E7D4AE69-A60A-47B4-AE01-3E3509FC1AD1}"/>
              </a:ext>
            </a:extLst>
          </p:cNvPr>
          <p:cNvSpPr/>
          <p:nvPr/>
        </p:nvSpPr>
        <p:spPr>
          <a:xfrm>
            <a:off x="4276261" y="4025461"/>
            <a:ext cx="3479143" cy="1270828"/>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lang="en-IE">
                <a:solidFill>
                  <a:srgbClr val="FFE600"/>
                </a:solidFill>
                <a:latin typeface="Calibri" panose="020F0502020204030204" pitchFamily="34" charset="0"/>
                <a:cs typeface="Calibri" panose="020F0502020204030204" pitchFamily="34" charset="0"/>
              </a:rPr>
              <a:t>Mature Managed Services Capabilities</a:t>
            </a:r>
            <a:endParaRPr kumimoji="0" lang="en-IE" i="0" u="none" strike="noStrike" kern="120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Aft>
                <a:spcPts val="500"/>
              </a:spcAft>
              <a:buClrTx/>
              <a:buSzTx/>
              <a:buFontTx/>
              <a:buNone/>
              <a:tabLst/>
              <a:defRPr/>
            </a:pPr>
            <a:r>
              <a:rPr lang="en-US" sz="1200" b="0" i="0" u="none" strike="noStrike">
                <a:solidFill>
                  <a:srgbClr val="FFFFFF"/>
                </a:solidFill>
                <a:effectLst/>
                <a:latin typeface="Calibri" panose="020F0502020204030204" pitchFamily="34" charset="0"/>
                <a:cs typeface="Calibri" panose="020F0502020204030204" pitchFamily="34" charset="0"/>
              </a:rPr>
              <a:t>We have a strong Managed Services capability delivered locally with many experienced professionals working in the Irish EY firm to support our delivery.</a:t>
            </a:r>
            <a:endParaRPr kumimoji="0" lang="en-IE" sz="12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4C29D2F3-C1AE-4B9D-A419-A8C571F10F3B}"/>
              </a:ext>
            </a:extLst>
          </p:cNvPr>
          <p:cNvSpPr txBox="1"/>
          <p:nvPr/>
        </p:nvSpPr>
        <p:spPr>
          <a:xfrm>
            <a:off x="4232192" y="5366782"/>
            <a:ext cx="3617607" cy="1107996"/>
          </a:xfrm>
          <a:prstGeom prst="rect">
            <a:avLst/>
          </a:prstGeom>
          <a:noFill/>
        </p:spPr>
        <p:txBody>
          <a:bodyPr wrap="square">
            <a:spAutoFit/>
          </a:bodyPr>
          <a:lstStyle/>
          <a:p>
            <a:pPr algn="just" fontAlgn="base"/>
            <a:r>
              <a:rPr lang="en-IE" sz="1100">
                <a:solidFill>
                  <a:schemeClr val="bg1"/>
                </a:solidFill>
                <a:latin typeface="Calibri" panose="020F0502020204030204" pitchFamily="34" charset="0"/>
                <a:cs typeface="Calibri" panose="020F0502020204030204" pitchFamily="34" charset="0"/>
              </a:rPr>
              <a:t>Our team in EY Ireland have been providing Managed Service support for over 10 years covering a wide suite of applications. </a:t>
            </a:r>
            <a:r>
              <a:rPr lang="en-AU" sz="1100">
                <a:solidFill>
                  <a:schemeClr val="bg1"/>
                </a:solidFill>
                <a:latin typeface="Calibri" panose="020F0502020204030204" pitchFamily="34" charset="0"/>
                <a:cs typeface="Calibri" panose="020F0502020204030204" pitchFamily="34" charset="0"/>
              </a:rPr>
              <a:t>EY’s Managed Service team is a responsive, local team focused on providing enterprise application and infrastructure support that’s secure, scalable and sustainable for your business. </a:t>
            </a:r>
            <a:endParaRPr lang="en-IE" sz="1100">
              <a:solidFill>
                <a:schemeClr val="bg1"/>
              </a:solidFill>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8638D428-82F3-4E25-A241-8900AD9382F4}"/>
              </a:ext>
            </a:extLst>
          </p:cNvPr>
          <p:cNvSpPr/>
          <p:nvPr/>
        </p:nvSpPr>
        <p:spPr>
          <a:xfrm>
            <a:off x="8026218" y="4025461"/>
            <a:ext cx="3479143" cy="1270828"/>
          </a:xfrm>
          <a:prstGeom prst="rect">
            <a:avLst/>
          </a:prstGeom>
          <a:solidFill>
            <a:srgbClr val="2E2E38">
              <a:alpha val="90000"/>
            </a:srgb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Aft>
                <a:spcPts val="500"/>
              </a:spcAft>
              <a:buClrTx/>
              <a:buSzTx/>
              <a:buFontTx/>
              <a:buNone/>
              <a:tabLst/>
              <a:defRPr/>
            </a:pPr>
            <a:r>
              <a:rPr lang="en-IE">
                <a:solidFill>
                  <a:srgbClr val="FFE600"/>
                </a:solidFill>
                <a:latin typeface="Calibri" panose="020F0502020204030204" pitchFamily="34" charset="0"/>
                <a:cs typeface="Calibri" panose="020F0502020204030204" pitchFamily="34" charset="0"/>
              </a:rPr>
              <a:t>Our broad end-to-end technical capability</a:t>
            </a:r>
            <a:endParaRPr kumimoji="0" lang="en-IE" i="0" u="none" strike="noStrike" kern="120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Aft>
                <a:spcPts val="500"/>
              </a:spcAft>
              <a:buClrTx/>
              <a:buSzTx/>
              <a:buFontTx/>
              <a:buNone/>
              <a:tabLst/>
              <a:defRPr/>
            </a:pPr>
            <a:r>
              <a:rPr lang="en-US" sz="1200">
                <a:solidFill>
                  <a:srgbClr val="FFFFFF"/>
                </a:solidFill>
                <a:latin typeface="Calibri" panose="020F0502020204030204" pitchFamily="34" charset="0"/>
                <a:cs typeface="Calibri" panose="020F0502020204030204" pitchFamily="34" charset="0"/>
              </a:rPr>
              <a:t>Our EY Technology Consulting practice has over 750 people across the full spectrum of technology delivery.</a:t>
            </a:r>
            <a:endParaRPr kumimoji="0" lang="en-IE" sz="12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A3F1693A-3496-44D4-A75A-AE9F32F22190}"/>
              </a:ext>
            </a:extLst>
          </p:cNvPr>
          <p:cNvSpPr txBox="1"/>
          <p:nvPr/>
        </p:nvSpPr>
        <p:spPr>
          <a:xfrm>
            <a:off x="7966279" y="5372673"/>
            <a:ext cx="3617607" cy="769441"/>
          </a:xfrm>
          <a:prstGeom prst="rect">
            <a:avLst/>
          </a:prstGeom>
          <a:noFill/>
        </p:spPr>
        <p:txBody>
          <a:bodyPr wrap="square">
            <a:spAutoFit/>
          </a:bodyPr>
          <a:lstStyle/>
          <a:p>
            <a:pPr algn="just" fontAlgn="base"/>
            <a:r>
              <a:rPr lang="en-IE" sz="1100">
                <a:solidFill>
                  <a:schemeClr val="bg1"/>
                </a:solidFill>
                <a:latin typeface="Calibri" panose="020F0502020204030204" pitchFamily="34" charset="0"/>
                <a:cs typeface="Calibri" panose="020F0502020204030204" pitchFamily="34" charset="0"/>
              </a:rPr>
              <a:t>The EY Technology Consulting practice covers the full breadth of technology transformation services from PM/BA, Digital Assurance, Cyber, Infrastructure, Engineering to a full mature managed service offering.   </a:t>
            </a:r>
            <a:endParaRPr lang="en-US" sz="1100">
              <a:solidFill>
                <a:schemeClr val="bg1"/>
              </a:solidFill>
              <a:latin typeface="Calibri" panose="020F0502020204030204" pitchFamily="34" charset="0"/>
              <a:cs typeface="Calibri" panose="020F0502020204030204" pitchFamily="34" charset="0"/>
            </a:endParaRPr>
          </a:p>
        </p:txBody>
      </p:sp>
      <p:sp>
        <p:nvSpPr>
          <p:cNvPr id="5" name="Text Placeholder 7">
            <a:extLst>
              <a:ext uri="{FF2B5EF4-FFF2-40B4-BE49-F238E27FC236}">
                <a16:creationId xmlns:a16="http://schemas.microsoft.com/office/drawing/2014/main" id="{806267F7-55F9-8EB2-52FF-6078763F4F6F}"/>
              </a:ext>
            </a:extLst>
          </p:cNvPr>
          <p:cNvSpPr txBox="1">
            <a:spLocks/>
          </p:cNvSpPr>
          <p:nvPr/>
        </p:nvSpPr>
        <p:spPr>
          <a:xfrm>
            <a:off x="608806" y="684250"/>
            <a:ext cx="10974388" cy="523983"/>
          </a:xfrm>
          <a:prstGeom prst="rect">
            <a:avLst/>
          </a:prstGeom>
        </p:spPr>
        <p:txBody>
          <a:bodyPr vert="horz" lIns="0" tIns="0" rIns="0" bIns="0" rtlCol="0" anchor="b"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2400" kern="1200">
                <a:solidFill>
                  <a:schemeClr val="bg1"/>
                </a:solidFill>
                <a:latin typeface="EYInterstate Light" panose="02000506000000020004" pitchFamily="2" charset="0"/>
                <a:ea typeface="+mn-ea"/>
                <a:cs typeface="+mn-cs"/>
              </a:defRPr>
            </a:lvl1pPr>
            <a:lvl2pPr marL="356437"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IE">
                <a:latin typeface="Calibri" panose="020F0502020204030204" pitchFamily="34" charset="0"/>
                <a:cs typeface="Calibri" panose="020F0502020204030204" pitchFamily="34" charset="0"/>
              </a:rPr>
              <a:t>Executive Summary</a:t>
            </a:r>
          </a:p>
        </p:txBody>
      </p:sp>
    </p:spTree>
    <p:extLst>
      <p:ext uri="{BB962C8B-B14F-4D97-AF65-F5344CB8AC3E}">
        <p14:creationId xmlns:p14="http://schemas.microsoft.com/office/powerpoint/2010/main" val="39878270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9774477" cy="676788"/>
          </a:xfrm>
        </p:spPr>
        <p:txBody>
          <a:bodyPr/>
          <a:lstStyle/>
          <a:p>
            <a:r>
              <a:rPr lang="en-IE">
                <a:latin typeface="Calibri"/>
                <a:cs typeface="Calibri"/>
              </a:rPr>
              <a:t>F.1 – </a:t>
            </a:r>
            <a:r>
              <a:rPr lang="en-GB" sz="4400" b="0">
                <a:latin typeface="Calibri"/>
                <a:cs typeface="Calibri"/>
              </a:rPr>
              <a:t>Governance </a:t>
            </a:r>
            <a:endParaRPr lang="en-IE">
              <a:latin typeface="Calibri"/>
              <a:cs typeface="Calibri"/>
            </a:endParaRPr>
          </a:p>
        </p:txBody>
      </p:sp>
    </p:spTree>
    <p:extLst>
      <p:ext uri="{BB962C8B-B14F-4D97-AF65-F5344CB8AC3E}">
        <p14:creationId xmlns:p14="http://schemas.microsoft.com/office/powerpoint/2010/main" val="1785459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109D79C5-CCE8-4017-B4E0-23CBC30C01C7}"/>
              </a:ext>
            </a:extLst>
          </p:cNvPr>
          <p:cNvSpPr>
            <a:spLocks noGrp="1"/>
          </p:cNvSpPr>
          <p:nvPr>
            <p:ph idx="1"/>
          </p:nvPr>
        </p:nvSpPr>
        <p:spPr/>
        <p:txBody>
          <a:bodyPr/>
          <a:lstStyle/>
          <a:p>
            <a:pPr lvl="1"/>
            <a:r>
              <a:rPr lang="en-IE" sz="1300">
                <a:solidFill>
                  <a:schemeClr val="bg2">
                    <a:lumMod val="65000"/>
                    <a:lumOff val="35000"/>
                  </a:schemeClr>
                </a:solidFill>
                <a:latin typeface="Calibri" panose="020F0502020204030204" pitchFamily="34" charset="0"/>
                <a:cs typeface="Calibri" panose="020F0502020204030204" pitchFamily="34" charset="0"/>
              </a:rPr>
              <a:t>An effective governance model defines the structures, the accountabilities and the processes necessary to make timely decisions that stick and that involve the appropriate set of stakeholders and decision-makers.</a:t>
            </a:r>
          </a:p>
          <a:p>
            <a:pPr lvl="1"/>
            <a:endParaRPr lang="en-IE" sz="1300">
              <a:solidFill>
                <a:schemeClr val="bg2">
                  <a:lumMod val="65000"/>
                  <a:lumOff val="35000"/>
                </a:schemeClr>
              </a:solidFill>
              <a:latin typeface="Calibri" panose="020F0502020204030204" pitchFamily="34" charset="0"/>
              <a:cs typeface="Calibri" panose="020F0502020204030204" pitchFamily="34" charset="0"/>
            </a:endParaRPr>
          </a:p>
          <a:p>
            <a:pPr algn="just"/>
            <a:r>
              <a:rPr lang="en-IE" sz="1050">
                <a:solidFill>
                  <a:schemeClr val="bg2">
                    <a:lumMod val="65000"/>
                    <a:lumOff val="35000"/>
                  </a:schemeClr>
                </a:solidFill>
                <a:latin typeface="Calibri" panose="020F0502020204030204" pitchFamily="34" charset="0"/>
                <a:cs typeface="Calibri" panose="020F0502020204030204" pitchFamily="34" charset="0"/>
              </a:rPr>
              <a:t>Success will hinge on the effectiveness of the defined governance structures and rigorous programme management. One of the key roles of Project Management in EY’s delivery methodology is to ensure these three elements of governance (structure, process, accountability) are established from the outset and are continuously monitored for adherence to the principles defined in the project charter &amp; playbook and remain effective throughout. Our Project Management method is based on the Project Management Institute (PMI) Project Management Body of Knowledge (PMBK), and includes detailed activities and deliverables across 5 key stages.</a:t>
            </a: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Y’s Governance Framework</a:t>
            </a:r>
          </a:p>
        </p:txBody>
      </p:sp>
      <p:pic>
        <p:nvPicPr>
          <p:cNvPr id="7" name="Picture 6">
            <a:extLst>
              <a:ext uri="{FF2B5EF4-FFF2-40B4-BE49-F238E27FC236}">
                <a16:creationId xmlns:a16="http://schemas.microsoft.com/office/drawing/2014/main" id="{E0F7A291-4A0B-4241-86FD-C898D59A3B5A}"/>
              </a:ext>
            </a:extLst>
          </p:cNvPr>
          <p:cNvPicPr>
            <a:picLocks noChangeAspect="1"/>
          </p:cNvPicPr>
          <p:nvPr/>
        </p:nvPicPr>
        <p:blipFill>
          <a:blip r:embed="rId2"/>
          <a:stretch>
            <a:fillRect/>
          </a:stretch>
        </p:blipFill>
        <p:spPr>
          <a:xfrm>
            <a:off x="2355526" y="3111107"/>
            <a:ext cx="7480947" cy="2592916"/>
          </a:xfrm>
          <a:prstGeom prst="rect">
            <a:avLst/>
          </a:prstGeom>
        </p:spPr>
      </p:pic>
    </p:spTree>
    <p:extLst>
      <p:ext uri="{BB962C8B-B14F-4D97-AF65-F5344CB8AC3E}">
        <p14:creationId xmlns:p14="http://schemas.microsoft.com/office/powerpoint/2010/main" val="3845202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Y Governance Processes</a:t>
            </a:r>
          </a:p>
        </p:txBody>
      </p:sp>
      <p:cxnSp>
        <p:nvCxnSpPr>
          <p:cNvPr id="12" name="Straight Arrow Connector 11">
            <a:extLst>
              <a:ext uri="{FF2B5EF4-FFF2-40B4-BE49-F238E27FC236}">
                <a16:creationId xmlns:a16="http://schemas.microsoft.com/office/drawing/2014/main" id="{E69D93B9-FD47-4D2D-ACDA-EB43855A1E04}"/>
              </a:ext>
            </a:extLst>
          </p:cNvPr>
          <p:cNvCxnSpPr>
            <a:cxnSpLocks/>
          </p:cNvCxnSpPr>
          <p:nvPr/>
        </p:nvCxnSpPr>
        <p:spPr>
          <a:xfrm rot="5400000" flipV="1">
            <a:off x="11010961" y="5526676"/>
            <a:ext cx="0" cy="504000"/>
          </a:xfrm>
          <a:prstGeom prst="straightConnector1">
            <a:avLst/>
          </a:prstGeom>
          <a:noFill/>
          <a:ln w="19050" cap="flat" cmpd="sng" algn="ctr">
            <a:solidFill>
              <a:srgbClr val="FF4136">
                <a:lumMod val="50000"/>
              </a:srgbClr>
            </a:solidFill>
            <a:prstDash val="solid"/>
            <a:tailEnd type="triangle"/>
          </a:ln>
          <a:effectLst/>
        </p:spPr>
      </p:cxnSp>
      <p:sp>
        <p:nvSpPr>
          <p:cNvPr id="13" name="Rectangle 12">
            <a:extLst>
              <a:ext uri="{FF2B5EF4-FFF2-40B4-BE49-F238E27FC236}">
                <a16:creationId xmlns:a16="http://schemas.microsoft.com/office/drawing/2014/main" id="{048EA923-201C-4127-A92A-D71D55B16DD9}"/>
              </a:ext>
            </a:extLst>
          </p:cNvPr>
          <p:cNvSpPr/>
          <p:nvPr/>
        </p:nvSpPr>
        <p:spPr>
          <a:xfrm>
            <a:off x="10758962" y="5588368"/>
            <a:ext cx="504000" cy="190285"/>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defRPr/>
            </a:pPr>
            <a:r>
              <a:rPr lang="en-US" sz="800" b="1" i="1" kern="0">
                <a:solidFill>
                  <a:srgbClr val="000000"/>
                </a:solidFill>
                <a:latin typeface="Calibri" panose="020F0502020204030204" pitchFamily="34" charset="0"/>
                <a:ea typeface="Nokia Pure Text Light" panose="020B0403020202020204" pitchFamily="34" charset="0"/>
                <a:cs typeface="Calibri" panose="020F0502020204030204" pitchFamily="34" charset="0"/>
              </a:rPr>
              <a:t>Escalation</a:t>
            </a:r>
          </a:p>
        </p:txBody>
      </p:sp>
      <p:cxnSp>
        <p:nvCxnSpPr>
          <p:cNvPr id="14" name="Straight Arrow Connector 13">
            <a:extLst>
              <a:ext uri="{FF2B5EF4-FFF2-40B4-BE49-F238E27FC236}">
                <a16:creationId xmlns:a16="http://schemas.microsoft.com/office/drawing/2014/main" id="{E75D4A01-2AAB-40C3-B3D8-12C00E63778F}"/>
              </a:ext>
            </a:extLst>
          </p:cNvPr>
          <p:cNvCxnSpPr>
            <a:cxnSpLocks/>
          </p:cNvCxnSpPr>
          <p:nvPr/>
        </p:nvCxnSpPr>
        <p:spPr>
          <a:xfrm rot="5400000" flipV="1">
            <a:off x="11002065" y="5234268"/>
            <a:ext cx="0" cy="504000"/>
          </a:xfrm>
          <a:prstGeom prst="straightConnector1">
            <a:avLst/>
          </a:prstGeom>
          <a:noFill/>
          <a:ln w="19050" cap="flat" cmpd="sng" algn="ctr">
            <a:solidFill>
              <a:srgbClr val="124191">
                <a:lumMod val="75000"/>
              </a:srgbClr>
            </a:solidFill>
            <a:prstDash val="solid"/>
            <a:tailEnd type="triangle"/>
          </a:ln>
          <a:effectLst/>
        </p:spPr>
      </p:cxnSp>
      <p:sp>
        <p:nvSpPr>
          <p:cNvPr id="15" name="Rectangle 14">
            <a:extLst>
              <a:ext uri="{FF2B5EF4-FFF2-40B4-BE49-F238E27FC236}">
                <a16:creationId xmlns:a16="http://schemas.microsoft.com/office/drawing/2014/main" id="{2FC46DA3-6AC1-45FB-A9CF-08126F196F61}"/>
              </a:ext>
            </a:extLst>
          </p:cNvPr>
          <p:cNvSpPr/>
          <p:nvPr/>
        </p:nvSpPr>
        <p:spPr>
          <a:xfrm>
            <a:off x="10772972" y="5282069"/>
            <a:ext cx="458186" cy="204199"/>
          </a:xfrm>
          <a:prstGeom prst="rect">
            <a:avLst/>
          </a:prstGeom>
          <a:no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defRPr/>
            </a:pPr>
            <a:r>
              <a:rPr lang="en-US" sz="800" b="1" i="1" kern="0">
                <a:solidFill>
                  <a:srgbClr val="000000"/>
                </a:solidFill>
                <a:latin typeface="Calibri" panose="020F0502020204030204" pitchFamily="34" charset="0"/>
                <a:ea typeface="Nokia Pure Text Light" panose="020B0403020202020204" pitchFamily="34" charset="0"/>
                <a:cs typeface="Calibri" panose="020F0502020204030204" pitchFamily="34" charset="0"/>
              </a:rPr>
              <a:t>Input</a:t>
            </a:r>
          </a:p>
        </p:txBody>
      </p:sp>
      <p:pic>
        <p:nvPicPr>
          <p:cNvPr id="16" name="Picture 15">
            <a:extLst>
              <a:ext uri="{FF2B5EF4-FFF2-40B4-BE49-F238E27FC236}">
                <a16:creationId xmlns:a16="http://schemas.microsoft.com/office/drawing/2014/main" id="{4757B2B1-4730-470F-B866-761B6AB490A8}"/>
              </a:ext>
            </a:extLst>
          </p:cNvPr>
          <p:cNvPicPr>
            <a:picLocks noChangeAspect="1"/>
          </p:cNvPicPr>
          <p:nvPr/>
        </p:nvPicPr>
        <p:blipFill rotWithShape="1">
          <a:blip r:embed="rId2"/>
          <a:srcRect t="2443"/>
          <a:stretch/>
        </p:blipFill>
        <p:spPr>
          <a:xfrm>
            <a:off x="3771900" y="1466850"/>
            <a:ext cx="6671653" cy="4632956"/>
          </a:xfrm>
          <a:prstGeom prst="rect">
            <a:avLst/>
          </a:prstGeom>
        </p:spPr>
      </p:pic>
      <p:sp>
        <p:nvSpPr>
          <p:cNvPr id="17" name="object 19">
            <a:extLst>
              <a:ext uri="{FF2B5EF4-FFF2-40B4-BE49-F238E27FC236}">
                <a16:creationId xmlns:a16="http://schemas.microsoft.com/office/drawing/2014/main" id="{8C9460DB-676C-4AF1-BB43-13950E17CBA7}"/>
              </a:ext>
            </a:extLst>
          </p:cNvPr>
          <p:cNvSpPr/>
          <p:nvPr/>
        </p:nvSpPr>
        <p:spPr bwMode="gray">
          <a:xfrm>
            <a:off x="609601" y="1453690"/>
            <a:ext cx="2903269" cy="4603467"/>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bg1"/>
          </a:solidFill>
          <a:ln w="6350" cap="flat" cmpd="sng" algn="ctr">
            <a:solidFill>
              <a:schemeClr val="bg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984" marR="5592" defTabSz="1006797">
              <a:spcAft>
                <a:spcPts val="500"/>
              </a:spcAft>
              <a:defRPr/>
            </a:pPr>
            <a:r>
              <a:rPr lang="en-IE" sz="1400" spc="-6">
                <a:latin typeface="Calibri" panose="020F0502020204030204" pitchFamily="34" charset="0"/>
                <a:cs typeface="Calibri" panose="020F0502020204030204" pitchFamily="34" charset="0"/>
                <a:sym typeface="Arial" panose="020B0604020202020204" pitchFamily="34" charset="0"/>
              </a:rPr>
              <a:t>Our governance methodology is based on 6 key processes managed by the PMO that together maximise efficiency and the ability to react to situations, as well as minimise scope, timeline and resourcing risks:</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Project Reporting</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Risk management</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Decision management</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Change Control</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Planning, budget tracking and resourcing</a:t>
            </a:r>
          </a:p>
          <a:p>
            <a:pPr marL="356884" marR="5592" indent="-342900" defTabSz="1006797">
              <a:spcAft>
                <a:spcPts val="500"/>
              </a:spcAft>
              <a:buClr>
                <a:schemeClr val="tx2"/>
              </a:buClr>
              <a:buFont typeface="+mj-lt"/>
              <a:buAutoNum type="arabicPeriod"/>
              <a:defRPr/>
            </a:pPr>
            <a:r>
              <a:rPr lang="en-IE" sz="1400" spc="-6">
                <a:latin typeface="Calibri" panose="020F0502020204030204" pitchFamily="34" charset="0"/>
                <a:cs typeface="Calibri" panose="020F0502020204030204" pitchFamily="34" charset="0"/>
                <a:sym typeface="Arial" panose="020B0604020202020204" pitchFamily="34" charset="0"/>
              </a:rPr>
              <a:t>Quality control</a:t>
            </a:r>
            <a:endParaRPr lang="en-US" b="1" spc="-6">
              <a:latin typeface="Calibri" panose="020F0502020204030204" pitchFamily="34" charset="0"/>
              <a:cs typeface="Calibri" panose="020F050202020403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39ABD435-15FB-40A4-BA87-DE1432D0CB94}"/>
              </a:ext>
            </a:extLst>
          </p:cNvPr>
          <p:cNvSpPr/>
          <p:nvPr/>
        </p:nvSpPr>
        <p:spPr bwMode="auto">
          <a:xfrm>
            <a:off x="7943850" y="5766591"/>
            <a:ext cx="952500" cy="265364"/>
          </a:xfrm>
          <a:prstGeom prst="rect">
            <a:avLst/>
          </a:prstGeom>
          <a:solidFill>
            <a:srgbClr val="E1E1E6"/>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CA33DD07-C332-43FF-B1BE-BC81570F83D3}"/>
              </a:ext>
            </a:extLst>
          </p:cNvPr>
          <p:cNvSpPr/>
          <p:nvPr/>
        </p:nvSpPr>
        <p:spPr bwMode="auto">
          <a:xfrm rot="16200000">
            <a:off x="8691450" y="5654888"/>
            <a:ext cx="265364" cy="246037"/>
          </a:xfrm>
          <a:prstGeom prst="rect">
            <a:avLst/>
          </a:prstGeom>
          <a:solidFill>
            <a:srgbClr val="E1E1E6"/>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095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9774477" cy="676788"/>
          </a:xfrm>
        </p:spPr>
        <p:txBody>
          <a:bodyPr/>
          <a:lstStyle/>
          <a:p>
            <a:r>
              <a:rPr lang="en-IE">
                <a:latin typeface="Calibri"/>
                <a:cs typeface="Calibri"/>
              </a:rPr>
              <a:t>F.2 – </a:t>
            </a:r>
            <a:r>
              <a:rPr lang="en-GB" sz="4400" b="0">
                <a:latin typeface="Calibri"/>
                <a:cs typeface="Calibri"/>
              </a:rPr>
              <a:t>Quality Assurance</a:t>
            </a:r>
            <a:endParaRPr lang="en-IE">
              <a:latin typeface="Calibri"/>
              <a:cs typeface="Calibri"/>
            </a:endParaRPr>
          </a:p>
        </p:txBody>
      </p:sp>
    </p:spTree>
    <p:extLst>
      <p:ext uri="{BB962C8B-B14F-4D97-AF65-F5344CB8AC3E}">
        <p14:creationId xmlns:p14="http://schemas.microsoft.com/office/powerpoint/2010/main" val="5643494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Y RACI Example</a:t>
            </a:r>
          </a:p>
        </p:txBody>
      </p:sp>
      <p:sp>
        <p:nvSpPr>
          <p:cNvPr id="191" name="Rectangle 190">
            <a:extLst>
              <a:ext uri="{FF2B5EF4-FFF2-40B4-BE49-F238E27FC236}">
                <a16:creationId xmlns:a16="http://schemas.microsoft.com/office/drawing/2014/main" id="{A60E4E8F-C185-43CB-B46D-D2A389AC55FF}"/>
              </a:ext>
            </a:extLst>
          </p:cNvPr>
          <p:cNvSpPr/>
          <p:nvPr/>
        </p:nvSpPr>
        <p:spPr>
          <a:xfrm>
            <a:off x="609600" y="1431017"/>
            <a:ext cx="10903132" cy="161583"/>
          </a:xfrm>
          <a:prstGeom prst="rect">
            <a:avLst/>
          </a:prstGeom>
        </p:spPr>
        <p:txBody>
          <a:bodyPr wrap="square" lIns="0" tIns="0" rIns="0" bIns="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For each step / milestone / work product in the project (see example below), EY will agree with all stakeholder stakeholders who will be assigned RACI roles (explained below). </a:t>
            </a:r>
            <a:endParaRPr kumimoji="0" lang="de-DE" sz="1050"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29" name="Rectangle: Rounded Corners 28">
            <a:extLst>
              <a:ext uri="{FF2B5EF4-FFF2-40B4-BE49-F238E27FC236}">
                <a16:creationId xmlns:a16="http://schemas.microsoft.com/office/drawing/2014/main" id="{8665DCBC-789F-E53A-7E03-22918E2A1291}"/>
              </a:ext>
            </a:extLst>
          </p:cNvPr>
          <p:cNvSpPr/>
          <p:nvPr/>
        </p:nvSpPr>
        <p:spPr>
          <a:xfrm>
            <a:off x="3844932" y="1986339"/>
            <a:ext cx="2133599" cy="8684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E" sz="1200">
              <a:solidFill>
                <a:schemeClr val="tx1"/>
              </a:solidFill>
              <a:latin typeface="Calibri" panose="020F0502020204030204" pitchFamily="34" charset="0"/>
              <a:cs typeface="Calibri" panose="020F0502020204030204" pitchFamily="34" charset="0"/>
            </a:endParaRPr>
          </a:p>
        </p:txBody>
      </p:sp>
      <p:sp>
        <p:nvSpPr>
          <p:cNvPr id="30" name="Rectangle: Rounded Corners 29">
            <a:extLst>
              <a:ext uri="{FF2B5EF4-FFF2-40B4-BE49-F238E27FC236}">
                <a16:creationId xmlns:a16="http://schemas.microsoft.com/office/drawing/2014/main" id="{04896F09-1A79-46BD-42D0-E527BB44D29C}"/>
              </a:ext>
            </a:extLst>
          </p:cNvPr>
          <p:cNvSpPr/>
          <p:nvPr/>
        </p:nvSpPr>
        <p:spPr>
          <a:xfrm>
            <a:off x="1542993" y="1968754"/>
            <a:ext cx="2133599" cy="8684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E" sz="1200">
              <a:solidFill>
                <a:schemeClr val="tx1"/>
              </a:solidFill>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4836C7E4-AA22-8CF6-980C-47EAD33CCD4E}"/>
              </a:ext>
            </a:extLst>
          </p:cNvPr>
          <p:cNvSpPr txBox="1"/>
          <p:nvPr/>
        </p:nvSpPr>
        <p:spPr>
          <a:xfrm>
            <a:off x="1628580" y="2052393"/>
            <a:ext cx="1989390" cy="646331"/>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a:ln>
                  <a:noFill/>
                </a:ln>
                <a:effectLst/>
                <a:uLnTx/>
                <a:uFillTx/>
                <a:latin typeface="Calibri" panose="020F0502020204030204" pitchFamily="34" charset="0"/>
                <a:cs typeface="Calibri" panose="020F0502020204030204" pitchFamily="34" charset="0"/>
              </a:rPr>
              <a:t>W</a:t>
            </a:r>
            <a:r>
              <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rPr>
              <a:t>ho is responsible for the execution of the task?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rPr>
              <a:t>Who is assigned to work on the task?</a:t>
            </a:r>
            <a:endParaRPr kumimoji="0" lang="de-DE" sz="900" b="0"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128" name="Rectangle 127">
            <a:extLst>
              <a:ext uri="{FF2B5EF4-FFF2-40B4-BE49-F238E27FC236}">
                <a16:creationId xmlns:a16="http://schemas.microsoft.com/office/drawing/2014/main" id="{67A6B1C8-76F7-9E9E-5ED0-48C8111BC9F5}"/>
              </a:ext>
            </a:extLst>
          </p:cNvPr>
          <p:cNvSpPr/>
          <p:nvPr/>
        </p:nvSpPr>
        <p:spPr>
          <a:xfrm>
            <a:off x="2279974" y="1764443"/>
            <a:ext cx="659635" cy="297660"/>
          </a:xfrm>
          <a:prstGeom prst="rect">
            <a:avLst/>
          </a:prstGeom>
          <a:solidFill>
            <a:srgbClr val="F6DF09"/>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kern="0">
                <a:solidFill>
                  <a:srgbClr val="000000"/>
                </a:solidFill>
                <a:latin typeface="Calibri" panose="020F0502020204030204" pitchFamily="34" charset="0"/>
                <a:cs typeface="Calibri" panose="020F0502020204030204" pitchFamily="34" charset="0"/>
              </a:rPr>
              <a:t>R</a:t>
            </a:r>
            <a:endParaRPr kumimoji="0" lang="de-D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29" name="TextBox 128">
            <a:extLst>
              <a:ext uri="{FF2B5EF4-FFF2-40B4-BE49-F238E27FC236}">
                <a16:creationId xmlns:a16="http://schemas.microsoft.com/office/drawing/2014/main" id="{C3E1CA8C-85EF-4846-7B26-0AFD5D27D26D}"/>
              </a:ext>
            </a:extLst>
          </p:cNvPr>
          <p:cNvSpPr txBox="1"/>
          <p:nvPr/>
        </p:nvSpPr>
        <p:spPr>
          <a:xfrm>
            <a:off x="3928003" y="2014343"/>
            <a:ext cx="1968721" cy="78483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900" b="0" i="0" u="none" strike="noStrike" kern="0" cap="none" spc="0" normalizeH="0" baseline="0" noProof="0">
                <a:ln>
                  <a:noFill/>
                </a:ln>
                <a:effectLst/>
                <a:uLnTx/>
                <a:uFillTx/>
                <a:latin typeface="Calibri" panose="020F0502020204030204" pitchFamily="34" charset="0"/>
                <a:cs typeface="Calibri" panose="020F0502020204030204" pitchFamily="34" charset="0"/>
              </a:rPr>
              <a:t>Who is accountable for the tasks and signs off the work?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900" b="0" i="0" u="none" strike="noStrike" kern="0" cap="none" spc="0" normalizeH="0" baseline="0" noProof="0">
              <a:ln>
                <a:noFill/>
              </a:ln>
              <a:effectLst/>
              <a:uLnTx/>
              <a:uFillTx/>
              <a:latin typeface="Calibri" panose="020F0502020204030204" pitchFamily="34" charset="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900" b="0" i="0" u="none" strike="noStrike" kern="0" cap="none" spc="0" normalizeH="0" baseline="0" noProof="0">
                <a:ln>
                  <a:noFill/>
                </a:ln>
                <a:effectLst/>
                <a:uLnTx/>
                <a:uFillTx/>
                <a:latin typeface="Calibri" panose="020F0502020204030204" pitchFamily="34" charset="0"/>
                <a:cs typeface="Calibri" panose="020F0502020204030204" pitchFamily="34" charset="0"/>
              </a:rPr>
              <a:t>Who has the authority to make decisions?</a:t>
            </a:r>
          </a:p>
        </p:txBody>
      </p:sp>
      <p:sp>
        <p:nvSpPr>
          <p:cNvPr id="130" name="Rectangle 129">
            <a:extLst>
              <a:ext uri="{FF2B5EF4-FFF2-40B4-BE49-F238E27FC236}">
                <a16:creationId xmlns:a16="http://schemas.microsoft.com/office/drawing/2014/main" id="{6C8B7035-AE28-23AE-37C0-185D69739A14}"/>
              </a:ext>
            </a:extLst>
          </p:cNvPr>
          <p:cNvSpPr/>
          <p:nvPr/>
        </p:nvSpPr>
        <p:spPr>
          <a:xfrm>
            <a:off x="4581912" y="1754182"/>
            <a:ext cx="659635" cy="297660"/>
          </a:xfrm>
          <a:prstGeom prst="rect">
            <a:avLst/>
          </a:prstGeom>
          <a:solidFill>
            <a:srgbClr val="F6DF09"/>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a:t>
            </a:r>
          </a:p>
        </p:txBody>
      </p:sp>
      <p:sp>
        <p:nvSpPr>
          <p:cNvPr id="131" name="Rectangle: Rounded Corners 130">
            <a:extLst>
              <a:ext uri="{FF2B5EF4-FFF2-40B4-BE49-F238E27FC236}">
                <a16:creationId xmlns:a16="http://schemas.microsoft.com/office/drawing/2014/main" id="{E42862BB-2BDF-ECD2-2424-28D41EFD57E3}"/>
              </a:ext>
            </a:extLst>
          </p:cNvPr>
          <p:cNvSpPr/>
          <p:nvPr/>
        </p:nvSpPr>
        <p:spPr>
          <a:xfrm>
            <a:off x="6078178" y="1986065"/>
            <a:ext cx="2133599" cy="8684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Who are the subject matter experts who are to be consult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Who can help on the tasks?</a:t>
            </a:r>
          </a:p>
        </p:txBody>
      </p:sp>
      <p:sp>
        <p:nvSpPr>
          <p:cNvPr id="132" name="Rectangle: Rounded Corners 131">
            <a:extLst>
              <a:ext uri="{FF2B5EF4-FFF2-40B4-BE49-F238E27FC236}">
                <a16:creationId xmlns:a16="http://schemas.microsoft.com/office/drawing/2014/main" id="{4AB58BCF-AD7C-C008-D5D5-7C21292BE0C1}"/>
              </a:ext>
            </a:extLst>
          </p:cNvPr>
          <p:cNvSpPr/>
          <p:nvPr/>
        </p:nvSpPr>
        <p:spPr>
          <a:xfrm>
            <a:off x="8311424" y="1990221"/>
            <a:ext cx="2133599" cy="868469"/>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Who are the stakeholders who need to be updated of the progres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Are there stakeholders whose work depends on this task?</a:t>
            </a:r>
          </a:p>
        </p:txBody>
      </p:sp>
      <p:sp>
        <p:nvSpPr>
          <p:cNvPr id="133" name="Rectangle 132">
            <a:extLst>
              <a:ext uri="{FF2B5EF4-FFF2-40B4-BE49-F238E27FC236}">
                <a16:creationId xmlns:a16="http://schemas.microsoft.com/office/drawing/2014/main" id="{886E9BFF-32B8-00A6-6793-3779022CA0A7}"/>
              </a:ext>
            </a:extLst>
          </p:cNvPr>
          <p:cNvSpPr/>
          <p:nvPr/>
        </p:nvSpPr>
        <p:spPr>
          <a:xfrm>
            <a:off x="6819325" y="1754949"/>
            <a:ext cx="659634" cy="297660"/>
          </a:xfrm>
          <a:prstGeom prst="rect">
            <a:avLst/>
          </a:prstGeom>
          <a:solidFill>
            <a:srgbClr val="F6DF09"/>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kern="0">
                <a:solidFill>
                  <a:srgbClr val="000000"/>
                </a:solidFill>
                <a:latin typeface="Calibri" panose="020F0502020204030204" pitchFamily="34" charset="0"/>
                <a:cs typeface="Calibri" panose="020F0502020204030204" pitchFamily="34" charset="0"/>
              </a:rPr>
              <a:t>C</a:t>
            </a:r>
            <a:endParaRPr kumimoji="0" lang="de-D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34" name="Rectangle 133">
            <a:extLst>
              <a:ext uri="{FF2B5EF4-FFF2-40B4-BE49-F238E27FC236}">
                <a16:creationId xmlns:a16="http://schemas.microsoft.com/office/drawing/2014/main" id="{C8A916DA-DEEF-F32F-1E32-62CFC0234229}"/>
              </a:ext>
            </a:extLst>
          </p:cNvPr>
          <p:cNvSpPr/>
          <p:nvPr/>
        </p:nvSpPr>
        <p:spPr>
          <a:xfrm>
            <a:off x="9052571" y="1777867"/>
            <a:ext cx="659634" cy="284236"/>
          </a:xfrm>
          <a:prstGeom prst="rect">
            <a:avLst/>
          </a:prstGeom>
          <a:solidFill>
            <a:srgbClr val="F6DF09"/>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kern="0">
                <a:solidFill>
                  <a:srgbClr val="000000"/>
                </a:solidFill>
                <a:latin typeface="Calibri" panose="020F0502020204030204" pitchFamily="34" charset="0"/>
                <a:cs typeface="Calibri" panose="020F0502020204030204" pitchFamily="34" charset="0"/>
              </a:rPr>
              <a:t>I</a:t>
            </a:r>
            <a:endParaRPr kumimoji="0" lang="de-D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graphicFrame>
        <p:nvGraphicFramePr>
          <p:cNvPr id="137" name="Tableau 7">
            <a:extLst>
              <a:ext uri="{FF2B5EF4-FFF2-40B4-BE49-F238E27FC236}">
                <a16:creationId xmlns:a16="http://schemas.microsoft.com/office/drawing/2014/main" id="{050AE303-7E65-64D8-11B1-D22B041FAC0F}"/>
              </a:ext>
            </a:extLst>
          </p:cNvPr>
          <p:cNvGraphicFramePr>
            <a:graphicFrameLocks noGrp="1"/>
          </p:cNvGraphicFramePr>
          <p:nvPr>
            <p:extLst>
              <p:ext uri="{D42A27DB-BD31-4B8C-83A1-F6EECF244321}">
                <p14:modId xmlns:p14="http://schemas.microsoft.com/office/powerpoint/2010/main" val="2602802144"/>
              </p:ext>
            </p:extLst>
          </p:nvPr>
        </p:nvGraphicFramePr>
        <p:xfrm>
          <a:off x="609600" y="2920862"/>
          <a:ext cx="10974387" cy="3169500"/>
        </p:xfrm>
        <a:graphic>
          <a:graphicData uri="http://schemas.openxmlformats.org/drawingml/2006/table">
            <a:tbl>
              <a:tblPr/>
              <a:tblGrid>
                <a:gridCol w="3049925">
                  <a:extLst>
                    <a:ext uri="{9D8B030D-6E8A-4147-A177-3AD203B41FA5}">
                      <a16:colId xmlns:a16="http://schemas.microsoft.com/office/drawing/2014/main" val="20000"/>
                    </a:ext>
                  </a:extLst>
                </a:gridCol>
                <a:gridCol w="1132066">
                  <a:extLst>
                    <a:ext uri="{9D8B030D-6E8A-4147-A177-3AD203B41FA5}">
                      <a16:colId xmlns:a16="http://schemas.microsoft.com/office/drawing/2014/main" val="20001"/>
                    </a:ext>
                  </a:extLst>
                </a:gridCol>
                <a:gridCol w="1132066">
                  <a:extLst>
                    <a:ext uri="{9D8B030D-6E8A-4147-A177-3AD203B41FA5}">
                      <a16:colId xmlns:a16="http://schemas.microsoft.com/office/drawing/2014/main" val="20002"/>
                    </a:ext>
                  </a:extLst>
                </a:gridCol>
                <a:gridCol w="1132066">
                  <a:extLst>
                    <a:ext uri="{9D8B030D-6E8A-4147-A177-3AD203B41FA5}">
                      <a16:colId xmlns:a16="http://schemas.microsoft.com/office/drawing/2014/main" val="20003"/>
                    </a:ext>
                  </a:extLst>
                </a:gridCol>
                <a:gridCol w="1132066">
                  <a:extLst>
                    <a:ext uri="{9D8B030D-6E8A-4147-A177-3AD203B41FA5}">
                      <a16:colId xmlns:a16="http://schemas.microsoft.com/office/drawing/2014/main" val="20004"/>
                    </a:ext>
                  </a:extLst>
                </a:gridCol>
                <a:gridCol w="1132066">
                  <a:extLst>
                    <a:ext uri="{9D8B030D-6E8A-4147-A177-3AD203B41FA5}">
                      <a16:colId xmlns:a16="http://schemas.microsoft.com/office/drawing/2014/main" val="20005"/>
                    </a:ext>
                  </a:extLst>
                </a:gridCol>
                <a:gridCol w="1132066">
                  <a:extLst>
                    <a:ext uri="{9D8B030D-6E8A-4147-A177-3AD203B41FA5}">
                      <a16:colId xmlns:a16="http://schemas.microsoft.com/office/drawing/2014/main" val="20006"/>
                    </a:ext>
                  </a:extLst>
                </a:gridCol>
                <a:gridCol w="1132066">
                  <a:extLst>
                    <a:ext uri="{9D8B030D-6E8A-4147-A177-3AD203B41FA5}">
                      <a16:colId xmlns:a16="http://schemas.microsoft.com/office/drawing/2014/main" val="20007"/>
                    </a:ext>
                  </a:extLst>
                </a:gridCol>
              </a:tblGrid>
              <a:tr h="189412">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Activitie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Project sponsor</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Project manager</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Project team</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Stakeholder group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Steering committee</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Change control</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a:ln>
                            <a:noFill/>
                          </a:ln>
                          <a:solidFill>
                            <a:schemeClr val="bg1"/>
                          </a:solidFill>
                          <a:effectLst/>
                          <a:latin typeface="Calibri" panose="020F0502020204030204" pitchFamily="34" charset="0"/>
                          <a:ea typeface="+mn-ea"/>
                          <a:cs typeface="Calibri" panose="020F0502020204030204" pitchFamily="34" charset="0"/>
                        </a:rPr>
                        <a:t>Engagement Partner</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10000"/>
                  </a:ext>
                </a:extLst>
              </a:tr>
              <a:tr h="10935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1100" b="1" u="none" strike="noStrike">
                          <a:effectLst/>
                          <a:latin typeface="Calibri" panose="020F0502020204030204" pitchFamily="34" charset="0"/>
                          <a:cs typeface="Calibri" panose="020F0502020204030204" pitchFamily="34" charset="0"/>
                        </a:rPr>
                        <a:t>Phase 1 - Initiate</a:t>
                      </a:r>
                      <a:endParaRPr lang="en-US" sz="1100" b="1"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r>
                        <a:rPr lang="en-US" sz="800" u="none" strike="noStrike">
                          <a:effectLst/>
                          <a:latin typeface="Calibri" panose="020F0502020204030204" pitchFamily="34" charset="0"/>
                          <a:cs typeface="Calibri" panose="020F0502020204030204" pitchFamily="34" charset="0"/>
                        </a:rPr>
                        <a:t> </a:t>
                      </a:r>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10001"/>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u="none" strike="noStrike">
                          <a:solidFill>
                            <a:schemeClr val="bg1"/>
                          </a:solidFill>
                          <a:effectLst/>
                          <a:latin typeface="Calibri" panose="020F0502020204030204" pitchFamily="34" charset="0"/>
                          <a:cs typeface="Calibri" panose="020F0502020204030204" pitchFamily="34" charset="0"/>
                        </a:rPr>
                        <a:t>Develop project charter</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u="none" strike="noStrike">
                          <a:solidFill>
                            <a:schemeClr val="bg1"/>
                          </a:solidFill>
                          <a:effectLst/>
                          <a:latin typeface="Calibri" panose="020F0502020204030204" pitchFamily="34" charset="0"/>
                          <a:cs typeface="Calibri" panose="020F0502020204030204" pitchFamily="34" charset="0"/>
                        </a:rPr>
                        <a:t>Identify</a:t>
                      </a:r>
                      <a:r>
                        <a:rPr lang="en-US" sz="800" u="none" strike="noStrike" baseline="0">
                          <a:solidFill>
                            <a:schemeClr val="bg1"/>
                          </a:solidFill>
                          <a:effectLst/>
                          <a:latin typeface="Calibri" panose="020F0502020204030204" pitchFamily="34" charset="0"/>
                          <a:cs typeface="Calibri" panose="020F0502020204030204" pitchFamily="34" charset="0"/>
                        </a:rPr>
                        <a:t> stakeholders</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r h="10935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1100" b="1" u="none" strike="noStrike">
                          <a:effectLst/>
                          <a:latin typeface="Calibri" panose="020F0502020204030204" pitchFamily="34" charset="0"/>
                          <a:cs typeface="Calibri" panose="020F0502020204030204" pitchFamily="34" charset="0"/>
                        </a:rPr>
                        <a:t>Phase 2 – Plan</a:t>
                      </a:r>
                      <a:endParaRPr lang="en-US" sz="1100" b="1"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u="none" strike="noStrike">
                          <a:solidFill>
                            <a:schemeClr val="bg1"/>
                          </a:solidFill>
                          <a:effectLst/>
                          <a:latin typeface="Calibri" panose="020F0502020204030204" pitchFamily="34" charset="0"/>
                          <a:cs typeface="Calibri" panose="020F0502020204030204" pitchFamily="34" charset="0"/>
                        </a:rPr>
                        <a:t>Plan scope</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6"/>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u="none" strike="noStrike">
                          <a:solidFill>
                            <a:schemeClr val="bg1"/>
                          </a:solidFill>
                          <a:effectLst/>
                          <a:latin typeface="Calibri" panose="020F0502020204030204" pitchFamily="34" charset="0"/>
                          <a:cs typeface="Calibri" panose="020F0502020204030204" pitchFamily="34" charset="0"/>
                        </a:rPr>
                        <a:t>Plan schedule</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u="none" strike="noStrike">
                          <a:solidFill>
                            <a:schemeClr val="bg1"/>
                          </a:solidFill>
                          <a:effectLst/>
                          <a:latin typeface="Calibri" panose="020F0502020204030204" pitchFamily="34" charset="0"/>
                          <a:cs typeface="Calibri" panose="020F0502020204030204" pitchFamily="34" charset="0"/>
                        </a:rPr>
                        <a:t>Plan cost</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8"/>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800" b="0" i="0" u="none" strike="noStrike">
                          <a:solidFill>
                            <a:schemeClr val="bg1"/>
                          </a:solidFill>
                          <a:effectLst/>
                          <a:latin typeface="Calibri" panose="020F0502020204030204" pitchFamily="34" charset="0"/>
                          <a:cs typeface="Calibri" panose="020F0502020204030204" pitchFamily="34" charset="0"/>
                        </a:rPr>
                        <a:t>Plan</a:t>
                      </a:r>
                      <a:r>
                        <a:rPr lang="en-US" sz="800" b="0" i="0" u="none" strike="noStrike" baseline="0">
                          <a:solidFill>
                            <a:schemeClr val="bg1"/>
                          </a:solidFill>
                          <a:effectLst/>
                          <a:latin typeface="Calibri" panose="020F0502020204030204" pitchFamily="34" charset="0"/>
                          <a:cs typeface="Calibri" panose="020F0502020204030204" pitchFamily="34" charset="0"/>
                        </a:rPr>
                        <a:t> quality management</a:t>
                      </a:r>
                      <a:endParaRPr lang="en-US" sz="800" b="0" i="0" u="none" strike="noStrike">
                        <a:solidFill>
                          <a:schemeClr val="bg1"/>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9"/>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37363"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Plan supplier management</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0"/>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indent="0" algn="l"/>
                      <a:r>
                        <a:rPr lang="en-US" sz="800" b="0" noProof="0">
                          <a:solidFill>
                            <a:schemeClr val="bg1"/>
                          </a:solidFill>
                          <a:effectLst/>
                          <a:latin typeface="Calibri" panose="020F0502020204030204" pitchFamily="34" charset="0"/>
                          <a:cs typeface="Calibri" panose="020F0502020204030204" pitchFamily="34" charset="0"/>
                        </a:rPr>
                        <a:t>Plan</a:t>
                      </a:r>
                      <a:r>
                        <a:rPr lang="en-US" sz="800" b="0" baseline="0" noProof="0">
                          <a:solidFill>
                            <a:schemeClr val="bg1"/>
                          </a:solidFill>
                          <a:effectLst/>
                          <a:latin typeface="Calibri" panose="020F0502020204030204" pitchFamily="34" charset="0"/>
                          <a:cs typeface="Calibri" panose="020F0502020204030204" pitchFamily="34" charset="0"/>
                        </a:rPr>
                        <a:t> stakeholder management</a:t>
                      </a:r>
                      <a:endParaRPr lang="en-US" sz="800" b="0" noProof="0">
                        <a:solidFill>
                          <a:schemeClr val="bg1"/>
                        </a:solidFill>
                        <a:effectLst/>
                        <a:latin typeface="Calibri" panose="020F0502020204030204" pitchFamily="34" charset="0"/>
                        <a:cs typeface="Calibri" panose="020F0502020204030204" pitchFamily="34" charset="0"/>
                      </a:endParaRP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1"/>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indent="0" algn="l"/>
                      <a:r>
                        <a:rPr lang="en-US" sz="800" b="0" noProof="0">
                          <a:solidFill>
                            <a:schemeClr val="bg1"/>
                          </a:solidFill>
                          <a:effectLst/>
                          <a:latin typeface="Calibri" panose="020F0502020204030204" pitchFamily="34" charset="0"/>
                          <a:cs typeface="Calibri" panose="020F0502020204030204" pitchFamily="34" charset="0"/>
                        </a:rPr>
                        <a:t>Establish project baseline</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2"/>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indent="0" algn="l"/>
                      <a:r>
                        <a:rPr lang="en-US" sz="800" b="0" noProof="0">
                          <a:solidFill>
                            <a:schemeClr val="bg1"/>
                          </a:solidFill>
                          <a:effectLst/>
                          <a:latin typeface="Calibri" panose="020F0502020204030204" pitchFamily="34" charset="0"/>
                          <a:cs typeface="Calibri" panose="020F0502020204030204" pitchFamily="34" charset="0"/>
                        </a:rPr>
                        <a:t>Develop project</a:t>
                      </a:r>
                      <a:r>
                        <a:rPr lang="en-US" sz="800" b="0" baseline="0" noProof="0">
                          <a:solidFill>
                            <a:schemeClr val="bg1"/>
                          </a:solidFill>
                          <a:effectLst/>
                          <a:latin typeface="Calibri" panose="020F0502020204030204" pitchFamily="34" charset="0"/>
                          <a:cs typeface="Calibri" panose="020F0502020204030204" pitchFamily="34" charset="0"/>
                        </a:rPr>
                        <a:t> management plan</a:t>
                      </a:r>
                      <a:endParaRPr lang="en-US" sz="800" b="0" noProof="0">
                        <a:solidFill>
                          <a:schemeClr val="bg1"/>
                        </a:solidFill>
                        <a:effectLst/>
                        <a:latin typeface="Calibri" panose="020F0502020204030204" pitchFamily="34" charset="0"/>
                        <a:cs typeface="Calibri" panose="020F0502020204030204" pitchFamily="34" charset="0"/>
                      </a:endParaRP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3"/>
                  </a:ext>
                </a:extLst>
              </a:tr>
              <a:tr h="10935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l" fontAlgn="t"/>
                      <a:r>
                        <a:rPr lang="en-US" sz="1100" b="1" u="none" strike="noStrike">
                          <a:effectLst/>
                          <a:latin typeface="Calibri" panose="020F0502020204030204" pitchFamily="34" charset="0"/>
                          <a:cs typeface="Calibri" panose="020F0502020204030204" pitchFamily="34" charset="0"/>
                        </a:rPr>
                        <a:t>Phase 3 – Execute</a:t>
                      </a:r>
                      <a:endParaRPr lang="en-US" sz="1100" b="1"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4"/>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indent="0" algn="l"/>
                      <a:r>
                        <a:rPr lang="en-US" sz="800" b="0" noProof="0">
                          <a:solidFill>
                            <a:schemeClr val="bg1"/>
                          </a:solidFill>
                          <a:effectLst/>
                          <a:latin typeface="Calibri" panose="020F0502020204030204" pitchFamily="34" charset="0"/>
                          <a:cs typeface="Calibri" panose="020F0502020204030204" pitchFamily="34" charset="0"/>
                        </a:rPr>
                        <a:t>Establish project procedures and standard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5"/>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Direct and</a:t>
                      </a:r>
                      <a:r>
                        <a:rPr lang="en-US" sz="800" b="0" baseline="0" noProof="0">
                          <a:solidFill>
                            <a:schemeClr val="bg1"/>
                          </a:solidFill>
                          <a:effectLst/>
                          <a:latin typeface="Calibri" panose="020F0502020204030204" pitchFamily="34" charset="0"/>
                          <a:cs typeface="Calibri" panose="020F0502020204030204" pitchFamily="34" charset="0"/>
                        </a:rPr>
                        <a:t> manage project work</a:t>
                      </a:r>
                      <a:endParaRPr lang="en-US" sz="800" b="0" noProof="0">
                        <a:solidFill>
                          <a:schemeClr val="bg1"/>
                        </a:solidFill>
                        <a:effectLst/>
                        <a:latin typeface="Calibri" panose="020F0502020204030204" pitchFamily="34" charset="0"/>
                        <a:cs typeface="Calibri" panose="020F0502020204030204" pitchFamily="34" charset="0"/>
                      </a:endParaRP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6"/>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Perform quality assurance</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7"/>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Develop project team</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8"/>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Manage project team</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19"/>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Report statu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20"/>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Manage communication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21"/>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noProof="0">
                          <a:solidFill>
                            <a:schemeClr val="bg1"/>
                          </a:solidFill>
                          <a:effectLst/>
                          <a:latin typeface="Calibri" panose="020F0502020204030204" pitchFamily="34" charset="0"/>
                          <a:cs typeface="Calibri" panose="020F0502020204030204" pitchFamily="34" charset="0"/>
                        </a:rPr>
                        <a:t>Obtain project feedback from sponsor</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800" b="0" i="0" u="none" strike="noStrike" kern="1200">
                        <a:solidFill>
                          <a:srgbClr val="000000"/>
                        </a:solidFill>
                        <a:effectLst/>
                        <a:latin typeface="Calibri" panose="020F0502020204030204" pitchFamily="34" charset="0"/>
                        <a:ea typeface="+mn-ea"/>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22"/>
                  </a:ext>
                </a:extLst>
              </a:tr>
              <a:tr h="80779">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marL="0" marR="0" indent="0" algn="l" defTabSz="1043056" rtl="0" eaLnBrk="1" fontAlgn="auto" latinLnBrk="0" hangingPunct="1">
                        <a:lnSpc>
                          <a:spcPct val="100000"/>
                        </a:lnSpc>
                        <a:spcBef>
                          <a:spcPts val="0"/>
                        </a:spcBef>
                        <a:spcAft>
                          <a:spcPts val="0"/>
                        </a:spcAft>
                        <a:buClrTx/>
                        <a:buSzTx/>
                        <a:buFontTx/>
                        <a:buNone/>
                        <a:tabLst/>
                        <a:defRPr/>
                      </a:pPr>
                      <a:r>
                        <a:rPr lang="en-US" sz="800" b="0" kern="1200">
                          <a:solidFill>
                            <a:schemeClr val="bg1"/>
                          </a:solidFill>
                          <a:effectLst/>
                          <a:latin typeface="Calibri" panose="020F0502020204030204" pitchFamily="34" charset="0"/>
                          <a:ea typeface="+mn-ea"/>
                          <a:cs typeface="Calibri" panose="020F0502020204030204" pitchFamily="34" charset="0"/>
                        </a:rPr>
                        <a:t>Obtain</a:t>
                      </a:r>
                      <a:r>
                        <a:rPr lang="en-US" sz="800" b="0" kern="1200" baseline="0">
                          <a:solidFill>
                            <a:schemeClr val="bg1"/>
                          </a:solidFill>
                          <a:effectLst/>
                          <a:latin typeface="Calibri" panose="020F0502020204030204" pitchFamily="34" charset="0"/>
                          <a:ea typeface="+mn-ea"/>
                          <a:cs typeface="Calibri" panose="020F0502020204030204" pitchFamily="34" charset="0"/>
                        </a:rPr>
                        <a:t> </a:t>
                      </a:r>
                      <a:r>
                        <a:rPr lang="en-US" sz="800" b="0" kern="1200">
                          <a:solidFill>
                            <a:schemeClr val="bg1"/>
                          </a:solidFill>
                          <a:effectLst/>
                          <a:latin typeface="Calibri" panose="020F0502020204030204" pitchFamily="34" charset="0"/>
                          <a:ea typeface="+mn-ea"/>
                          <a:cs typeface="Calibri" panose="020F0502020204030204" pitchFamily="34" charset="0"/>
                        </a:rPr>
                        <a:t>suppliers</a:t>
                      </a:r>
                    </a:p>
                  </a:txBody>
                  <a:tcPr marL="7304" marR="7304" marT="730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lumMod val="20000"/>
                        <a:lumOff val="80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b"/>
                      <a:endParaRPr lang="en-US" sz="800" b="1" i="0" u="none" strike="noStrike">
                        <a:solidFill>
                          <a:srgbClr val="505050"/>
                        </a:solidFill>
                        <a:effectLst/>
                        <a:latin typeface="Calibri" panose="020F0502020204030204" pitchFamily="34" charset="0"/>
                        <a:cs typeface="Calibri" panose="020F0502020204030204" pitchFamily="34" charset="0"/>
                      </a:endParaRPr>
                    </a:p>
                  </a:txBody>
                  <a:tcPr marL="7304" marR="7304" marT="730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b"/>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b"/>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514093" rtl="0" eaLnBrk="1" latinLnBrk="0" hangingPunct="1">
                        <a:defRPr sz="1012" kern="1200">
                          <a:solidFill>
                            <a:schemeClr val="dk1"/>
                          </a:solidFill>
                          <a:latin typeface="EYInterstate Light"/>
                        </a:defRPr>
                      </a:lvl1pPr>
                      <a:lvl2pPr marL="257046" algn="l" defTabSz="514093" rtl="0" eaLnBrk="1" latinLnBrk="0" hangingPunct="1">
                        <a:defRPr sz="1012" kern="1200">
                          <a:solidFill>
                            <a:schemeClr val="dk1"/>
                          </a:solidFill>
                          <a:latin typeface="EYInterstate Light"/>
                        </a:defRPr>
                      </a:lvl2pPr>
                      <a:lvl3pPr marL="514093" algn="l" defTabSz="514093" rtl="0" eaLnBrk="1" latinLnBrk="0" hangingPunct="1">
                        <a:defRPr sz="1012" kern="1200">
                          <a:solidFill>
                            <a:schemeClr val="dk1"/>
                          </a:solidFill>
                          <a:latin typeface="EYInterstate Light"/>
                        </a:defRPr>
                      </a:lvl3pPr>
                      <a:lvl4pPr marL="771139" algn="l" defTabSz="514093" rtl="0" eaLnBrk="1" latinLnBrk="0" hangingPunct="1">
                        <a:defRPr sz="1012" kern="1200">
                          <a:solidFill>
                            <a:schemeClr val="dk1"/>
                          </a:solidFill>
                          <a:latin typeface="EYInterstate Light"/>
                        </a:defRPr>
                      </a:lvl4pPr>
                      <a:lvl5pPr marL="1028186" algn="l" defTabSz="514093" rtl="0" eaLnBrk="1" latinLnBrk="0" hangingPunct="1">
                        <a:defRPr sz="1012" kern="1200">
                          <a:solidFill>
                            <a:schemeClr val="dk1"/>
                          </a:solidFill>
                          <a:latin typeface="EYInterstate Light"/>
                        </a:defRPr>
                      </a:lvl5pPr>
                      <a:lvl6pPr marL="1285232" algn="l" defTabSz="514093" rtl="0" eaLnBrk="1" latinLnBrk="0" hangingPunct="1">
                        <a:defRPr sz="1012" kern="1200">
                          <a:solidFill>
                            <a:schemeClr val="dk1"/>
                          </a:solidFill>
                          <a:latin typeface="EYInterstate Light"/>
                        </a:defRPr>
                      </a:lvl6pPr>
                      <a:lvl7pPr marL="1542278" algn="l" defTabSz="514093" rtl="0" eaLnBrk="1" latinLnBrk="0" hangingPunct="1">
                        <a:defRPr sz="1012" kern="1200">
                          <a:solidFill>
                            <a:schemeClr val="dk1"/>
                          </a:solidFill>
                          <a:latin typeface="EYInterstate Light"/>
                        </a:defRPr>
                      </a:lvl7pPr>
                      <a:lvl8pPr marL="1799325" algn="l" defTabSz="514093" rtl="0" eaLnBrk="1" latinLnBrk="0" hangingPunct="1">
                        <a:defRPr sz="1012" kern="1200">
                          <a:solidFill>
                            <a:schemeClr val="dk1"/>
                          </a:solidFill>
                          <a:latin typeface="EYInterstate Light"/>
                        </a:defRPr>
                      </a:lvl8pPr>
                      <a:lvl9pPr marL="2056371" algn="l" defTabSz="514093" rtl="0" eaLnBrk="1" latinLnBrk="0" hangingPunct="1">
                        <a:defRPr sz="1012" kern="1200">
                          <a:solidFill>
                            <a:schemeClr val="dk1"/>
                          </a:solidFill>
                          <a:latin typeface="EYInterstate Light"/>
                        </a:defRPr>
                      </a:lvl9pPr>
                    </a:lstStyle>
                    <a:p>
                      <a:pPr algn="ctr" fontAlgn="t"/>
                      <a:endParaRPr lang="en-US" sz="800" b="0" i="0" u="none" strike="noStrike">
                        <a:solidFill>
                          <a:srgbClr val="000000"/>
                        </a:solidFill>
                        <a:effectLst/>
                        <a:latin typeface="Calibri" panose="020F0502020204030204" pitchFamily="34" charset="0"/>
                        <a:cs typeface="Calibri" panose="020F0502020204030204" pitchFamily="34" charset="0"/>
                      </a:endParaRPr>
                    </a:p>
                  </a:txBody>
                  <a:tcPr marL="7304" marR="7304" marT="730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23"/>
                  </a:ext>
                </a:extLst>
              </a:tr>
            </a:tbl>
          </a:graphicData>
        </a:graphic>
      </p:graphicFrame>
      <p:sp>
        <p:nvSpPr>
          <p:cNvPr id="150" name="Rectangle 149">
            <a:extLst>
              <a:ext uri="{FF2B5EF4-FFF2-40B4-BE49-F238E27FC236}">
                <a16:creationId xmlns:a16="http://schemas.microsoft.com/office/drawing/2014/main" id="{D81CF46C-A337-0FD9-5B16-8BC43D8D28B0}"/>
              </a:ext>
            </a:extLst>
          </p:cNvPr>
          <p:cNvSpPr/>
          <p:nvPr/>
        </p:nvSpPr>
        <p:spPr>
          <a:xfrm rot="20292297">
            <a:off x="4599193" y="4550647"/>
            <a:ext cx="5351211" cy="271770"/>
          </a:xfrm>
          <a:prstGeom prst="rect">
            <a:avLst/>
          </a:prstGeom>
          <a:solidFill>
            <a:schemeClr val="tx2"/>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ample </a:t>
            </a:r>
            <a:r>
              <a:rPr kumimoji="0" lang="de-DE" sz="900" b="0" i="0" u="sng"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roject RACI</a:t>
            </a:r>
          </a:p>
        </p:txBody>
      </p:sp>
    </p:spTree>
    <p:extLst>
      <p:ext uri="{BB962C8B-B14F-4D97-AF65-F5344CB8AC3E}">
        <p14:creationId xmlns:p14="http://schemas.microsoft.com/office/powerpoint/2010/main" val="26624566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5">
            <a:extLst>
              <a:ext uri="{FF2B5EF4-FFF2-40B4-BE49-F238E27FC236}">
                <a16:creationId xmlns:a16="http://schemas.microsoft.com/office/drawing/2014/main" id="{C00157E9-39A2-4FFC-8E46-24A93D4C7648}"/>
              </a:ext>
            </a:extLst>
          </p:cNvPr>
          <p:cNvSpPr>
            <a:spLocks noGrp="1"/>
          </p:cNvSpPr>
          <p:nvPr>
            <p:ph idx="1"/>
          </p:nvPr>
        </p:nvSpPr>
        <p:spPr/>
        <p:txBody>
          <a:bodyPr/>
          <a:lstStyle/>
          <a:p>
            <a:pPr lvl="1"/>
            <a:r>
              <a:rPr lang="en-IE">
                <a:solidFill>
                  <a:schemeClr val="bg2">
                    <a:lumMod val="65000"/>
                    <a:lumOff val="35000"/>
                  </a:schemeClr>
                </a:solidFill>
                <a:latin typeface="Calibri" panose="020F0502020204030204" pitchFamily="34" charset="0"/>
                <a:cs typeface="Calibri" panose="020F0502020204030204" pitchFamily="34" charset="0"/>
              </a:rPr>
              <a:t>Three-tier bottom-up approach to product and service quality assurance</a:t>
            </a:r>
          </a:p>
          <a:p>
            <a:endParaRPr lang="en-IE">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Y Quality Assurance</a:t>
            </a:r>
          </a:p>
        </p:txBody>
      </p:sp>
      <p:sp>
        <p:nvSpPr>
          <p:cNvPr id="19" name="Oval 18">
            <a:extLst>
              <a:ext uri="{FF2B5EF4-FFF2-40B4-BE49-F238E27FC236}">
                <a16:creationId xmlns:a16="http://schemas.microsoft.com/office/drawing/2014/main" id="{18C4C8E8-9820-4B2E-8EFE-A0E4F956F4F3}"/>
              </a:ext>
            </a:extLst>
          </p:cNvPr>
          <p:cNvSpPr/>
          <p:nvPr/>
        </p:nvSpPr>
        <p:spPr>
          <a:xfrm flipH="1">
            <a:off x="3605470" y="5777197"/>
            <a:ext cx="4864572" cy="365916"/>
          </a:xfrm>
          <a:prstGeom prst="ellipse">
            <a:avLst/>
          </a:prstGeom>
          <a:gradFill flip="none" rotWithShape="1">
            <a:gsLst>
              <a:gs pos="0">
                <a:sysClr val="windowText" lastClr="000000">
                  <a:lumMod val="16000"/>
                  <a:alpha val="38000"/>
                </a:sysClr>
              </a:gs>
              <a:gs pos="100000">
                <a:sysClr val="window" lastClr="FFFFFF">
                  <a:alpha val="0"/>
                  <a:lumMod val="0"/>
                  <a:lumOff val="100000"/>
                </a:sys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1CDFDE20-450A-4801-88CB-267774920E0E}"/>
              </a:ext>
            </a:extLst>
          </p:cNvPr>
          <p:cNvGrpSpPr/>
          <p:nvPr/>
        </p:nvGrpSpPr>
        <p:grpSpPr>
          <a:xfrm>
            <a:off x="3549890" y="1915057"/>
            <a:ext cx="4912953" cy="4103349"/>
            <a:chOff x="2939210" y="1065213"/>
            <a:chExt cx="5823791" cy="4518025"/>
          </a:xfrm>
          <a:solidFill>
            <a:schemeClr val="bg1"/>
          </a:solidFill>
          <a:effectLst/>
        </p:grpSpPr>
        <p:sp>
          <p:nvSpPr>
            <p:cNvPr id="21" name="Freeform 6">
              <a:extLst>
                <a:ext uri="{FF2B5EF4-FFF2-40B4-BE49-F238E27FC236}">
                  <a16:creationId xmlns:a16="http://schemas.microsoft.com/office/drawing/2014/main" id="{D0F6DDB3-B96F-47A4-A4F4-B842B1541BB6}"/>
                </a:ext>
              </a:extLst>
            </p:cNvPr>
            <p:cNvSpPr>
              <a:spLocks/>
            </p:cNvSpPr>
            <p:nvPr/>
          </p:nvSpPr>
          <p:spPr bwMode="auto">
            <a:xfrm>
              <a:off x="3346451" y="1065213"/>
              <a:ext cx="5416550" cy="4518025"/>
            </a:xfrm>
            <a:custGeom>
              <a:avLst/>
              <a:gdLst>
                <a:gd name="T0" fmla="*/ 1693 w 3412"/>
                <a:gd name="T1" fmla="*/ 0 h 2846"/>
                <a:gd name="T2" fmla="*/ 3412 w 3412"/>
                <a:gd name="T3" fmla="*/ 2846 h 2846"/>
                <a:gd name="T4" fmla="*/ 0 w 3412"/>
                <a:gd name="T5" fmla="*/ 2846 h 2846"/>
                <a:gd name="T6" fmla="*/ 1693 w 3412"/>
                <a:gd name="T7" fmla="*/ 0 h 2846"/>
              </a:gdLst>
              <a:ahLst/>
              <a:cxnLst>
                <a:cxn ang="0">
                  <a:pos x="T0" y="T1"/>
                </a:cxn>
                <a:cxn ang="0">
                  <a:pos x="T2" y="T3"/>
                </a:cxn>
                <a:cxn ang="0">
                  <a:pos x="T4" y="T5"/>
                </a:cxn>
                <a:cxn ang="0">
                  <a:pos x="T6" y="T7"/>
                </a:cxn>
              </a:cxnLst>
              <a:rect l="0" t="0" r="r" b="b"/>
              <a:pathLst>
                <a:path w="3412" h="2846">
                  <a:moveTo>
                    <a:pt x="1693" y="0"/>
                  </a:moveTo>
                  <a:lnTo>
                    <a:pt x="3412" y="2846"/>
                  </a:lnTo>
                  <a:lnTo>
                    <a:pt x="0" y="2846"/>
                  </a:lnTo>
                  <a:lnTo>
                    <a:pt x="1693" y="0"/>
                  </a:lnTo>
                  <a:close/>
                </a:path>
              </a:pathLst>
            </a:custGeom>
            <a:solidFill>
              <a:schemeClr val="bg1"/>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2" name="Freeform 7">
              <a:extLst>
                <a:ext uri="{FF2B5EF4-FFF2-40B4-BE49-F238E27FC236}">
                  <a16:creationId xmlns:a16="http://schemas.microsoft.com/office/drawing/2014/main" id="{8DB1FB27-BF23-4295-B277-85AD63830CFC}"/>
                </a:ext>
              </a:extLst>
            </p:cNvPr>
            <p:cNvSpPr>
              <a:spLocks/>
            </p:cNvSpPr>
            <p:nvPr/>
          </p:nvSpPr>
          <p:spPr bwMode="auto">
            <a:xfrm>
              <a:off x="2939210" y="1065213"/>
              <a:ext cx="3108325" cy="4518025"/>
            </a:xfrm>
            <a:custGeom>
              <a:avLst/>
              <a:gdLst>
                <a:gd name="T0" fmla="*/ 1719 w 1958"/>
                <a:gd name="T1" fmla="*/ 0 h 2846"/>
                <a:gd name="T2" fmla="*/ 1958 w 1958"/>
                <a:gd name="T3" fmla="*/ 0 h 2846"/>
                <a:gd name="T4" fmla="*/ 265 w 1958"/>
                <a:gd name="T5" fmla="*/ 2846 h 2846"/>
                <a:gd name="T6" fmla="*/ 0 w 1958"/>
                <a:gd name="T7" fmla="*/ 2846 h 2846"/>
                <a:gd name="T8" fmla="*/ 1719 w 1958"/>
                <a:gd name="T9" fmla="*/ 0 h 2846"/>
              </a:gdLst>
              <a:ahLst/>
              <a:cxnLst>
                <a:cxn ang="0">
                  <a:pos x="T0" y="T1"/>
                </a:cxn>
                <a:cxn ang="0">
                  <a:pos x="T2" y="T3"/>
                </a:cxn>
                <a:cxn ang="0">
                  <a:pos x="T4" y="T5"/>
                </a:cxn>
                <a:cxn ang="0">
                  <a:pos x="T6" y="T7"/>
                </a:cxn>
                <a:cxn ang="0">
                  <a:pos x="T8" y="T9"/>
                </a:cxn>
              </a:cxnLst>
              <a:rect l="0" t="0" r="r" b="b"/>
              <a:pathLst>
                <a:path w="1958" h="2846">
                  <a:moveTo>
                    <a:pt x="1719" y="0"/>
                  </a:moveTo>
                  <a:lnTo>
                    <a:pt x="1958" y="0"/>
                  </a:lnTo>
                  <a:lnTo>
                    <a:pt x="265" y="2846"/>
                  </a:lnTo>
                  <a:lnTo>
                    <a:pt x="0" y="2846"/>
                  </a:lnTo>
                  <a:lnTo>
                    <a:pt x="1719" y="0"/>
                  </a:lnTo>
                  <a:close/>
                </a:path>
              </a:pathLst>
            </a:custGeom>
            <a:solidFill>
              <a:schemeClr val="bg2"/>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cxnSp>
        <p:nvCxnSpPr>
          <p:cNvPr id="23" name="Straight Connector 22">
            <a:extLst>
              <a:ext uri="{FF2B5EF4-FFF2-40B4-BE49-F238E27FC236}">
                <a16:creationId xmlns:a16="http://schemas.microsoft.com/office/drawing/2014/main" id="{F0364A53-48AD-4FF0-9FAC-E1B82219E9DB}"/>
              </a:ext>
            </a:extLst>
          </p:cNvPr>
          <p:cNvCxnSpPr/>
          <p:nvPr/>
        </p:nvCxnSpPr>
        <p:spPr>
          <a:xfrm flipH="1">
            <a:off x="3979033" y="2326493"/>
            <a:ext cx="1656000" cy="0"/>
          </a:xfrm>
          <a:prstGeom prst="line">
            <a:avLst/>
          </a:prstGeom>
          <a:noFill/>
          <a:ln w="9525" cap="flat" cmpd="sng" algn="ctr">
            <a:solidFill>
              <a:schemeClr val="bg1"/>
            </a:solidFill>
            <a:prstDash val="solid"/>
            <a:headEnd type="none" w="med" len="med"/>
            <a:tailEnd type="oval" w="lg" len="lg"/>
          </a:ln>
          <a:effectLst/>
        </p:spPr>
      </p:cxnSp>
      <p:cxnSp>
        <p:nvCxnSpPr>
          <p:cNvPr id="24" name="Straight Connector 23">
            <a:extLst>
              <a:ext uri="{FF2B5EF4-FFF2-40B4-BE49-F238E27FC236}">
                <a16:creationId xmlns:a16="http://schemas.microsoft.com/office/drawing/2014/main" id="{AF21DAAC-09C3-42B8-9AD5-9405CB802570}"/>
              </a:ext>
            </a:extLst>
          </p:cNvPr>
          <p:cNvCxnSpPr/>
          <p:nvPr/>
        </p:nvCxnSpPr>
        <p:spPr>
          <a:xfrm flipH="1">
            <a:off x="4028315" y="4304778"/>
            <a:ext cx="2124000" cy="0"/>
          </a:xfrm>
          <a:prstGeom prst="line">
            <a:avLst/>
          </a:prstGeom>
          <a:noFill/>
          <a:ln w="9525" cap="flat" cmpd="sng" algn="ctr">
            <a:solidFill>
              <a:srgbClr val="C4C4CD"/>
            </a:solidFill>
            <a:prstDash val="solid"/>
            <a:headEnd type="none" w="med" len="med"/>
            <a:tailEnd type="oval" w="lg" len="lg"/>
          </a:ln>
          <a:effectLst/>
        </p:spPr>
      </p:cxnSp>
      <p:sp>
        <p:nvSpPr>
          <p:cNvPr id="25" name="Rectangle 24">
            <a:extLst>
              <a:ext uri="{FF2B5EF4-FFF2-40B4-BE49-F238E27FC236}">
                <a16:creationId xmlns:a16="http://schemas.microsoft.com/office/drawing/2014/main" id="{0DC094DE-1D57-4D51-92A5-0B180F397D41}"/>
              </a:ext>
            </a:extLst>
          </p:cNvPr>
          <p:cNvSpPr/>
          <p:nvPr/>
        </p:nvSpPr>
        <p:spPr>
          <a:xfrm>
            <a:off x="609601" y="2541602"/>
            <a:ext cx="3186639" cy="1495592"/>
          </a:xfrm>
          <a:prstGeom prst="rect">
            <a:avLst/>
          </a:prstGeom>
        </p:spPr>
        <p:txBody>
          <a:bodyPr wrap="square" lIns="0" tIns="0" rIns="0" bIns="0">
            <a:noAutofit/>
          </a:bodyPr>
          <a:lstStyle/>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Functional specification quality review</a:t>
            </a:r>
          </a:p>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Regular solution playbacks </a:t>
            </a:r>
          </a:p>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Code quality reviews</a:t>
            </a:r>
          </a:p>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Rigorous testing and defect resolution</a:t>
            </a:r>
          </a:p>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Performance testing</a:t>
            </a:r>
          </a:p>
          <a:p>
            <a:pPr marL="171450" marR="0" lvl="0" indent="-171450" algn="l" defTabSz="1218987" rtl="0" eaLnBrk="1" fontAlgn="auto" latinLnBrk="0" hangingPunct="1">
              <a:spcBef>
                <a:spcPts val="0"/>
              </a:spcBef>
              <a:spcAft>
                <a:spcPts val="500"/>
              </a:spcAft>
              <a:buClrTx/>
              <a:buSzPct val="70000"/>
              <a:buFont typeface="Arial" panose="020B0604020202020204" pitchFamily="34" charset="0"/>
              <a:buChar char="►"/>
              <a:tabLst/>
              <a:defRPr/>
            </a:pPr>
            <a:r>
              <a:rPr lang="en-IN" sz="1050">
                <a:solidFill>
                  <a:schemeClr val="bg2">
                    <a:lumMod val="65000"/>
                    <a:lumOff val="35000"/>
                  </a:schemeClr>
                </a:solidFill>
                <a:latin typeface="Calibri" panose="020F0502020204030204" pitchFamily="34" charset="0"/>
                <a:cs typeface="Calibri" panose="020F0502020204030204" pitchFamily="34" charset="0"/>
              </a:rPr>
              <a:t>User acceptance testing </a:t>
            </a:r>
            <a:endParaRPr lang="en-IN" sz="1100">
              <a:solidFill>
                <a:schemeClr val="bg2">
                  <a:lumMod val="65000"/>
                  <a:lumOff val="35000"/>
                </a:schemeClr>
              </a:solidFill>
              <a:latin typeface="Calibri" panose="020F0502020204030204" pitchFamily="34" charset="0"/>
              <a:cs typeface="Calibri" panose="020F0502020204030204" pitchFamily="34" charset="0"/>
            </a:endParaRPr>
          </a:p>
          <a:p>
            <a:pPr marL="171450" marR="0" lvl="0" indent="-171450" algn="l" defTabSz="1218987" rtl="0" eaLnBrk="1" fontAlgn="auto" latinLnBrk="0" hangingPunct="1">
              <a:spcBef>
                <a:spcPts val="0"/>
              </a:spcBef>
              <a:spcAft>
                <a:spcPts val="500"/>
              </a:spcAft>
              <a:buClrTx/>
              <a:buSzTx/>
              <a:buFont typeface="Arial" panose="020B0604020202020204" pitchFamily="34" charset="0"/>
              <a:buChar char="•"/>
              <a:tabLst/>
              <a:defRPr/>
            </a:pPr>
            <a:endParaRPr kumimoji="0" lang="en-IN"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5F2B020A-4A25-451D-9E75-4546944EAC5F}"/>
              </a:ext>
            </a:extLst>
          </p:cNvPr>
          <p:cNvSpPr txBox="1"/>
          <p:nvPr/>
        </p:nvSpPr>
        <p:spPr>
          <a:xfrm>
            <a:off x="609601" y="2155956"/>
            <a:ext cx="3186639" cy="338554"/>
          </a:xfrm>
          <a:prstGeom prst="rect">
            <a:avLst/>
          </a:prstGeom>
          <a:solidFill>
            <a:schemeClr val="bg1"/>
          </a:solid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Level 1: Delivery Processes</a:t>
            </a:r>
          </a:p>
        </p:txBody>
      </p:sp>
      <p:grpSp>
        <p:nvGrpSpPr>
          <p:cNvPr id="27" name="Group 26">
            <a:extLst>
              <a:ext uri="{FF2B5EF4-FFF2-40B4-BE49-F238E27FC236}">
                <a16:creationId xmlns:a16="http://schemas.microsoft.com/office/drawing/2014/main" id="{EF1DAB63-0886-4ED9-A2A6-EC5D6BED21F4}"/>
              </a:ext>
            </a:extLst>
          </p:cNvPr>
          <p:cNvGrpSpPr/>
          <p:nvPr/>
        </p:nvGrpSpPr>
        <p:grpSpPr>
          <a:xfrm>
            <a:off x="5052097" y="2958865"/>
            <a:ext cx="3660313" cy="3059541"/>
            <a:chOff x="2943798" y="1065213"/>
            <a:chExt cx="5819203" cy="4518025"/>
          </a:xfrm>
          <a:solidFill>
            <a:schemeClr val="tx1">
              <a:lumMod val="65000"/>
            </a:schemeClr>
          </a:solidFill>
          <a:effectLst/>
        </p:grpSpPr>
        <p:sp>
          <p:nvSpPr>
            <p:cNvPr id="29" name="Freeform 10">
              <a:extLst>
                <a:ext uri="{FF2B5EF4-FFF2-40B4-BE49-F238E27FC236}">
                  <a16:creationId xmlns:a16="http://schemas.microsoft.com/office/drawing/2014/main" id="{722716A3-4C6B-4BDD-B853-3834E8B3D5CE}"/>
                </a:ext>
              </a:extLst>
            </p:cNvPr>
            <p:cNvSpPr>
              <a:spLocks/>
            </p:cNvSpPr>
            <p:nvPr/>
          </p:nvSpPr>
          <p:spPr bwMode="auto">
            <a:xfrm>
              <a:off x="3346451" y="1065213"/>
              <a:ext cx="5416550" cy="4518025"/>
            </a:xfrm>
            <a:custGeom>
              <a:avLst/>
              <a:gdLst>
                <a:gd name="T0" fmla="*/ 1693 w 3412"/>
                <a:gd name="T1" fmla="*/ 0 h 2846"/>
                <a:gd name="T2" fmla="*/ 3412 w 3412"/>
                <a:gd name="T3" fmla="*/ 2846 h 2846"/>
                <a:gd name="T4" fmla="*/ 0 w 3412"/>
                <a:gd name="T5" fmla="*/ 2846 h 2846"/>
                <a:gd name="T6" fmla="*/ 1693 w 3412"/>
                <a:gd name="T7" fmla="*/ 0 h 2846"/>
              </a:gdLst>
              <a:ahLst/>
              <a:cxnLst>
                <a:cxn ang="0">
                  <a:pos x="T0" y="T1"/>
                </a:cxn>
                <a:cxn ang="0">
                  <a:pos x="T2" y="T3"/>
                </a:cxn>
                <a:cxn ang="0">
                  <a:pos x="T4" y="T5"/>
                </a:cxn>
                <a:cxn ang="0">
                  <a:pos x="T6" y="T7"/>
                </a:cxn>
              </a:cxnLst>
              <a:rect l="0" t="0" r="r" b="b"/>
              <a:pathLst>
                <a:path w="3412" h="2846">
                  <a:moveTo>
                    <a:pt x="1693" y="0"/>
                  </a:moveTo>
                  <a:lnTo>
                    <a:pt x="3412" y="2846"/>
                  </a:lnTo>
                  <a:lnTo>
                    <a:pt x="0" y="2846"/>
                  </a:lnTo>
                  <a:lnTo>
                    <a:pt x="1693" y="0"/>
                  </a:lnTo>
                  <a:close/>
                </a:path>
              </a:pathLst>
            </a:custGeom>
            <a:solidFill>
              <a:srgbClr val="C4C4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30" name="Freeform 11">
              <a:extLst>
                <a:ext uri="{FF2B5EF4-FFF2-40B4-BE49-F238E27FC236}">
                  <a16:creationId xmlns:a16="http://schemas.microsoft.com/office/drawing/2014/main" id="{49B35A46-1C58-44F0-9D48-74B3C431263D}"/>
                </a:ext>
              </a:extLst>
            </p:cNvPr>
            <p:cNvSpPr>
              <a:spLocks/>
            </p:cNvSpPr>
            <p:nvPr/>
          </p:nvSpPr>
          <p:spPr bwMode="auto">
            <a:xfrm>
              <a:off x="2943798" y="1065213"/>
              <a:ext cx="3108325" cy="4518025"/>
            </a:xfrm>
            <a:custGeom>
              <a:avLst/>
              <a:gdLst>
                <a:gd name="T0" fmla="*/ 1719 w 1958"/>
                <a:gd name="T1" fmla="*/ 0 h 2846"/>
                <a:gd name="T2" fmla="*/ 1958 w 1958"/>
                <a:gd name="T3" fmla="*/ 0 h 2846"/>
                <a:gd name="T4" fmla="*/ 265 w 1958"/>
                <a:gd name="T5" fmla="*/ 2846 h 2846"/>
                <a:gd name="T6" fmla="*/ 0 w 1958"/>
                <a:gd name="T7" fmla="*/ 2846 h 2846"/>
                <a:gd name="T8" fmla="*/ 1719 w 1958"/>
                <a:gd name="T9" fmla="*/ 0 h 2846"/>
              </a:gdLst>
              <a:ahLst/>
              <a:cxnLst>
                <a:cxn ang="0">
                  <a:pos x="T0" y="T1"/>
                </a:cxn>
                <a:cxn ang="0">
                  <a:pos x="T2" y="T3"/>
                </a:cxn>
                <a:cxn ang="0">
                  <a:pos x="T4" y="T5"/>
                </a:cxn>
                <a:cxn ang="0">
                  <a:pos x="T6" y="T7"/>
                </a:cxn>
                <a:cxn ang="0">
                  <a:pos x="T8" y="T9"/>
                </a:cxn>
              </a:cxnLst>
              <a:rect l="0" t="0" r="r" b="b"/>
              <a:pathLst>
                <a:path w="1958" h="2846">
                  <a:moveTo>
                    <a:pt x="1719" y="0"/>
                  </a:moveTo>
                  <a:lnTo>
                    <a:pt x="1958" y="0"/>
                  </a:lnTo>
                  <a:lnTo>
                    <a:pt x="265" y="2846"/>
                  </a:lnTo>
                  <a:lnTo>
                    <a:pt x="0" y="2846"/>
                  </a:lnTo>
                  <a:lnTo>
                    <a:pt x="1719" y="0"/>
                  </a:lnTo>
                  <a:close/>
                </a:path>
              </a:pathLst>
            </a:custGeom>
            <a:solidFill>
              <a:srgbClr val="74747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31" name="Group 30">
            <a:extLst>
              <a:ext uri="{FF2B5EF4-FFF2-40B4-BE49-F238E27FC236}">
                <a16:creationId xmlns:a16="http://schemas.microsoft.com/office/drawing/2014/main" id="{865A9010-D7B7-4C44-8FB4-3BA42EE19B15}"/>
              </a:ext>
            </a:extLst>
          </p:cNvPr>
          <p:cNvGrpSpPr/>
          <p:nvPr/>
        </p:nvGrpSpPr>
        <p:grpSpPr>
          <a:xfrm>
            <a:off x="6607723" y="4108950"/>
            <a:ext cx="2280133" cy="1909456"/>
            <a:chOff x="2954660" y="1065213"/>
            <a:chExt cx="5808341" cy="4518025"/>
          </a:xfrm>
          <a:effectLst/>
        </p:grpSpPr>
        <p:sp>
          <p:nvSpPr>
            <p:cNvPr id="32" name="Freeform 13">
              <a:extLst>
                <a:ext uri="{FF2B5EF4-FFF2-40B4-BE49-F238E27FC236}">
                  <a16:creationId xmlns:a16="http://schemas.microsoft.com/office/drawing/2014/main" id="{DB971CE2-14B2-45B2-9AEF-8F71C6B33554}"/>
                </a:ext>
              </a:extLst>
            </p:cNvPr>
            <p:cNvSpPr>
              <a:spLocks/>
            </p:cNvSpPr>
            <p:nvPr/>
          </p:nvSpPr>
          <p:spPr bwMode="auto">
            <a:xfrm>
              <a:off x="3346451" y="1065213"/>
              <a:ext cx="5416550" cy="4518025"/>
            </a:xfrm>
            <a:custGeom>
              <a:avLst/>
              <a:gdLst>
                <a:gd name="T0" fmla="*/ 1693 w 3412"/>
                <a:gd name="T1" fmla="*/ 0 h 2846"/>
                <a:gd name="T2" fmla="*/ 3412 w 3412"/>
                <a:gd name="T3" fmla="*/ 2846 h 2846"/>
                <a:gd name="T4" fmla="*/ 0 w 3412"/>
                <a:gd name="T5" fmla="*/ 2846 h 2846"/>
                <a:gd name="T6" fmla="*/ 1693 w 3412"/>
                <a:gd name="T7" fmla="*/ 0 h 2846"/>
              </a:gdLst>
              <a:ahLst/>
              <a:cxnLst>
                <a:cxn ang="0">
                  <a:pos x="T0" y="T1"/>
                </a:cxn>
                <a:cxn ang="0">
                  <a:pos x="T2" y="T3"/>
                </a:cxn>
                <a:cxn ang="0">
                  <a:pos x="T4" y="T5"/>
                </a:cxn>
                <a:cxn ang="0">
                  <a:pos x="T6" y="T7"/>
                </a:cxn>
              </a:cxnLst>
              <a:rect l="0" t="0" r="r" b="b"/>
              <a:pathLst>
                <a:path w="3412" h="2846">
                  <a:moveTo>
                    <a:pt x="1693" y="0"/>
                  </a:moveTo>
                  <a:lnTo>
                    <a:pt x="3412" y="2846"/>
                  </a:lnTo>
                  <a:lnTo>
                    <a:pt x="0" y="2846"/>
                  </a:lnTo>
                  <a:lnTo>
                    <a:pt x="1693" y="0"/>
                  </a:lnTo>
                  <a:close/>
                </a:path>
              </a:pathLst>
            </a:custGeom>
            <a:solidFill>
              <a:schemeClr val="tx2"/>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33" name="Freeform 14">
              <a:extLst>
                <a:ext uri="{FF2B5EF4-FFF2-40B4-BE49-F238E27FC236}">
                  <a16:creationId xmlns:a16="http://schemas.microsoft.com/office/drawing/2014/main" id="{F297C593-006A-453A-A191-0ED9C134E530}"/>
                </a:ext>
              </a:extLst>
            </p:cNvPr>
            <p:cNvSpPr>
              <a:spLocks/>
            </p:cNvSpPr>
            <p:nvPr/>
          </p:nvSpPr>
          <p:spPr bwMode="auto">
            <a:xfrm>
              <a:off x="2954660" y="1065213"/>
              <a:ext cx="3108325" cy="4518025"/>
            </a:xfrm>
            <a:custGeom>
              <a:avLst/>
              <a:gdLst>
                <a:gd name="T0" fmla="*/ 1719 w 1958"/>
                <a:gd name="T1" fmla="*/ 0 h 2846"/>
                <a:gd name="T2" fmla="*/ 1958 w 1958"/>
                <a:gd name="T3" fmla="*/ 0 h 2846"/>
                <a:gd name="T4" fmla="*/ 265 w 1958"/>
                <a:gd name="T5" fmla="*/ 2846 h 2846"/>
                <a:gd name="T6" fmla="*/ 0 w 1958"/>
                <a:gd name="T7" fmla="*/ 2846 h 2846"/>
                <a:gd name="T8" fmla="*/ 1719 w 1958"/>
                <a:gd name="T9" fmla="*/ 0 h 2846"/>
              </a:gdLst>
              <a:ahLst/>
              <a:cxnLst>
                <a:cxn ang="0">
                  <a:pos x="T0" y="T1"/>
                </a:cxn>
                <a:cxn ang="0">
                  <a:pos x="T2" y="T3"/>
                </a:cxn>
                <a:cxn ang="0">
                  <a:pos x="T4" y="T5"/>
                </a:cxn>
                <a:cxn ang="0">
                  <a:pos x="T6" y="T7"/>
                </a:cxn>
                <a:cxn ang="0">
                  <a:pos x="T8" y="T9"/>
                </a:cxn>
              </a:cxnLst>
              <a:rect l="0" t="0" r="r" b="b"/>
              <a:pathLst>
                <a:path w="1958" h="2846">
                  <a:moveTo>
                    <a:pt x="1719" y="0"/>
                  </a:moveTo>
                  <a:lnTo>
                    <a:pt x="1958" y="0"/>
                  </a:lnTo>
                  <a:lnTo>
                    <a:pt x="265" y="2846"/>
                  </a:lnTo>
                  <a:lnTo>
                    <a:pt x="0" y="2846"/>
                  </a:lnTo>
                  <a:lnTo>
                    <a:pt x="1719" y="0"/>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sp>
        <p:nvSpPr>
          <p:cNvPr id="34" name="TextBox 33">
            <a:extLst>
              <a:ext uri="{FF2B5EF4-FFF2-40B4-BE49-F238E27FC236}">
                <a16:creationId xmlns:a16="http://schemas.microsoft.com/office/drawing/2014/main" id="{AB071B5F-FBA3-4385-B165-3FB5DFF7C849}"/>
              </a:ext>
            </a:extLst>
          </p:cNvPr>
          <p:cNvSpPr txBox="1"/>
          <p:nvPr/>
        </p:nvSpPr>
        <p:spPr>
          <a:xfrm>
            <a:off x="5723833" y="2214684"/>
            <a:ext cx="821806" cy="507831"/>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36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endParaRPr kumimoji="0" lang="en-IN" sz="36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D038867F-3CAB-412E-8025-F3F2472FAD41}"/>
              </a:ext>
            </a:extLst>
          </p:cNvPr>
          <p:cNvSpPr txBox="1"/>
          <p:nvPr/>
        </p:nvSpPr>
        <p:spPr>
          <a:xfrm>
            <a:off x="6553419" y="3478673"/>
            <a:ext cx="821806" cy="507831"/>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36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endParaRPr kumimoji="0" lang="en-IN" sz="36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A8A64BB7-79B3-435F-BF56-7716E5AADA4F}"/>
              </a:ext>
            </a:extLst>
          </p:cNvPr>
          <p:cNvSpPr txBox="1"/>
          <p:nvPr/>
        </p:nvSpPr>
        <p:spPr>
          <a:xfrm>
            <a:off x="7583136" y="4533157"/>
            <a:ext cx="599004" cy="507831"/>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36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3</a:t>
            </a:r>
            <a:endParaRPr kumimoji="0" lang="en-IN" sz="36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735E579C-072C-4ACE-A770-10165A7B7B84}"/>
              </a:ext>
            </a:extLst>
          </p:cNvPr>
          <p:cNvSpPr txBox="1"/>
          <p:nvPr/>
        </p:nvSpPr>
        <p:spPr>
          <a:xfrm>
            <a:off x="609601" y="4135501"/>
            <a:ext cx="3193839" cy="338554"/>
          </a:xfrm>
          <a:prstGeom prst="rect">
            <a:avLst/>
          </a:prstGeom>
          <a:solidFill>
            <a:srgbClr val="C4C4CD"/>
          </a:solid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Level </a:t>
            </a:r>
            <a:r>
              <a:rPr lang="en-IN" sz="1600">
                <a:solidFill>
                  <a:schemeClr val="bg1"/>
                </a:solidFill>
                <a:latin typeface="Calibri" panose="020F0502020204030204" pitchFamily="34" charset="0"/>
                <a:cs typeface="Calibri" panose="020F0502020204030204" pitchFamily="34" charset="0"/>
              </a:rPr>
              <a:t>2: </a:t>
            </a:r>
            <a:r>
              <a:rPr kumimoji="0" lang="en-IN"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Governance Processes</a:t>
            </a:r>
          </a:p>
        </p:txBody>
      </p:sp>
      <p:sp>
        <p:nvSpPr>
          <p:cNvPr id="38" name="TextBox 37">
            <a:extLst>
              <a:ext uri="{FF2B5EF4-FFF2-40B4-BE49-F238E27FC236}">
                <a16:creationId xmlns:a16="http://schemas.microsoft.com/office/drawing/2014/main" id="{CB1CC138-E6A9-42FE-BB72-DDB30DC71192}"/>
              </a:ext>
            </a:extLst>
          </p:cNvPr>
          <p:cNvSpPr txBox="1"/>
          <p:nvPr/>
        </p:nvSpPr>
        <p:spPr>
          <a:xfrm>
            <a:off x="8659643" y="2177421"/>
            <a:ext cx="3186640" cy="338554"/>
          </a:xfrm>
          <a:prstGeom prst="rect">
            <a:avLst/>
          </a:prstGeom>
          <a:solidFill>
            <a:srgbClr val="FFE502"/>
          </a:solid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Level 3: Service Quality Review </a:t>
            </a:r>
          </a:p>
        </p:txBody>
      </p:sp>
      <p:cxnSp>
        <p:nvCxnSpPr>
          <p:cNvPr id="39" name="Connector: Elbow 38">
            <a:extLst>
              <a:ext uri="{FF2B5EF4-FFF2-40B4-BE49-F238E27FC236}">
                <a16:creationId xmlns:a16="http://schemas.microsoft.com/office/drawing/2014/main" id="{2830E2C1-584B-4D20-8D54-FAB2B9406D4D}"/>
              </a:ext>
            </a:extLst>
          </p:cNvPr>
          <p:cNvCxnSpPr>
            <a:cxnSpLocks/>
            <a:stCxn id="36" idx="3"/>
            <a:endCxn id="40" idx="1"/>
          </p:cNvCxnSpPr>
          <p:nvPr/>
        </p:nvCxnSpPr>
        <p:spPr>
          <a:xfrm flipV="1">
            <a:off x="8182140" y="2346328"/>
            <a:ext cx="390112" cy="2440745"/>
          </a:xfrm>
          <a:prstGeom prst="bentConnector3">
            <a:avLst/>
          </a:prstGeom>
          <a:noFill/>
          <a:ln w="9525" cap="flat" cmpd="sng" algn="ctr">
            <a:solidFill>
              <a:schemeClr val="tx2"/>
            </a:solidFill>
            <a:prstDash val="solid"/>
            <a:headEnd type="none" w="med" len="med"/>
            <a:tailEnd type="oval" w="lg" len="lg"/>
          </a:ln>
          <a:effectLst/>
        </p:spPr>
      </p:cxnSp>
      <p:sp>
        <p:nvSpPr>
          <p:cNvPr id="40" name="Rectangle 39">
            <a:extLst>
              <a:ext uri="{FF2B5EF4-FFF2-40B4-BE49-F238E27FC236}">
                <a16:creationId xmlns:a16="http://schemas.microsoft.com/office/drawing/2014/main" id="{196C586E-A2C7-483D-9D3B-FD3F2EBECA14}"/>
              </a:ext>
            </a:extLst>
          </p:cNvPr>
          <p:cNvSpPr/>
          <p:nvPr/>
        </p:nvSpPr>
        <p:spPr bwMode="auto">
          <a:xfrm>
            <a:off x="8572252" y="2177051"/>
            <a:ext cx="140158" cy="338554"/>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D6A9CE47-96DC-4F03-903B-463C9C8A6DBF}"/>
              </a:ext>
            </a:extLst>
          </p:cNvPr>
          <p:cNvSpPr/>
          <p:nvPr/>
        </p:nvSpPr>
        <p:spPr>
          <a:xfrm>
            <a:off x="609601" y="4531004"/>
            <a:ext cx="3217746" cy="1432380"/>
          </a:xfrm>
          <a:prstGeom prst="rect">
            <a:avLst/>
          </a:prstGeom>
        </p:spPr>
        <p:txBody>
          <a:bodyPr wrap="square" lIns="0" tIns="0" rIns="0" bIns="0">
            <a:noAutofit/>
          </a:bodyPr>
          <a:lstStyle/>
          <a:p>
            <a:pPr marL="171450" indent="-171450" defTabSz="1218987">
              <a:spcAft>
                <a:spcPts val="500"/>
              </a:spcAft>
              <a:buSzPct val="70000"/>
              <a:buFont typeface="Arial" panose="020B0604020202020204" pitchFamily="34" charset="0"/>
              <a:buChar char="►"/>
              <a:defRPr/>
            </a:pPr>
            <a:r>
              <a:rPr lang="en-IN" sz="1050">
                <a:solidFill>
                  <a:schemeClr val="bg2">
                    <a:lumMod val="65000"/>
                    <a:lumOff val="35000"/>
                  </a:schemeClr>
                </a:solidFill>
                <a:latin typeface="Calibri" panose="020F0502020204030204" pitchFamily="34" charset="0"/>
                <a:cs typeface="Calibri" panose="020F0502020204030204" pitchFamily="34" charset="0"/>
              </a:rPr>
              <a:t>Design governance: Fit-to-Standard and Design Principles validated by Design Authority</a:t>
            </a:r>
          </a:p>
          <a:p>
            <a:pPr marL="171450" indent="-171450" defTabSz="1218987">
              <a:spcAft>
                <a:spcPts val="500"/>
              </a:spcAft>
              <a:buSzPct val="70000"/>
              <a:buFont typeface="Arial" panose="020B0604020202020204" pitchFamily="34" charset="0"/>
              <a:buChar char="►"/>
              <a:defRPr/>
            </a:pPr>
            <a:r>
              <a:rPr lang="en-IN" sz="1050">
                <a:solidFill>
                  <a:schemeClr val="bg2">
                    <a:lumMod val="65000"/>
                    <a:lumOff val="35000"/>
                  </a:schemeClr>
                </a:solidFill>
                <a:latin typeface="Calibri" panose="020F0502020204030204" pitchFamily="34" charset="0"/>
                <a:cs typeface="Calibri" panose="020F0502020204030204" pitchFamily="34" charset="0"/>
              </a:rPr>
              <a:t>Risk, Issue &amp; Decision Management</a:t>
            </a:r>
          </a:p>
          <a:p>
            <a:pPr marL="171450" indent="-171450" defTabSz="1218987">
              <a:spcAft>
                <a:spcPts val="500"/>
              </a:spcAft>
              <a:buSzPct val="70000"/>
              <a:buFont typeface="Arial" panose="020B0604020202020204" pitchFamily="34" charset="0"/>
              <a:buChar char="►"/>
              <a:defRPr/>
            </a:pPr>
            <a:r>
              <a:rPr lang="en-IN" sz="1050">
                <a:solidFill>
                  <a:schemeClr val="bg2">
                    <a:lumMod val="65000"/>
                    <a:lumOff val="35000"/>
                  </a:schemeClr>
                </a:solidFill>
                <a:latin typeface="Calibri" panose="020F0502020204030204" pitchFamily="34" charset="0"/>
                <a:cs typeface="Calibri" panose="020F0502020204030204" pitchFamily="34" charset="0"/>
              </a:rPr>
              <a:t>Stage Gate reviews per phase</a:t>
            </a:r>
          </a:p>
          <a:p>
            <a:pPr marL="171450" indent="-171450" defTabSz="1218987">
              <a:spcAft>
                <a:spcPts val="500"/>
              </a:spcAft>
              <a:buSzPct val="70000"/>
              <a:buFont typeface="Arial" panose="020B0604020202020204" pitchFamily="34" charset="0"/>
              <a:buChar char="►"/>
              <a:defRPr/>
            </a:pPr>
            <a:r>
              <a:rPr lang="en-IN" sz="1050">
                <a:solidFill>
                  <a:schemeClr val="bg2">
                    <a:lumMod val="65000"/>
                    <a:lumOff val="35000"/>
                  </a:schemeClr>
                </a:solidFill>
                <a:latin typeface="Calibri" panose="020F0502020204030204" pitchFamily="34" charset="0"/>
                <a:cs typeface="Calibri" panose="020F0502020204030204" pitchFamily="34" charset="0"/>
              </a:rPr>
              <a:t>Resource quality reviews</a:t>
            </a:r>
          </a:p>
        </p:txBody>
      </p:sp>
      <p:sp>
        <p:nvSpPr>
          <p:cNvPr id="42" name="Rectangle 41">
            <a:extLst>
              <a:ext uri="{FF2B5EF4-FFF2-40B4-BE49-F238E27FC236}">
                <a16:creationId xmlns:a16="http://schemas.microsoft.com/office/drawing/2014/main" id="{33342C3C-E577-4D3F-AACC-6DE72D6DBD0F}"/>
              </a:ext>
            </a:extLst>
          </p:cNvPr>
          <p:cNvSpPr/>
          <p:nvPr/>
        </p:nvSpPr>
        <p:spPr>
          <a:xfrm>
            <a:off x="8699916" y="2582325"/>
            <a:ext cx="3146367" cy="3384196"/>
          </a:xfrm>
          <a:prstGeom prst="rect">
            <a:avLst/>
          </a:prstGeom>
        </p:spPr>
        <p:txBody>
          <a:bodyPr wrap="square" lIns="0" tIns="0" rIns="0" bIns="0">
            <a:noAutofit/>
          </a:bodyPr>
          <a:lstStyle/>
          <a:p>
            <a:pPr marL="171450" indent="-171450"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Led by the EY Service Quality Partner</a:t>
            </a:r>
          </a:p>
          <a:p>
            <a:pPr marL="171450" indent="-171450"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Initial Expectations of Service Quality (ESQ) session to level-set on what exceptional client service means</a:t>
            </a:r>
          </a:p>
          <a:p>
            <a:pPr marL="171450" indent="-171450"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Regular Assessments of Service Quality (ASQs) reviews to assess progress versus expectations, e.g.:</a:t>
            </a:r>
          </a:p>
          <a:p>
            <a:pPr marL="361950" indent="-180975"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Check if project milestones been met, and in a satisfactory manner</a:t>
            </a:r>
          </a:p>
          <a:p>
            <a:pPr marL="361950" indent="-180975"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Provide early warning signals for any potential corrective action required</a:t>
            </a:r>
          </a:p>
          <a:p>
            <a:pPr marL="361950" indent="-180975" defTabSz="1218987">
              <a:spcAft>
                <a:spcPts val="500"/>
              </a:spcAft>
              <a:buSzPct val="70000"/>
              <a:buFont typeface="Arial" panose="020B0604020202020204" pitchFamily="34" charset="0"/>
              <a:buChar char="►"/>
              <a:defRPr/>
            </a:pPr>
            <a:r>
              <a:rPr lang="en-IN" sz="1050">
                <a:solidFill>
                  <a:schemeClr val="bg1"/>
                </a:solidFill>
                <a:latin typeface="Calibri" panose="020F0502020204030204" pitchFamily="34" charset="0"/>
                <a:cs typeface="Calibri" panose="020F0502020204030204" pitchFamily="34" charset="0"/>
              </a:rPr>
              <a:t>Record feedback and scoring, track and seek to improve on KPIs as programme progresses</a:t>
            </a:r>
          </a:p>
        </p:txBody>
      </p:sp>
    </p:spTree>
    <p:extLst>
      <p:ext uri="{BB962C8B-B14F-4D97-AF65-F5344CB8AC3E}">
        <p14:creationId xmlns:p14="http://schemas.microsoft.com/office/powerpoint/2010/main" val="4212170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2C567C60-67D7-A5E3-3379-FB483E83DE8C}"/>
              </a:ext>
            </a:extLst>
          </p:cNvPr>
          <p:cNvSpPr>
            <a:spLocks noGrp="1"/>
          </p:cNvSpPr>
          <p:nvPr>
            <p:ph idx="1"/>
          </p:nvPr>
        </p:nvSpPr>
        <p:spPr>
          <a:xfrm>
            <a:off x="609601" y="1453691"/>
            <a:ext cx="5400000" cy="4608000"/>
          </a:xfrm>
        </p:spPr>
        <p:txBody>
          <a:bodyPr/>
          <a:lstStyle/>
          <a:p>
            <a:pPr lvl="1"/>
            <a:r>
              <a:rPr lang="en-IE">
                <a:solidFill>
                  <a:schemeClr val="bg2">
                    <a:lumMod val="65000"/>
                    <a:lumOff val="35000"/>
                  </a:schemeClr>
                </a:solidFill>
                <a:latin typeface="Calibri" panose="020F0502020204030204" pitchFamily="34" charset="0"/>
                <a:cs typeface="Calibri" panose="020F0502020204030204" pitchFamily="34" charset="0"/>
              </a:rPr>
              <a:t>Programme deliverables quality and Service Quality</a:t>
            </a:r>
          </a:p>
          <a:p>
            <a:pPr algn="just"/>
            <a:r>
              <a:rPr lang="en-IE" sz="1050" b="1">
                <a:solidFill>
                  <a:schemeClr val="bg2">
                    <a:lumMod val="65000"/>
                    <a:lumOff val="35000"/>
                  </a:schemeClr>
                </a:solidFill>
                <a:latin typeface="Calibri" panose="020F0502020204030204" pitchFamily="34" charset="0"/>
                <a:cs typeface="Calibri" panose="020F0502020204030204" pitchFamily="34" charset="0"/>
              </a:rPr>
              <a:t>Quality Management Plan</a:t>
            </a:r>
            <a:r>
              <a:rPr lang="en-IE" sz="1050">
                <a:solidFill>
                  <a:schemeClr val="bg2">
                    <a:lumMod val="65000"/>
                    <a:lumOff val="35000"/>
                  </a:schemeClr>
                </a:solidFill>
                <a:latin typeface="Calibri" panose="020F0502020204030204" pitchFamily="34" charset="0"/>
                <a:cs typeface="Calibri" panose="020F0502020204030204" pitchFamily="34" charset="0"/>
              </a:rPr>
              <a:t>: This plan outlines the procedures that all programme individuals need to follow in order to produce and gain approval for a programme deliverable. It also contains quality guidelines for the types of documents and designs being produced and detailed RACI of who needs to review and approve each deliverable. This provides clarity on deliverable standards that need to be complied with when producing deliverables. All deliverables and outputs from each stage will be stored within the Quality Management System we will create for SJH.</a:t>
            </a:r>
          </a:p>
          <a:p>
            <a:pPr algn="just"/>
            <a:r>
              <a:rPr lang="en-IE" sz="1050" b="1">
                <a:solidFill>
                  <a:schemeClr val="bg2">
                    <a:lumMod val="65000"/>
                    <a:lumOff val="35000"/>
                  </a:schemeClr>
                </a:solidFill>
                <a:latin typeface="Calibri" panose="020F0502020204030204" pitchFamily="34" charset="0"/>
                <a:cs typeface="Calibri" panose="020F0502020204030204" pitchFamily="34" charset="0"/>
              </a:rPr>
              <a:t>Deliverable Health Check Report</a:t>
            </a:r>
            <a:r>
              <a:rPr lang="en-IE" sz="1050">
                <a:solidFill>
                  <a:schemeClr val="bg2">
                    <a:lumMod val="65000"/>
                    <a:lumOff val="35000"/>
                  </a:schemeClr>
                </a:solidFill>
                <a:latin typeface="Calibri" panose="020F0502020204030204" pitchFamily="34" charset="0"/>
                <a:cs typeface="Calibri" panose="020F0502020204030204" pitchFamily="34" charset="0"/>
              </a:rPr>
              <a:t>: This is an independent review conducted by PMO on all deliverables produced by the EY team to ensure they comply with the quality plan for the programme. It serves as an early warning of any gaps in key deliverables and artefacts.</a:t>
            </a:r>
          </a:p>
          <a:p>
            <a:pPr algn="just"/>
            <a:r>
              <a:rPr lang="en-IE" sz="1050" b="1">
                <a:solidFill>
                  <a:schemeClr val="bg2">
                    <a:lumMod val="65000"/>
                    <a:lumOff val="35000"/>
                  </a:schemeClr>
                </a:solidFill>
                <a:latin typeface="Calibri" panose="020F0502020204030204" pitchFamily="34" charset="0"/>
                <a:cs typeface="Calibri" panose="020F0502020204030204" pitchFamily="34" charset="0"/>
              </a:rPr>
              <a:t>Quality Stage Gate Reviews &amp; Tracker</a:t>
            </a:r>
            <a:r>
              <a:rPr lang="en-IE" sz="1050">
                <a:solidFill>
                  <a:schemeClr val="bg2">
                    <a:lumMod val="65000"/>
                    <a:lumOff val="35000"/>
                  </a:schemeClr>
                </a:solidFill>
                <a:latin typeface="Calibri" panose="020F0502020204030204" pitchFamily="34" charset="0"/>
                <a:cs typeface="Calibri" panose="020F0502020204030204" pitchFamily="34" charset="0"/>
              </a:rPr>
              <a:t>: We will use Quality Stage-gates towards the end of every phase or stage of the programme to check that the programme has achieved what it set out to do and it is of the requisite quality level. This tracker ensures that any of the outcomes of the reviews are accurately tracked and managed. </a:t>
            </a:r>
          </a:p>
          <a:p>
            <a:pPr algn="just"/>
            <a:r>
              <a:rPr lang="en-IE" sz="1050">
                <a:solidFill>
                  <a:schemeClr val="bg2">
                    <a:lumMod val="65000"/>
                    <a:lumOff val="35000"/>
                  </a:schemeClr>
                </a:solidFill>
                <a:latin typeface="Calibri" panose="020F0502020204030204" pitchFamily="34" charset="0"/>
                <a:cs typeface="Calibri" panose="020F0502020204030204" pitchFamily="34" charset="0"/>
              </a:rPr>
              <a:t>EY will perform two key quality management activities:</a:t>
            </a:r>
          </a:p>
          <a:p>
            <a:pPr lvl="3" algn="just"/>
            <a:r>
              <a:rPr lang="en-IE" sz="1050">
                <a:solidFill>
                  <a:schemeClr val="bg2">
                    <a:lumMod val="65000"/>
                    <a:lumOff val="35000"/>
                  </a:schemeClr>
                </a:solidFill>
                <a:latin typeface="Calibri" panose="020F0502020204030204" pitchFamily="34" charset="0"/>
                <a:cs typeface="Calibri" panose="020F0502020204030204" pitchFamily="34" charset="0"/>
              </a:rPr>
              <a:t>Expectations of Service Quality (ESQ): At the start of the Prepare phase, an Expectations of Service Quality (ESQ) review will be undertaken with all stakeholders and EY leadership to gain a full view of expectations and targets around service quality. This common agreement, with defined KPIs and targets, is then used throughout the service to measure quality and performance.</a:t>
            </a:r>
          </a:p>
          <a:p>
            <a:pPr lvl="3" algn="just"/>
            <a:r>
              <a:rPr lang="en-IE" sz="1050">
                <a:solidFill>
                  <a:schemeClr val="bg2">
                    <a:lumMod val="65000"/>
                    <a:lumOff val="35000"/>
                  </a:schemeClr>
                </a:solidFill>
                <a:latin typeface="Calibri" panose="020F0502020204030204" pitchFamily="34" charset="0"/>
                <a:cs typeface="Calibri" panose="020F0502020204030204" pitchFamily="34" charset="0"/>
              </a:rPr>
              <a:t>Assessments of Service Quality (ASQs): At specified intervals (typically every quarter), we propose that an ASQ is performed with stakeholder leadership and the EY Delivery Lead, Engagement Partner or an independent EY Quality Assurance Partner to assess the service quality being provided on the engagement</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5" name="Text Placeholder 7">
            <a:extLst>
              <a:ext uri="{FF2B5EF4-FFF2-40B4-BE49-F238E27FC236}">
                <a16:creationId xmlns:a16="http://schemas.microsoft.com/office/drawing/2014/main" id="{D6ADAF72-2E0C-4613-A7CD-7F8915ABDCE7}"/>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Quality Assurance, Program Monitoring &amp; Change Control</a:t>
            </a:r>
          </a:p>
        </p:txBody>
      </p:sp>
      <p:sp>
        <p:nvSpPr>
          <p:cNvPr id="7" name="Content Placeholder 3">
            <a:extLst>
              <a:ext uri="{FF2B5EF4-FFF2-40B4-BE49-F238E27FC236}">
                <a16:creationId xmlns:a16="http://schemas.microsoft.com/office/drawing/2014/main" id="{11A66959-3C05-A945-6099-9F88F57189F8}"/>
              </a:ext>
            </a:extLst>
          </p:cNvPr>
          <p:cNvSpPr txBox="1">
            <a:spLocks/>
          </p:cNvSpPr>
          <p:nvPr/>
        </p:nvSpPr>
        <p:spPr>
          <a:xfrm>
            <a:off x="6291700" y="1453691"/>
            <a:ext cx="5400000" cy="4608000"/>
          </a:xfrm>
          <a:prstGeom prst="rect">
            <a:avLst/>
          </a:prstGeom>
        </p:spPr>
        <p:txBody>
          <a:bodyPr/>
          <a:lstStyle>
            <a:lvl1pPr marL="356438"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000" kern="1200" dirty="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400" b="0" kern="1200" dirty="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just">
              <a:buNone/>
            </a:pPr>
            <a:r>
              <a:rPr lang="en-IE" sz="1400">
                <a:solidFill>
                  <a:schemeClr val="bg2">
                    <a:lumMod val="65000"/>
                    <a:lumOff val="35000"/>
                  </a:schemeClr>
                </a:solidFill>
                <a:latin typeface="Calibri" panose="020F0502020204030204" pitchFamily="34" charset="0"/>
                <a:cs typeface="Calibri" panose="020F0502020204030204" pitchFamily="34" charset="0"/>
              </a:rPr>
              <a:t>Program monitoring and Change Control</a:t>
            </a:r>
          </a:p>
          <a:p>
            <a:pPr marL="0" indent="0" algn="just">
              <a:buNone/>
            </a:pPr>
            <a:r>
              <a:rPr lang="en-IE" sz="1050">
                <a:solidFill>
                  <a:schemeClr val="bg2">
                    <a:lumMod val="65000"/>
                    <a:lumOff val="35000"/>
                  </a:schemeClr>
                </a:solidFill>
                <a:latin typeface="Calibri" panose="020F0502020204030204" pitchFamily="34" charset="0"/>
                <a:cs typeface="Calibri" panose="020F0502020204030204" pitchFamily="34" charset="0"/>
              </a:rPr>
              <a:t>A rigorous governance process around Change Requests (CRs) will apply during the programme:</a:t>
            </a:r>
          </a:p>
          <a:p>
            <a:pPr algn="just">
              <a:buClrTx/>
              <a:buSzPct val="100000"/>
              <a:buFont typeface="Wingdings" panose="05000000000000000000" pitchFamily="2" charset="2"/>
              <a:buChar char="Ø"/>
            </a:pPr>
            <a:r>
              <a:rPr lang="en-IE" sz="1050">
                <a:solidFill>
                  <a:schemeClr val="bg2">
                    <a:lumMod val="65000"/>
                    <a:lumOff val="35000"/>
                  </a:schemeClr>
                </a:solidFill>
                <a:latin typeface="Calibri" panose="020F0502020204030204" pitchFamily="34" charset="0"/>
                <a:cs typeface="Calibri" panose="020F0502020204030204" pitchFamily="34" charset="0"/>
              </a:rPr>
              <a:t>CRs will need to provide a business case, clearly articulating the business value and </a:t>
            </a:r>
            <a:r>
              <a:rPr lang="en-IE" sz="1050" err="1">
                <a:solidFill>
                  <a:schemeClr val="bg2">
                    <a:lumMod val="65000"/>
                    <a:lumOff val="35000"/>
                  </a:schemeClr>
                </a:solidFill>
                <a:latin typeface="Calibri" panose="020F0502020204030204" pitchFamily="34" charset="0"/>
                <a:cs typeface="Calibri" panose="020F0502020204030204" pitchFamily="34" charset="0"/>
              </a:rPr>
              <a:t>RoI</a:t>
            </a:r>
            <a:r>
              <a:rPr lang="en-IE" sz="1050">
                <a:solidFill>
                  <a:schemeClr val="bg2">
                    <a:lumMod val="65000"/>
                    <a:lumOff val="35000"/>
                  </a:schemeClr>
                </a:solidFill>
                <a:latin typeface="Calibri" panose="020F0502020204030204" pitchFamily="34" charset="0"/>
                <a:cs typeface="Calibri" panose="020F0502020204030204" pitchFamily="34" charset="0"/>
              </a:rPr>
              <a:t>. Only CRs that can demonstrate business value and an agreed </a:t>
            </a:r>
            <a:r>
              <a:rPr lang="en-IE" sz="1050" err="1">
                <a:solidFill>
                  <a:schemeClr val="bg2">
                    <a:lumMod val="65000"/>
                    <a:lumOff val="35000"/>
                  </a:schemeClr>
                </a:solidFill>
                <a:latin typeface="Calibri" panose="020F0502020204030204" pitchFamily="34" charset="0"/>
                <a:cs typeface="Calibri" panose="020F0502020204030204" pitchFamily="34" charset="0"/>
              </a:rPr>
              <a:t>RoI</a:t>
            </a:r>
            <a:r>
              <a:rPr lang="en-IE" sz="1050">
                <a:solidFill>
                  <a:schemeClr val="bg2">
                    <a:lumMod val="65000"/>
                    <a:lumOff val="35000"/>
                  </a:schemeClr>
                </a:solidFill>
                <a:latin typeface="Calibri" panose="020F0502020204030204" pitchFamily="34" charset="0"/>
                <a:cs typeface="Calibri" panose="020F0502020204030204" pitchFamily="34" charset="0"/>
              </a:rPr>
              <a:t> will be approved. </a:t>
            </a:r>
          </a:p>
          <a:p>
            <a:pPr algn="just">
              <a:buClrTx/>
              <a:buSzPct val="100000"/>
              <a:buFont typeface="Wingdings" panose="05000000000000000000" pitchFamily="2" charset="2"/>
              <a:buChar char="Ø"/>
            </a:pPr>
            <a:r>
              <a:rPr lang="en-IE" sz="1050">
                <a:solidFill>
                  <a:schemeClr val="bg2">
                    <a:lumMod val="65000"/>
                    <a:lumOff val="35000"/>
                  </a:schemeClr>
                </a:solidFill>
                <a:latin typeface="Calibri" panose="020F0502020204030204" pitchFamily="34" charset="0"/>
                <a:cs typeface="Calibri" panose="020F0502020204030204" pitchFamily="34" charset="0"/>
              </a:rPr>
              <a:t>Approved CRs will be bundled, categorised and presented at Programme Steering Committee each month with appropriate levels of detail, including any additional cost resulting from the CRs.</a:t>
            </a:r>
          </a:p>
          <a:p>
            <a:pPr marL="0" indent="0" algn="just">
              <a:buNone/>
            </a:pPr>
            <a:r>
              <a:rPr lang="en-IE" sz="1050">
                <a:solidFill>
                  <a:schemeClr val="bg2">
                    <a:lumMod val="65000"/>
                    <a:lumOff val="35000"/>
                  </a:schemeClr>
                </a:solidFill>
                <a:latin typeface="Calibri" panose="020F0502020204030204" pitchFamily="34" charset="0"/>
                <a:cs typeface="Calibri" panose="020F0502020204030204" pitchFamily="34" charset="0"/>
              </a:rPr>
              <a:t>In addition, a proposed list of five effective KPIs to effectively monitor and manage the program are proposed:</a:t>
            </a:r>
          </a:p>
          <a:p>
            <a:pPr marL="228600" indent="-228600" algn="just">
              <a:buClrTx/>
              <a:buSzPct val="100000"/>
              <a:buFont typeface="+mj-lt"/>
              <a:buAutoNum type="arabicPeriod"/>
            </a:pPr>
            <a:r>
              <a:rPr lang="en-IE" sz="1050">
                <a:solidFill>
                  <a:schemeClr val="bg2">
                    <a:lumMod val="65000"/>
                    <a:lumOff val="35000"/>
                  </a:schemeClr>
                </a:solidFill>
                <a:latin typeface="Calibri" panose="020F0502020204030204" pitchFamily="34" charset="0"/>
                <a:cs typeface="Calibri" panose="020F0502020204030204" pitchFamily="34" charset="0"/>
              </a:rPr>
              <a:t>Schedule Variance</a:t>
            </a:r>
          </a:p>
          <a:p>
            <a:pPr marL="228600" indent="-228600" algn="just">
              <a:buClrTx/>
              <a:buSzPct val="100000"/>
              <a:buFont typeface="+mj-lt"/>
              <a:buAutoNum type="arabicPeriod"/>
            </a:pPr>
            <a:r>
              <a:rPr lang="en-IE" sz="1050">
                <a:solidFill>
                  <a:schemeClr val="bg2">
                    <a:lumMod val="65000"/>
                    <a:lumOff val="35000"/>
                  </a:schemeClr>
                </a:solidFill>
                <a:latin typeface="Calibri" panose="020F0502020204030204" pitchFamily="34" charset="0"/>
                <a:cs typeface="Calibri" panose="020F0502020204030204" pitchFamily="34" charset="0"/>
              </a:rPr>
              <a:t>Schedule Performance Index (SPI)</a:t>
            </a:r>
          </a:p>
          <a:p>
            <a:pPr marL="228600" indent="-228600" algn="just">
              <a:buClrTx/>
              <a:buSzPct val="100000"/>
              <a:buFont typeface="+mj-lt"/>
              <a:buAutoNum type="arabicPeriod"/>
            </a:pPr>
            <a:r>
              <a:rPr lang="en-IE" sz="1050">
                <a:solidFill>
                  <a:schemeClr val="bg2">
                    <a:lumMod val="65000"/>
                    <a:lumOff val="35000"/>
                  </a:schemeClr>
                </a:solidFill>
                <a:latin typeface="Calibri" panose="020F0502020204030204" pitchFamily="34" charset="0"/>
                <a:cs typeface="Calibri" panose="020F0502020204030204" pitchFamily="34" charset="0"/>
              </a:rPr>
              <a:t>Cost Variance</a:t>
            </a:r>
          </a:p>
          <a:p>
            <a:pPr marL="228600" indent="-228600" algn="just">
              <a:buClrTx/>
              <a:buSzPct val="100000"/>
              <a:buFont typeface="+mj-lt"/>
              <a:buAutoNum type="arabicPeriod"/>
            </a:pPr>
            <a:r>
              <a:rPr lang="en-IE" sz="1050">
                <a:solidFill>
                  <a:schemeClr val="bg2">
                    <a:lumMod val="65000"/>
                    <a:lumOff val="35000"/>
                  </a:schemeClr>
                </a:solidFill>
                <a:latin typeface="Calibri" panose="020F0502020204030204" pitchFamily="34" charset="0"/>
                <a:cs typeface="Calibri" panose="020F0502020204030204" pitchFamily="34" charset="0"/>
              </a:rPr>
              <a:t>Cost Performance Index (CPI)</a:t>
            </a:r>
          </a:p>
          <a:p>
            <a:pPr marL="228600" indent="-228600" algn="just">
              <a:buClrTx/>
              <a:buSzPct val="100000"/>
              <a:buFont typeface="+mj-lt"/>
              <a:buAutoNum type="arabicPeriod"/>
            </a:pPr>
            <a:r>
              <a:rPr lang="en-IE" sz="1050">
                <a:solidFill>
                  <a:schemeClr val="bg2">
                    <a:lumMod val="65000"/>
                    <a:lumOff val="35000"/>
                  </a:schemeClr>
                </a:solidFill>
                <a:latin typeface="Calibri" panose="020F0502020204030204" pitchFamily="34" charset="0"/>
                <a:cs typeface="Calibri" panose="020F0502020204030204" pitchFamily="34" charset="0"/>
              </a:rPr>
              <a:t>Planned Versus Actual Resource Utilisation</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00903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J.1 - Quality Management System (QMS)</a:t>
            </a:r>
          </a:p>
        </p:txBody>
      </p:sp>
      <p:sp>
        <p:nvSpPr>
          <p:cNvPr id="110" name="Oval 109">
            <a:extLst>
              <a:ext uri="{FF2B5EF4-FFF2-40B4-BE49-F238E27FC236}">
                <a16:creationId xmlns:a16="http://schemas.microsoft.com/office/drawing/2014/main" id="{D9FAB352-CA46-811F-3D49-27E2367AE0CC}"/>
              </a:ext>
            </a:extLst>
          </p:cNvPr>
          <p:cNvSpPr/>
          <p:nvPr/>
        </p:nvSpPr>
        <p:spPr>
          <a:xfrm>
            <a:off x="1209864" y="2739407"/>
            <a:ext cx="4364914" cy="3357642"/>
          </a:xfrm>
          <a:prstGeom prst="ellipse">
            <a:avLst/>
          </a:prstGeom>
          <a:solidFill>
            <a:srgbClr val="FFE600"/>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solidFill>
              <a:latin typeface="Calibri" panose="020F0502020204030204" pitchFamily="34" charset="0"/>
              <a:cs typeface="Calibri" panose="020F0502020204030204" pitchFamily="34" charset="0"/>
            </a:endParaRPr>
          </a:p>
        </p:txBody>
      </p:sp>
      <p:sp>
        <p:nvSpPr>
          <p:cNvPr id="111" name="Oval 110">
            <a:extLst>
              <a:ext uri="{FF2B5EF4-FFF2-40B4-BE49-F238E27FC236}">
                <a16:creationId xmlns:a16="http://schemas.microsoft.com/office/drawing/2014/main" id="{564B556F-FB64-D7DE-D219-FA7C493AD617}"/>
              </a:ext>
            </a:extLst>
          </p:cNvPr>
          <p:cNvSpPr/>
          <p:nvPr/>
        </p:nvSpPr>
        <p:spPr>
          <a:xfrm>
            <a:off x="2582195" y="2898435"/>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12" name="Oval 111">
            <a:extLst>
              <a:ext uri="{FF2B5EF4-FFF2-40B4-BE49-F238E27FC236}">
                <a16:creationId xmlns:a16="http://schemas.microsoft.com/office/drawing/2014/main" id="{F40C5D27-A65E-0BED-243B-22341C764DB1}"/>
              </a:ext>
            </a:extLst>
          </p:cNvPr>
          <p:cNvSpPr/>
          <p:nvPr/>
        </p:nvSpPr>
        <p:spPr>
          <a:xfrm>
            <a:off x="4229056" y="3258465"/>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13" name="Oval 112">
            <a:extLst>
              <a:ext uri="{FF2B5EF4-FFF2-40B4-BE49-F238E27FC236}">
                <a16:creationId xmlns:a16="http://schemas.microsoft.com/office/drawing/2014/main" id="{A25DB9C0-53AD-0CE1-D89B-4C9A1D3CB9BA}"/>
              </a:ext>
            </a:extLst>
          </p:cNvPr>
          <p:cNvSpPr/>
          <p:nvPr/>
        </p:nvSpPr>
        <p:spPr>
          <a:xfrm>
            <a:off x="4599152" y="4016444"/>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14" name="Oval 113">
            <a:extLst>
              <a:ext uri="{FF2B5EF4-FFF2-40B4-BE49-F238E27FC236}">
                <a16:creationId xmlns:a16="http://schemas.microsoft.com/office/drawing/2014/main" id="{14DBA85B-69FB-FABC-7052-97ABD5B656B6}"/>
              </a:ext>
            </a:extLst>
          </p:cNvPr>
          <p:cNvSpPr/>
          <p:nvPr/>
        </p:nvSpPr>
        <p:spPr>
          <a:xfrm>
            <a:off x="4201495" y="4761357"/>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15" name="Oval 114">
            <a:extLst>
              <a:ext uri="{FF2B5EF4-FFF2-40B4-BE49-F238E27FC236}">
                <a16:creationId xmlns:a16="http://schemas.microsoft.com/office/drawing/2014/main" id="{9C2B0133-DE3C-1C4D-B78C-74462022E4B8}"/>
              </a:ext>
            </a:extLst>
          </p:cNvPr>
          <p:cNvSpPr/>
          <p:nvPr/>
        </p:nvSpPr>
        <p:spPr>
          <a:xfrm>
            <a:off x="3445778" y="2903122"/>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grpSp>
        <p:nvGrpSpPr>
          <p:cNvPr id="116" name="Group 115">
            <a:extLst>
              <a:ext uri="{FF2B5EF4-FFF2-40B4-BE49-F238E27FC236}">
                <a16:creationId xmlns:a16="http://schemas.microsoft.com/office/drawing/2014/main" id="{0D9F9D78-EF9C-7DCD-21F1-381517F9F14A}"/>
              </a:ext>
            </a:extLst>
          </p:cNvPr>
          <p:cNvGrpSpPr/>
          <p:nvPr/>
        </p:nvGrpSpPr>
        <p:grpSpPr>
          <a:xfrm>
            <a:off x="1375233" y="4006612"/>
            <a:ext cx="856958" cy="834442"/>
            <a:chOff x="7707905" y="2574566"/>
            <a:chExt cx="856958" cy="834442"/>
          </a:xfrm>
        </p:grpSpPr>
        <p:sp>
          <p:nvSpPr>
            <p:cNvPr id="117" name="Oval 116">
              <a:extLst>
                <a:ext uri="{FF2B5EF4-FFF2-40B4-BE49-F238E27FC236}">
                  <a16:creationId xmlns:a16="http://schemas.microsoft.com/office/drawing/2014/main" id="{56B2FCA3-EB6C-37C3-E25B-FBF14507F2AD}"/>
                </a:ext>
              </a:extLst>
            </p:cNvPr>
            <p:cNvSpPr/>
            <p:nvPr/>
          </p:nvSpPr>
          <p:spPr>
            <a:xfrm>
              <a:off x="7707905" y="2574566"/>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18" name="TextBox 117">
              <a:extLst>
                <a:ext uri="{FF2B5EF4-FFF2-40B4-BE49-F238E27FC236}">
                  <a16:creationId xmlns:a16="http://schemas.microsoft.com/office/drawing/2014/main" id="{992B61DC-A20E-E5DC-EEE4-006D266FEE14}"/>
                </a:ext>
              </a:extLst>
            </p:cNvPr>
            <p:cNvSpPr txBox="1"/>
            <p:nvPr/>
          </p:nvSpPr>
          <p:spPr>
            <a:xfrm>
              <a:off x="7848973" y="2813008"/>
              <a:ext cx="572357" cy="434512"/>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Asset</a:t>
              </a:r>
            </a:p>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Equipment)</a:t>
              </a:r>
            </a:p>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Management</a:t>
              </a:r>
            </a:p>
          </p:txBody>
        </p:sp>
      </p:grpSp>
      <p:grpSp>
        <p:nvGrpSpPr>
          <p:cNvPr id="119" name="Group 118">
            <a:extLst>
              <a:ext uri="{FF2B5EF4-FFF2-40B4-BE49-F238E27FC236}">
                <a16:creationId xmlns:a16="http://schemas.microsoft.com/office/drawing/2014/main" id="{DE0A1EBD-91A0-E37D-2475-D832C7B5C281}"/>
              </a:ext>
            </a:extLst>
          </p:cNvPr>
          <p:cNvGrpSpPr/>
          <p:nvPr/>
        </p:nvGrpSpPr>
        <p:grpSpPr>
          <a:xfrm>
            <a:off x="2515022" y="5117903"/>
            <a:ext cx="1793063" cy="833793"/>
            <a:chOff x="8795784" y="4028566"/>
            <a:chExt cx="1846383" cy="834442"/>
          </a:xfrm>
        </p:grpSpPr>
        <p:sp>
          <p:nvSpPr>
            <p:cNvPr id="120" name="Oval 119">
              <a:extLst>
                <a:ext uri="{FF2B5EF4-FFF2-40B4-BE49-F238E27FC236}">
                  <a16:creationId xmlns:a16="http://schemas.microsoft.com/office/drawing/2014/main" id="{8E4CD8C4-466F-F7D9-6125-C0643A0D8DF5}"/>
                </a:ext>
              </a:extLst>
            </p:cNvPr>
            <p:cNvSpPr/>
            <p:nvPr/>
          </p:nvSpPr>
          <p:spPr>
            <a:xfrm>
              <a:off x="8795784" y="4028566"/>
              <a:ext cx="1846383"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21" name="TextBox 120">
              <a:extLst>
                <a:ext uri="{FF2B5EF4-FFF2-40B4-BE49-F238E27FC236}">
                  <a16:creationId xmlns:a16="http://schemas.microsoft.com/office/drawing/2014/main" id="{E09CC333-5B00-2B8B-4F63-A879C5282EA6}"/>
                </a:ext>
              </a:extLst>
            </p:cNvPr>
            <p:cNvSpPr txBox="1"/>
            <p:nvPr/>
          </p:nvSpPr>
          <p:spPr>
            <a:xfrm>
              <a:off x="9159555" y="4201907"/>
              <a:ext cx="1145594" cy="434512"/>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CAPA, Incident,</a:t>
              </a:r>
            </a:p>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Change control, Deviation,</a:t>
              </a:r>
            </a:p>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Complaint Management</a:t>
              </a:r>
            </a:p>
          </p:txBody>
        </p:sp>
      </p:grpSp>
      <p:grpSp>
        <p:nvGrpSpPr>
          <p:cNvPr id="122" name="Group 121">
            <a:extLst>
              <a:ext uri="{FF2B5EF4-FFF2-40B4-BE49-F238E27FC236}">
                <a16:creationId xmlns:a16="http://schemas.microsoft.com/office/drawing/2014/main" id="{02CA9851-D8CA-87E7-7DB5-D1D9F104A3FC}"/>
              </a:ext>
            </a:extLst>
          </p:cNvPr>
          <p:cNvGrpSpPr/>
          <p:nvPr/>
        </p:nvGrpSpPr>
        <p:grpSpPr>
          <a:xfrm>
            <a:off x="1802444" y="3273064"/>
            <a:ext cx="856958" cy="834442"/>
            <a:chOff x="7257663" y="2203992"/>
            <a:chExt cx="884731" cy="1040130"/>
          </a:xfrm>
          <a:solidFill>
            <a:srgbClr val="FFFFFF"/>
          </a:solidFill>
        </p:grpSpPr>
        <p:sp>
          <p:nvSpPr>
            <p:cNvPr id="123" name="Oval 122">
              <a:extLst>
                <a:ext uri="{FF2B5EF4-FFF2-40B4-BE49-F238E27FC236}">
                  <a16:creationId xmlns:a16="http://schemas.microsoft.com/office/drawing/2014/main" id="{6CC1B568-58F4-12DB-860E-406C2887FF02}"/>
                </a:ext>
              </a:extLst>
            </p:cNvPr>
            <p:cNvSpPr/>
            <p:nvPr/>
          </p:nvSpPr>
          <p:spPr>
            <a:xfrm>
              <a:off x="7257663" y="2203992"/>
              <a:ext cx="884731" cy="1040130"/>
            </a:xfrm>
            <a:prstGeom prst="ellipse">
              <a:avLst/>
            </a:prstGeom>
            <a:grp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24" name="TextBox 123">
              <a:extLst>
                <a:ext uri="{FF2B5EF4-FFF2-40B4-BE49-F238E27FC236}">
                  <a16:creationId xmlns:a16="http://schemas.microsoft.com/office/drawing/2014/main" id="{D660F9E7-2341-DB82-B10A-5CD1ED75AC77}"/>
                </a:ext>
              </a:extLst>
            </p:cNvPr>
            <p:cNvSpPr txBox="1"/>
            <p:nvPr/>
          </p:nvSpPr>
          <p:spPr>
            <a:xfrm>
              <a:off x="7356730" y="2563286"/>
              <a:ext cx="728313" cy="267633"/>
            </a:xfrm>
            <a:prstGeom prst="rect">
              <a:avLst/>
            </a:prstGeom>
            <a:grp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Document Management</a:t>
              </a:r>
            </a:p>
          </p:txBody>
        </p:sp>
      </p:grpSp>
      <p:sp>
        <p:nvSpPr>
          <p:cNvPr id="125" name="TextBox 124">
            <a:extLst>
              <a:ext uri="{FF2B5EF4-FFF2-40B4-BE49-F238E27FC236}">
                <a16:creationId xmlns:a16="http://schemas.microsoft.com/office/drawing/2014/main" id="{ABA63DE8-7BC0-62E4-5A85-4918D757A1EB}"/>
              </a:ext>
            </a:extLst>
          </p:cNvPr>
          <p:cNvSpPr txBox="1"/>
          <p:nvPr/>
        </p:nvSpPr>
        <p:spPr>
          <a:xfrm>
            <a:off x="2715551" y="3153368"/>
            <a:ext cx="590246" cy="215543"/>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Training record Management</a:t>
            </a:r>
          </a:p>
        </p:txBody>
      </p:sp>
      <p:sp>
        <p:nvSpPr>
          <p:cNvPr id="126" name="TextBox 125">
            <a:extLst>
              <a:ext uri="{FF2B5EF4-FFF2-40B4-BE49-F238E27FC236}">
                <a16:creationId xmlns:a16="http://schemas.microsoft.com/office/drawing/2014/main" id="{7FC01B13-7B57-19C5-A8E3-72490E140B58}"/>
              </a:ext>
            </a:extLst>
          </p:cNvPr>
          <p:cNvSpPr txBox="1"/>
          <p:nvPr/>
        </p:nvSpPr>
        <p:spPr>
          <a:xfrm>
            <a:off x="4732651" y="4310874"/>
            <a:ext cx="613222" cy="214708"/>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IT system Management</a:t>
            </a:r>
          </a:p>
        </p:txBody>
      </p:sp>
      <p:sp>
        <p:nvSpPr>
          <p:cNvPr id="127" name="TextBox 126">
            <a:extLst>
              <a:ext uri="{FF2B5EF4-FFF2-40B4-BE49-F238E27FC236}">
                <a16:creationId xmlns:a16="http://schemas.microsoft.com/office/drawing/2014/main" id="{A1CD7DD6-B954-1E58-9F64-31084D79C510}"/>
              </a:ext>
            </a:extLst>
          </p:cNvPr>
          <p:cNvSpPr txBox="1"/>
          <p:nvPr/>
        </p:nvSpPr>
        <p:spPr>
          <a:xfrm>
            <a:off x="4381725" y="3552895"/>
            <a:ext cx="551619" cy="214708"/>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Risk management</a:t>
            </a:r>
          </a:p>
        </p:txBody>
      </p:sp>
      <p:sp>
        <p:nvSpPr>
          <p:cNvPr id="128" name="TextBox 127">
            <a:extLst>
              <a:ext uri="{FF2B5EF4-FFF2-40B4-BE49-F238E27FC236}">
                <a16:creationId xmlns:a16="http://schemas.microsoft.com/office/drawing/2014/main" id="{820909C1-4F7E-3872-9A96-D3EAECE38C55}"/>
              </a:ext>
            </a:extLst>
          </p:cNvPr>
          <p:cNvSpPr txBox="1"/>
          <p:nvPr/>
        </p:nvSpPr>
        <p:spPr>
          <a:xfrm>
            <a:off x="3542791" y="3153368"/>
            <a:ext cx="676113" cy="306272"/>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Audits and Inspection  Management</a:t>
            </a:r>
          </a:p>
        </p:txBody>
      </p:sp>
      <p:grpSp>
        <p:nvGrpSpPr>
          <p:cNvPr id="129" name="Group 128">
            <a:extLst>
              <a:ext uri="{FF2B5EF4-FFF2-40B4-BE49-F238E27FC236}">
                <a16:creationId xmlns:a16="http://schemas.microsoft.com/office/drawing/2014/main" id="{74DF5786-DD5C-B6AF-9C96-29B24AEE4D6C}"/>
              </a:ext>
            </a:extLst>
          </p:cNvPr>
          <p:cNvGrpSpPr/>
          <p:nvPr/>
        </p:nvGrpSpPr>
        <p:grpSpPr>
          <a:xfrm>
            <a:off x="1748202" y="4762939"/>
            <a:ext cx="856958" cy="834442"/>
            <a:chOff x="7693291" y="3410240"/>
            <a:chExt cx="856958" cy="834442"/>
          </a:xfrm>
        </p:grpSpPr>
        <p:sp>
          <p:nvSpPr>
            <p:cNvPr id="130" name="Oval 129">
              <a:extLst>
                <a:ext uri="{FF2B5EF4-FFF2-40B4-BE49-F238E27FC236}">
                  <a16:creationId xmlns:a16="http://schemas.microsoft.com/office/drawing/2014/main" id="{25E6DC50-3520-CB2E-8E8F-03EEDF7006EA}"/>
                </a:ext>
              </a:extLst>
            </p:cNvPr>
            <p:cNvSpPr/>
            <p:nvPr/>
          </p:nvSpPr>
          <p:spPr>
            <a:xfrm>
              <a:off x="7693291" y="3410240"/>
              <a:ext cx="856958" cy="834442"/>
            </a:xfrm>
            <a:prstGeom prst="ellipse">
              <a:avLst/>
            </a:prstGeom>
            <a:solidFill>
              <a:srgbClr val="FFFFFF"/>
            </a:solidFill>
            <a:ln w="9525" cap="flat" cmpd="sng" algn="ctr">
              <a:solidFill>
                <a:srgbClr val="808080"/>
              </a:solidFill>
              <a:prstDash val="solid"/>
            </a:ln>
            <a:effectLst/>
          </p:spPr>
          <p:txBody>
            <a:bodyPr rtlCol="0" anchor="t" anchorCtr="0"/>
            <a:lstStyle/>
            <a:p>
              <a:pPr defTabSz="781903">
                <a:defRPr/>
              </a:pPr>
              <a:endParaRPr lang="en-US" sz="700"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31" name="TextBox 130">
              <a:extLst>
                <a:ext uri="{FF2B5EF4-FFF2-40B4-BE49-F238E27FC236}">
                  <a16:creationId xmlns:a16="http://schemas.microsoft.com/office/drawing/2014/main" id="{B98CBD43-8E4A-9C8E-3CCD-60B087386E31}"/>
                </a:ext>
              </a:extLst>
            </p:cNvPr>
            <p:cNvSpPr txBox="1"/>
            <p:nvPr/>
          </p:nvSpPr>
          <p:spPr>
            <a:xfrm>
              <a:off x="7750286" y="3714202"/>
              <a:ext cx="742968" cy="214708"/>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Customer Management</a:t>
              </a:r>
            </a:p>
          </p:txBody>
        </p:sp>
      </p:grpSp>
      <p:sp>
        <p:nvSpPr>
          <p:cNvPr id="132" name="TextBox 131">
            <a:extLst>
              <a:ext uri="{FF2B5EF4-FFF2-40B4-BE49-F238E27FC236}">
                <a16:creationId xmlns:a16="http://schemas.microsoft.com/office/drawing/2014/main" id="{86F9CD59-DF1F-35E6-6D82-E70154E87D92}"/>
              </a:ext>
            </a:extLst>
          </p:cNvPr>
          <p:cNvSpPr txBox="1"/>
          <p:nvPr/>
        </p:nvSpPr>
        <p:spPr>
          <a:xfrm>
            <a:off x="4349425" y="5099727"/>
            <a:ext cx="613222" cy="123145"/>
          </a:xfrm>
          <a:prstGeom prst="rect">
            <a:avLst/>
          </a:prstGeom>
          <a:solidFill>
            <a:srgbClr val="FFFFFF"/>
          </a:solidFill>
        </p:spPr>
        <p:txBody>
          <a:bodyPr wrap="square" lIns="0" tIns="31276" rIns="0" bIns="0" rtlCol="0">
            <a:spAutoFit/>
          </a:bodyPr>
          <a:lstStyle/>
          <a:p>
            <a:pPr algn="ctr" defTabSz="781903">
              <a:lnSpc>
                <a:spcPct val="85000"/>
              </a:lnSpc>
              <a:spcAft>
                <a:spcPts val="513"/>
              </a:spcAft>
              <a:buClr>
                <a:srgbClr val="FFD200"/>
              </a:buClr>
              <a:buSzPct val="70000"/>
              <a:defRPr/>
            </a:pPr>
            <a:r>
              <a:rPr lang="en-US" sz="700" kern="0">
                <a:solidFill>
                  <a:schemeClr val="bg2"/>
                </a:solidFill>
                <a:latin typeface="Calibri" panose="020F0502020204030204" pitchFamily="34" charset="0"/>
                <a:cs typeface="Calibri" panose="020F0502020204030204" pitchFamily="34" charset="0"/>
              </a:rPr>
              <a:t>SDLC ,CSV</a:t>
            </a:r>
          </a:p>
        </p:txBody>
      </p:sp>
      <p:sp>
        <p:nvSpPr>
          <p:cNvPr id="133" name="Oval 132">
            <a:extLst>
              <a:ext uri="{FF2B5EF4-FFF2-40B4-BE49-F238E27FC236}">
                <a16:creationId xmlns:a16="http://schemas.microsoft.com/office/drawing/2014/main" id="{C0533F1F-2A58-17BC-DCB7-98D64C5392CA}"/>
              </a:ext>
            </a:extLst>
          </p:cNvPr>
          <p:cNvSpPr/>
          <p:nvPr/>
        </p:nvSpPr>
        <p:spPr>
          <a:xfrm>
            <a:off x="2678363" y="3767603"/>
            <a:ext cx="1511526" cy="1251918"/>
          </a:xfrm>
          <a:prstGeom prst="ellipse">
            <a:avLst/>
          </a:prstGeom>
          <a:solidFill>
            <a:schemeClr val="bg1">
              <a:lumMod val="60000"/>
              <a:lumOff val="40000"/>
            </a:schemeClr>
          </a:solidFill>
          <a:ln w="9525" cap="flat" cmpd="sng" algn="ctr">
            <a:noFill/>
            <a:prstDash val="solid"/>
          </a:ln>
          <a:effectLst/>
        </p:spPr>
        <p:txBody>
          <a:bodyPr rtlCol="0" anchor="t" anchorCtr="0"/>
          <a:lstStyle/>
          <a:p>
            <a:pPr defTabSz="781903">
              <a:defRPr/>
            </a:pPr>
            <a:endParaRPr lang="en-US" sz="1026" kern="0">
              <a:solidFill>
                <a:srgbClr val="000000"/>
              </a:solidFill>
              <a:latin typeface="Calibri" panose="020F0502020204030204" pitchFamily="34" charset="0"/>
              <a:cs typeface="Calibri" panose="020F0502020204030204" pitchFamily="34" charset="0"/>
            </a:endParaRPr>
          </a:p>
        </p:txBody>
      </p:sp>
      <p:sp>
        <p:nvSpPr>
          <p:cNvPr id="134" name="TextBox 133">
            <a:extLst>
              <a:ext uri="{FF2B5EF4-FFF2-40B4-BE49-F238E27FC236}">
                <a16:creationId xmlns:a16="http://schemas.microsoft.com/office/drawing/2014/main" id="{26A26251-35A7-555C-B853-251EAAE4C0B3}"/>
              </a:ext>
            </a:extLst>
          </p:cNvPr>
          <p:cNvSpPr txBox="1"/>
          <p:nvPr/>
        </p:nvSpPr>
        <p:spPr>
          <a:xfrm rot="1206620">
            <a:off x="2898775" y="3952580"/>
            <a:ext cx="1125954" cy="917486"/>
          </a:xfrm>
          <a:prstGeom prst="rect">
            <a:avLst/>
          </a:prstGeom>
          <a:noFill/>
        </p:spPr>
        <p:txBody>
          <a:bodyPr spcFirstLastPara="1" wrap="square" lIns="0" tIns="31276" rIns="0" bIns="0" numCol="1" rtlCol="0">
            <a:prstTxWarp prst="textArchUp">
              <a:avLst>
                <a:gd name="adj" fmla="val 9246819"/>
              </a:avLst>
            </a:prstTxWarp>
            <a:spAutoFit/>
          </a:bodyPr>
          <a:lstStyle/>
          <a:p>
            <a:pPr defTabSz="781903">
              <a:lnSpc>
                <a:spcPct val="85000"/>
              </a:lnSpc>
              <a:spcAft>
                <a:spcPts val="513"/>
              </a:spcAft>
              <a:buClr>
                <a:srgbClr val="FFD200"/>
              </a:buClr>
              <a:buSzPct val="70000"/>
              <a:defRPr/>
            </a:pPr>
            <a:r>
              <a:rPr lang="en-US" sz="1197" b="1" kern="0">
                <a:solidFill>
                  <a:schemeClr val="bg2"/>
                </a:solidFill>
                <a:latin typeface="Calibri" panose="020F0502020204030204" pitchFamily="34" charset="0"/>
                <a:cs typeface="Calibri" panose="020F0502020204030204" pitchFamily="34" charset="0"/>
              </a:rPr>
              <a:t>ISO 9001              ISO 15189 </a:t>
            </a:r>
          </a:p>
        </p:txBody>
      </p:sp>
      <p:sp>
        <p:nvSpPr>
          <p:cNvPr id="135" name="Oval 134">
            <a:extLst>
              <a:ext uri="{FF2B5EF4-FFF2-40B4-BE49-F238E27FC236}">
                <a16:creationId xmlns:a16="http://schemas.microsoft.com/office/drawing/2014/main" id="{99DF9916-31D3-9497-89DA-B78672F32FEA}"/>
              </a:ext>
            </a:extLst>
          </p:cNvPr>
          <p:cNvSpPr/>
          <p:nvPr/>
        </p:nvSpPr>
        <p:spPr>
          <a:xfrm>
            <a:off x="2935414" y="3980186"/>
            <a:ext cx="1007478" cy="834441"/>
          </a:xfrm>
          <a:prstGeom prst="ellipse">
            <a:avLst/>
          </a:prstGeom>
          <a:solidFill>
            <a:srgbClr val="FFD200"/>
          </a:solidFill>
          <a:ln w="9525" cap="flat" cmpd="sng" algn="ctr">
            <a:noFill/>
            <a:prstDash val="solid"/>
          </a:ln>
          <a:effectLst/>
        </p:spPr>
        <p:txBody>
          <a:bodyPr rtlCol="0" anchor="t" anchorCtr="0"/>
          <a:lstStyle/>
          <a:p>
            <a:pPr defTabSz="781903">
              <a:defRPr/>
            </a:pPr>
            <a:endParaRPr lang="en-US" sz="1026" b="1" kern="0">
              <a:solidFill>
                <a:srgbClr val="000000">
                  <a:lumMod val="50000"/>
                  <a:lumOff val="50000"/>
                </a:srgbClr>
              </a:solidFill>
              <a:latin typeface="Calibri" panose="020F0502020204030204" pitchFamily="34" charset="0"/>
              <a:cs typeface="Calibri" panose="020F0502020204030204" pitchFamily="34" charset="0"/>
            </a:endParaRPr>
          </a:p>
        </p:txBody>
      </p:sp>
      <p:sp>
        <p:nvSpPr>
          <p:cNvPr id="136" name="TextBox 135">
            <a:extLst>
              <a:ext uri="{FF2B5EF4-FFF2-40B4-BE49-F238E27FC236}">
                <a16:creationId xmlns:a16="http://schemas.microsoft.com/office/drawing/2014/main" id="{ACCC3A05-4361-CD2A-8C4A-D2DCF3C0A719}"/>
              </a:ext>
            </a:extLst>
          </p:cNvPr>
          <p:cNvSpPr txBox="1"/>
          <p:nvPr/>
        </p:nvSpPr>
        <p:spPr>
          <a:xfrm>
            <a:off x="3021316" y="4200818"/>
            <a:ext cx="829358" cy="155718"/>
          </a:xfrm>
          <a:prstGeom prst="rect">
            <a:avLst/>
          </a:prstGeom>
          <a:noFill/>
        </p:spPr>
        <p:txBody>
          <a:bodyPr wrap="square" lIns="0" tIns="31276" rIns="0" bIns="0" rtlCol="0">
            <a:spAutoFit/>
          </a:bodyPr>
          <a:lstStyle/>
          <a:p>
            <a:pPr algn="ctr" defTabSz="781903">
              <a:lnSpc>
                <a:spcPct val="85000"/>
              </a:lnSpc>
              <a:spcAft>
                <a:spcPts val="513"/>
              </a:spcAft>
              <a:buClr>
                <a:srgbClr val="FFD200"/>
              </a:buClr>
              <a:buSzPct val="70000"/>
              <a:defRPr/>
            </a:pPr>
            <a:r>
              <a:rPr lang="en-US" sz="941" b="1" kern="0">
                <a:latin typeface="Calibri" panose="020F0502020204030204" pitchFamily="34" charset="0"/>
                <a:cs typeface="Calibri" panose="020F0502020204030204" pitchFamily="34" charset="0"/>
              </a:rPr>
              <a:t>Quality Systems</a:t>
            </a:r>
          </a:p>
        </p:txBody>
      </p:sp>
      <p:sp>
        <p:nvSpPr>
          <p:cNvPr id="137" name="TextBox 136">
            <a:extLst>
              <a:ext uri="{FF2B5EF4-FFF2-40B4-BE49-F238E27FC236}">
                <a16:creationId xmlns:a16="http://schemas.microsoft.com/office/drawing/2014/main" id="{AF6C175B-768D-D787-B4B8-127FAD9FB644}"/>
              </a:ext>
            </a:extLst>
          </p:cNvPr>
          <p:cNvSpPr txBox="1"/>
          <p:nvPr/>
        </p:nvSpPr>
        <p:spPr>
          <a:xfrm>
            <a:off x="606100" y="1358213"/>
            <a:ext cx="5486400" cy="925253"/>
          </a:xfrm>
          <a:prstGeom prst="rect">
            <a:avLst/>
          </a:prstGeom>
          <a:solidFill>
            <a:schemeClr val="tx1"/>
          </a:solidFill>
        </p:spPr>
        <p:txBody>
          <a:bodyPr wrap="square" lIns="0" tIns="36576" rIns="0" bIns="0" rtlCol="0">
            <a:spAutoFit/>
          </a:bodyPr>
          <a:lstStyle/>
          <a:p>
            <a:pPr algn="just">
              <a:lnSpc>
                <a:spcPts val="1400"/>
              </a:lnSpc>
              <a:spcAft>
                <a:spcPts val="800"/>
              </a:spcAft>
              <a:buClr>
                <a:schemeClr val="accent2"/>
              </a:buClr>
              <a:buSzPct val="70000"/>
            </a:pPr>
            <a:r>
              <a:rPr lang="en-GB" sz="1050">
                <a:solidFill>
                  <a:schemeClr val="bg2">
                    <a:lumMod val="65000"/>
                    <a:lumOff val="35000"/>
                  </a:schemeClr>
                </a:solidFill>
                <a:latin typeface="Calibri" panose="020F0502020204030204" pitchFamily="34" charset="0"/>
                <a:cs typeface="Calibri" panose="020F0502020204030204" pitchFamily="34" charset="0"/>
              </a:rPr>
              <a:t>The Q</a:t>
            </a:r>
            <a:r>
              <a:rPr lang="en-IN" sz="1050" err="1">
                <a:solidFill>
                  <a:schemeClr val="bg2">
                    <a:lumMod val="65000"/>
                    <a:lumOff val="35000"/>
                  </a:schemeClr>
                </a:solidFill>
                <a:latin typeface="Calibri" panose="020F0502020204030204" pitchFamily="34" charset="0"/>
                <a:cs typeface="Calibri" panose="020F0502020204030204" pitchFamily="34" charset="0"/>
              </a:rPr>
              <a:t>uality</a:t>
            </a:r>
            <a:r>
              <a:rPr lang="en-IN" sz="1050">
                <a:solidFill>
                  <a:schemeClr val="bg2">
                    <a:lumMod val="65000"/>
                    <a:lumOff val="35000"/>
                  </a:schemeClr>
                </a:solidFill>
                <a:latin typeface="Calibri" panose="020F0502020204030204" pitchFamily="34" charset="0"/>
                <a:cs typeface="Calibri" panose="020F0502020204030204" pitchFamily="34" charset="0"/>
              </a:rPr>
              <a:t> Management System we will operate will adhere to ISO 9001 (EC, HPRA, MHRA, EMA, MRA and similar) Quality Management Principles and Regulations, and be compatible to </a:t>
            </a:r>
            <a:r>
              <a:rPr lang="en-AU" sz="1050">
                <a:solidFill>
                  <a:schemeClr val="bg2">
                    <a:lumMod val="65000"/>
                    <a:lumOff val="35000"/>
                  </a:schemeClr>
                </a:solidFill>
                <a:latin typeface="Calibri" panose="020F0502020204030204" pitchFamily="34" charset="0"/>
                <a:cs typeface="Calibri" panose="020F0502020204030204" pitchFamily="34" charset="0"/>
              </a:rPr>
              <a:t>ISO 15189:2012 and 15189:2022, especially within our approach to acceptance testing, explained within the Detailed Delivery Approach section. The QMS and the ISO Certs above are central to the processes we will follow and the tasks we complete.</a:t>
            </a:r>
            <a:endParaRPr lang="en-GB" sz="1050">
              <a:solidFill>
                <a:schemeClr val="bg2">
                  <a:lumMod val="65000"/>
                  <a:lumOff val="35000"/>
                </a:schemeClr>
              </a:solidFill>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78780F4A-B8F2-1525-9EE4-3D3FB679D192}"/>
              </a:ext>
            </a:extLst>
          </p:cNvPr>
          <p:cNvSpPr/>
          <p:nvPr/>
        </p:nvSpPr>
        <p:spPr>
          <a:xfrm>
            <a:off x="6406486" y="4086150"/>
            <a:ext cx="5029200" cy="242316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Calibri" panose="020F0502020204030204" pitchFamily="34" charset="0"/>
              <a:cs typeface="Calibri" panose="020F0502020204030204" pitchFamily="34" charset="0"/>
            </a:endParaRPr>
          </a:p>
        </p:txBody>
      </p:sp>
      <p:grpSp>
        <p:nvGrpSpPr>
          <p:cNvPr id="139" name="Group 138">
            <a:extLst>
              <a:ext uri="{FF2B5EF4-FFF2-40B4-BE49-F238E27FC236}">
                <a16:creationId xmlns:a16="http://schemas.microsoft.com/office/drawing/2014/main" id="{E65CC62A-B7EA-F078-AB46-A733138EF851}"/>
              </a:ext>
            </a:extLst>
          </p:cNvPr>
          <p:cNvGrpSpPr/>
          <p:nvPr/>
        </p:nvGrpSpPr>
        <p:grpSpPr>
          <a:xfrm>
            <a:off x="6566506" y="4167471"/>
            <a:ext cx="4709160" cy="2194560"/>
            <a:chOff x="6576554" y="3858729"/>
            <a:chExt cx="4709160" cy="2194560"/>
          </a:xfrm>
        </p:grpSpPr>
        <p:sp>
          <p:nvSpPr>
            <p:cNvPr id="140" name="TextBox 139">
              <a:extLst>
                <a:ext uri="{FF2B5EF4-FFF2-40B4-BE49-F238E27FC236}">
                  <a16:creationId xmlns:a16="http://schemas.microsoft.com/office/drawing/2014/main" id="{D7FF1205-F9F8-B06C-8313-0A8A06CB9391}"/>
                </a:ext>
              </a:extLst>
            </p:cNvPr>
            <p:cNvSpPr txBox="1"/>
            <p:nvPr/>
          </p:nvSpPr>
          <p:spPr>
            <a:xfrm>
              <a:off x="6673945" y="3900787"/>
              <a:ext cx="118872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IN" sz="900" b="1">
                  <a:solidFill>
                    <a:schemeClr val="tx2"/>
                  </a:solidFill>
                  <a:latin typeface="Calibri" panose="020F0502020204030204" pitchFamily="34" charset="0"/>
                  <a:cs typeface="Calibri" panose="020F0502020204030204" pitchFamily="34" charset="0"/>
                </a:rPr>
                <a:t>Reskilled Workforce</a:t>
              </a:r>
              <a:endParaRPr kumimoji="0" lang="en-IN" sz="900" b="1" i="0" u="none" strike="noStrike" kern="1200" cap="none" spc="0" normalizeH="0" baseline="0" noProof="0">
                <a:ln>
                  <a:noFill/>
                </a:ln>
                <a:solidFill>
                  <a:schemeClr val="tx2"/>
                </a:solidFill>
                <a:effectLst/>
                <a:uLnTx/>
                <a:uFillTx/>
                <a:latin typeface="Calibri" panose="020F0502020204030204" pitchFamily="34" charset="0"/>
                <a:cs typeface="Calibri" panose="020F0502020204030204" pitchFamily="34" charset="0"/>
              </a:endParaRPr>
            </a:p>
          </p:txBody>
        </p:sp>
        <p:sp>
          <p:nvSpPr>
            <p:cNvPr id="141" name="Rectangle 140">
              <a:extLst>
                <a:ext uri="{FF2B5EF4-FFF2-40B4-BE49-F238E27FC236}">
                  <a16:creationId xmlns:a16="http://schemas.microsoft.com/office/drawing/2014/main" id="{C030FB14-8CAF-DF28-497F-FE4F6765D802}"/>
                </a:ext>
              </a:extLst>
            </p:cNvPr>
            <p:cNvSpPr/>
            <p:nvPr/>
          </p:nvSpPr>
          <p:spPr>
            <a:xfrm>
              <a:off x="6576554" y="3858729"/>
              <a:ext cx="4709160" cy="1077816"/>
            </a:xfrm>
            <a:prstGeom prst="rect">
              <a:avLst/>
            </a:prstGeom>
            <a:noFill/>
            <a:ln w="9525">
              <a:solidFill>
                <a:srgbClr val="74748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pic>
          <p:nvPicPr>
            <p:cNvPr id="142" name="Picture 141">
              <a:extLst>
                <a:ext uri="{FF2B5EF4-FFF2-40B4-BE49-F238E27FC236}">
                  <a16:creationId xmlns:a16="http://schemas.microsoft.com/office/drawing/2014/main" id="{5835F426-E3E4-B421-14E8-B65DE0121715}"/>
                </a:ext>
              </a:extLst>
            </p:cNvPr>
            <p:cNvPicPr>
              <a:picLocks noChangeAspect="1"/>
            </p:cNvPicPr>
            <p:nvPr/>
          </p:nvPicPr>
          <p:blipFill>
            <a:blip r:embed="rId2"/>
            <a:stretch>
              <a:fillRect/>
            </a:stretch>
          </p:blipFill>
          <p:spPr>
            <a:xfrm>
              <a:off x="6660870" y="4141509"/>
              <a:ext cx="616573" cy="731520"/>
            </a:xfrm>
            <a:prstGeom prst="rect">
              <a:avLst/>
            </a:prstGeom>
          </p:spPr>
        </p:pic>
        <p:sp>
          <p:nvSpPr>
            <p:cNvPr id="143" name="TextBox 142">
              <a:extLst>
                <a:ext uri="{FF2B5EF4-FFF2-40B4-BE49-F238E27FC236}">
                  <a16:creationId xmlns:a16="http://schemas.microsoft.com/office/drawing/2014/main" id="{5AF9F232-B364-45C7-25DE-89DA784775E4}"/>
                </a:ext>
              </a:extLst>
            </p:cNvPr>
            <p:cNvSpPr txBox="1"/>
            <p:nvPr/>
          </p:nvSpPr>
          <p:spPr>
            <a:xfrm>
              <a:off x="6673945" y="4989023"/>
              <a:ext cx="1388201" cy="155684"/>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en-IN" sz="900" b="1">
                  <a:latin typeface="Calibri" panose="020F0502020204030204" pitchFamily="34" charset="0"/>
                  <a:cs typeface="Calibri" panose="020F0502020204030204" pitchFamily="34" charset="0"/>
                </a:rPr>
                <a:t>Well designed QMS platform</a:t>
              </a:r>
              <a:endParaRPr kumimoji="0" lang="en-IN" sz="900" b="1"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144" name="Rectangle 143">
              <a:extLst>
                <a:ext uri="{FF2B5EF4-FFF2-40B4-BE49-F238E27FC236}">
                  <a16:creationId xmlns:a16="http://schemas.microsoft.com/office/drawing/2014/main" id="{0433680D-32A5-7238-BFA5-50C12B3F3634}"/>
                </a:ext>
              </a:extLst>
            </p:cNvPr>
            <p:cNvSpPr/>
            <p:nvPr/>
          </p:nvSpPr>
          <p:spPr>
            <a:xfrm>
              <a:off x="6576554" y="4938252"/>
              <a:ext cx="4709160" cy="1115037"/>
            </a:xfrm>
            <a:prstGeom prst="rect">
              <a:avLst/>
            </a:prstGeom>
            <a:noFill/>
            <a:ln w="9525">
              <a:solidFill>
                <a:srgbClr val="FFE6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nvGrpSpPr>
            <p:cNvPr id="145" name="Group 144">
              <a:extLst>
                <a:ext uri="{FF2B5EF4-FFF2-40B4-BE49-F238E27FC236}">
                  <a16:creationId xmlns:a16="http://schemas.microsoft.com/office/drawing/2014/main" id="{08A3291C-93D5-E8E8-8872-F7FE8FCE635E}"/>
                </a:ext>
              </a:extLst>
            </p:cNvPr>
            <p:cNvGrpSpPr>
              <a:grpSpLocks noChangeAspect="1"/>
            </p:cNvGrpSpPr>
            <p:nvPr/>
          </p:nvGrpSpPr>
          <p:grpSpPr>
            <a:xfrm>
              <a:off x="7883528" y="3954485"/>
              <a:ext cx="3172093" cy="1716050"/>
              <a:chOff x="7805010" y="3910733"/>
              <a:chExt cx="3070275" cy="1660967"/>
            </a:xfrm>
          </p:grpSpPr>
          <p:sp>
            <p:nvSpPr>
              <p:cNvPr id="165" name="TextBox 164">
                <a:extLst>
                  <a:ext uri="{FF2B5EF4-FFF2-40B4-BE49-F238E27FC236}">
                    <a16:creationId xmlns:a16="http://schemas.microsoft.com/office/drawing/2014/main" id="{73992C8E-2FA4-AF7E-8FBC-90C43107BCDC}"/>
                  </a:ext>
                </a:extLst>
              </p:cNvPr>
              <p:cNvSpPr txBox="1"/>
              <p:nvPr/>
            </p:nvSpPr>
            <p:spPr>
              <a:xfrm>
                <a:off x="9902830" y="3910733"/>
                <a:ext cx="972455" cy="272382"/>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900" b="1" i="0" u="none" strike="noStrike" kern="1200" cap="none" spc="0" normalizeH="0" baseline="0" noProof="0">
                    <a:ln>
                      <a:noFill/>
                    </a:ln>
                    <a:effectLst/>
                    <a:uLnTx/>
                    <a:uFillTx/>
                    <a:latin typeface="Calibri" panose="020F0502020204030204" pitchFamily="34" charset="0"/>
                    <a:cs typeface="Calibri" panose="020F0502020204030204" pitchFamily="34" charset="0"/>
                  </a:rPr>
                  <a:t>Better outcomes creates value</a:t>
                </a:r>
              </a:p>
            </p:txBody>
          </p:sp>
          <p:sp>
            <p:nvSpPr>
              <p:cNvPr id="166" name="Arrow: Right 165">
                <a:extLst>
                  <a:ext uri="{FF2B5EF4-FFF2-40B4-BE49-F238E27FC236}">
                    <a16:creationId xmlns:a16="http://schemas.microsoft.com/office/drawing/2014/main" id="{022713E7-2EB0-B860-B592-2D154D79DF79}"/>
                  </a:ext>
                </a:extLst>
              </p:cNvPr>
              <p:cNvSpPr/>
              <p:nvPr/>
            </p:nvSpPr>
            <p:spPr>
              <a:xfrm rot="18900000">
                <a:off x="7805010" y="4866963"/>
                <a:ext cx="2334812" cy="115587"/>
              </a:xfrm>
              <a:prstGeom prst="rightArrow">
                <a:avLst>
                  <a:gd name="adj1" fmla="val 50000"/>
                  <a:gd name="adj2" fmla="val 88902"/>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sp>
            <p:nvSpPr>
              <p:cNvPr id="167" name="Rectangle 15">
                <a:extLst>
                  <a:ext uri="{FF2B5EF4-FFF2-40B4-BE49-F238E27FC236}">
                    <a16:creationId xmlns:a16="http://schemas.microsoft.com/office/drawing/2014/main" id="{3C3B840E-4D0F-1A92-4200-3D4F87907F36}"/>
                  </a:ext>
                </a:extLst>
              </p:cNvPr>
              <p:cNvSpPr/>
              <p:nvPr/>
            </p:nvSpPr>
            <p:spPr>
              <a:xfrm rot="18900000">
                <a:off x="7956826" y="5263565"/>
                <a:ext cx="1289593" cy="62202"/>
              </a:xfrm>
              <a:custGeom>
                <a:avLst/>
                <a:gdLst>
                  <a:gd name="connsiteX0" fmla="*/ 0 w 2468357"/>
                  <a:gd name="connsiteY0" fmla="*/ 0 h 99060"/>
                  <a:gd name="connsiteX1" fmla="*/ 2468357 w 2468357"/>
                  <a:gd name="connsiteY1" fmla="*/ 0 h 99060"/>
                  <a:gd name="connsiteX2" fmla="*/ 2468357 w 2468357"/>
                  <a:gd name="connsiteY2" fmla="*/ 99060 h 99060"/>
                  <a:gd name="connsiteX3" fmla="*/ 0 w 2468357"/>
                  <a:gd name="connsiteY3" fmla="*/ 99060 h 99060"/>
                  <a:gd name="connsiteX4" fmla="*/ 0 w 2468357"/>
                  <a:gd name="connsiteY4" fmla="*/ 0 h 99060"/>
                  <a:gd name="connsiteX0" fmla="*/ 0 w 2468357"/>
                  <a:gd name="connsiteY0" fmla="*/ 0 h 99060"/>
                  <a:gd name="connsiteX1" fmla="*/ 2417843 w 2468357"/>
                  <a:gd name="connsiteY1" fmla="*/ 3368 h 99060"/>
                  <a:gd name="connsiteX2" fmla="*/ 2468357 w 2468357"/>
                  <a:gd name="connsiteY2" fmla="*/ 99060 h 99060"/>
                  <a:gd name="connsiteX3" fmla="*/ 0 w 2468357"/>
                  <a:gd name="connsiteY3" fmla="*/ 99060 h 99060"/>
                  <a:gd name="connsiteX4" fmla="*/ 0 w 2468357"/>
                  <a:gd name="connsiteY4" fmla="*/ 0 h 99060"/>
                  <a:gd name="connsiteX0" fmla="*/ 0 w 2523351"/>
                  <a:gd name="connsiteY0" fmla="*/ 0 h 99060"/>
                  <a:gd name="connsiteX1" fmla="*/ 2417843 w 2523351"/>
                  <a:gd name="connsiteY1" fmla="*/ 3368 h 99060"/>
                  <a:gd name="connsiteX2" fmla="*/ 2523351 w 2523351"/>
                  <a:gd name="connsiteY2" fmla="*/ 99059 h 99060"/>
                  <a:gd name="connsiteX3" fmla="*/ 0 w 2523351"/>
                  <a:gd name="connsiteY3" fmla="*/ 99060 h 99060"/>
                  <a:gd name="connsiteX4" fmla="*/ 0 w 2523351"/>
                  <a:gd name="connsiteY4" fmla="*/ 0 h 99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351" h="99060">
                    <a:moveTo>
                      <a:pt x="0" y="0"/>
                    </a:moveTo>
                    <a:lnTo>
                      <a:pt x="2417843" y="3368"/>
                    </a:lnTo>
                    <a:lnTo>
                      <a:pt x="2523351" y="99059"/>
                    </a:lnTo>
                    <a:lnTo>
                      <a:pt x="0" y="99060"/>
                    </a:lnTo>
                    <a:lnTo>
                      <a:pt x="0" y="0"/>
                    </a:lnTo>
                    <a:close/>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nvGrpSpPr>
              <p:cNvPr id="168" name="Group 167">
                <a:extLst>
                  <a:ext uri="{FF2B5EF4-FFF2-40B4-BE49-F238E27FC236}">
                    <a16:creationId xmlns:a16="http://schemas.microsoft.com/office/drawing/2014/main" id="{86CDE817-2DDD-5D22-61CA-3E77DD76D45D}"/>
                  </a:ext>
                </a:extLst>
              </p:cNvPr>
              <p:cNvGrpSpPr/>
              <p:nvPr/>
            </p:nvGrpSpPr>
            <p:grpSpPr>
              <a:xfrm>
                <a:off x="9148325" y="4586852"/>
                <a:ext cx="694544" cy="149901"/>
                <a:chOff x="8290560" y="3325028"/>
                <a:chExt cx="1165112" cy="251460"/>
              </a:xfrm>
            </p:grpSpPr>
            <p:grpSp>
              <p:nvGrpSpPr>
                <p:cNvPr id="183" name="Group 182">
                  <a:extLst>
                    <a:ext uri="{FF2B5EF4-FFF2-40B4-BE49-F238E27FC236}">
                      <a16:creationId xmlns:a16="http://schemas.microsoft.com/office/drawing/2014/main" id="{E2E7DCB0-87ED-19D7-039F-F53717834C89}"/>
                    </a:ext>
                  </a:extLst>
                </p:cNvPr>
                <p:cNvGrpSpPr/>
                <p:nvPr/>
              </p:nvGrpSpPr>
              <p:grpSpPr>
                <a:xfrm>
                  <a:off x="8290560" y="3325028"/>
                  <a:ext cx="968368" cy="251460"/>
                  <a:chOff x="8290560" y="3325028"/>
                  <a:chExt cx="968368" cy="251460"/>
                </a:xfrm>
              </p:grpSpPr>
              <p:sp>
                <p:nvSpPr>
                  <p:cNvPr id="185" name="Oval 184">
                    <a:extLst>
                      <a:ext uri="{FF2B5EF4-FFF2-40B4-BE49-F238E27FC236}">
                        <a16:creationId xmlns:a16="http://schemas.microsoft.com/office/drawing/2014/main" id="{3F85C8F7-C41C-D496-7055-434D0BE6C6B5}"/>
                      </a:ext>
                    </a:extLst>
                  </p:cNvPr>
                  <p:cNvSpPr/>
                  <p:nvPr/>
                </p:nvSpPr>
                <p:spPr>
                  <a:xfrm>
                    <a:off x="8290560" y="3325028"/>
                    <a:ext cx="251460" cy="251460"/>
                  </a:xfrm>
                  <a:prstGeom prst="ellips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sp>
                <p:nvSpPr>
                  <p:cNvPr id="186" name="TextBox 185">
                    <a:extLst>
                      <a:ext uri="{FF2B5EF4-FFF2-40B4-BE49-F238E27FC236}">
                        <a16:creationId xmlns:a16="http://schemas.microsoft.com/office/drawing/2014/main" id="{90039FAC-7D21-0434-B497-9EFEA3079B9B}"/>
                      </a:ext>
                    </a:extLst>
                  </p:cNvPr>
                  <p:cNvSpPr txBox="1"/>
                  <p:nvPr/>
                </p:nvSpPr>
                <p:spPr>
                  <a:xfrm>
                    <a:off x="8636868" y="3360492"/>
                    <a:ext cx="622060" cy="201765"/>
                  </a:xfrm>
                  <a:prstGeom prst="rect">
                    <a:avLst/>
                  </a:prstGeom>
                  <a:noFill/>
                </p:spPr>
                <p:txBody>
                  <a:bodyPr wrap="none" lIns="0" tIns="0" rIns="0" bIns="0" rtlCol="0">
                    <a:spAutoFit/>
                  </a:bodyPr>
                  <a:lstStyle/>
                  <a:p>
                    <a:pPr marL="0" marR="0" lvl="0" indent="0" algn="l" defTabSz="914400" rtl="0" eaLnBrk="1" fontAlgn="auto" latinLnBrk="0" hangingPunct="1">
                      <a:lnSpc>
                        <a:spcPct val="95000"/>
                      </a:lnSpc>
                      <a:spcBef>
                        <a:spcPts val="0"/>
                      </a:spcBef>
                      <a:spcAft>
                        <a:spcPts val="600"/>
                      </a:spcAft>
                      <a:buClr>
                        <a:srgbClr val="27ACAA"/>
                      </a:buClr>
                      <a:buSzPct val="70000"/>
                      <a:buFontTx/>
                      <a:buNone/>
                      <a:tabLst/>
                      <a:defRPr/>
                    </a:pPr>
                    <a:r>
                      <a:rPr kumimoji="0" lang="en-IN" sz="850" b="1" i="0" u="none" strike="noStrike" kern="1200" cap="none" spc="0" normalizeH="0" baseline="0" noProof="0">
                        <a:ln>
                          <a:noFill/>
                        </a:ln>
                        <a:effectLst/>
                        <a:uLnTx/>
                        <a:uFillTx/>
                        <a:latin typeface="Calibri" panose="020F0502020204030204" pitchFamily="34" charset="0"/>
                        <a:cs typeface="Calibri" panose="020F0502020204030204" pitchFamily="34" charset="0"/>
                      </a:rPr>
                      <a:t>Decision</a:t>
                    </a:r>
                  </a:p>
                </p:txBody>
              </p:sp>
            </p:grpSp>
            <p:sp>
              <p:nvSpPr>
                <p:cNvPr id="184" name="Rectangle 183">
                  <a:extLst>
                    <a:ext uri="{FF2B5EF4-FFF2-40B4-BE49-F238E27FC236}">
                      <a16:creationId xmlns:a16="http://schemas.microsoft.com/office/drawing/2014/main" id="{8BE944C0-98F4-D100-1DC0-E8ACFC19B4C8}"/>
                    </a:ext>
                  </a:extLst>
                </p:cNvPr>
                <p:cNvSpPr/>
                <p:nvPr/>
              </p:nvSpPr>
              <p:spPr>
                <a:xfrm>
                  <a:off x="8416390" y="3337559"/>
                  <a:ext cx="1039282" cy="228600"/>
                </a:xfrm>
                <a:prstGeom prst="rect">
                  <a:avLst/>
                </a:prstGeom>
                <a:noFill/>
                <a:ln w="9525">
                  <a:solidFill>
                    <a:srgbClr val="74748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grpSp>
            <p:nvGrpSpPr>
              <p:cNvPr id="169" name="Group 168">
                <a:extLst>
                  <a:ext uri="{FF2B5EF4-FFF2-40B4-BE49-F238E27FC236}">
                    <a16:creationId xmlns:a16="http://schemas.microsoft.com/office/drawing/2014/main" id="{305130DD-4AC3-2B24-8AC3-BA64E9D74A05}"/>
                  </a:ext>
                </a:extLst>
              </p:cNvPr>
              <p:cNvGrpSpPr/>
              <p:nvPr/>
            </p:nvGrpSpPr>
            <p:grpSpPr>
              <a:xfrm>
                <a:off x="9479701" y="4274837"/>
                <a:ext cx="581939" cy="149899"/>
                <a:chOff x="8290560" y="3325028"/>
                <a:chExt cx="976212" cy="251460"/>
              </a:xfrm>
            </p:grpSpPr>
            <p:grpSp>
              <p:nvGrpSpPr>
                <p:cNvPr id="179" name="Group 178">
                  <a:extLst>
                    <a:ext uri="{FF2B5EF4-FFF2-40B4-BE49-F238E27FC236}">
                      <a16:creationId xmlns:a16="http://schemas.microsoft.com/office/drawing/2014/main" id="{5FB96679-838A-E077-7093-E4EE245EA0F7}"/>
                    </a:ext>
                  </a:extLst>
                </p:cNvPr>
                <p:cNvGrpSpPr/>
                <p:nvPr/>
              </p:nvGrpSpPr>
              <p:grpSpPr>
                <a:xfrm>
                  <a:off x="8290560" y="3325028"/>
                  <a:ext cx="799415" cy="251460"/>
                  <a:chOff x="8290560" y="3325028"/>
                  <a:chExt cx="799415" cy="251460"/>
                </a:xfrm>
              </p:grpSpPr>
              <p:sp>
                <p:nvSpPr>
                  <p:cNvPr id="181" name="Oval 180">
                    <a:extLst>
                      <a:ext uri="{FF2B5EF4-FFF2-40B4-BE49-F238E27FC236}">
                        <a16:creationId xmlns:a16="http://schemas.microsoft.com/office/drawing/2014/main" id="{E1DEB2EC-AB37-738D-A172-14E6EFADFED3}"/>
                      </a:ext>
                    </a:extLst>
                  </p:cNvPr>
                  <p:cNvSpPr/>
                  <p:nvPr/>
                </p:nvSpPr>
                <p:spPr>
                  <a:xfrm>
                    <a:off x="8290560" y="3325028"/>
                    <a:ext cx="251460" cy="251460"/>
                  </a:xfrm>
                  <a:prstGeom prst="ellips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sp>
                <p:nvSpPr>
                  <p:cNvPr id="182" name="TextBox 181">
                    <a:extLst>
                      <a:ext uri="{FF2B5EF4-FFF2-40B4-BE49-F238E27FC236}">
                        <a16:creationId xmlns:a16="http://schemas.microsoft.com/office/drawing/2014/main" id="{93473698-57BB-5471-CA76-B809424CBDE2}"/>
                      </a:ext>
                    </a:extLst>
                  </p:cNvPr>
                  <p:cNvSpPr txBox="1"/>
                  <p:nvPr/>
                </p:nvSpPr>
                <p:spPr>
                  <a:xfrm>
                    <a:off x="8613671" y="3360493"/>
                    <a:ext cx="476304" cy="201767"/>
                  </a:xfrm>
                  <a:prstGeom prst="rect">
                    <a:avLst/>
                  </a:prstGeom>
                  <a:noFill/>
                </p:spPr>
                <p:txBody>
                  <a:bodyPr wrap="none" lIns="0" tIns="0" rIns="0" bIns="0" rtlCol="0">
                    <a:spAutoFit/>
                  </a:bodyPr>
                  <a:lstStyle/>
                  <a:p>
                    <a:pPr marL="0" marR="0" lvl="0" indent="0" algn="l" defTabSz="914400" rtl="0" eaLnBrk="1" fontAlgn="auto" latinLnBrk="0" hangingPunct="1">
                      <a:lnSpc>
                        <a:spcPct val="95000"/>
                      </a:lnSpc>
                      <a:spcBef>
                        <a:spcPts val="0"/>
                      </a:spcBef>
                      <a:spcAft>
                        <a:spcPts val="600"/>
                      </a:spcAft>
                      <a:buClr>
                        <a:srgbClr val="27ACAA"/>
                      </a:buClr>
                      <a:buSzPct val="70000"/>
                      <a:buFontTx/>
                      <a:buNone/>
                      <a:tabLst/>
                      <a:defRPr/>
                    </a:pPr>
                    <a:r>
                      <a:rPr kumimoji="0" lang="en-IN" sz="850" b="1" i="0" u="none" strike="noStrike" kern="1200" cap="none" spc="0" normalizeH="0" baseline="0" noProof="0">
                        <a:ln>
                          <a:noFill/>
                        </a:ln>
                        <a:effectLst/>
                        <a:uLnTx/>
                        <a:uFillTx/>
                        <a:latin typeface="Calibri" panose="020F0502020204030204" pitchFamily="34" charset="0"/>
                        <a:cs typeface="Calibri" panose="020F0502020204030204" pitchFamily="34" charset="0"/>
                      </a:rPr>
                      <a:t>Action</a:t>
                    </a:r>
                  </a:p>
                </p:txBody>
              </p:sp>
            </p:grpSp>
            <p:sp>
              <p:nvSpPr>
                <p:cNvPr id="180" name="Rectangle 179">
                  <a:extLst>
                    <a:ext uri="{FF2B5EF4-FFF2-40B4-BE49-F238E27FC236}">
                      <a16:creationId xmlns:a16="http://schemas.microsoft.com/office/drawing/2014/main" id="{6A52EE71-CCE0-DDDF-F86B-5637C5DAB7D1}"/>
                    </a:ext>
                  </a:extLst>
                </p:cNvPr>
                <p:cNvSpPr/>
                <p:nvPr/>
              </p:nvSpPr>
              <p:spPr>
                <a:xfrm>
                  <a:off x="8416391" y="3337560"/>
                  <a:ext cx="850381" cy="228600"/>
                </a:xfrm>
                <a:prstGeom prst="rect">
                  <a:avLst/>
                </a:prstGeom>
                <a:noFill/>
                <a:ln w="9525">
                  <a:solidFill>
                    <a:srgbClr val="74748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grpSp>
            <p:nvGrpSpPr>
              <p:cNvPr id="170" name="Group 169">
                <a:extLst>
                  <a:ext uri="{FF2B5EF4-FFF2-40B4-BE49-F238E27FC236}">
                    <a16:creationId xmlns:a16="http://schemas.microsoft.com/office/drawing/2014/main" id="{CD938E32-4982-602A-B8A1-22C45D7AF8E9}"/>
                  </a:ext>
                </a:extLst>
              </p:cNvPr>
              <p:cNvGrpSpPr/>
              <p:nvPr/>
            </p:nvGrpSpPr>
            <p:grpSpPr>
              <a:xfrm>
                <a:off x="8014304" y="5421803"/>
                <a:ext cx="475071" cy="149897"/>
                <a:chOff x="7745085" y="3325028"/>
                <a:chExt cx="796935" cy="251460"/>
              </a:xfrm>
            </p:grpSpPr>
            <p:sp>
              <p:nvSpPr>
                <p:cNvPr id="177" name="Oval 176">
                  <a:extLst>
                    <a:ext uri="{FF2B5EF4-FFF2-40B4-BE49-F238E27FC236}">
                      <a16:creationId xmlns:a16="http://schemas.microsoft.com/office/drawing/2014/main" id="{C8A03F7A-02D8-1244-695D-016FC7796B6F}"/>
                    </a:ext>
                  </a:extLst>
                </p:cNvPr>
                <p:cNvSpPr/>
                <p:nvPr/>
              </p:nvSpPr>
              <p:spPr>
                <a:xfrm>
                  <a:off x="8290560" y="3325028"/>
                  <a:ext cx="251460" cy="25146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sp>
              <p:nvSpPr>
                <p:cNvPr id="178" name="TextBox 177">
                  <a:extLst>
                    <a:ext uri="{FF2B5EF4-FFF2-40B4-BE49-F238E27FC236}">
                      <a16:creationId xmlns:a16="http://schemas.microsoft.com/office/drawing/2014/main" id="{D66212FF-AB1C-3F5D-328C-454E97F2E48C}"/>
                    </a:ext>
                  </a:extLst>
                </p:cNvPr>
                <p:cNvSpPr txBox="1"/>
                <p:nvPr/>
              </p:nvSpPr>
              <p:spPr>
                <a:xfrm>
                  <a:off x="7745085" y="3361894"/>
                  <a:ext cx="351370" cy="201770"/>
                </a:xfrm>
                <a:prstGeom prst="rect">
                  <a:avLst/>
                </a:prstGeom>
                <a:noFill/>
              </p:spPr>
              <p:txBody>
                <a:bodyPr wrap="none" lIns="0" tIns="0" rIns="0" bIns="0" rtlCol="0">
                  <a:spAutoFit/>
                </a:bodyPr>
                <a:lstStyle/>
                <a:p>
                  <a:pPr marL="0" marR="0" lvl="0" indent="0" algn="l" defTabSz="914400" rtl="0" eaLnBrk="1" fontAlgn="auto" latinLnBrk="0" hangingPunct="1">
                    <a:lnSpc>
                      <a:spcPct val="95000"/>
                    </a:lnSpc>
                    <a:spcBef>
                      <a:spcPts val="0"/>
                    </a:spcBef>
                    <a:spcAft>
                      <a:spcPts val="600"/>
                    </a:spcAft>
                    <a:buClr>
                      <a:srgbClr val="27ACAA"/>
                    </a:buClr>
                    <a:buSzPct val="70000"/>
                    <a:buFontTx/>
                    <a:buNone/>
                    <a:tabLst/>
                    <a:defRPr/>
                  </a:pPr>
                  <a:r>
                    <a:rPr kumimoji="0" lang="en-IN" sz="850" b="1" i="0" u="none" strike="noStrike" kern="1200" cap="none" spc="0" normalizeH="0" baseline="0" noProof="0">
                      <a:ln>
                        <a:noFill/>
                      </a:ln>
                      <a:solidFill>
                        <a:schemeClr val="tx2"/>
                      </a:solidFill>
                      <a:effectLst/>
                      <a:uLnTx/>
                      <a:uFillTx/>
                      <a:latin typeface="Calibri" panose="020F0502020204030204" pitchFamily="34" charset="0"/>
                      <a:cs typeface="Calibri" panose="020F0502020204030204" pitchFamily="34" charset="0"/>
                    </a:rPr>
                    <a:t>Data</a:t>
                  </a:r>
                </a:p>
              </p:txBody>
            </p:sp>
          </p:grpSp>
          <p:grpSp>
            <p:nvGrpSpPr>
              <p:cNvPr id="171" name="Group 170">
                <a:extLst>
                  <a:ext uri="{FF2B5EF4-FFF2-40B4-BE49-F238E27FC236}">
                    <a16:creationId xmlns:a16="http://schemas.microsoft.com/office/drawing/2014/main" id="{0B99A5E5-B1FC-6AD8-13C8-D715A8181B42}"/>
                  </a:ext>
                </a:extLst>
              </p:cNvPr>
              <p:cNvGrpSpPr/>
              <p:nvPr/>
            </p:nvGrpSpPr>
            <p:grpSpPr>
              <a:xfrm>
                <a:off x="8227710" y="5077544"/>
                <a:ext cx="593235" cy="149901"/>
                <a:chOff x="7546859" y="3325028"/>
                <a:chExt cx="995161" cy="251460"/>
              </a:xfrm>
            </p:grpSpPr>
            <p:grpSp>
              <p:nvGrpSpPr>
                <p:cNvPr id="173" name="Group 172">
                  <a:extLst>
                    <a:ext uri="{FF2B5EF4-FFF2-40B4-BE49-F238E27FC236}">
                      <a16:creationId xmlns:a16="http://schemas.microsoft.com/office/drawing/2014/main" id="{C73527D6-3794-FA6B-BA0E-0D2969DFB0FF}"/>
                    </a:ext>
                  </a:extLst>
                </p:cNvPr>
                <p:cNvGrpSpPr/>
                <p:nvPr/>
              </p:nvGrpSpPr>
              <p:grpSpPr>
                <a:xfrm>
                  <a:off x="7635880" y="3325028"/>
                  <a:ext cx="906140" cy="251460"/>
                  <a:chOff x="7635880" y="3325028"/>
                  <a:chExt cx="906140" cy="251460"/>
                </a:xfrm>
              </p:grpSpPr>
              <p:sp>
                <p:nvSpPr>
                  <p:cNvPr id="175" name="Oval 174">
                    <a:extLst>
                      <a:ext uri="{FF2B5EF4-FFF2-40B4-BE49-F238E27FC236}">
                        <a16:creationId xmlns:a16="http://schemas.microsoft.com/office/drawing/2014/main" id="{12AC6349-F324-4C12-78FE-FEB1F2159754}"/>
                      </a:ext>
                    </a:extLst>
                  </p:cNvPr>
                  <p:cNvSpPr/>
                  <p:nvPr/>
                </p:nvSpPr>
                <p:spPr>
                  <a:xfrm>
                    <a:off x="8290560" y="3325028"/>
                    <a:ext cx="251460" cy="25146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sp>
                <p:nvSpPr>
                  <p:cNvPr id="176" name="TextBox 175">
                    <a:extLst>
                      <a:ext uri="{FF2B5EF4-FFF2-40B4-BE49-F238E27FC236}">
                        <a16:creationId xmlns:a16="http://schemas.microsoft.com/office/drawing/2014/main" id="{B38EAEFE-41FA-A237-187F-CFA71655723B}"/>
                      </a:ext>
                    </a:extLst>
                  </p:cNvPr>
                  <p:cNvSpPr txBox="1"/>
                  <p:nvPr/>
                </p:nvSpPr>
                <p:spPr>
                  <a:xfrm>
                    <a:off x="7635880" y="3356626"/>
                    <a:ext cx="494523" cy="201765"/>
                  </a:xfrm>
                  <a:prstGeom prst="rect">
                    <a:avLst/>
                  </a:prstGeom>
                  <a:noFill/>
                </p:spPr>
                <p:txBody>
                  <a:bodyPr wrap="none" lIns="0" tIns="0" rIns="0" bIns="0" rtlCol="0">
                    <a:spAutoFit/>
                  </a:bodyPr>
                  <a:lstStyle/>
                  <a:p>
                    <a:pPr marL="0" marR="0" lvl="0" indent="0" algn="l" defTabSz="914400" rtl="0" eaLnBrk="1" fontAlgn="auto" latinLnBrk="0" hangingPunct="1">
                      <a:lnSpc>
                        <a:spcPct val="95000"/>
                      </a:lnSpc>
                      <a:spcBef>
                        <a:spcPts val="0"/>
                      </a:spcBef>
                      <a:spcAft>
                        <a:spcPts val="600"/>
                      </a:spcAft>
                      <a:buClr>
                        <a:srgbClr val="27ACAA"/>
                      </a:buClr>
                      <a:buSzPct val="70000"/>
                      <a:buFontTx/>
                      <a:buNone/>
                      <a:tabLst/>
                      <a:defRPr/>
                    </a:pPr>
                    <a:r>
                      <a:rPr kumimoji="0" lang="en-IN" sz="850" b="1" i="0" u="none" strike="noStrike" kern="1200" cap="none" spc="0" normalizeH="0" baseline="0" noProof="0">
                        <a:ln>
                          <a:noFill/>
                        </a:ln>
                        <a:solidFill>
                          <a:schemeClr val="tx2"/>
                        </a:solidFill>
                        <a:effectLst/>
                        <a:uLnTx/>
                        <a:uFillTx/>
                        <a:latin typeface="Calibri" panose="020F0502020204030204" pitchFamily="34" charset="0"/>
                        <a:cs typeface="Calibri" panose="020F0502020204030204" pitchFamily="34" charset="0"/>
                      </a:rPr>
                      <a:t>Insight</a:t>
                    </a:r>
                  </a:p>
                </p:txBody>
              </p:sp>
            </p:grpSp>
            <p:sp>
              <p:nvSpPr>
                <p:cNvPr id="174" name="Rectangle 173">
                  <a:extLst>
                    <a:ext uri="{FF2B5EF4-FFF2-40B4-BE49-F238E27FC236}">
                      <a16:creationId xmlns:a16="http://schemas.microsoft.com/office/drawing/2014/main" id="{A2E3F149-405F-7C9B-2CA5-5875296ADB9E}"/>
                    </a:ext>
                  </a:extLst>
                </p:cNvPr>
                <p:cNvSpPr/>
                <p:nvPr/>
              </p:nvSpPr>
              <p:spPr>
                <a:xfrm>
                  <a:off x="7546859" y="3337560"/>
                  <a:ext cx="850381" cy="228600"/>
                </a:xfrm>
                <a:prstGeom prst="rect">
                  <a:avLst/>
                </a:prstGeom>
                <a:noFill/>
                <a:ln w="9525">
                  <a:solidFill>
                    <a:srgbClr val="FFE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sp>
            <p:nvSpPr>
              <p:cNvPr id="172" name="Rectangle 171">
                <a:extLst>
                  <a:ext uri="{FF2B5EF4-FFF2-40B4-BE49-F238E27FC236}">
                    <a16:creationId xmlns:a16="http://schemas.microsoft.com/office/drawing/2014/main" id="{C398ECB9-B2D1-D9EC-0054-A2894EB567B8}"/>
                  </a:ext>
                </a:extLst>
              </p:cNvPr>
              <p:cNvSpPr/>
              <p:nvPr/>
            </p:nvSpPr>
            <p:spPr>
              <a:xfrm>
                <a:off x="7958716" y="5430961"/>
                <a:ext cx="467038" cy="136273"/>
              </a:xfrm>
              <a:prstGeom prst="rect">
                <a:avLst/>
              </a:prstGeom>
              <a:noFill/>
              <a:ln w="9525">
                <a:solidFill>
                  <a:srgbClr val="FFE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grpSp>
          <p:nvGrpSpPr>
            <p:cNvPr id="146" name="Group 145">
              <a:extLst>
                <a:ext uri="{FF2B5EF4-FFF2-40B4-BE49-F238E27FC236}">
                  <a16:creationId xmlns:a16="http://schemas.microsoft.com/office/drawing/2014/main" id="{CD3A6FD8-3E3A-EBC9-65B3-1837D3056302}"/>
                </a:ext>
              </a:extLst>
            </p:cNvPr>
            <p:cNvGrpSpPr/>
            <p:nvPr/>
          </p:nvGrpSpPr>
          <p:grpSpPr>
            <a:xfrm>
              <a:off x="9526114" y="5038879"/>
              <a:ext cx="1648938" cy="908682"/>
              <a:chOff x="9538087" y="4961785"/>
              <a:chExt cx="1648938" cy="908682"/>
            </a:xfrm>
          </p:grpSpPr>
          <p:sp>
            <p:nvSpPr>
              <p:cNvPr id="157" name="TextBox 156">
                <a:extLst>
                  <a:ext uri="{FF2B5EF4-FFF2-40B4-BE49-F238E27FC236}">
                    <a16:creationId xmlns:a16="http://schemas.microsoft.com/office/drawing/2014/main" id="{DEB953E4-5BBB-AC49-56F4-8E6B4C80313A}"/>
                  </a:ext>
                </a:extLst>
              </p:cNvPr>
              <p:cNvSpPr txBox="1"/>
              <p:nvPr/>
            </p:nvSpPr>
            <p:spPr>
              <a:xfrm>
                <a:off x="9714809" y="4982945"/>
                <a:ext cx="955390"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900" b="0" i="0" u="none" strike="noStrike" kern="1200" cap="none" spc="0" normalizeH="0" baseline="0" noProof="0">
                    <a:ln>
                      <a:noFill/>
                    </a:ln>
                    <a:effectLst/>
                    <a:uLnTx/>
                    <a:uFillTx/>
                    <a:latin typeface="Calibri" panose="020F0502020204030204" pitchFamily="34" charset="0"/>
                    <a:cs typeface="Calibri" panose="020F0502020204030204" pitchFamily="34" charset="0"/>
                  </a:rPr>
                  <a:t>Data given decisions</a:t>
                </a:r>
              </a:p>
            </p:txBody>
          </p:sp>
          <p:sp>
            <p:nvSpPr>
              <p:cNvPr id="158" name="TextBox 157">
                <a:extLst>
                  <a:ext uri="{FF2B5EF4-FFF2-40B4-BE49-F238E27FC236}">
                    <a16:creationId xmlns:a16="http://schemas.microsoft.com/office/drawing/2014/main" id="{714C78D8-061B-90ED-9995-33707F432BA2}"/>
                  </a:ext>
                </a:extLst>
              </p:cNvPr>
              <p:cNvSpPr txBox="1"/>
              <p:nvPr/>
            </p:nvSpPr>
            <p:spPr>
              <a:xfrm>
                <a:off x="9714814" y="5218956"/>
                <a:ext cx="146304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900" b="0" i="0" u="none" strike="noStrike" kern="1200" cap="none" spc="0" normalizeH="0" baseline="0" noProof="0">
                    <a:ln>
                      <a:noFill/>
                    </a:ln>
                    <a:effectLst/>
                    <a:uLnTx/>
                    <a:uFillTx/>
                    <a:latin typeface="Calibri" panose="020F0502020204030204" pitchFamily="34" charset="0"/>
                    <a:cs typeface="Calibri" panose="020F0502020204030204" pitchFamily="34" charset="0"/>
                  </a:rPr>
                  <a:t>Problem centric application of technology</a:t>
                </a:r>
              </a:p>
            </p:txBody>
          </p:sp>
          <p:sp>
            <p:nvSpPr>
              <p:cNvPr id="159" name="TextBox 158">
                <a:extLst>
                  <a:ext uri="{FF2B5EF4-FFF2-40B4-BE49-F238E27FC236}">
                    <a16:creationId xmlns:a16="http://schemas.microsoft.com/office/drawing/2014/main" id="{152D1E8B-657E-1696-4676-BE83C29C51D6}"/>
                  </a:ext>
                </a:extLst>
              </p:cNvPr>
              <p:cNvSpPr txBox="1"/>
              <p:nvPr/>
            </p:nvSpPr>
            <p:spPr>
              <a:xfrm>
                <a:off x="9714810" y="5593468"/>
                <a:ext cx="146304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900" b="0" i="0" u="none" strike="noStrike" kern="1200" cap="none" spc="0" normalizeH="0" baseline="0" noProof="0">
                    <a:ln>
                      <a:noFill/>
                    </a:ln>
                    <a:effectLst/>
                    <a:uLnTx/>
                    <a:uFillTx/>
                    <a:latin typeface="Calibri" panose="020F0502020204030204" pitchFamily="34" charset="0"/>
                    <a:cs typeface="Calibri" panose="020F0502020204030204" pitchFamily="34" charset="0"/>
                  </a:rPr>
                  <a:t>Instrumented, integrated and contextualized data</a:t>
                </a:r>
              </a:p>
            </p:txBody>
          </p:sp>
          <p:sp>
            <p:nvSpPr>
              <p:cNvPr id="160" name="TextBox 159">
                <a:extLst>
                  <a:ext uri="{FF2B5EF4-FFF2-40B4-BE49-F238E27FC236}">
                    <a16:creationId xmlns:a16="http://schemas.microsoft.com/office/drawing/2014/main" id="{FCD0FB3C-1F2D-6DCB-2389-799A4390B9B4}"/>
                  </a:ext>
                </a:extLst>
              </p:cNvPr>
              <p:cNvSpPr txBox="1"/>
              <p:nvPr/>
            </p:nvSpPr>
            <p:spPr>
              <a:xfrm>
                <a:off x="9538087" y="4961785"/>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solidFill>
                      <a:schemeClr val="tx2"/>
                    </a:solidFill>
                    <a:effectLst/>
                    <a:uLnTx/>
                    <a:uFillTx/>
                    <a:latin typeface="Calibri" panose="020F0502020204030204" pitchFamily="34" charset="0"/>
                    <a:cs typeface="Calibri" panose="020F0502020204030204" pitchFamily="34" charset="0"/>
                  </a:rPr>
                  <a:t>3</a:t>
                </a:r>
              </a:p>
            </p:txBody>
          </p:sp>
          <p:sp>
            <p:nvSpPr>
              <p:cNvPr id="161" name="TextBox 160">
                <a:extLst>
                  <a:ext uri="{FF2B5EF4-FFF2-40B4-BE49-F238E27FC236}">
                    <a16:creationId xmlns:a16="http://schemas.microsoft.com/office/drawing/2014/main" id="{BFBAE10A-9152-1B1D-1C1C-94025E7A5688}"/>
                  </a:ext>
                </a:extLst>
              </p:cNvPr>
              <p:cNvSpPr txBox="1"/>
              <p:nvPr/>
            </p:nvSpPr>
            <p:spPr>
              <a:xfrm>
                <a:off x="9538087" y="5267046"/>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effectLst/>
                    <a:uLnTx/>
                    <a:uFillTx/>
                    <a:latin typeface="Calibri" panose="020F0502020204030204" pitchFamily="34" charset="0"/>
                    <a:cs typeface="Calibri" panose="020F0502020204030204" pitchFamily="34" charset="0"/>
                  </a:rPr>
                  <a:t>2</a:t>
                </a:r>
              </a:p>
            </p:txBody>
          </p:sp>
          <p:sp>
            <p:nvSpPr>
              <p:cNvPr id="162" name="TextBox 161">
                <a:extLst>
                  <a:ext uri="{FF2B5EF4-FFF2-40B4-BE49-F238E27FC236}">
                    <a16:creationId xmlns:a16="http://schemas.microsoft.com/office/drawing/2014/main" id="{6723833B-C703-F899-5EDA-45F15073C0D3}"/>
                  </a:ext>
                </a:extLst>
              </p:cNvPr>
              <p:cNvSpPr txBox="1"/>
              <p:nvPr/>
            </p:nvSpPr>
            <p:spPr>
              <a:xfrm>
                <a:off x="9538087" y="5641558"/>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effectLst/>
                    <a:uLnTx/>
                    <a:uFillTx/>
                    <a:latin typeface="Calibri" panose="020F0502020204030204" pitchFamily="34" charset="0"/>
                    <a:cs typeface="Calibri" panose="020F0502020204030204" pitchFamily="34" charset="0"/>
                  </a:rPr>
                  <a:t>1</a:t>
                </a:r>
              </a:p>
            </p:txBody>
          </p:sp>
          <p:cxnSp>
            <p:nvCxnSpPr>
              <p:cNvPr id="163" name="Straight Connector 162">
                <a:extLst>
                  <a:ext uri="{FF2B5EF4-FFF2-40B4-BE49-F238E27FC236}">
                    <a16:creationId xmlns:a16="http://schemas.microsoft.com/office/drawing/2014/main" id="{175F4A8A-E7C4-25BC-6779-73DE0EE90D48}"/>
                  </a:ext>
                </a:extLst>
              </p:cNvPr>
              <p:cNvCxnSpPr>
                <a:cxnSpLocks/>
              </p:cNvCxnSpPr>
              <p:nvPr/>
            </p:nvCxnSpPr>
            <p:spPr>
              <a:xfrm>
                <a:off x="9723985" y="5170200"/>
                <a:ext cx="1463040" cy="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506C1C8-D934-9082-2FF7-8CD6B8F6C585}"/>
                  </a:ext>
                </a:extLst>
              </p:cNvPr>
              <p:cNvCxnSpPr>
                <a:cxnSpLocks/>
              </p:cNvCxnSpPr>
              <p:nvPr/>
            </p:nvCxnSpPr>
            <p:spPr>
              <a:xfrm>
                <a:off x="9723985" y="5544711"/>
                <a:ext cx="1463040" cy="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grpSp>
        <p:pic>
          <p:nvPicPr>
            <p:cNvPr id="147" name="Picture 146">
              <a:extLst>
                <a:ext uri="{FF2B5EF4-FFF2-40B4-BE49-F238E27FC236}">
                  <a16:creationId xmlns:a16="http://schemas.microsoft.com/office/drawing/2014/main" id="{D4E1B4E3-C488-7A9A-0058-096E86582E2B}"/>
                </a:ext>
              </a:extLst>
            </p:cNvPr>
            <p:cNvPicPr>
              <a:picLocks noChangeAspect="1"/>
            </p:cNvPicPr>
            <p:nvPr/>
          </p:nvPicPr>
          <p:blipFill>
            <a:blip r:embed="rId3"/>
            <a:stretch>
              <a:fillRect/>
            </a:stretch>
          </p:blipFill>
          <p:spPr>
            <a:xfrm>
              <a:off x="8998732" y="5318994"/>
              <a:ext cx="456703" cy="489536"/>
            </a:xfrm>
            <a:prstGeom prst="rect">
              <a:avLst/>
            </a:prstGeom>
          </p:spPr>
        </p:pic>
        <p:grpSp>
          <p:nvGrpSpPr>
            <p:cNvPr id="148" name="Group 147">
              <a:extLst>
                <a:ext uri="{FF2B5EF4-FFF2-40B4-BE49-F238E27FC236}">
                  <a16:creationId xmlns:a16="http://schemas.microsoft.com/office/drawing/2014/main" id="{59004831-B3B5-AC18-8884-CC078E80D4E4}"/>
                </a:ext>
              </a:extLst>
            </p:cNvPr>
            <p:cNvGrpSpPr/>
            <p:nvPr/>
          </p:nvGrpSpPr>
          <p:grpSpPr>
            <a:xfrm>
              <a:off x="7878751" y="3930235"/>
              <a:ext cx="1374618" cy="908682"/>
              <a:chOff x="9538087" y="4961785"/>
              <a:chExt cx="1374618" cy="908682"/>
            </a:xfrm>
          </p:grpSpPr>
          <p:sp>
            <p:nvSpPr>
              <p:cNvPr id="149" name="TextBox 148">
                <a:extLst>
                  <a:ext uri="{FF2B5EF4-FFF2-40B4-BE49-F238E27FC236}">
                    <a16:creationId xmlns:a16="http://schemas.microsoft.com/office/drawing/2014/main" id="{0D8FEB3A-5C54-062C-8F14-C1527CEED0E8}"/>
                  </a:ext>
                </a:extLst>
              </p:cNvPr>
              <p:cNvSpPr txBox="1"/>
              <p:nvPr/>
            </p:nvSpPr>
            <p:spPr>
              <a:xfrm>
                <a:off x="9714809" y="4982945"/>
                <a:ext cx="966611" cy="138499"/>
              </a:xfrm>
              <a:prstGeom prst="rect">
                <a:avLst/>
              </a:prstGeom>
              <a:noFill/>
            </p:spPr>
            <p:txBody>
              <a:bodyPr wrap="none" lIns="0" tIns="0" rIns="0" bIns="0" rtlCol="0">
                <a:spAutoFit/>
              </a:bodyPr>
              <a:lstStyle/>
              <a:p>
                <a:pPr lvl="0">
                  <a:buClr>
                    <a:srgbClr val="27ACAA"/>
                  </a:buClr>
                  <a:buSzPct val="70000"/>
                  <a:defRPr/>
                </a:pPr>
                <a:r>
                  <a:rPr lang="en-IN" sz="900">
                    <a:latin typeface="Calibri" panose="020F0502020204030204" pitchFamily="34" charset="0"/>
                    <a:cs typeface="Calibri" panose="020F0502020204030204" pitchFamily="34" charset="0"/>
                  </a:rPr>
                  <a:t>Performance culture</a:t>
                </a:r>
              </a:p>
            </p:txBody>
          </p:sp>
          <p:sp>
            <p:nvSpPr>
              <p:cNvPr id="150" name="TextBox 149">
                <a:extLst>
                  <a:ext uri="{FF2B5EF4-FFF2-40B4-BE49-F238E27FC236}">
                    <a16:creationId xmlns:a16="http://schemas.microsoft.com/office/drawing/2014/main" id="{0D5122B7-D3A4-4FBB-9E4D-C972ED55BA11}"/>
                  </a:ext>
                </a:extLst>
              </p:cNvPr>
              <p:cNvSpPr txBox="1"/>
              <p:nvPr/>
            </p:nvSpPr>
            <p:spPr>
              <a:xfrm>
                <a:off x="9714814" y="5218956"/>
                <a:ext cx="1188720" cy="276999"/>
              </a:xfrm>
              <a:prstGeom prst="rect">
                <a:avLst/>
              </a:prstGeom>
              <a:noFill/>
            </p:spPr>
            <p:txBody>
              <a:bodyPr wrap="square" lIns="0" tIns="0" rIns="0" bIns="0" rtlCol="0">
                <a:spAutoFit/>
              </a:bodyPr>
              <a:lstStyle/>
              <a:p>
                <a:pPr lvl="0">
                  <a:buClr>
                    <a:srgbClr val="27ACAA"/>
                  </a:buClr>
                  <a:buSzPct val="70000"/>
                  <a:defRPr/>
                </a:pPr>
                <a:r>
                  <a:rPr lang="en-US" sz="900">
                    <a:latin typeface="Calibri" panose="020F0502020204030204" pitchFamily="34" charset="0"/>
                    <a:cs typeface="Calibri" panose="020F0502020204030204" pitchFamily="34" charset="0"/>
                  </a:rPr>
                  <a:t>Engaging and empowering of people</a:t>
                </a:r>
              </a:p>
            </p:txBody>
          </p:sp>
          <p:sp>
            <p:nvSpPr>
              <p:cNvPr id="151" name="TextBox 150">
                <a:extLst>
                  <a:ext uri="{FF2B5EF4-FFF2-40B4-BE49-F238E27FC236}">
                    <a16:creationId xmlns:a16="http://schemas.microsoft.com/office/drawing/2014/main" id="{F4240194-3083-7122-86EE-172E470B777B}"/>
                  </a:ext>
                </a:extLst>
              </p:cNvPr>
              <p:cNvSpPr txBox="1"/>
              <p:nvPr/>
            </p:nvSpPr>
            <p:spPr>
              <a:xfrm>
                <a:off x="9714810" y="5593468"/>
                <a:ext cx="1188720" cy="276999"/>
              </a:xfrm>
              <a:prstGeom prst="rect">
                <a:avLst/>
              </a:prstGeom>
              <a:noFill/>
            </p:spPr>
            <p:txBody>
              <a:bodyPr wrap="square" lIns="0" tIns="0" rIns="0" bIns="0" rtlCol="0">
                <a:spAutoFit/>
              </a:bodyPr>
              <a:lstStyle/>
              <a:p>
                <a:pPr lvl="0">
                  <a:buClr>
                    <a:srgbClr val="27ACAA"/>
                  </a:buClr>
                  <a:buSzPct val="70000"/>
                  <a:defRPr/>
                </a:pPr>
                <a:r>
                  <a:rPr lang="en-IN" sz="900">
                    <a:latin typeface="Calibri" panose="020F0502020204030204" pitchFamily="34" charset="0"/>
                    <a:cs typeface="Calibri" panose="020F0502020204030204" pitchFamily="34" charset="0"/>
                  </a:rPr>
                  <a:t>Standard ways of working</a:t>
                </a:r>
              </a:p>
            </p:txBody>
          </p:sp>
          <p:sp>
            <p:nvSpPr>
              <p:cNvPr id="152" name="TextBox 151">
                <a:extLst>
                  <a:ext uri="{FF2B5EF4-FFF2-40B4-BE49-F238E27FC236}">
                    <a16:creationId xmlns:a16="http://schemas.microsoft.com/office/drawing/2014/main" id="{D1884D06-6703-DF72-193C-BA8655000126}"/>
                  </a:ext>
                </a:extLst>
              </p:cNvPr>
              <p:cNvSpPr txBox="1"/>
              <p:nvPr/>
            </p:nvSpPr>
            <p:spPr>
              <a:xfrm>
                <a:off x="9538087" y="4961785"/>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solidFill>
                      <a:schemeClr val="tx2"/>
                    </a:solidFill>
                    <a:effectLst/>
                    <a:uLnTx/>
                    <a:uFillTx/>
                    <a:latin typeface="Calibri" panose="020F0502020204030204" pitchFamily="34" charset="0"/>
                    <a:cs typeface="Calibri" panose="020F0502020204030204" pitchFamily="34" charset="0"/>
                  </a:rPr>
                  <a:t>3</a:t>
                </a:r>
              </a:p>
            </p:txBody>
          </p:sp>
          <p:sp>
            <p:nvSpPr>
              <p:cNvPr id="153" name="TextBox 152">
                <a:extLst>
                  <a:ext uri="{FF2B5EF4-FFF2-40B4-BE49-F238E27FC236}">
                    <a16:creationId xmlns:a16="http://schemas.microsoft.com/office/drawing/2014/main" id="{B6954AB1-B74F-6460-6C2A-FF1A00A8954D}"/>
                  </a:ext>
                </a:extLst>
              </p:cNvPr>
              <p:cNvSpPr txBox="1"/>
              <p:nvPr/>
            </p:nvSpPr>
            <p:spPr>
              <a:xfrm>
                <a:off x="9538087" y="5267046"/>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effectLst/>
                    <a:uLnTx/>
                    <a:uFillTx/>
                    <a:latin typeface="Calibri" panose="020F0502020204030204" pitchFamily="34" charset="0"/>
                    <a:cs typeface="Calibri" panose="020F0502020204030204" pitchFamily="34" charset="0"/>
                  </a:rPr>
                  <a:t>2</a:t>
                </a:r>
              </a:p>
            </p:txBody>
          </p:sp>
          <p:sp>
            <p:nvSpPr>
              <p:cNvPr id="154" name="TextBox 153">
                <a:extLst>
                  <a:ext uri="{FF2B5EF4-FFF2-40B4-BE49-F238E27FC236}">
                    <a16:creationId xmlns:a16="http://schemas.microsoft.com/office/drawing/2014/main" id="{745F21F4-C5A5-BDA0-D1EA-6ACF5C2C2B8D}"/>
                  </a:ext>
                </a:extLst>
              </p:cNvPr>
              <p:cNvSpPr txBox="1"/>
              <p:nvPr/>
            </p:nvSpPr>
            <p:spPr>
              <a:xfrm>
                <a:off x="9538087" y="5641558"/>
                <a:ext cx="72136" cy="182101"/>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1" i="0" u="none" strike="noStrike" kern="1200" cap="none" spc="0" normalizeH="0" baseline="0" noProof="0">
                    <a:ln>
                      <a:noFill/>
                    </a:ln>
                    <a:effectLst/>
                    <a:uLnTx/>
                    <a:uFillTx/>
                    <a:latin typeface="Calibri" panose="020F0502020204030204" pitchFamily="34" charset="0"/>
                    <a:cs typeface="Calibri" panose="020F0502020204030204" pitchFamily="34" charset="0"/>
                  </a:rPr>
                  <a:t>1</a:t>
                </a:r>
              </a:p>
            </p:txBody>
          </p:sp>
          <p:cxnSp>
            <p:nvCxnSpPr>
              <p:cNvPr id="155" name="Straight Connector 154">
                <a:extLst>
                  <a:ext uri="{FF2B5EF4-FFF2-40B4-BE49-F238E27FC236}">
                    <a16:creationId xmlns:a16="http://schemas.microsoft.com/office/drawing/2014/main" id="{2F5EEB3D-49C7-9900-DFC9-21EF3758BFC1}"/>
                  </a:ext>
                </a:extLst>
              </p:cNvPr>
              <p:cNvCxnSpPr>
                <a:cxnSpLocks/>
              </p:cNvCxnSpPr>
              <p:nvPr/>
            </p:nvCxnSpPr>
            <p:spPr>
              <a:xfrm>
                <a:off x="9723985" y="5170200"/>
                <a:ext cx="1188720" cy="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13CF05F9-95DE-A762-B117-26F723B19F36}"/>
                  </a:ext>
                </a:extLst>
              </p:cNvPr>
              <p:cNvCxnSpPr>
                <a:cxnSpLocks/>
              </p:cNvCxnSpPr>
              <p:nvPr/>
            </p:nvCxnSpPr>
            <p:spPr>
              <a:xfrm>
                <a:off x="9723985" y="5544711"/>
                <a:ext cx="1188720" cy="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grpSp>
      </p:grpSp>
      <p:sp>
        <p:nvSpPr>
          <p:cNvPr id="187" name="TextBox 186">
            <a:extLst>
              <a:ext uri="{FF2B5EF4-FFF2-40B4-BE49-F238E27FC236}">
                <a16:creationId xmlns:a16="http://schemas.microsoft.com/office/drawing/2014/main" id="{5BA3EDD6-D559-C3EE-BE00-7D8F7F3222C3}"/>
              </a:ext>
            </a:extLst>
          </p:cNvPr>
          <p:cNvSpPr txBox="1"/>
          <p:nvPr/>
        </p:nvSpPr>
        <p:spPr>
          <a:xfrm>
            <a:off x="6225856" y="1310772"/>
            <a:ext cx="5427959" cy="2660087"/>
          </a:xfrm>
          <a:prstGeom prst="rect">
            <a:avLst/>
          </a:prstGeom>
          <a:solidFill>
            <a:schemeClr val="tx1"/>
          </a:solidFill>
        </p:spPr>
        <p:txBody>
          <a:bodyPr wrap="square" lIns="0" tIns="36576" rIns="0" bIns="0" rtlCol="0" anchor="t">
            <a:spAutoFit/>
          </a:bodyPr>
          <a:lstStyle/>
          <a:p>
            <a:pPr marL="0" marR="0" lvl="0" indent="0" algn="l" defTabSz="914400" rtl="0" eaLnBrk="1" fontAlgn="auto" latinLnBrk="0" hangingPunct="1">
              <a:lnSpc>
                <a:spcPct val="95000"/>
              </a:lnSpc>
              <a:spcBef>
                <a:spcPts val="0"/>
              </a:spcBef>
              <a:spcAft>
                <a:spcPts val="1000"/>
              </a:spcAft>
              <a:buClr>
                <a:srgbClr val="27ACAA"/>
              </a:buClr>
              <a:buSzPct val="70000"/>
              <a:buFontTx/>
              <a:buNone/>
              <a:tabLst/>
              <a:defRPr/>
            </a:pPr>
            <a:r>
              <a:rPr kumimoji="0" lang="en-US" sz="1050" b="1" i="0" u="none" strike="noStrike" kern="1200" cap="none" spc="0" normalizeH="0" baseline="0" noProof="0">
                <a:ln>
                  <a:noFill/>
                </a:ln>
                <a:solidFill>
                  <a:schemeClr val="bg2">
                    <a:lumMod val="65000"/>
                    <a:lumOff val="35000"/>
                  </a:schemeClr>
                </a:solidFill>
                <a:effectLst/>
                <a:uLnTx/>
                <a:uFillTx/>
                <a:latin typeface="Calibri"/>
                <a:cs typeface="Calibri"/>
              </a:rPr>
              <a:t>Holistic approach and strong foundation to unlock insights:</a:t>
            </a:r>
          </a:p>
          <a:p>
            <a:pPr marL="171450" marR="0" lvl="0" indent="-171450" algn="just" defTabSz="914400" rtl="0" eaLnBrk="1" fontAlgn="auto" latinLnBrk="0" hangingPunct="1">
              <a:lnSpc>
                <a:spcPct val="95000"/>
              </a:lnSpc>
              <a:spcBef>
                <a:spcPts val="0"/>
              </a:spcBef>
              <a:spcAft>
                <a:spcPts val="500"/>
              </a:spcAft>
              <a:buClr>
                <a:schemeClr val="tx2"/>
              </a:buClr>
              <a:buSzPct val="70000"/>
              <a:buFont typeface="Wingdings" panose="05000000000000000000" pitchFamily="2" charset="2"/>
              <a:buChar char="Ø"/>
              <a:tabLst/>
              <a:defRPr/>
            </a:pPr>
            <a:r>
              <a:rPr kumimoji="0" lang="en-US" sz="1050" b="0" i="0" u="none" strike="noStrike" kern="1200" cap="none" spc="0" normalizeH="0" baseline="0" noProof="0">
                <a:ln>
                  <a:noFill/>
                </a:ln>
                <a:solidFill>
                  <a:schemeClr val="bg2">
                    <a:lumMod val="65000"/>
                    <a:lumOff val="35000"/>
                  </a:schemeClr>
                </a:solidFill>
                <a:effectLst/>
                <a:uLnTx/>
                <a:uFillTx/>
                <a:latin typeface="Calibri"/>
                <a:cs typeface="Calibri"/>
              </a:rPr>
              <a:t>The future of integrated and seamless Quality Systems is a digitally enabled and empowered workforce</a:t>
            </a:r>
            <a:r>
              <a:rPr lang="en-US" sz="1050">
                <a:solidFill>
                  <a:schemeClr val="bg2">
                    <a:lumMod val="65000"/>
                    <a:lumOff val="35000"/>
                  </a:schemeClr>
                </a:solidFill>
                <a:latin typeface="Calibri"/>
                <a:cs typeface="Calibri"/>
              </a:rPr>
              <a:t>. A future-focused design of D&amp;A strategy will help the Cloud Storage Implementation </a:t>
            </a:r>
            <a:r>
              <a:rPr kumimoji="0" lang="en-US" sz="1050" b="0" i="0" u="none" strike="noStrike" kern="1200" cap="none" spc="0" normalizeH="0" baseline="0" noProof="0">
                <a:ln>
                  <a:noFill/>
                </a:ln>
                <a:solidFill>
                  <a:schemeClr val="bg2">
                    <a:lumMod val="65000"/>
                    <a:lumOff val="35000"/>
                  </a:schemeClr>
                </a:solidFill>
                <a:effectLst/>
                <a:uLnTx/>
                <a:uFillTx/>
                <a:latin typeface="Calibri"/>
                <a:cs typeface="Calibri"/>
              </a:rPr>
              <a:t>focus on both people and technology.</a:t>
            </a:r>
            <a:endParaRPr lang="en-US" sz="1050" b="0" i="0" u="none" strike="noStrike" kern="1200" cap="none" spc="0" normalizeH="0" baseline="0" noProof="0">
              <a:ln>
                <a:noFill/>
              </a:ln>
              <a:solidFill>
                <a:schemeClr val="bg2">
                  <a:lumMod val="65000"/>
                  <a:lumOff val="35000"/>
                </a:schemeClr>
              </a:solidFill>
              <a:effectLst/>
              <a:uLnTx/>
              <a:uFillTx/>
              <a:latin typeface="Calibri"/>
              <a:cs typeface="Calibri"/>
            </a:endParaRPr>
          </a:p>
          <a:p>
            <a:pPr marL="171450" marR="0" lvl="0" indent="-171450" algn="just" defTabSz="914400" rtl="0" eaLnBrk="1" fontAlgn="auto" latinLnBrk="0" hangingPunct="1">
              <a:lnSpc>
                <a:spcPct val="95000"/>
              </a:lnSpc>
              <a:spcBef>
                <a:spcPts val="0"/>
              </a:spcBef>
              <a:spcAft>
                <a:spcPts val="500"/>
              </a:spcAft>
              <a:buClr>
                <a:schemeClr val="tx2"/>
              </a:buClr>
              <a:buSzPct val="70000"/>
              <a:buFont typeface="Wingdings" panose="05000000000000000000" pitchFamily="2" charset="2"/>
              <a:buChar char="Ø"/>
              <a:tabLst/>
              <a:defRPr/>
            </a:pPr>
            <a:r>
              <a:rPr lang="en-US" sz="1050">
                <a:solidFill>
                  <a:schemeClr val="bg2">
                    <a:lumMod val="65000"/>
                    <a:lumOff val="35000"/>
                  </a:schemeClr>
                </a:solidFill>
                <a:latin typeface="Calibri"/>
                <a:cs typeface="Calibri"/>
              </a:rPr>
              <a:t>This approach will enable</a:t>
            </a:r>
            <a:r>
              <a:rPr kumimoji="0" lang="en-US" sz="1050" b="0" i="0" u="none" strike="noStrike" kern="1200" cap="none" spc="0" normalizeH="0" baseline="0" noProof="0">
                <a:ln>
                  <a:noFill/>
                </a:ln>
                <a:solidFill>
                  <a:schemeClr val="bg2">
                    <a:lumMod val="65000"/>
                    <a:lumOff val="35000"/>
                  </a:schemeClr>
                </a:solidFill>
                <a:effectLst/>
                <a:uLnTx/>
                <a:uFillTx/>
                <a:latin typeface="Calibri"/>
                <a:cs typeface="Calibri"/>
              </a:rPr>
              <a:t> </a:t>
            </a:r>
            <a:r>
              <a:rPr kumimoji="0" lang="en-US" sz="1050" b="1" i="0" u="none" strike="noStrike" kern="1200" cap="none" spc="0" normalizeH="0" baseline="0" noProof="0">
                <a:ln>
                  <a:noFill/>
                </a:ln>
                <a:solidFill>
                  <a:schemeClr val="bg2">
                    <a:lumMod val="65000"/>
                    <a:lumOff val="35000"/>
                  </a:schemeClr>
                </a:solidFill>
                <a:effectLst/>
                <a:uLnTx/>
                <a:uFillTx/>
                <a:latin typeface="Calibri"/>
                <a:cs typeface="Calibri"/>
              </a:rPr>
              <a:t>connectivity, higher data quality, advanced analytics, automation, steady state governance and </a:t>
            </a:r>
            <a:r>
              <a:rPr lang="en-US" sz="1050" b="1">
                <a:solidFill>
                  <a:schemeClr val="bg2">
                    <a:lumMod val="65000"/>
                    <a:lumOff val="35000"/>
                  </a:schemeClr>
                </a:solidFill>
                <a:latin typeface="Calibri"/>
                <a:cs typeface="Calibri"/>
              </a:rPr>
              <a:t>great </a:t>
            </a:r>
            <a:r>
              <a:rPr kumimoji="0" lang="en-US" sz="1050" b="1" i="0" u="none" strike="noStrike" kern="1200" cap="none" spc="0" normalizeH="0" baseline="0" noProof="0">
                <a:ln>
                  <a:noFill/>
                </a:ln>
                <a:solidFill>
                  <a:schemeClr val="bg2">
                    <a:lumMod val="65000"/>
                    <a:lumOff val="35000"/>
                  </a:schemeClr>
                </a:solidFill>
                <a:effectLst/>
                <a:uLnTx/>
                <a:uFillTx/>
                <a:latin typeface="Calibri"/>
                <a:cs typeface="Calibri"/>
              </a:rPr>
              <a:t>user experience.</a:t>
            </a:r>
            <a:endParaRPr lang="en-US" sz="1050" b="1" i="0" u="none" strike="noStrike" kern="1200" cap="none" spc="0" normalizeH="0" baseline="0" noProof="0">
              <a:ln>
                <a:noFill/>
              </a:ln>
              <a:solidFill>
                <a:schemeClr val="bg2">
                  <a:lumMod val="65000"/>
                  <a:lumOff val="35000"/>
                </a:schemeClr>
              </a:solidFill>
              <a:effectLst/>
              <a:uLnTx/>
              <a:uFillTx/>
              <a:latin typeface="Calibri"/>
              <a:cs typeface="Calibri"/>
            </a:endParaRPr>
          </a:p>
          <a:p>
            <a:pPr marL="171450" marR="0" lvl="0" indent="-171450" algn="just" defTabSz="914400" rtl="0" eaLnBrk="1" fontAlgn="auto" latinLnBrk="0" hangingPunct="1">
              <a:lnSpc>
                <a:spcPct val="95000"/>
              </a:lnSpc>
              <a:spcBef>
                <a:spcPts val="0"/>
              </a:spcBef>
              <a:spcAft>
                <a:spcPts val="500"/>
              </a:spcAft>
              <a:buClr>
                <a:schemeClr val="tx2"/>
              </a:buClr>
              <a:buSzPct val="70000"/>
              <a:buFont typeface="Wingdings" panose="05000000000000000000" pitchFamily="2" charset="2"/>
              <a:buChar char="Ø"/>
              <a:tabLst/>
              <a:defRPr/>
            </a:pPr>
            <a:r>
              <a:rPr kumimoji="0" lang="en-US" sz="1050" i="0" u="none" strike="noStrike" kern="1200" cap="none" spc="0" normalizeH="0" baseline="0" noProof="0">
                <a:ln>
                  <a:noFill/>
                </a:ln>
                <a:solidFill>
                  <a:schemeClr val="bg2">
                    <a:lumMod val="65000"/>
                    <a:lumOff val="35000"/>
                  </a:schemeClr>
                </a:solidFill>
                <a:effectLst/>
                <a:uLnTx/>
                <a:uFillTx/>
                <a:latin typeface="Calibri"/>
                <a:cs typeface="Calibri"/>
              </a:rPr>
              <a:t>It will also include extensive </a:t>
            </a:r>
            <a:r>
              <a:rPr kumimoji="0" lang="en-US" sz="1050" i="0" u="none" strike="noStrike" kern="1200" cap="none" spc="0" normalizeH="0" baseline="0" noProof="0" err="1">
                <a:ln>
                  <a:noFill/>
                </a:ln>
                <a:solidFill>
                  <a:schemeClr val="bg2">
                    <a:lumMod val="65000"/>
                    <a:lumOff val="35000"/>
                  </a:schemeClr>
                </a:solidFill>
                <a:effectLst/>
                <a:uLnTx/>
                <a:uFillTx/>
                <a:latin typeface="Calibri"/>
                <a:cs typeface="Calibri"/>
              </a:rPr>
              <a:t>collaborat</a:t>
            </a:r>
            <a:r>
              <a:rPr lang="en-US" sz="1050">
                <a:solidFill>
                  <a:schemeClr val="bg2">
                    <a:lumMod val="65000"/>
                    <a:lumOff val="35000"/>
                  </a:schemeClr>
                </a:solidFill>
                <a:latin typeface="Calibri"/>
                <a:cs typeface="Calibri"/>
              </a:rPr>
              <a:t>ion with SJH during audits (IDAM, DR/BC and any other), penetration testing, user acceptance testing, and approvals for training plans and documentation used and any scenario where we will need SJH involvement. It is critical to ensure we maintain the quality of the system and therefore the quality of the overall QMS, and this collaboration is key at every stage.</a:t>
            </a:r>
          </a:p>
          <a:p>
            <a:pPr marL="171450" indent="-171450" algn="just">
              <a:lnSpc>
                <a:spcPct val="95000"/>
              </a:lnSpc>
              <a:spcAft>
                <a:spcPts val="500"/>
              </a:spcAft>
              <a:buClr>
                <a:schemeClr val="tx2"/>
              </a:buClr>
              <a:buSzPct val="70000"/>
              <a:buFont typeface="Wingdings" panose="05000000000000000000" pitchFamily="2" charset="2"/>
              <a:buChar char="Ø"/>
              <a:defRPr/>
            </a:pPr>
            <a:r>
              <a:rPr lang="en-IE" sz="1050">
                <a:solidFill>
                  <a:schemeClr val="bg2">
                    <a:lumMod val="65000"/>
                    <a:lumOff val="35000"/>
                  </a:schemeClr>
                </a:solidFill>
                <a:latin typeface="Calibri"/>
                <a:cs typeface="Calibri"/>
              </a:rPr>
              <a:t>EY will facilitate an independent security review (penetration testing), by a specialist company contracted by SJH and will collaborate accordingly with them. Also we will work with this company and any other third party company in the swift resolution of any security issues identified.</a:t>
            </a:r>
          </a:p>
        </p:txBody>
      </p:sp>
    </p:spTree>
    <p:extLst>
      <p:ext uri="{BB962C8B-B14F-4D97-AF65-F5344CB8AC3E}">
        <p14:creationId xmlns:p14="http://schemas.microsoft.com/office/powerpoint/2010/main" val="34634399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Content Placeholder 2">
            <a:extLst>
              <a:ext uri="{FF2B5EF4-FFF2-40B4-BE49-F238E27FC236}">
                <a16:creationId xmlns:a16="http://schemas.microsoft.com/office/drawing/2014/main" id="{18E877D6-E49E-DFEA-F0B5-BB1AC0F95365}"/>
              </a:ext>
            </a:extLst>
          </p:cNvPr>
          <p:cNvSpPr>
            <a:spLocks noGrp="1"/>
          </p:cNvSpPr>
          <p:nvPr>
            <p:ph idx="1"/>
          </p:nvPr>
        </p:nvSpPr>
        <p:spPr>
          <a:xfrm>
            <a:off x="609601" y="1834690"/>
            <a:ext cx="5400000" cy="4608000"/>
          </a:xfrm>
        </p:spPr>
        <p:txBody>
          <a:bodyPr/>
          <a:lstStyle/>
          <a:p>
            <a:pPr marL="35560" algn="just">
              <a:lnSpc>
                <a:spcPct val="85000"/>
              </a:lnSpc>
              <a:spcAft>
                <a:spcPts val="600"/>
              </a:spcAft>
            </a:pPr>
            <a:r>
              <a:rPr lang="en-GB" sz="1100" b="1">
                <a:solidFill>
                  <a:schemeClr val="bg2">
                    <a:lumMod val="65000"/>
                    <a:lumOff val="35000"/>
                  </a:schemeClr>
                </a:solidFill>
                <a:latin typeface="Calibri"/>
                <a:cs typeface="Calibri"/>
              </a:rPr>
              <a:t>Quality Management Process </a:t>
            </a:r>
            <a:r>
              <a:rPr lang="en-GB" sz="1100">
                <a:solidFill>
                  <a:schemeClr val="bg2">
                    <a:lumMod val="65000"/>
                    <a:lumOff val="35000"/>
                  </a:schemeClr>
                </a:solidFill>
                <a:latin typeface="Calibri"/>
                <a:cs typeface="Calibri"/>
              </a:rPr>
              <a:t>as explained within the Detailed Delivery Approach section, is a set of procedures that are followed to ensure that the deliverables and services produced by the team are "fit for purpose". </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EY will ensure that by following the Quality Management Process, quality issues are identified promptly and resolved quickly.</a:t>
            </a:r>
            <a:endParaRPr lang="en-GB" sz="1100">
              <a:solidFill>
                <a:schemeClr val="bg2">
                  <a:lumMod val="65000"/>
                  <a:lumOff val="35000"/>
                </a:schemeClr>
              </a:solidFill>
              <a:latin typeface="Calibri" panose="020F0502020204030204" pitchFamily="34" charset="0"/>
              <a:cs typeface="Calibri" panose="020F0502020204030204" pitchFamily="34" charset="0"/>
            </a:endParaRPr>
          </a:p>
          <a:p>
            <a:pPr marL="35560">
              <a:lnSpc>
                <a:spcPct val="85000"/>
              </a:lnSpc>
              <a:spcAft>
                <a:spcPts val="600"/>
              </a:spcAft>
            </a:pPr>
            <a:r>
              <a:rPr lang="en-GB" sz="1100" b="1">
                <a:solidFill>
                  <a:schemeClr val="bg2">
                    <a:lumMod val="65000"/>
                    <a:lumOff val="35000"/>
                  </a:schemeClr>
                </a:solidFill>
                <a:latin typeface="Calibri"/>
                <a:cs typeface="Calibri"/>
              </a:rPr>
              <a:t>Quality Objectives</a:t>
            </a:r>
            <a:endParaRPr lang="en-US" sz="1100">
              <a:solidFill>
                <a:schemeClr val="bg2">
                  <a:lumMod val="65000"/>
                  <a:lumOff val="35000"/>
                </a:schemeClr>
              </a:solidFill>
              <a:latin typeface="Calibri"/>
              <a:cs typeface="Calibri"/>
            </a:endParaRPr>
          </a:p>
          <a:p>
            <a:pPr marL="35560">
              <a:lnSpc>
                <a:spcPct val="85000"/>
              </a:lnSpc>
              <a:spcAft>
                <a:spcPts val="600"/>
              </a:spcAft>
            </a:pPr>
            <a:r>
              <a:rPr lang="en-GB" sz="1100">
                <a:solidFill>
                  <a:schemeClr val="bg2">
                    <a:lumMod val="65000"/>
                    <a:lumOff val="35000"/>
                  </a:schemeClr>
                </a:solidFill>
                <a:latin typeface="Calibri" panose="020F0502020204030204" pitchFamily="34" charset="0"/>
                <a:cs typeface="Calibri" panose="020F0502020204030204" pitchFamily="34" charset="0"/>
              </a:rPr>
              <a:t>The main quality objectives of EY are to:</a:t>
            </a:r>
            <a:endParaRPr lang="en-US" sz="1100">
              <a:solidFill>
                <a:schemeClr val="bg2">
                  <a:lumMod val="65000"/>
                  <a:lumOff val="35000"/>
                </a:schemeClr>
              </a:solidFill>
              <a:latin typeface="Calibri" panose="020F0502020204030204" pitchFamily="34" charset="0"/>
              <a:cs typeface="Calibri" panose="020F0502020204030204" pitchFamily="34" charset="0"/>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panose="020F0502020204030204" pitchFamily="34" charset="0"/>
                <a:cs typeface="Calibri" panose="020F0502020204030204" pitchFamily="34" charset="0"/>
              </a:rPr>
              <a:t>Deliver services and solutions that meet SJH’s requirements.</a:t>
            </a:r>
            <a:endParaRPr lang="en-US" sz="1100">
              <a:solidFill>
                <a:schemeClr val="bg2">
                  <a:lumMod val="65000"/>
                  <a:lumOff val="35000"/>
                </a:schemeClr>
              </a:solidFill>
              <a:latin typeface="Calibri" panose="020F0502020204030204" pitchFamily="34" charset="0"/>
              <a:cs typeface="Calibri" panose="020F0502020204030204" pitchFamily="34" charset="0"/>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Continually enhance SJH’s satisfaction by reducing non-conformity, timely deliverables, effective sub-contractor/supplier management.</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panose="020F0502020204030204" pitchFamily="34" charset="0"/>
                <a:cs typeface="Calibri" panose="020F0502020204030204" pitchFamily="34" charset="0"/>
              </a:rPr>
              <a:t>Improve productivity and reduce rework.</a:t>
            </a:r>
          </a:p>
          <a:p>
            <a:pPr marL="35560">
              <a:lnSpc>
                <a:spcPct val="85000"/>
              </a:lnSpc>
              <a:spcAft>
                <a:spcPts val="600"/>
              </a:spcAft>
            </a:pPr>
            <a:r>
              <a:rPr lang="en-GB" sz="1100" b="1">
                <a:solidFill>
                  <a:schemeClr val="bg2">
                    <a:lumMod val="65000"/>
                    <a:lumOff val="35000"/>
                  </a:schemeClr>
                </a:solidFill>
                <a:latin typeface="Calibri"/>
                <a:cs typeface="Calibri"/>
              </a:rPr>
              <a:t>Quality Management </a:t>
            </a:r>
            <a:endParaRPr lang="en-US" sz="1100">
              <a:solidFill>
                <a:schemeClr val="bg2">
                  <a:lumMod val="65000"/>
                  <a:lumOff val="35000"/>
                </a:schemeClr>
              </a:solidFill>
              <a:latin typeface="Calibri"/>
              <a:cs typeface="Calibri"/>
            </a:endParaRPr>
          </a:p>
          <a:p>
            <a:pPr marL="35560">
              <a:lnSpc>
                <a:spcPct val="85000"/>
              </a:lnSpc>
              <a:spcAft>
                <a:spcPts val="600"/>
              </a:spcAft>
            </a:pPr>
            <a:r>
              <a:rPr lang="en-GB" sz="1100">
                <a:solidFill>
                  <a:schemeClr val="bg2">
                    <a:lumMod val="65000"/>
                    <a:lumOff val="35000"/>
                  </a:schemeClr>
                </a:solidFill>
                <a:latin typeface="Calibri"/>
                <a:cs typeface="Calibri"/>
              </a:rPr>
              <a:t>EY team will:</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Determine the processes needed for the Quality Management System and their application throughout the execution of the project.</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panose="020F0502020204030204" pitchFamily="34" charset="0"/>
                <a:cs typeface="Calibri" panose="020F0502020204030204" pitchFamily="34" charset="0"/>
              </a:rPr>
              <a:t>Determine the sequence and interaction of these processes.</a:t>
            </a:r>
            <a:endParaRPr lang="en-US" sz="1100">
              <a:solidFill>
                <a:schemeClr val="bg2">
                  <a:lumMod val="65000"/>
                  <a:lumOff val="35000"/>
                </a:schemeClr>
              </a:solidFill>
              <a:latin typeface="Calibri" panose="020F0502020204030204" pitchFamily="34" charset="0"/>
              <a:cs typeface="Calibri" panose="020F0502020204030204" pitchFamily="34" charset="0"/>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Determine criteria and methods needed to ensure that both the operation and control of the processes are effective.</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Ensure the availability of resources and information necessary to support the operation and monitoring of the processes.</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panose="020F0502020204030204" pitchFamily="34" charset="0"/>
                <a:cs typeface="Calibri" panose="020F0502020204030204" pitchFamily="34" charset="0"/>
              </a:rPr>
              <a:t>Monitor, measure where applicable, and analyse the processes, and Implement actions necessary to achieve planned results and continual improvement of the processes.</a:t>
            </a:r>
            <a:endParaRPr lang="en-GB"/>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J.1 - Quality Management System (QMS)</a:t>
            </a:r>
          </a:p>
        </p:txBody>
      </p:sp>
      <p:sp>
        <p:nvSpPr>
          <p:cNvPr id="4" name="Content Placeholder 3">
            <a:extLst>
              <a:ext uri="{FF2B5EF4-FFF2-40B4-BE49-F238E27FC236}">
                <a16:creationId xmlns:a16="http://schemas.microsoft.com/office/drawing/2014/main" id="{0B4CC64C-67DA-1ABD-ACB7-07CC600F8BCF}"/>
              </a:ext>
            </a:extLst>
          </p:cNvPr>
          <p:cNvSpPr>
            <a:spLocks noGrp="1"/>
          </p:cNvSpPr>
          <p:nvPr>
            <p:ph idx="13"/>
          </p:nvPr>
        </p:nvSpPr>
        <p:spPr>
          <a:xfrm>
            <a:off x="6183988" y="1820038"/>
            <a:ext cx="5400000" cy="4608000"/>
          </a:xfrm>
        </p:spPr>
        <p:txBody>
          <a:bodyPr/>
          <a:lstStyle/>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Commitment to comply with requirements and continually improve the effectiveness of the Quality Management System.</a:t>
            </a:r>
            <a:endParaRPr lang="en-GB" sz="1100">
              <a:solidFill>
                <a:srgbClr val="595959"/>
              </a:solidFill>
              <a:latin typeface="Calibri"/>
              <a:cs typeface="Calibri"/>
            </a:endParaRPr>
          </a:p>
          <a:p>
            <a:pPr marL="35560">
              <a:lnSpc>
                <a:spcPct val="85000"/>
              </a:lnSpc>
              <a:spcAft>
                <a:spcPts val="600"/>
              </a:spcAft>
            </a:pPr>
            <a:r>
              <a:rPr lang="en-GB" sz="1100" b="1">
                <a:solidFill>
                  <a:schemeClr val="bg2">
                    <a:lumMod val="65000"/>
                    <a:lumOff val="35000"/>
                  </a:schemeClr>
                </a:solidFill>
                <a:latin typeface="Calibri"/>
                <a:cs typeface="Calibri"/>
              </a:rPr>
              <a:t>Monitoring and Measurement Activities</a:t>
            </a:r>
            <a:endParaRPr lang="en-US" sz="1100">
              <a:solidFill>
                <a:srgbClr val="595959"/>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Checking the SJH’s Satisfaction periodically and seeking constructive feedback.</a:t>
            </a:r>
            <a:endParaRPr lang="en-US" sz="1100">
              <a:solidFill>
                <a:srgbClr val="595959"/>
              </a:solidFill>
              <a:latin typeface="Calibri"/>
              <a:cs typeface="Calibri"/>
            </a:endParaRPr>
          </a:p>
          <a:p>
            <a:pPr>
              <a:lnSpc>
                <a:spcPct val="85000"/>
              </a:lnSpc>
              <a:spcAft>
                <a:spcPts val="600"/>
              </a:spcAft>
            </a:pPr>
            <a:endParaRPr lang="en-GB" sz="1100">
              <a:solidFill>
                <a:srgbClr val="595959"/>
              </a:solidFill>
              <a:latin typeface="Calibri"/>
              <a:cs typeface="Calibri"/>
            </a:endParaRPr>
          </a:p>
          <a:p>
            <a:pPr marL="35560">
              <a:lnSpc>
                <a:spcPct val="85000"/>
              </a:lnSpc>
              <a:spcAft>
                <a:spcPts val="600"/>
              </a:spcAft>
            </a:pPr>
            <a:r>
              <a:rPr lang="en-GB" sz="1100" b="1">
                <a:solidFill>
                  <a:schemeClr val="bg2">
                    <a:lumMod val="65000"/>
                    <a:lumOff val="35000"/>
                  </a:schemeClr>
                </a:solidFill>
                <a:latin typeface="Calibri"/>
                <a:cs typeface="Calibri"/>
              </a:rPr>
              <a:t>Quality Control Procedure</a:t>
            </a:r>
            <a:endParaRPr lang="en-US" sz="1100">
              <a:solidFill>
                <a:schemeClr val="bg2">
                  <a:lumMod val="65000"/>
                  <a:lumOff val="35000"/>
                </a:schemeClr>
              </a:solidFill>
              <a:latin typeface="Calibri"/>
              <a:cs typeface="Calibri"/>
            </a:endParaRPr>
          </a:p>
          <a:p>
            <a:pPr marL="35560">
              <a:lnSpc>
                <a:spcPct val="85000"/>
              </a:lnSpc>
              <a:spcAft>
                <a:spcPts val="600"/>
              </a:spcAft>
            </a:pPr>
            <a:r>
              <a:rPr lang="en-GB" sz="1100">
                <a:solidFill>
                  <a:schemeClr val="bg2">
                    <a:lumMod val="65000"/>
                    <a:lumOff val="35000"/>
                  </a:schemeClr>
                </a:solidFill>
                <a:latin typeface="Calibri"/>
                <a:cs typeface="Calibri"/>
              </a:rPr>
              <a:t>The major quality procedures followed by EY during each phase is as mentioned below:</a:t>
            </a:r>
            <a:endParaRPr lang="en-US" sz="1100">
              <a:solidFill>
                <a:srgbClr val="595959"/>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Review of Documents, Document Management, Control of Documents and Records, Traceability.</a:t>
            </a:r>
            <a:endParaRPr lang="en-US" sz="1100">
              <a:solidFill>
                <a:schemeClr val="bg2">
                  <a:lumMod val="65000"/>
                  <a:lumOff val="35000"/>
                </a:schemeClr>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Regular inspection of the solution for quality check.</a:t>
            </a:r>
            <a:endParaRPr lang="en-US" sz="1100">
              <a:solidFill>
                <a:srgbClr val="595959"/>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Following stringent design review process and quality checks.</a:t>
            </a:r>
            <a:endParaRPr lang="en-US" sz="1100">
              <a:solidFill>
                <a:srgbClr val="595959"/>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Pre-UAT for checking adherence to quality.</a:t>
            </a:r>
            <a:endParaRPr lang="en-US" sz="1100">
              <a:solidFill>
                <a:srgbClr val="595959"/>
              </a:solidFill>
              <a:latin typeface="Calibri"/>
              <a:cs typeface="Calibri"/>
            </a:endParaRPr>
          </a:p>
          <a:p>
            <a:pPr marL="628650" lvl="1" indent="-171450">
              <a:lnSpc>
                <a:spcPct val="85000"/>
              </a:lnSpc>
              <a:spcAft>
                <a:spcPts val="600"/>
              </a:spcAft>
              <a:buFont typeface="Wingdings,Sans-Serif"/>
              <a:buChar char="§"/>
            </a:pPr>
            <a:r>
              <a:rPr lang="en-GB" sz="1100">
                <a:solidFill>
                  <a:schemeClr val="bg2">
                    <a:lumMod val="65000"/>
                    <a:lumOff val="35000"/>
                  </a:schemeClr>
                </a:solidFill>
                <a:latin typeface="Calibri"/>
                <a:cs typeface="Calibri"/>
              </a:rPr>
              <a:t>Checking for proper trainings for the SJH’s resources involved.</a:t>
            </a:r>
            <a:endParaRPr lang="en-US" sz="1100">
              <a:solidFill>
                <a:srgbClr val="595959"/>
              </a:solidFill>
              <a:latin typeface="Calibri"/>
              <a:cs typeface="Calibri"/>
            </a:endParaRPr>
          </a:p>
          <a:p>
            <a:pPr>
              <a:lnSpc>
                <a:spcPct val="85000"/>
              </a:lnSpc>
              <a:spcAft>
                <a:spcPts val="600"/>
              </a:spcAft>
            </a:pPr>
            <a:endParaRPr lang="en-GB" sz="1100">
              <a:solidFill>
                <a:srgbClr val="595959"/>
              </a:solidFill>
              <a:latin typeface="Calibri"/>
              <a:cs typeface="Calibri"/>
            </a:endParaRPr>
          </a:p>
          <a:p>
            <a:pPr>
              <a:lnSpc>
                <a:spcPct val="85000"/>
              </a:lnSpc>
              <a:spcAft>
                <a:spcPts val="600"/>
              </a:spcAft>
            </a:pPr>
            <a:endParaRPr lang="en-GB" sz="1100">
              <a:solidFill>
                <a:srgbClr val="595959"/>
              </a:solidFill>
              <a:latin typeface="Calibri"/>
              <a:cs typeface="Calibri"/>
            </a:endParaRPr>
          </a:p>
          <a:p>
            <a:pPr marL="35560" algn="just">
              <a:lnSpc>
                <a:spcPct val="85000"/>
              </a:lnSpc>
              <a:spcAft>
                <a:spcPts val="600"/>
              </a:spcAft>
            </a:pPr>
            <a:r>
              <a:rPr lang="en-GB" sz="1100">
                <a:solidFill>
                  <a:schemeClr val="bg2">
                    <a:lumMod val="65000"/>
                    <a:lumOff val="35000"/>
                  </a:schemeClr>
                </a:solidFill>
                <a:latin typeface="Calibri"/>
                <a:cs typeface="Calibri"/>
              </a:rPr>
              <a:t>EY team will plan and implement the monitoring, measurement, analysis and improvement processes needed to meet the SJH’s Quality Objectives, set by the Quality Manager and/or the ICT Laboratory Manager in SJH.</a:t>
            </a:r>
            <a:endParaRPr lang="en-US" sz="1100">
              <a:solidFill>
                <a:srgbClr val="595959"/>
              </a:solidFill>
              <a:latin typeface="Calibri"/>
              <a:cs typeface="Calibri"/>
            </a:endParaRPr>
          </a:p>
          <a:p>
            <a:pPr marL="35560" algn="just">
              <a:lnSpc>
                <a:spcPct val="85000"/>
              </a:lnSpc>
              <a:spcAft>
                <a:spcPts val="600"/>
              </a:spcAft>
            </a:pPr>
            <a:r>
              <a:rPr lang="en-GB" sz="1100">
                <a:solidFill>
                  <a:schemeClr val="bg2">
                    <a:lumMod val="65000"/>
                    <a:lumOff val="35000"/>
                  </a:schemeClr>
                </a:solidFill>
                <a:latin typeface="Calibri"/>
                <a:cs typeface="Calibri"/>
              </a:rPr>
              <a:t>All documentation from each phase of the project, including High level design, System Requirement Specifications, Design Documents, Test Cases, Training Plans, Metrics etc. will be evaluated against the objectives, plans and strict quality parameters to ensure they adhere to the </a:t>
            </a:r>
            <a:r>
              <a:rPr lang="en-AU" sz="1100">
                <a:solidFill>
                  <a:schemeClr val="bg2">
                    <a:lumMod val="65000"/>
                    <a:lumOff val="35000"/>
                  </a:schemeClr>
                </a:solidFill>
                <a:latin typeface="Calibri"/>
                <a:cs typeface="Calibri"/>
              </a:rPr>
              <a:t>ISO 15189 and ISO 9001 standards and any additional quality standards set by SJH.</a:t>
            </a:r>
            <a:endParaRPr lang="en-AU" sz="1100">
              <a:solidFill>
                <a:srgbClr val="595959"/>
              </a:solidFill>
              <a:latin typeface="Calibri"/>
              <a:cs typeface="Calibri"/>
            </a:endParaRPr>
          </a:p>
          <a:p>
            <a:pPr marL="35560" algn="just">
              <a:lnSpc>
                <a:spcPct val="85000"/>
              </a:lnSpc>
              <a:spcAft>
                <a:spcPts val="600"/>
              </a:spcAft>
            </a:pPr>
            <a:endParaRPr lang="en-AU" sz="1700">
              <a:solidFill>
                <a:srgbClr val="595959"/>
              </a:solidFill>
              <a:latin typeface="Calibri"/>
              <a:cs typeface="Calibri"/>
            </a:endParaRPr>
          </a:p>
          <a:p>
            <a:endParaRPr lang="en-US"/>
          </a:p>
        </p:txBody>
      </p:sp>
      <p:sp>
        <p:nvSpPr>
          <p:cNvPr id="7" name="Content Placeholder 2">
            <a:extLst>
              <a:ext uri="{FF2B5EF4-FFF2-40B4-BE49-F238E27FC236}">
                <a16:creationId xmlns:a16="http://schemas.microsoft.com/office/drawing/2014/main" id="{0D0A6A9B-AE9C-253E-CDB4-EB871490D02C}"/>
              </a:ext>
            </a:extLst>
          </p:cNvPr>
          <p:cNvSpPr txBox="1">
            <a:spLocks/>
          </p:cNvSpPr>
          <p:nvPr/>
        </p:nvSpPr>
        <p:spPr>
          <a:xfrm>
            <a:off x="609704" y="1400251"/>
            <a:ext cx="10974284" cy="306701"/>
          </a:xfrm>
          <a:prstGeom prst="rect">
            <a:avLst/>
          </a:prstGeom>
        </p:spPr>
        <p:txBody>
          <a:bodyPr vert="horz" lIns="0" tIns="0" rIns="0" bIns="0" rtlCol="0" anchor="t"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000" b="0" kern="1200">
                <a:solidFill>
                  <a:schemeClr val="bg1"/>
                </a:solidFill>
                <a:latin typeface="EYInterstate Light" panose="02000506000000020004" pitchFamily="2" charset="0"/>
                <a:ea typeface="+mn-ea"/>
                <a:cs typeface="+mn-cs"/>
              </a:defRPr>
            </a:lvl1pPr>
            <a:lvl2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100" b="1" kern="1200">
                <a:solidFill>
                  <a:schemeClr val="bg1"/>
                </a:solidFill>
                <a:latin typeface="EYInterstate" panose="02000503020000020004" pitchFamily="2" charset="0"/>
                <a:ea typeface="+mn-ea"/>
                <a:cs typeface="+mn-cs"/>
              </a:defRPr>
            </a:lvl3pPr>
            <a:lvl4pPr marL="180885" indent="-180885" algn="l" defTabSz="913943" rtl="0" eaLnBrk="1" latinLnBrk="0" hangingPunct="1">
              <a:spcBef>
                <a:spcPts val="0"/>
              </a:spcBef>
              <a:spcAft>
                <a:spcPts val="500"/>
              </a:spcAft>
              <a:buClrTx/>
              <a:buSzPct val="70000"/>
              <a:buFont typeface="Arial" panose="020B0604020202020204" pitchFamily="34" charset="0"/>
              <a:buChar char="►"/>
              <a:tabLst/>
              <a:defRPr lang="en-US" sz="1000" b="0" kern="1200">
                <a:solidFill>
                  <a:schemeClr val="bg1"/>
                </a:solidFill>
                <a:latin typeface="EYInterstate Light" panose="02000506000000020004" pitchFamily="2" charset="0"/>
                <a:ea typeface="+mn-ea"/>
                <a:cs typeface="+mn-cs"/>
              </a:defRPr>
            </a:lvl4pPr>
            <a:lvl5pPr marL="360183" indent="-185645" algn="l" defTabSz="913943" rtl="0" eaLnBrk="1" latinLnBrk="0" hangingPunct="1">
              <a:spcBef>
                <a:spcPts val="0"/>
              </a:spcBef>
              <a:spcAft>
                <a:spcPts val="500"/>
              </a:spcAft>
              <a:buClrTx/>
              <a:buSzPct val="70000"/>
              <a:buFont typeface="Arial" panose="020B0604020202020204" pitchFamily="34" charset="0"/>
              <a:buChar char="►"/>
              <a:tabLst>
                <a:tab pos="1255085" algn="l"/>
              </a:tabLst>
              <a:defRPr lang="en-GB" sz="1000" b="0"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a:lnSpc>
                <a:spcPct val="85000"/>
              </a:lnSpc>
              <a:spcAft>
                <a:spcPts val="600"/>
              </a:spcAft>
              <a:buClr>
                <a:schemeClr val="accent2"/>
              </a:buClr>
              <a:buSzPct val="70000"/>
            </a:pPr>
            <a:r>
              <a:rPr lang="en-GB" sz="1100">
                <a:solidFill>
                  <a:schemeClr val="bg2">
                    <a:lumMod val="65000"/>
                    <a:lumOff val="35000"/>
                  </a:schemeClr>
                </a:solidFill>
                <a:latin typeface="Calibri" panose="020F0502020204030204" pitchFamily="34" charset="0"/>
                <a:cs typeface="Calibri" panose="020F0502020204030204" pitchFamily="34" charset="0"/>
              </a:rPr>
              <a:t>A Quality Assurance program is based on the application of validated and detailed quality assurance, reliability, test and customer service plans. Below describes some of the main QA program initiatives EY will follow and adhere to during the engagement with SJH.</a:t>
            </a:r>
          </a:p>
        </p:txBody>
      </p:sp>
    </p:spTree>
    <p:extLst>
      <p:ext uri="{BB962C8B-B14F-4D97-AF65-F5344CB8AC3E}">
        <p14:creationId xmlns:p14="http://schemas.microsoft.com/office/powerpoint/2010/main" val="31406832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J.2 - EY Quality Assurance Process</a:t>
            </a:r>
          </a:p>
        </p:txBody>
      </p:sp>
      <p:sp>
        <p:nvSpPr>
          <p:cNvPr id="17" name="object 19">
            <a:extLst>
              <a:ext uri="{FF2B5EF4-FFF2-40B4-BE49-F238E27FC236}">
                <a16:creationId xmlns:a16="http://schemas.microsoft.com/office/drawing/2014/main" id="{8C9460DB-676C-4AF1-BB43-13950E17CBA7}"/>
              </a:ext>
            </a:extLst>
          </p:cNvPr>
          <p:cNvSpPr/>
          <p:nvPr/>
        </p:nvSpPr>
        <p:spPr bwMode="gray">
          <a:xfrm>
            <a:off x="4039341" y="1358284"/>
            <a:ext cx="7543060" cy="4852446"/>
          </a:xfrm>
          <a:custGeom>
            <a:avLst/>
            <a:gdLst/>
            <a:ahLst/>
            <a:cxnLst/>
            <a:rect l="l" t="t" r="r" b="b"/>
            <a:pathLst>
              <a:path w="1912620" h="1541779">
                <a:moveTo>
                  <a:pt x="0" y="1541475"/>
                </a:moveTo>
                <a:lnTo>
                  <a:pt x="1912289" y="1541475"/>
                </a:lnTo>
                <a:lnTo>
                  <a:pt x="1912289" y="0"/>
                </a:lnTo>
                <a:lnTo>
                  <a:pt x="0" y="0"/>
                </a:lnTo>
                <a:lnTo>
                  <a:pt x="0" y="1541475"/>
                </a:lnTo>
                <a:close/>
              </a:path>
            </a:pathLst>
          </a:custGeom>
          <a:solidFill>
            <a:schemeClr val="bg1"/>
          </a:solidFill>
          <a:ln w="6350" cap="flat" cmpd="sng" algn="ctr">
            <a:solidFill>
              <a:schemeClr val="bg1"/>
            </a:solidFill>
            <a:prstDash val="solid"/>
          </a:ln>
          <a:effectLst/>
        </p:spPr>
        <p:txBody>
          <a:bodyPr wrap="square" lIns="108000" tIns="108000" rIns="108000" bIns="10800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6884" marR="5592" indent="-342900" defTabSz="1006797">
              <a:spcAft>
                <a:spcPts val="500"/>
              </a:spcAft>
              <a:buFont typeface="+mj-lt"/>
              <a:buAutoNum type="arabicPeriod"/>
              <a:defRPr/>
            </a:pPr>
            <a:r>
              <a:rPr lang="en-IE" sz="1400" b="1" spc="-6">
                <a:latin typeface="Calibri" panose="020F0502020204030204" pitchFamily="34" charset="0"/>
                <a:cs typeface="Calibri" panose="020F0502020204030204" pitchFamily="34" charset="0"/>
                <a:sym typeface="Arial" panose="020B0604020202020204" pitchFamily="34" charset="0"/>
              </a:rPr>
              <a:t>Connect: </a:t>
            </a:r>
            <a:r>
              <a:rPr lang="en-IE" sz="1400" spc="-6">
                <a:latin typeface="Calibri" panose="020F0502020204030204" pitchFamily="34" charset="0"/>
                <a:cs typeface="Calibri" panose="020F0502020204030204" pitchFamily="34" charset="0"/>
                <a:sym typeface="Arial" panose="020B0604020202020204" pitchFamily="34" charset="0"/>
              </a:rPr>
              <a:t>In the initial step, EY engagement partner will meet face to face with you to understand your specific service and relationship expectations before we start our work. We will use our standardized Expectation of Service Quality (ESQ) tool to structure this discussion, and EY will update this throughout our engagement during subsequent QA meetings. </a:t>
            </a:r>
          </a:p>
          <a:p>
            <a:pPr marL="356884" marR="5592" indent="-342900" defTabSz="1006797">
              <a:spcAft>
                <a:spcPts val="500"/>
              </a:spcAft>
              <a:buFont typeface="+mj-lt"/>
              <a:buAutoNum type="arabicPeriod"/>
              <a:defRPr/>
            </a:pPr>
            <a:endParaRPr lang="en-IE" sz="1400" spc="-6">
              <a:latin typeface="Calibri" panose="020F0502020204030204" pitchFamily="34" charset="0"/>
              <a:cs typeface="Calibri" panose="020F0502020204030204" pitchFamily="34" charset="0"/>
              <a:sym typeface="Arial" panose="020B0604020202020204" pitchFamily="34" charset="0"/>
            </a:endParaRPr>
          </a:p>
          <a:p>
            <a:pPr marL="356884" marR="5592" indent="-342900" defTabSz="1006797">
              <a:spcAft>
                <a:spcPts val="500"/>
              </a:spcAft>
              <a:buFont typeface="+mj-lt"/>
              <a:buAutoNum type="arabicPeriod"/>
              <a:defRPr/>
            </a:pPr>
            <a:r>
              <a:rPr lang="en-IE" sz="1400" b="1" spc="-6">
                <a:latin typeface="Calibri" panose="020F0502020204030204" pitchFamily="34" charset="0"/>
                <a:cs typeface="Calibri" panose="020F0502020204030204" pitchFamily="34" charset="0"/>
                <a:sym typeface="Arial" panose="020B0604020202020204" pitchFamily="34" charset="0"/>
              </a:rPr>
              <a:t>Quality Planning:</a:t>
            </a:r>
            <a:r>
              <a:rPr lang="en-IE" sz="1400" spc="-6">
                <a:latin typeface="Calibri" panose="020F0502020204030204" pitchFamily="34" charset="0"/>
                <a:cs typeface="Calibri" panose="020F0502020204030204" pitchFamily="34" charset="0"/>
                <a:sym typeface="Arial" panose="020B0604020202020204" pitchFamily="34" charset="0"/>
              </a:rPr>
              <a:t> At this stage, EY will specifically plan how we will meet those expectations during our service relationship first step in implementing quality management.</a:t>
            </a:r>
          </a:p>
          <a:p>
            <a:pPr marL="356884" marR="5592" indent="-342900" defTabSz="1006797">
              <a:spcAft>
                <a:spcPts val="500"/>
              </a:spcAft>
              <a:buFont typeface="+mj-lt"/>
              <a:buAutoNum type="arabicPeriod"/>
              <a:defRPr/>
            </a:pPr>
            <a:endParaRPr lang="en-IE" b="1" spc="-6">
              <a:latin typeface="Calibri" panose="020F0502020204030204" pitchFamily="34" charset="0"/>
              <a:cs typeface="Calibri" panose="020F0502020204030204" pitchFamily="34" charset="0"/>
              <a:sym typeface="Arial" panose="020B0604020202020204" pitchFamily="34" charset="0"/>
            </a:endParaRPr>
          </a:p>
          <a:p>
            <a:pPr marL="356884" marR="5592" indent="-342900" defTabSz="1006797">
              <a:spcAft>
                <a:spcPts val="500"/>
              </a:spcAft>
              <a:buFont typeface="+mj-lt"/>
              <a:buAutoNum type="arabicPeriod"/>
              <a:defRPr/>
            </a:pPr>
            <a:r>
              <a:rPr lang="en-IE" sz="1400" b="1" spc="-6">
                <a:latin typeface="Calibri" panose="020F0502020204030204" pitchFamily="34" charset="0"/>
                <a:cs typeface="Calibri" panose="020F0502020204030204" pitchFamily="34" charset="0"/>
                <a:sym typeface="Arial" panose="020B0604020202020204" pitchFamily="34" charset="0"/>
              </a:rPr>
              <a:t>Assessment:</a:t>
            </a:r>
            <a:r>
              <a:rPr lang="en-IE" sz="1400" spc="-6">
                <a:latin typeface="Calibri" panose="020F0502020204030204" pitchFamily="34" charset="0"/>
                <a:cs typeface="Calibri" panose="020F0502020204030204" pitchFamily="34" charset="0"/>
                <a:sym typeface="Arial" panose="020B0604020202020204" pitchFamily="34" charset="0"/>
              </a:rPr>
              <a:t> EY will then objectively assess and assure delivery quality through regular Assessment of Service Quality (ASQ) meetings with key stakeholders. At these checkpoints, feedback will be sought from you on our performance, the quality of work products and general level of satisfaction with the project progress. The diagram to the left shows the four steps of our SQ process cycle.</a:t>
            </a:r>
          </a:p>
          <a:p>
            <a:pPr marL="356884" marR="5592" indent="-342900" defTabSz="1006797">
              <a:spcAft>
                <a:spcPts val="500"/>
              </a:spcAft>
              <a:buFont typeface="+mj-lt"/>
              <a:buAutoNum type="arabicPeriod"/>
              <a:defRPr/>
            </a:pPr>
            <a:endParaRPr lang="en-IE" sz="1400" spc="-6">
              <a:latin typeface="Calibri" panose="020F0502020204030204" pitchFamily="34" charset="0"/>
              <a:cs typeface="Calibri" panose="020F0502020204030204" pitchFamily="34" charset="0"/>
              <a:sym typeface="Arial" panose="020B0604020202020204" pitchFamily="34" charset="0"/>
            </a:endParaRPr>
          </a:p>
          <a:p>
            <a:pPr marL="356884" marR="5592" indent="-342900" defTabSz="1006797">
              <a:spcAft>
                <a:spcPts val="500"/>
              </a:spcAft>
              <a:buFont typeface="+mj-lt"/>
              <a:buAutoNum type="arabicPeriod"/>
              <a:defRPr/>
            </a:pPr>
            <a:r>
              <a:rPr lang="en-US" sz="1400" b="1" spc="-6">
                <a:latin typeface="Calibri" panose="020F0502020204030204" pitchFamily="34" charset="0"/>
                <a:cs typeface="Calibri" panose="020F0502020204030204" pitchFamily="34" charset="0"/>
              </a:rPr>
              <a:t>Respond:</a:t>
            </a:r>
            <a:r>
              <a:rPr lang="en-US" sz="1400" spc="-6">
                <a:latin typeface="Calibri" panose="020F0502020204030204" pitchFamily="34" charset="0"/>
                <a:cs typeface="Calibri" panose="020F0502020204030204" pitchFamily="34" charset="0"/>
              </a:rPr>
              <a:t> We respond to your feedback by agreeing specific relevant actions with you and incorporating those back into our plans. EY Quality team will then work to confirm that the feedback has been received and required actions are understood and will subsequently monitor progress against these actions.</a:t>
            </a:r>
            <a:endParaRPr lang="en-US" sz="1400" spc="-6">
              <a:latin typeface="Calibri" panose="020F0502020204030204" pitchFamily="34" charset="0"/>
              <a:cs typeface="Calibri" panose="020F050202020403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8848BE7F-3AEA-4077-B245-356AC85198A7}"/>
              </a:ext>
            </a:extLst>
          </p:cNvPr>
          <p:cNvPicPr>
            <a:picLocks noChangeAspect="1"/>
          </p:cNvPicPr>
          <p:nvPr/>
        </p:nvPicPr>
        <p:blipFill>
          <a:blip r:embed="rId3"/>
          <a:stretch>
            <a:fillRect/>
          </a:stretch>
        </p:blipFill>
        <p:spPr>
          <a:xfrm>
            <a:off x="594800" y="2298189"/>
            <a:ext cx="3319628" cy="2833107"/>
          </a:xfrm>
          <a:prstGeom prst="rect">
            <a:avLst/>
          </a:prstGeom>
        </p:spPr>
      </p:pic>
    </p:spTree>
    <p:extLst>
      <p:ext uri="{BB962C8B-B14F-4D97-AF65-F5344CB8AC3E}">
        <p14:creationId xmlns:p14="http://schemas.microsoft.com/office/powerpoint/2010/main" val="2709480915"/>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ext Placeholder 3">
            <a:extLst>
              <a:ext uri="{FF2B5EF4-FFF2-40B4-BE49-F238E27FC236}">
                <a16:creationId xmlns:a16="http://schemas.microsoft.com/office/drawing/2014/main" id="{24161BEC-6A5A-5DCF-D7EE-6040166883A8}"/>
              </a:ext>
            </a:extLst>
          </p:cNvPr>
          <p:cNvSpPr txBox="1">
            <a:spLocks/>
          </p:cNvSpPr>
          <p:nvPr/>
        </p:nvSpPr>
        <p:spPr>
          <a:xfrm>
            <a:off x="3713788" y="1508131"/>
            <a:ext cx="3210274" cy="5067508"/>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endParaRPr kumimoji="0" lang="en-IE" sz="900" b="0" i="0" u="none" strike="noStrike" kern="600" cap="none" spc="0" normalizeH="0" baseline="0" noProof="0">
              <a:ln>
                <a:noFill/>
              </a:ln>
              <a:solidFill>
                <a:srgbClr val="000000"/>
              </a:solidFill>
              <a:effectLst/>
              <a:uLnTx/>
              <a:uFillTx/>
              <a:latin typeface="EYInterstate Light"/>
              <a:ea typeface="+mn-ea"/>
              <a:cs typeface="Times New Roman" panose="02020603050405020304" pitchFamily="18" charset="0"/>
            </a:endParaRPr>
          </a:p>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endParaRPr kumimoji="0" lang="en-GB" sz="900" b="0" i="0" u="none" strike="noStrike" kern="0" cap="none" spc="0" normalizeH="0" baseline="0" noProof="0">
              <a:ln>
                <a:noFill/>
              </a:ln>
              <a:solidFill>
                <a:srgbClr val="000000"/>
              </a:solidFill>
              <a:effectLst/>
              <a:uLnTx/>
              <a:uFillTx/>
              <a:latin typeface="EYInterstate Light"/>
              <a:ea typeface="+mn-ea"/>
              <a:cs typeface="+mn-cs"/>
            </a:endParaRPr>
          </a:p>
        </p:txBody>
      </p:sp>
      <p:sp>
        <p:nvSpPr>
          <p:cNvPr id="65" name="Text Placeholder 3">
            <a:extLst>
              <a:ext uri="{FF2B5EF4-FFF2-40B4-BE49-F238E27FC236}">
                <a16:creationId xmlns:a16="http://schemas.microsoft.com/office/drawing/2014/main" id="{112B29F6-9E6C-C7C0-8020-9669671E299F}"/>
              </a:ext>
            </a:extLst>
          </p:cNvPr>
          <p:cNvSpPr txBox="1">
            <a:spLocks/>
          </p:cNvSpPr>
          <p:nvPr/>
        </p:nvSpPr>
        <p:spPr>
          <a:xfrm>
            <a:off x="659104" y="1415770"/>
            <a:ext cx="2776139" cy="4896762"/>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marL="0" marR="0" lvl="3" indent="0" algn="just"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r>
              <a:rPr kumimoji="0" lang="en-IN"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Your objectives</a:t>
            </a:r>
          </a:p>
          <a:p>
            <a:pPr marL="0" marR="0" lvl="0" indent="0" algn="just" defTabSz="1070893" rtl="0" eaLnBrk="1" fontAlgn="base" latinLnBrk="0" hangingPunct="1">
              <a:lnSpc>
                <a:spcPct val="100000"/>
              </a:lnSpc>
              <a:spcBef>
                <a:spcPts val="0"/>
              </a:spcBef>
              <a:spcAft>
                <a:spcPts val="600"/>
              </a:spcAft>
              <a:buClrTx/>
              <a:buSzTx/>
              <a:buFontTx/>
              <a:buNone/>
              <a:tabLst/>
              <a:defRPr/>
            </a:pPr>
            <a:r>
              <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You are seeking to partner with a proficient, collaborative, and forward thinking company that has readily available expert resources to deliver a Fully Managed </a:t>
            </a:r>
            <a:r>
              <a:rPr lang="en-IE" sz="1000" kern="0">
                <a:solidFill>
                  <a:srgbClr val="000000"/>
                </a:solidFill>
                <a:latin typeface="Calibri" panose="020F0502020204030204" pitchFamily="34" charset="0"/>
                <a:cs typeface="Calibri" panose="020F0502020204030204" pitchFamily="34" charset="0"/>
              </a:rPr>
              <a:t>C</a:t>
            </a:r>
            <a:r>
              <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oud </a:t>
            </a:r>
            <a:r>
              <a:rPr lang="en-IE" sz="1000" kern="0">
                <a:solidFill>
                  <a:srgbClr val="000000"/>
                </a:solidFill>
                <a:latin typeface="Calibri" panose="020F0502020204030204" pitchFamily="34" charset="0"/>
                <a:cs typeface="Calibri" panose="020F0502020204030204" pitchFamily="34" charset="0"/>
              </a:rPr>
              <a:t>S</a:t>
            </a:r>
            <a:r>
              <a:rPr kumimoji="0" lang="en-IE" sz="10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torage</a:t>
            </a:r>
            <a:r>
              <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echnology </a:t>
            </a:r>
            <a:r>
              <a:rPr lang="en-IE" sz="1000" kern="0">
                <a:solidFill>
                  <a:srgbClr val="000000"/>
                </a:solidFill>
                <a:latin typeface="Calibri" panose="020F0502020204030204" pitchFamily="34" charset="0"/>
                <a:cs typeface="Calibri" panose="020F0502020204030204" pitchFamily="34" charset="0"/>
              </a:rPr>
              <a:t>S</a:t>
            </a:r>
            <a:r>
              <a:rPr kumimoji="0" lang="en-IE" sz="10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ervice</a:t>
            </a:r>
            <a:r>
              <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for your Central Pathology Laboratory at Saint James’s Hospital. This will involve the migration of on-premise Molecular Testing patient data from five different national laboratories into a secure Cloud Storage environment, with the resilience and capacity for future use. Some of your high-level objectives are listed below:</a:t>
            </a:r>
            <a:endParaRPr kumimoji="0" lang="en-GB"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liver a future-proofed solution</a:t>
            </a:r>
            <a:r>
              <a:rPr lang="en-IE" sz="1000" b="1" kern="0">
                <a:solidFill>
                  <a:srgbClr val="000000"/>
                </a:solidFill>
                <a:latin typeface="Calibri" panose="020F0502020204030204" pitchFamily="34" charset="0"/>
                <a:cs typeface="Calibri" panose="020F0502020204030204" pitchFamily="34" charset="0"/>
              </a:rPr>
              <a:t> </a:t>
            </a:r>
            <a:r>
              <a:rPr lang="en-IE" sz="1000" kern="0">
                <a:solidFill>
                  <a:srgbClr val="000000"/>
                </a:solidFill>
                <a:latin typeface="Calibri" panose="020F0502020204030204" pitchFamily="34" charset="0"/>
                <a:cs typeface="Calibri" panose="020F0502020204030204" pitchFamily="34" charset="0"/>
              </a:rPr>
              <a:t>that can handle </a:t>
            </a:r>
            <a:r>
              <a:rPr kumimoji="0" lang="en-IE" sz="100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olecular testing patient data, analysis and storage (Hot &amp; Cold) </a:t>
            </a:r>
            <a:r>
              <a:rPr lang="en-IE" sz="1000" kern="0">
                <a:solidFill>
                  <a:srgbClr val="000000"/>
                </a:solidFill>
                <a:latin typeface="Calibri" panose="020F0502020204030204" pitchFamily="34" charset="0"/>
                <a:cs typeface="Calibri" panose="020F0502020204030204" pitchFamily="34" charset="0"/>
              </a:rPr>
              <a:t>in a controlled manner.</a:t>
            </a:r>
            <a:endPar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IE" sz="1000" b="1" kern="0">
                <a:solidFill>
                  <a:srgbClr val="000000"/>
                </a:solidFill>
                <a:latin typeface="Calibri" panose="020F0502020204030204" pitchFamily="34" charset="0"/>
                <a:cs typeface="Calibri" panose="020F0502020204030204" pitchFamily="34" charset="0"/>
              </a:rPr>
              <a:t>Adding an additional layer of security</a:t>
            </a:r>
            <a:r>
              <a:rPr lang="en-IE" sz="1000" kern="0">
                <a:solidFill>
                  <a:srgbClr val="000000"/>
                </a:solidFill>
                <a:latin typeface="Calibri" panose="020F0502020204030204" pitchFamily="34" charset="0"/>
                <a:cs typeface="Calibri" panose="020F0502020204030204" pitchFamily="34" charset="0"/>
              </a:rPr>
              <a:t> to eliminate all the single points of failure present in the current locally based </a:t>
            </a:r>
            <a:r>
              <a:rPr lang="en-IE" sz="1000" kern="0" err="1">
                <a:solidFill>
                  <a:srgbClr val="000000"/>
                </a:solidFill>
                <a:latin typeface="Calibri" panose="020F0502020204030204" pitchFamily="34" charset="0"/>
                <a:cs typeface="Calibri" panose="020F0502020204030204" pitchFamily="34" charset="0"/>
              </a:rPr>
              <a:t>laboratorities</a:t>
            </a:r>
            <a:r>
              <a:rPr lang="en-IE" sz="1000" kern="0">
                <a:solidFill>
                  <a:srgbClr val="000000"/>
                </a:solidFill>
                <a:latin typeface="Calibri" panose="020F0502020204030204" pitchFamily="34" charset="0"/>
                <a:cs typeface="Calibri" panose="020F0502020204030204" pitchFamily="34" charset="0"/>
              </a:rPr>
              <a:t>.</a:t>
            </a:r>
            <a:endPar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xpand </a:t>
            </a:r>
            <a:r>
              <a:rPr lang="en-IE" sz="1000" b="1" kern="0">
                <a:solidFill>
                  <a:srgbClr val="000000"/>
                </a:solidFill>
                <a:latin typeface="Calibri" panose="020F0502020204030204" pitchFamily="34" charset="0"/>
                <a:cs typeface="Calibri" panose="020F0502020204030204" pitchFamily="34" charset="0"/>
              </a:rPr>
              <a:t>the existing </a:t>
            </a: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up processes</a:t>
            </a:r>
            <a:r>
              <a:rPr kumimoji="0" lang="en-IE" sz="100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for patient data.</a:t>
            </a:r>
            <a:endPar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igration of laboratory data</a:t>
            </a:r>
            <a:r>
              <a:rPr lang="en-IE" sz="1000" b="1" kern="0">
                <a:solidFill>
                  <a:srgbClr val="000000"/>
                </a:solidFill>
                <a:latin typeface="Calibri" panose="020F0502020204030204" pitchFamily="34" charset="0"/>
                <a:cs typeface="Calibri" panose="020F0502020204030204" pitchFamily="34" charset="0"/>
              </a:rPr>
              <a:t> </a:t>
            </a:r>
            <a:r>
              <a:rPr kumimoji="0" lang="en-IE" sz="100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rectly to Cloud.</a:t>
            </a:r>
            <a:endParaRPr kumimoji="0" lang="en-IE"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llow for </a:t>
            </a:r>
            <a:r>
              <a:rPr lang="en-IE" sz="1000" b="1" kern="0">
                <a:solidFill>
                  <a:srgbClr val="000000"/>
                </a:solidFill>
                <a:latin typeface="Calibri" panose="020F0502020204030204" pitchFamily="34" charset="0"/>
                <a:cs typeface="Calibri" panose="020F0502020204030204" pitchFamily="34" charset="0"/>
              </a:rPr>
              <a:t>individual laboratory connections</a:t>
            </a:r>
            <a:r>
              <a:rPr lang="en-IE" sz="1000" kern="0">
                <a:solidFill>
                  <a:srgbClr val="000000"/>
                </a:solidFill>
                <a:latin typeface="Calibri" panose="020F0502020204030204" pitchFamily="34" charset="0"/>
                <a:cs typeface="Calibri" panose="020F0502020204030204" pitchFamily="34" charset="0"/>
              </a:rPr>
              <a:t> and teams via Web between Genomics network and Cloud environment from dedicated SJH PC’s.</a:t>
            </a: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igration of on-premise servers and databases</a:t>
            </a:r>
            <a:r>
              <a:rPr kumimoji="0" lang="en-IE" sz="100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the Cloud</a:t>
            </a:r>
          </a:p>
          <a:p>
            <a:pPr marL="171364" marR="0" lvl="0" indent="-171364" algn="l" defTabSz="1070893"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IE" sz="1000" b="1" kern="0">
                <a:solidFill>
                  <a:srgbClr val="000000"/>
                </a:solidFill>
                <a:latin typeface="Calibri" panose="020F0502020204030204" pitchFamily="34" charset="0"/>
                <a:cs typeface="Calibri" panose="020F0502020204030204" pitchFamily="34" charset="0"/>
              </a:rPr>
              <a:t>Utilise Quality Managed System</a:t>
            </a:r>
            <a:r>
              <a:rPr lang="en-IE" sz="1000" kern="0">
                <a:solidFill>
                  <a:srgbClr val="000000"/>
                </a:solidFill>
                <a:latin typeface="Calibri" panose="020F0502020204030204" pitchFamily="34" charset="0"/>
                <a:cs typeface="Calibri" panose="020F0502020204030204" pitchFamily="34" charset="0"/>
              </a:rPr>
              <a:t> during all stages of the solution delivery, including training of SJH resources, were and when required.</a:t>
            </a:r>
            <a:endParaRPr kumimoji="0" lang="en-IE"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TextBox 66">
            <a:extLst>
              <a:ext uri="{FF2B5EF4-FFF2-40B4-BE49-F238E27FC236}">
                <a16:creationId xmlns:a16="http://schemas.microsoft.com/office/drawing/2014/main" id="{4B97A60B-1800-EDC0-DA9C-EFFDDFD1D802}"/>
              </a:ext>
            </a:extLst>
          </p:cNvPr>
          <p:cNvSpPr txBox="1"/>
          <p:nvPr/>
        </p:nvSpPr>
        <p:spPr>
          <a:xfrm>
            <a:off x="7541609" y="1850327"/>
            <a:ext cx="1821065" cy="744800"/>
          </a:xfrm>
          <a:prstGeom prst="rect">
            <a:avLst/>
          </a:prstGeom>
          <a:noFill/>
        </p:spPr>
        <p:txBody>
          <a:bodyPr wrap="square" lIns="0" tIns="36557" rIns="0" bIns="0" rtlCol="0">
            <a:spAutoFit/>
          </a:bodyPr>
          <a:lstStyle/>
          <a:p>
            <a:pPr marL="0" marR="0" lvl="0" indent="0" defTabSz="914400" eaLnBrk="1" fontAlgn="auto" latinLnBrk="0" hangingPunct="1">
              <a:lnSpc>
                <a:spcPct val="100000"/>
              </a:lnSpc>
              <a:spcBef>
                <a:spcPts val="0"/>
              </a:spcBef>
              <a:spcAft>
                <a:spcPts val="0"/>
              </a:spcAft>
              <a:buClr>
                <a:srgbClr val="27ACAA"/>
              </a:buClr>
              <a:buSzPct val="70000"/>
              <a:buFontTx/>
              <a:buNone/>
              <a:tabLst/>
              <a:defRPr/>
            </a:pPr>
            <a:r>
              <a:rPr lang="en-US" sz="1000" b="1" kern="0" spc="-60">
                <a:solidFill>
                  <a:srgbClr val="2E2E38"/>
                </a:solidFill>
                <a:latin typeface="Calibri" panose="020F0502020204030204" pitchFamily="34" charset="0"/>
                <a:cs typeface="Calibri" panose="020F0502020204030204" pitchFamily="34" charset="0"/>
              </a:rPr>
              <a:t>Prepare</a:t>
            </a:r>
            <a:endParaRPr kumimoji="0" lang="en-US" sz="1000" b="1" i="0" u="none" strike="noStrike" kern="0" cap="none" spc="-6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marL="0" marR="0" lvl="0" indent="0" algn="just" defTabSz="914400" eaLnBrk="1" fontAlgn="auto" latinLnBrk="0" hangingPunct="1">
              <a:lnSpc>
                <a:spcPct val="100000"/>
              </a:lnSpc>
              <a:spcBef>
                <a:spcPts val="0"/>
              </a:spcBef>
              <a:spcAft>
                <a:spcPts val="0"/>
              </a:spcAft>
              <a:buClr>
                <a:srgbClr val="27ACAA"/>
              </a:buClr>
              <a:buSzPct val="70000"/>
              <a:buFontTx/>
              <a:buNone/>
              <a:tabLst/>
              <a:defRPr/>
            </a:pPr>
            <a:r>
              <a:rPr kumimoji="0" lang="en-US"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Confirm purpose, vision and scope for the transformation. Kickstart solution design with industry templates and accelerators.</a:t>
            </a:r>
            <a:endParaRPr kumimoji="0" lang="en-IE" sz="900" b="0" i="0" u="none" strike="noStrike" kern="0" cap="none" spc="0" normalizeH="0" baseline="0" noProof="0">
              <a:ln>
                <a:noFill/>
              </a:ln>
              <a:solidFill>
                <a:schemeClr val="bg1"/>
              </a:solidFill>
              <a:effectLst/>
              <a:uLnTx/>
              <a:uFillTx/>
            </a:endParaRPr>
          </a:p>
        </p:txBody>
      </p:sp>
      <p:sp>
        <p:nvSpPr>
          <p:cNvPr id="68" name="TextBox 67">
            <a:extLst>
              <a:ext uri="{FF2B5EF4-FFF2-40B4-BE49-F238E27FC236}">
                <a16:creationId xmlns:a16="http://schemas.microsoft.com/office/drawing/2014/main" id="{DC6F51C7-F973-91B3-7CEA-F32153B02ED6}"/>
              </a:ext>
            </a:extLst>
          </p:cNvPr>
          <p:cNvSpPr txBox="1"/>
          <p:nvPr/>
        </p:nvSpPr>
        <p:spPr>
          <a:xfrm>
            <a:off x="7541610" y="2646081"/>
            <a:ext cx="1771111" cy="744800"/>
          </a:xfrm>
          <a:prstGeom prst="rect">
            <a:avLst/>
          </a:prstGeom>
          <a:noFill/>
        </p:spPr>
        <p:txBody>
          <a:bodyPr wrap="square" lIns="0" tIns="36557" rIns="0" bIns="0" rtlCol="0">
            <a:spAutoFit/>
          </a:bodyPr>
          <a:lstStyle/>
          <a:p>
            <a:pPr marL="0" marR="0" lvl="0" indent="0" defTabSz="91440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Explore</a:t>
            </a:r>
          </a:p>
          <a:p>
            <a:pPr marL="0" marR="0" lvl="0" indent="0" algn="just" defTabSz="913943" rtl="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erform fit-gap to leading practices and design delta solution for gaps, documenting requirements in a prioritised backlog of user stories.</a:t>
            </a:r>
            <a:endParaRPr kumimoji="0" lang="en-US"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69" name="TextBox 68">
            <a:extLst>
              <a:ext uri="{FF2B5EF4-FFF2-40B4-BE49-F238E27FC236}">
                <a16:creationId xmlns:a16="http://schemas.microsoft.com/office/drawing/2014/main" id="{E32ABC63-6842-045D-FA2E-B6CE8475E1D5}"/>
              </a:ext>
            </a:extLst>
          </p:cNvPr>
          <p:cNvSpPr txBox="1"/>
          <p:nvPr/>
        </p:nvSpPr>
        <p:spPr>
          <a:xfrm>
            <a:off x="7553737" y="3429814"/>
            <a:ext cx="1846071" cy="606301"/>
          </a:xfrm>
          <a:prstGeom prst="rect">
            <a:avLst/>
          </a:prstGeom>
          <a:noFill/>
        </p:spPr>
        <p:txBody>
          <a:bodyPr wrap="square" lIns="0" tIns="36557" rIns="0" bIns="0" rtlCol="0">
            <a:spAutoFit/>
          </a:bodyPr>
          <a:lstStyle/>
          <a:p>
            <a:pPr marL="0" marR="0" lvl="0" indent="0" defTabSz="91440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0" cap="none" spc="0" normalizeH="0" baseline="0" noProof="0" err="1">
                <a:ln>
                  <a:noFill/>
                </a:ln>
                <a:solidFill>
                  <a:srgbClr val="2E2E38"/>
                </a:solidFill>
                <a:effectLst/>
                <a:uLnTx/>
                <a:uFillTx/>
                <a:latin typeface="Calibri" panose="020F0502020204030204" pitchFamily="34" charset="0"/>
                <a:cs typeface="Calibri" panose="020F0502020204030204" pitchFamily="34" charset="0"/>
              </a:rPr>
              <a:t>Realise</a:t>
            </a: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 Build</a:t>
            </a:r>
          </a:p>
          <a:p>
            <a:pPr marL="0" marR="0" lvl="0" indent="0" algn="just" defTabSz="913943" rtl="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Build and unit test solution in time-boxed iterations based on prioritised backlog, load master data. </a:t>
            </a:r>
            <a:endParaRPr kumimoji="0" lang="en-US"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70" name="TextBox 69">
            <a:extLst>
              <a:ext uri="{FF2B5EF4-FFF2-40B4-BE49-F238E27FC236}">
                <a16:creationId xmlns:a16="http://schemas.microsoft.com/office/drawing/2014/main" id="{F08BEB03-2EEB-AD11-36D9-5170261835BC}"/>
              </a:ext>
            </a:extLst>
          </p:cNvPr>
          <p:cNvSpPr txBox="1"/>
          <p:nvPr/>
        </p:nvSpPr>
        <p:spPr>
          <a:xfrm>
            <a:off x="9634165" y="1850327"/>
            <a:ext cx="1724500" cy="467801"/>
          </a:xfrm>
          <a:prstGeom prst="rect">
            <a:avLst/>
          </a:prstGeom>
          <a:noFill/>
        </p:spPr>
        <p:txBody>
          <a:bodyPr wrap="square" lIns="0" tIns="36557" rIns="0" bIns="0" rtlCol="0">
            <a:spAutoFit/>
          </a:bodyPr>
          <a:lstStyle/>
          <a:p>
            <a:pPr marL="0" marR="0" lvl="0" indent="0" algn="just" defTabSz="914400" eaLnBrk="1" fontAlgn="auto" latinLnBrk="0" hangingPunct="1">
              <a:lnSpc>
                <a:spcPct val="100000"/>
              </a:lnSpc>
              <a:spcBef>
                <a:spcPts val="0"/>
              </a:spcBef>
              <a:spcAft>
                <a:spcPts val="0"/>
              </a:spcAft>
              <a:buClr>
                <a:srgbClr val="27ACAA"/>
              </a:buClr>
              <a:buSzPct val="70000"/>
              <a:buFontTx/>
              <a:buNone/>
              <a:tabLst/>
              <a:defRPr/>
            </a:pPr>
            <a:r>
              <a:rPr lang="en-US" sz="1000" b="1" kern="0" err="1">
                <a:solidFill>
                  <a:srgbClr val="2E2E38"/>
                </a:solidFill>
                <a:latin typeface="Calibri" panose="020F0502020204030204" pitchFamily="34" charset="0"/>
                <a:cs typeface="Calibri" panose="020F0502020204030204" pitchFamily="34" charset="0"/>
              </a:rPr>
              <a:t>Realise</a:t>
            </a:r>
            <a:r>
              <a:rPr lang="en-US" sz="1000" b="1" kern="0">
                <a:solidFill>
                  <a:srgbClr val="2E2E38"/>
                </a:solidFill>
                <a:latin typeface="Calibri" panose="020F0502020204030204" pitchFamily="34" charset="0"/>
                <a:cs typeface="Calibri" panose="020F0502020204030204" pitchFamily="34" charset="0"/>
              </a:rPr>
              <a:t>: Test</a:t>
            </a:r>
            <a:endPar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algn="just">
              <a:buClr>
                <a:srgbClr val="27ACAA"/>
              </a:buClr>
              <a:buSzPct val="70000"/>
              <a:defRPr/>
            </a:pPr>
            <a:r>
              <a:rPr kumimoji="0" lang="en-AU"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erform integrated testing of solution and train end users.</a:t>
            </a:r>
            <a:endParaRPr kumimoji="0" lang="en-US"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71" name="TextBox 70">
            <a:extLst>
              <a:ext uri="{FF2B5EF4-FFF2-40B4-BE49-F238E27FC236}">
                <a16:creationId xmlns:a16="http://schemas.microsoft.com/office/drawing/2014/main" id="{EAD21127-E343-6E68-2F39-8A8B4BF2AE37}"/>
              </a:ext>
            </a:extLst>
          </p:cNvPr>
          <p:cNvSpPr txBox="1"/>
          <p:nvPr/>
        </p:nvSpPr>
        <p:spPr>
          <a:xfrm>
            <a:off x="9634166" y="2633814"/>
            <a:ext cx="1731155" cy="467801"/>
          </a:xfrm>
          <a:prstGeom prst="rect">
            <a:avLst/>
          </a:prstGeom>
          <a:noFill/>
        </p:spPr>
        <p:txBody>
          <a:bodyPr wrap="square" lIns="0" tIns="36557" rIns="0" bIns="0" rtlCol="0" anchor="t">
            <a:spAutoFit/>
          </a:bodyPr>
          <a:lstStyle/>
          <a:p>
            <a:pPr marL="0" marR="0" lvl="0" indent="0" defTabSz="91440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eploy</a:t>
            </a:r>
          </a:p>
          <a:p>
            <a:pPr marL="0" marR="0" lvl="0" indent="0" algn="just" defTabSz="913943" rtl="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Cutover to production and deploy new solution.</a:t>
            </a:r>
            <a:endParaRPr kumimoji="0" lang="en-US" sz="9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72" name="TextBox 71">
            <a:extLst>
              <a:ext uri="{FF2B5EF4-FFF2-40B4-BE49-F238E27FC236}">
                <a16:creationId xmlns:a16="http://schemas.microsoft.com/office/drawing/2014/main" id="{B2B33827-CAAB-B770-20ED-F54C4F9E64AA}"/>
              </a:ext>
            </a:extLst>
          </p:cNvPr>
          <p:cNvSpPr txBox="1"/>
          <p:nvPr/>
        </p:nvSpPr>
        <p:spPr>
          <a:xfrm>
            <a:off x="7287558" y="1870438"/>
            <a:ext cx="187575"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1</a:t>
            </a:r>
          </a:p>
        </p:txBody>
      </p:sp>
      <p:sp>
        <p:nvSpPr>
          <p:cNvPr id="73" name="TextBox 72">
            <a:extLst>
              <a:ext uri="{FF2B5EF4-FFF2-40B4-BE49-F238E27FC236}">
                <a16:creationId xmlns:a16="http://schemas.microsoft.com/office/drawing/2014/main" id="{6D9789E2-19F1-A8CD-ACE0-9B9A4E3C517B}"/>
              </a:ext>
            </a:extLst>
          </p:cNvPr>
          <p:cNvSpPr txBox="1"/>
          <p:nvPr/>
        </p:nvSpPr>
        <p:spPr>
          <a:xfrm>
            <a:off x="7287558" y="2662639"/>
            <a:ext cx="187575"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2</a:t>
            </a:r>
          </a:p>
        </p:txBody>
      </p:sp>
      <p:sp>
        <p:nvSpPr>
          <p:cNvPr id="74" name="TextBox 73">
            <a:extLst>
              <a:ext uri="{FF2B5EF4-FFF2-40B4-BE49-F238E27FC236}">
                <a16:creationId xmlns:a16="http://schemas.microsoft.com/office/drawing/2014/main" id="{2E96678E-8323-783D-6739-E7C405F3D8C3}"/>
              </a:ext>
            </a:extLst>
          </p:cNvPr>
          <p:cNvSpPr txBox="1"/>
          <p:nvPr/>
        </p:nvSpPr>
        <p:spPr>
          <a:xfrm>
            <a:off x="7303876" y="3472589"/>
            <a:ext cx="187575"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3</a:t>
            </a:r>
          </a:p>
        </p:txBody>
      </p:sp>
      <p:sp>
        <p:nvSpPr>
          <p:cNvPr id="75" name="TextBox 74">
            <a:extLst>
              <a:ext uri="{FF2B5EF4-FFF2-40B4-BE49-F238E27FC236}">
                <a16:creationId xmlns:a16="http://schemas.microsoft.com/office/drawing/2014/main" id="{BFDDC8CE-61A3-493C-F97A-4130748A1901}"/>
              </a:ext>
            </a:extLst>
          </p:cNvPr>
          <p:cNvSpPr txBox="1"/>
          <p:nvPr/>
        </p:nvSpPr>
        <p:spPr>
          <a:xfrm>
            <a:off x="9382629" y="1870438"/>
            <a:ext cx="179906"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4</a:t>
            </a:r>
          </a:p>
        </p:txBody>
      </p:sp>
      <p:sp>
        <p:nvSpPr>
          <p:cNvPr id="76" name="TextBox 75">
            <a:extLst>
              <a:ext uri="{FF2B5EF4-FFF2-40B4-BE49-F238E27FC236}">
                <a16:creationId xmlns:a16="http://schemas.microsoft.com/office/drawing/2014/main" id="{3AD90018-317D-2CAC-55AB-C6E54183E497}"/>
              </a:ext>
            </a:extLst>
          </p:cNvPr>
          <p:cNvSpPr txBox="1"/>
          <p:nvPr/>
        </p:nvSpPr>
        <p:spPr>
          <a:xfrm>
            <a:off x="9382630" y="2658189"/>
            <a:ext cx="179906"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5</a:t>
            </a:r>
          </a:p>
        </p:txBody>
      </p:sp>
      <p:sp>
        <p:nvSpPr>
          <p:cNvPr id="79" name="Text Placeholder 3">
            <a:extLst>
              <a:ext uri="{FF2B5EF4-FFF2-40B4-BE49-F238E27FC236}">
                <a16:creationId xmlns:a16="http://schemas.microsoft.com/office/drawing/2014/main" id="{12D69E85-2F52-D8DB-E0A8-79471616C74A}"/>
              </a:ext>
            </a:extLst>
          </p:cNvPr>
          <p:cNvSpPr txBox="1">
            <a:spLocks/>
          </p:cNvSpPr>
          <p:nvPr/>
        </p:nvSpPr>
        <p:spPr>
          <a:xfrm>
            <a:off x="7258804" y="1540141"/>
            <a:ext cx="4099861" cy="316804"/>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r>
              <a:rPr lang="en-GB" sz="1000" kern="600">
                <a:solidFill>
                  <a:srgbClr val="000000"/>
                </a:solidFill>
                <a:latin typeface="Calibri" panose="020F0502020204030204" pitchFamily="34" charset="0"/>
                <a:cs typeface="Calibri" panose="020F0502020204030204" pitchFamily="34" charset="0"/>
              </a:rPr>
              <a:t>Using our tried and tested 6-stage Delivery methodology, we propose an agile 8-Month engagement with sprints following a 2-4 week pattern.</a:t>
            </a:r>
          </a:p>
        </p:txBody>
      </p:sp>
      <p:grpSp>
        <p:nvGrpSpPr>
          <p:cNvPr id="80" name="Group 79">
            <a:extLst>
              <a:ext uri="{FF2B5EF4-FFF2-40B4-BE49-F238E27FC236}">
                <a16:creationId xmlns:a16="http://schemas.microsoft.com/office/drawing/2014/main" id="{AF971465-5C3B-9310-EED8-274D249C800C}"/>
              </a:ext>
            </a:extLst>
          </p:cNvPr>
          <p:cNvGrpSpPr/>
          <p:nvPr/>
        </p:nvGrpSpPr>
        <p:grpSpPr>
          <a:xfrm>
            <a:off x="7154197" y="4081824"/>
            <a:ext cx="4309073" cy="2546027"/>
            <a:chOff x="6786168" y="1552901"/>
            <a:chExt cx="4538145" cy="2787726"/>
          </a:xfrm>
        </p:grpSpPr>
        <p:sp>
          <p:nvSpPr>
            <p:cNvPr id="81" name="Rectangle: Rounded Corners 80">
              <a:extLst>
                <a:ext uri="{FF2B5EF4-FFF2-40B4-BE49-F238E27FC236}">
                  <a16:creationId xmlns:a16="http://schemas.microsoft.com/office/drawing/2014/main" id="{388931DC-D292-61B5-BE40-64196FB440D1}"/>
                </a:ext>
              </a:extLst>
            </p:cNvPr>
            <p:cNvSpPr/>
            <p:nvPr/>
          </p:nvSpPr>
          <p:spPr bwMode="auto">
            <a:xfrm>
              <a:off x="6790251" y="1759114"/>
              <a:ext cx="4411746" cy="493015"/>
            </a:xfrm>
            <a:prstGeom prst="roundRect">
              <a:avLst/>
            </a:prstGeom>
            <a:solidFill>
              <a:srgbClr val="FFE600">
                <a:lumMod val="60000"/>
                <a:lumOff val="40000"/>
              </a:srgbClr>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kumimoji="0" lang="en-IE" sz="900" b="0" i="0" u="none" strike="noStrike" kern="0" cap="none" spc="0" normalizeH="0" baseline="0" noProof="0">
                <a:ln>
                  <a:noFill/>
                </a:ln>
                <a:solidFill>
                  <a:srgbClr val="2E2E38"/>
                </a:solidFill>
                <a:effectLst/>
                <a:uLnTx/>
                <a:uFillTx/>
              </a:endParaRPr>
            </a:p>
          </p:txBody>
        </p:sp>
        <p:sp>
          <p:nvSpPr>
            <p:cNvPr id="82" name="Abgerundetes Rechteck 35">
              <a:extLst>
                <a:ext uri="{FF2B5EF4-FFF2-40B4-BE49-F238E27FC236}">
                  <a16:creationId xmlns:a16="http://schemas.microsoft.com/office/drawing/2014/main" id="{2F06342E-0787-5ECB-BC5D-F81B92DBE5D4}"/>
                </a:ext>
              </a:extLst>
            </p:cNvPr>
            <p:cNvSpPr/>
            <p:nvPr/>
          </p:nvSpPr>
          <p:spPr bwMode="gray">
            <a:xfrm>
              <a:off x="7259226" y="1815381"/>
              <a:ext cx="988546" cy="416101"/>
            </a:xfrm>
            <a:prstGeom prst="rect">
              <a:avLst/>
            </a:prstGeom>
            <a:noFill/>
            <a:ln w="25400" cap="flat" cmpd="sng" algn="ctr">
              <a:noFill/>
              <a:prstDash val="solid"/>
              <a:headEnd/>
              <a:tailEnd/>
            </a:ln>
            <a:effectLst/>
          </p:spPr>
          <p:txBody>
            <a:bodyPr vert="horz" wrap="square" lIns="73114" tIns="35981" rIns="71963" bIns="35981" anchor="t">
              <a:spAutoFit/>
            </a:bodyPr>
            <a:lstStyle/>
            <a:p>
              <a:pPr marL="0" marR="0" lvl="3" indent="0" defTabSz="1350042" eaLnBrk="1" fontAlgn="auto" latinLnBrk="0" hangingPunct="1">
                <a:lnSpc>
                  <a:spcPct val="100000"/>
                </a:lnSpc>
                <a:spcBef>
                  <a:spcPts val="0"/>
                </a:spcBef>
                <a:spcAft>
                  <a:spcPts val="1513"/>
                </a:spcAft>
                <a:buClr>
                  <a:srgbClr val="FFE600"/>
                </a:buClr>
                <a:buSzPct val="70000"/>
                <a:buFontTx/>
                <a:buNone/>
                <a:tabLst/>
                <a:defRPr/>
              </a:pPr>
              <a:r>
                <a:rPr kumimoji="0" lang="en-US" sz="999" b="0" i="0" u="none" strike="noStrike" kern="0" cap="none" spc="0" normalizeH="0" baseline="0" noProof="0">
                  <a:ln>
                    <a:noFill/>
                  </a:ln>
                  <a:solidFill>
                    <a:srgbClr val="000000"/>
                  </a:solidFill>
                  <a:effectLst/>
                  <a:uLnTx/>
                  <a:uFillTx/>
                  <a:latin typeface="EYInterstate Light"/>
                  <a:ea typeface="+mn-ea"/>
                  <a:cs typeface="+mn-cs"/>
                </a:rPr>
                <a:t>A strong track record</a:t>
              </a:r>
            </a:p>
          </p:txBody>
        </p:sp>
        <p:sp>
          <p:nvSpPr>
            <p:cNvPr id="83" name="Abgerundetes Rechteck 35">
              <a:extLst>
                <a:ext uri="{FF2B5EF4-FFF2-40B4-BE49-F238E27FC236}">
                  <a16:creationId xmlns:a16="http://schemas.microsoft.com/office/drawing/2014/main" id="{FFE0EC23-BABA-4B8F-A5F2-C2C1E7E4BB1D}"/>
                </a:ext>
              </a:extLst>
            </p:cNvPr>
            <p:cNvSpPr/>
            <p:nvPr/>
          </p:nvSpPr>
          <p:spPr bwMode="gray">
            <a:xfrm>
              <a:off x="8695241" y="1815381"/>
              <a:ext cx="1129822" cy="416101"/>
            </a:xfrm>
            <a:prstGeom prst="rect">
              <a:avLst/>
            </a:prstGeom>
            <a:noFill/>
            <a:ln w="25400" cap="flat" cmpd="sng" algn="ctr">
              <a:noFill/>
              <a:prstDash val="solid"/>
              <a:headEnd/>
              <a:tailEnd/>
            </a:ln>
            <a:effectLst/>
          </p:spPr>
          <p:txBody>
            <a:bodyPr vert="horz" wrap="square" lIns="73114" tIns="35981" rIns="71963" bIns="35981" anchor="t">
              <a:spAutoFit/>
            </a:bodyPr>
            <a:lstStyle/>
            <a:p>
              <a:pPr marL="0" marR="0" lvl="3" indent="0" algn="ctr" defTabSz="1350042" eaLnBrk="1" fontAlgn="auto" latinLnBrk="0" hangingPunct="1">
                <a:lnSpc>
                  <a:spcPct val="100000"/>
                </a:lnSpc>
                <a:spcBef>
                  <a:spcPts val="0"/>
                </a:spcBef>
                <a:spcAft>
                  <a:spcPts val="1513"/>
                </a:spcAft>
                <a:buClr>
                  <a:srgbClr val="FFE600"/>
                </a:buClr>
                <a:buSzPct val="70000"/>
                <a:buFontTx/>
                <a:buNone/>
                <a:tabLst/>
                <a:defRPr/>
              </a:pPr>
              <a:r>
                <a:rPr kumimoji="0" lang="en-US" sz="999" b="0" i="0" u="none" strike="noStrike" kern="0" cap="none" spc="0" normalizeH="0" baseline="0" noProof="0">
                  <a:ln>
                    <a:noFill/>
                  </a:ln>
                  <a:solidFill>
                    <a:srgbClr val="000000"/>
                  </a:solidFill>
                  <a:effectLst/>
                  <a:uLnTx/>
                  <a:uFillTx/>
                  <a:latin typeface="EYInterstate Light"/>
                  <a:ea typeface="+mn-ea"/>
                  <a:cs typeface="+mn-cs"/>
                </a:rPr>
                <a:t>The right team to partner you </a:t>
              </a:r>
            </a:p>
          </p:txBody>
        </p:sp>
        <p:sp>
          <p:nvSpPr>
            <p:cNvPr id="84" name="Abgerundetes Rechteck 35">
              <a:extLst>
                <a:ext uri="{FF2B5EF4-FFF2-40B4-BE49-F238E27FC236}">
                  <a16:creationId xmlns:a16="http://schemas.microsoft.com/office/drawing/2014/main" id="{B0E26D1A-F9B7-291D-F763-D9A25A844120}"/>
                </a:ext>
              </a:extLst>
            </p:cNvPr>
            <p:cNvSpPr/>
            <p:nvPr/>
          </p:nvSpPr>
          <p:spPr bwMode="gray">
            <a:xfrm>
              <a:off x="10277787" y="1815381"/>
              <a:ext cx="962802" cy="416101"/>
            </a:xfrm>
            <a:prstGeom prst="rect">
              <a:avLst/>
            </a:prstGeom>
            <a:noFill/>
            <a:ln w="25400" cap="flat" cmpd="sng" algn="ctr">
              <a:noFill/>
              <a:prstDash val="solid"/>
              <a:headEnd/>
              <a:tailEnd/>
            </a:ln>
            <a:effectLst/>
          </p:spPr>
          <p:txBody>
            <a:bodyPr vert="horz" wrap="square" lIns="73114" tIns="35981" rIns="71963" bIns="35981" anchor="t">
              <a:spAutoFit/>
            </a:bodyPr>
            <a:lstStyle/>
            <a:p>
              <a:pPr marL="0" marR="0" lvl="3" indent="0" algn="ctr" defTabSz="1350042" eaLnBrk="1" fontAlgn="auto" latinLnBrk="0" hangingPunct="1">
                <a:lnSpc>
                  <a:spcPct val="100000"/>
                </a:lnSpc>
                <a:spcBef>
                  <a:spcPts val="0"/>
                </a:spcBef>
                <a:spcAft>
                  <a:spcPts val="1513"/>
                </a:spcAft>
                <a:buClr>
                  <a:srgbClr val="FFE600"/>
                </a:buClr>
                <a:buSzPct val="70000"/>
                <a:buFontTx/>
                <a:buNone/>
                <a:tabLst/>
                <a:defRPr/>
              </a:pPr>
              <a:r>
                <a:rPr kumimoji="0" lang="en-US" sz="999" b="0" i="0" u="none" strike="noStrike" kern="0" cap="none" spc="0" normalizeH="0" baseline="0" noProof="0">
                  <a:ln>
                    <a:noFill/>
                  </a:ln>
                  <a:solidFill>
                    <a:srgbClr val="000000"/>
                  </a:solidFill>
                  <a:effectLst/>
                  <a:uLnTx/>
                  <a:uFillTx/>
                  <a:latin typeface="EYInterstate Light"/>
                  <a:ea typeface="+mn-ea"/>
                  <a:cs typeface="+mn-cs"/>
                </a:rPr>
                <a:t>A proven approach</a:t>
              </a:r>
            </a:p>
          </p:txBody>
        </p:sp>
        <p:grpSp>
          <p:nvGrpSpPr>
            <p:cNvPr id="85" name="Group 4">
              <a:extLst>
                <a:ext uri="{FF2B5EF4-FFF2-40B4-BE49-F238E27FC236}">
                  <a16:creationId xmlns:a16="http://schemas.microsoft.com/office/drawing/2014/main" id="{55ECD157-1720-0000-23D2-368299EC2CE8}"/>
                </a:ext>
              </a:extLst>
            </p:cNvPr>
            <p:cNvGrpSpPr>
              <a:grpSpLocks noChangeAspect="1"/>
            </p:cNvGrpSpPr>
            <p:nvPr/>
          </p:nvGrpSpPr>
          <p:grpSpPr bwMode="auto">
            <a:xfrm>
              <a:off x="8426690" y="1839718"/>
              <a:ext cx="327799" cy="331806"/>
              <a:chOff x="-2004" y="2044"/>
              <a:chExt cx="1058" cy="1019"/>
            </a:xfrm>
            <a:solidFill>
              <a:srgbClr val="000000"/>
            </a:solidFill>
          </p:grpSpPr>
          <p:sp>
            <p:nvSpPr>
              <p:cNvPr id="94" name="Freeform 5">
                <a:extLst>
                  <a:ext uri="{FF2B5EF4-FFF2-40B4-BE49-F238E27FC236}">
                    <a16:creationId xmlns:a16="http://schemas.microsoft.com/office/drawing/2014/main" id="{06147953-2EEE-FFFB-E533-39B13E89CA8C}"/>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95" name="Freeform 6">
                <a:extLst>
                  <a:ext uri="{FF2B5EF4-FFF2-40B4-BE49-F238E27FC236}">
                    <a16:creationId xmlns:a16="http://schemas.microsoft.com/office/drawing/2014/main" id="{3D8E38AB-7C62-8B78-8438-8E5FA66B4864}"/>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96" name="Freeform 7">
                <a:extLst>
                  <a:ext uri="{FF2B5EF4-FFF2-40B4-BE49-F238E27FC236}">
                    <a16:creationId xmlns:a16="http://schemas.microsoft.com/office/drawing/2014/main" id="{36E6E964-E87F-FA4E-96D9-5F2B89355E4F}"/>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97" name="Freeform 8">
                <a:extLst>
                  <a:ext uri="{FF2B5EF4-FFF2-40B4-BE49-F238E27FC236}">
                    <a16:creationId xmlns:a16="http://schemas.microsoft.com/office/drawing/2014/main" id="{FADC49F2-B8E2-B748-1817-A31F8F9A06FB}"/>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98" name="Freeform 9">
                <a:extLst>
                  <a:ext uri="{FF2B5EF4-FFF2-40B4-BE49-F238E27FC236}">
                    <a16:creationId xmlns:a16="http://schemas.microsoft.com/office/drawing/2014/main" id="{5F65C354-1D51-6316-9F47-84E49A981E88}"/>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99" name="Freeform 10">
                <a:extLst>
                  <a:ext uri="{FF2B5EF4-FFF2-40B4-BE49-F238E27FC236}">
                    <a16:creationId xmlns:a16="http://schemas.microsoft.com/office/drawing/2014/main" id="{54AD994D-0608-6250-A6D7-83433C643224}"/>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0" name="Freeform 11">
                <a:extLst>
                  <a:ext uri="{FF2B5EF4-FFF2-40B4-BE49-F238E27FC236}">
                    <a16:creationId xmlns:a16="http://schemas.microsoft.com/office/drawing/2014/main" id="{E811943D-7FDC-BA24-2616-2D2E9FA6EDA6}"/>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1" name="Freeform 12">
                <a:extLst>
                  <a:ext uri="{FF2B5EF4-FFF2-40B4-BE49-F238E27FC236}">
                    <a16:creationId xmlns:a16="http://schemas.microsoft.com/office/drawing/2014/main" id="{5C729096-63C2-8804-F2FC-2FCD2A0C99B4}"/>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2" name="Freeform 13">
                <a:extLst>
                  <a:ext uri="{FF2B5EF4-FFF2-40B4-BE49-F238E27FC236}">
                    <a16:creationId xmlns:a16="http://schemas.microsoft.com/office/drawing/2014/main" id="{2B13F30C-6813-8737-5277-72C43D4D95A4}"/>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3" name="Freeform 14">
                <a:extLst>
                  <a:ext uri="{FF2B5EF4-FFF2-40B4-BE49-F238E27FC236}">
                    <a16:creationId xmlns:a16="http://schemas.microsoft.com/office/drawing/2014/main" id="{B46F246C-35B8-0DDD-1577-1D53F221E5B4}"/>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4" name="Freeform 15">
                <a:extLst>
                  <a:ext uri="{FF2B5EF4-FFF2-40B4-BE49-F238E27FC236}">
                    <a16:creationId xmlns:a16="http://schemas.microsoft.com/office/drawing/2014/main" id="{8B64C5AE-470E-6D9E-8792-0C3864DB8147}"/>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5" name="Freeform 16">
                <a:extLst>
                  <a:ext uri="{FF2B5EF4-FFF2-40B4-BE49-F238E27FC236}">
                    <a16:creationId xmlns:a16="http://schemas.microsoft.com/office/drawing/2014/main" id="{2A4AEBA5-59FA-9EDB-3DAB-F014E4F61CB6}"/>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6" name="Rectangle 17">
                <a:extLst>
                  <a:ext uri="{FF2B5EF4-FFF2-40B4-BE49-F238E27FC236}">
                    <a16:creationId xmlns:a16="http://schemas.microsoft.com/office/drawing/2014/main" id="{997E2866-E837-26D6-9ECF-69A710BBF643}"/>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7" name="Rectangle 18">
                <a:extLst>
                  <a:ext uri="{FF2B5EF4-FFF2-40B4-BE49-F238E27FC236}">
                    <a16:creationId xmlns:a16="http://schemas.microsoft.com/office/drawing/2014/main" id="{90C5C5B7-AEBB-CE24-ABD0-46C18DAE3095}"/>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8" name="Rectangle 19">
                <a:extLst>
                  <a:ext uri="{FF2B5EF4-FFF2-40B4-BE49-F238E27FC236}">
                    <a16:creationId xmlns:a16="http://schemas.microsoft.com/office/drawing/2014/main" id="{21586E4C-9851-1970-1B15-1FEA71055767}"/>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09" name="Rectangle 20">
                <a:extLst>
                  <a:ext uri="{FF2B5EF4-FFF2-40B4-BE49-F238E27FC236}">
                    <a16:creationId xmlns:a16="http://schemas.microsoft.com/office/drawing/2014/main" id="{5E5462A4-7B00-33CE-EF8C-AE3B3BE4A712}"/>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10" name="Rectangle 21">
                <a:extLst>
                  <a:ext uri="{FF2B5EF4-FFF2-40B4-BE49-F238E27FC236}">
                    <a16:creationId xmlns:a16="http://schemas.microsoft.com/office/drawing/2014/main" id="{D80529A2-9633-EBBB-EF68-85255A750307}"/>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11" name="Rectangle 22">
                <a:extLst>
                  <a:ext uri="{FF2B5EF4-FFF2-40B4-BE49-F238E27FC236}">
                    <a16:creationId xmlns:a16="http://schemas.microsoft.com/office/drawing/2014/main" id="{C994DDA1-048D-938E-7416-4695BD597DD5}"/>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12" name="Rectangle 23">
                <a:extLst>
                  <a:ext uri="{FF2B5EF4-FFF2-40B4-BE49-F238E27FC236}">
                    <a16:creationId xmlns:a16="http://schemas.microsoft.com/office/drawing/2014/main" id="{4B2C7F4F-701B-6A9A-327A-378F47E6DFF2}"/>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sp>
            <p:nvSpPr>
              <p:cNvPr id="113" name="Rectangle 24">
                <a:extLst>
                  <a:ext uri="{FF2B5EF4-FFF2-40B4-BE49-F238E27FC236}">
                    <a16:creationId xmlns:a16="http://schemas.microsoft.com/office/drawing/2014/main" id="{31062669-3B35-3E28-05DA-C9367917B66D}"/>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000000"/>
                  </a:solidFill>
                  <a:effectLst/>
                  <a:uLnTx/>
                  <a:uFillTx/>
                </a:endParaRPr>
              </a:p>
            </p:txBody>
          </p:sp>
        </p:grpSp>
        <p:sp>
          <p:nvSpPr>
            <p:cNvPr id="86" name="Rechthoek 17">
              <a:extLst>
                <a:ext uri="{FF2B5EF4-FFF2-40B4-BE49-F238E27FC236}">
                  <a16:creationId xmlns:a16="http://schemas.microsoft.com/office/drawing/2014/main" id="{B64936C4-9626-22BF-6E35-7E5CCC664523}"/>
                </a:ext>
              </a:extLst>
            </p:cNvPr>
            <p:cNvSpPr/>
            <p:nvPr/>
          </p:nvSpPr>
          <p:spPr>
            <a:xfrm>
              <a:off x="8353240" y="2289647"/>
              <a:ext cx="1404001" cy="2050980"/>
            </a:xfrm>
            <a:prstGeom prst="rect">
              <a:avLst/>
            </a:prstGeom>
          </p:spPr>
          <p:txBody>
            <a:bodyPr wrap="square" lIns="35981" tIns="35981" rIns="35981" bIns="35981">
              <a:spAutoFit/>
            </a:bodyPr>
            <a:lstStyle/>
            <a:p>
              <a:pPr marL="0" marR="0" lvl="0" indent="0" algn="just" defTabSz="914400" eaLnBrk="1" fontAlgn="auto" latinLnBrk="0" hangingPunct="1">
                <a:lnSpc>
                  <a:spcPct val="100000"/>
                </a:lnSpc>
                <a:spcBef>
                  <a:spcPts val="0"/>
                </a:spcBef>
                <a:spcAft>
                  <a:spcPts val="600"/>
                </a:spcAft>
                <a:buClrTx/>
                <a:buSzPct val="70000"/>
                <a:buFontTx/>
                <a:buNone/>
                <a:tabLst/>
                <a:defRPr/>
              </a:pPr>
              <a:r>
                <a:rPr kumimoji="0" lang="en-I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ur delivery team is tailored to your needs and they are a team of locally based expert Microsoft Certified professionals, who are ready to deliver a solution for SJH, that is fit-for-purpose. </a:t>
              </a:r>
              <a:r>
                <a:rPr kumimoji="0" lang="en-GB" sz="900" b="0" i="0" u="none" strike="noStrike" kern="0" cap="none" spc="-5" normalizeH="0" baseline="0" noProof="0">
                  <a:ln>
                    <a:noFill/>
                  </a:ln>
                  <a:solidFill>
                    <a:srgbClr val="000000"/>
                  </a:solidFill>
                  <a:effectLst/>
                  <a:uLnTx/>
                  <a:uFillTx/>
                  <a:latin typeface="Calibri" panose="020F0502020204030204" pitchFamily="34" charset="0"/>
                  <a:cs typeface="Calibri" panose="020F0502020204030204" pitchFamily="34" charset="0"/>
                </a:rPr>
                <a:t>We are inclusive and friendly to work with – while not being afraid to constructively challenge your thinking. </a:t>
              </a:r>
            </a:p>
          </p:txBody>
        </p:sp>
        <p:sp>
          <p:nvSpPr>
            <p:cNvPr id="87" name="Rechthoek 18">
              <a:extLst>
                <a:ext uri="{FF2B5EF4-FFF2-40B4-BE49-F238E27FC236}">
                  <a16:creationId xmlns:a16="http://schemas.microsoft.com/office/drawing/2014/main" id="{8A6F9B1D-A6AA-363A-878F-F94F88735BD5}"/>
                </a:ext>
              </a:extLst>
            </p:cNvPr>
            <p:cNvSpPr/>
            <p:nvPr/>
          </p:nvSpPr>
          <p:spPr>
            <a:xfrm>
              <a:off x="6786168" y="2289647"/>
              <a:ext cx="1404001" cy="1747685"/>
            </a:xfrm>
            <a:prstGeom prst="rect">
              <a:avLst/>
            </a:prstGeom>
          </p:spPr>
          <p:txBody>
            <a:bodyPr wrap="square" lIns="35981" tIns="35981" rIns="35981" bIns="35981" anchor="t">
              <a:spAutoFit/>
            </a:bodyPr>
            <a:lstStyle/>
            <a:p>
              <a:pPr marL="0" marR="0" lvl="0" indent="0" algn="just" defTabSz="914400" eaLnBrk="1" fontAlgn="auto" latinLnBrk="0" hangingPunct="1">
                <a:lnSpc>
                  <a:spcPct val="100000"/>
                </a:lnSpc>
                <a:spcBef>
                  <a:spcPts val="0"/>
                </a:spcBef>
                <a:spcAft>
                  <a:spcPts val="600"/>
                </a:spcAft>
                <a:buClrTx/>
                <a:buSzPct val="70000"/>
                <a:buFontTx/>
                <a:buNone/>
                <a:tabLst/>
                <a:defRPr/>
              </a:pPr>
              <a:r>
                <a:rPr kumimoji="0" lang="en-IE"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e have a strong track record of </a:t>
              </a:r>
              <a:r>
                <a:rPr kumimoji="0" lang="en-GB" sz="900" b="0" i="0" u="none" strike="noStrike" kern="0" cap="none" spc="-5" normalizeH="0" baseline="0" noProof="0">
                  <a:ln>
                    <a:noFill/>
                  </a:ln>
                  <a:solidFill>
                    <a:srgbClr val="000000"/>
                  </a:solidFill>
                  <a:effectLst/>
                  <a:uLnTx/>
                  <a:uFillTx/>
                  <a:latin typeface="Calibri" panose="020F0502020204030204" pitchFamily="34" charset="0"/>
                  <a:cs typeface="Calibri" panose="020F0502020204030204" pitchFamily="34" charset="0"/>
                </a:rPr>
                <a:t>working within the Health Care sector, as shown within our Credentials, and delivering </a:t>
              </a:r>
              <a:r>
                <a:rPr lang="en-GB" sz="900" kern="0" spc="-5">
                  <a:solidFill>
                    <a:srgbClr val="000000"/>
                  </a:solidFill>
                  <a:latin typeface="Calibri" panose="020F0502020204030204" pitchFamily="34" charset="0"/>
                  <a:cs typeface="Calibri" panose="020F0502020204030204" pitchFamily="34" charset="0"/>
                </a:rPr>
                <a:t>Technically complex Cloud Transformation solutions with an agile approach, for large scale organisations, similar in nature and scales as SJH.</a:t>
              </a:r>
              <a:endParaRPr kumimoji="0" lang="en-GB" sz="900" b="0" i="0" u="none" strike="noStrike" kern="0" cap="none" spc="0" normalizeH="0" baseline="0" noProof="0">
                <a:ln>
                  <a:noFill/>
                </a:ln>
                <a:solidFill>
                  <a:srgbClr val="000000"/>
                </a:solidFill>
                <a:effectLst/>
                <a:uLnTx/>
                <a:uFillTx/>
                <a:latin typeface="Calibri" panose="020F0502020204030204" pitchFamily="34" charset="0"/>
                <a:ea typeface="+mn-lt"/>
                <a:cs typeface="Calibri" panose="020F0502020204030204" pitchFamily="34" charset="0"/>
              </a:endParaRPr>
            </a:p>
          </p:txBody>
        </p:sp>
        <p:sp>
          <p:nvSpPr>
            <p:cNvPr id="88" name="Rechthoek 19">
              <a:extLst>
                <a:ext uri="{FF2B5EF4-FFF2-40B4-BE49-F238E27FC236}">
                  <a16:creationId xmlns:a16="http://schemas.microsoft.com/office/drawing/2014/main" id="{533320D6-D0AC-AF0C-B0F9-7CE745F51C29}"/>
                </a:ext>
              </a:extLst>
            </p:cNvPr>
            <p:cNvSpPr/>
            <p:nvPr/>
          </p:nvSpPr>
          <p:spPr>
            <a:xfrm>
              <a:off x="9920312" y="2289647"/>
              <a:ext cx="1404001" cy="1747685"/>
            </a:xfrm>
            <a:prstGeom prst="rect">
              <a:avLst/>
            </a:prstGeom>
          </p:spPr>
          <p:txBody>
            <a:bodyPr wrap="square" lIns="35981" tIns="35981" rIns="35981" bIns="35981">
              <a:spAutoFit/>
            </a:bodyPr>
            <a:lstStyle/>
            <a:p>
              <a:pPr marL="0" marR="0" lvl="0" indent="0" algn="just" defTabSz="914400" eaLnBrk="1" fontAlgn="auto" latinLnBrk="0" hangingPunct="1">
                <a:lnSpc>
                  <a:spcPct val="100000"/>
                </a:lnSpc>
                <a:spcBef>
                  <a:spcPts val="0"/>
                </a:spcBef>
                <a:spcAft>
                  <a:spcPts val="600"/>
                </a:spcAft>
                <a:buClrTx/>
                <a:buSzPct val="70000"/>
                <a:buFontTx/>
                <a:buNone/>
                <a:tabLst/>
                <a:defRPr/>
              </a:pPr>
              <a:r>
                <a:rPr kumimoji="0" lang="en-GB" sz="900" b="0" i="0" u="none" strike="noStrike" kern="0" cap="none" spc="-5" normalizeH="0" baseline="0" noProof="0">
                  <a:ln>
                    <a:noFill/>
                  </a:ln>
                  <a:solidFill>
                    <a:srgbClr val="000000"/>
                  </a:solidFill>
                  <a:effectLst/>
                  <a:uLnTx/>
                  <a:uFillTx/>
                  <a:latin typeface="Calibri" panose="020F0502020204030204" pitchFamily="34" charset="0"/>
                  <a:cs typeface="Calibri" panose="020F0502020204030204" pitchFamily="34" charset="0"/>
                </a:rPr>
                <a:t>Our collaborative approach allows us to efficiently explore the big issues with stakeholders to build </a:t>
              </a: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 shared vision. We also recognise the need for pragmatism, and that buy-in from stakeholders will be more critical than “ideological purity” </a:t>
              </a:r>
              <a:b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9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f the solution.</a:t>
              </a:r>
            </a:p>
          </p:txBody>
        </p:sp>
        <p:pic>
          <p:nvPicPr>
            <p:cNvPr id="89" name="Graphic 88" descr="Clipboard Badge outline">
              <a:extLst>
                <a:ext uri="{FF2B5EF4-FFF2-40B4-BE49-F238E27FC236}">
                  <a16:creationId xmlns:a16="http://schemas.microsoft.com/office/drawing/2014/main" id="{02A98C7A-7BB8-5CB8-0F50-85F5E51C95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3014" y="1777993"/>
              <a:ext cx="455256" cy="455256"/>
            </a:xfrm>
            <a:prstGeom prst="rect">
              <a:avLst/>
            </a:prstGeom>
          </p:spPr>
        </p:pic>
        <p:pic>
          <p:nvPicPr>
            <p:cNvPr id="90" name="Graphic 89" descr="Workflow outline">
              <a:extLst>
                <a:ext uri="{FF2B5EF4-FFF2-40B4-BE49-F238E27FC236}">
                  <a16:creationId xmlns:a16="http://schemas.microsoft.com/office/drawing/2014/main" id="{4C3AB228-68AB-BAF4-6A00-058686B0BE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69676" y="1777993"/>
              <a:ext cx="455256" cy="455256"/>
            </a:xfrm>
            <a:prstGeom prst="rect">
              <a:avLst/>
            </a:prstGeom>
          </p:spPr>
        </p:pic>
        <p:sp>
          <p:nvSpPr>
            <p:cNvPr id="91" name="Text Placeholder 3">
              <a:extLst>
                <a:ext uri="{FF2B5EF4-FFF2-40B4-BE49-F238E27FC236}">
                  <a16:creationId xmlns:a16="http://schemas.microsoft.com/office/drawing/2014/main" id="{6596B196-B319-8CC5-BEF3-8DF667D1FA2E}"/>
                </a:ext>
              </a:extLst>
            </p:cNvPr>
            <p:cNvSpPr txBox="1">
              <a:spLocks/>
            </p:cNvSpPr>
            <p:nvPr/>
          </p:nvSpPr>
          <p:spPr>
            <a:xfrm>
              <a:off x="6885133" y="1552901"/>
              <a:ext cx="649101" cy="200524"/>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r>
                <a:rPr kumimoji="0" lang="en-IN" sz="999"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hy EY</a:t>
              </a:r>
            </a:p>
          </p:txBody>
        </p:sp>
        <p:cxnSp>
          <p:nvCxnSpPr>
            <p:cNvPr id="92" name="Straight Connector 91">
              <a:extLst>
                <a:ext uri="{FF2B5EF4-FFF2-40B4-BE49-F238E27FC236}">
                  <a16:creationId xmlns:a16="http://schemas.microsoft.com/office/drawing/2014/main" id="{AD0F4EAE-DD7C-F2B7-319A-ED2A892EE923}"/>
                </a:ext>
              </a:extLst>
            </p:cNvPr>
            <p:cNvCxnSpPr/>
            <p:nvPr/>
          </p:nvCxnSpPr>
          <p:spPr bwMode="auto">
            <a:xfrm>
              <a:off x="8271704" y="1784348"/>
              <a:ext cx="0" cy="2455769"/>
            </a:xfrm>
            <a:prstGeom prst="line">
              <a:avLst/>
            </a:prstGeom>
            <a:solidFill>
              <a:srgbClr val="2DB757"/>
            </a:solidFill>
            <a:ln w="6350" cap="flat" cmpd="sng" algn="ctr">
              <a:solidFill>
                <a:srgbClr val="2E2E38">
                  <a:lumMod val="60000"/>
                  <a:lumOff val="4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Straight Connector 92">
              <a:extLst>
                <a:ext uri="{FF2B5EF4-FFF2-40B4-BE49-F238E27FC236}">
                  <a16:creationId xmlns:a16="http://schemas.microsoft.com/office/drawing/2014/main" id="{B9DCB518-779A-8692-094F-E06DE4138A0E}"/>
                </a:ext>
              </a:extLst>
            </p:cNvPr>
            <p:cNvCxnSpPr/>
            <p:nvPr/>
          </p:nvCxnSpPr>
          <p:spPr bwMode="auto">
            <a:xfrm>
              <a:off x="9838776" y="1777991"/>
              <a:ext cx="0" cy="2482833"/>
            </a:xfrm>
            <a:prstGeom prst="line">
              <a:avLst/>
            </a:prstGeom>
            <a:solidFill>
              <a:srgbClr val="2DB757"/>
            </a:solidFill>
            <a:ln w="6350" cap="flat" cmpd="sng" algn="ctr">
              <a:solidFill>
                <a:srgbClr val="2E2E38">
                  <a:lumMod val="60000"/>
                  <a:lumOff val="4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14" name="Straight Connector 113">
            <a:extLst>
              <a:ext uri="{FF2B5EF4-FFF2-40B4-BE49-F238E27FC236}">
                <a16:creationId xmlns:a16="http://schemas.microsoft.com/office/drawing/2014/main" id="{ACF79EC6-4314-A08C-75BB-2304A4A052BE}"/>
              </a:ext>
            </a:extLst>
          </p:cNvPr>
          <p:cNvCxnSpPr/>
          <p:nvPr/>
        </p:nvCxnSpPr>
        <p:spPr bwMode="auto">
          <a:xfrm flipH="1">
            <a:off x="6987313" y="1572790"/>
            <a:ext cx="0" cy="5017624"/>
          </a:xfrm>
          <a:prstGeom prst="line">
            <a:avLst/>
          </a:prstGeom>
          <a:solidFill>
            <a:srgbClr val="2DB757"/>
          </a:solidFill>
          <a:ln w="6350" cap="flat" cmpd="sng" algn="ctr">
            <a:solidFill>
              <a:sysClr val="window" lastClr="FFFFFF">
                <a:lumMod val="75000"/>
              </a:sys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Straight Connector 114">
            <a:extLst>
              <a:ext uri="{FF2B5EF4-FFF2-40B4-BE49-F238E27FC236}">
                <a16:creationId xmlns:a16="http://schemas.microsoft.com/office/drawing/2014/main" id="{D04CF7CE-9025-91EB-59BF-AC0C2432D7B7}"/>
              </a:ext>
            </a:extLst>
          </p:cNvPr>
          <p:cNvCxnSpPr/>
          <p:nvPr/>
        </p:nvCxnSpPr>
        <p:spPr bwMode="auto">
          <a:xfrm flipH="1">
            <a:off x="3578811" y="1603761"/>
            <a:ext cx="0" cy="5017624"/>
          </a:xfrm>
          <a:prstGeom prst="line">
            <a:avLst/>
          </a:prstGeom>
          <a:solidFill>
            <a:srgbClr val="2DB757"/>
          </a:solidFill>
          <a:ln w="6350" cap="flat" cmpd="sng" algn="ctr">
            <a:solidFill>
              <a:sysClr val="window" lastClr="FFFFFF">
                <a:lumMod val="75000"/>
              </a:sys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6" name="Text Placeholder 3">
            <a:extLst>
              <a:ext uri="{FF2B5EF4-FFF2-40B4-BE49-F238E27FC236}">
                <a16:creationId xmlns:a16="http://schemas.microsoft.com/office/drawing/2014/main" id="{61C1CB68-D0DE-7C78-196C-32FDC46BD155}"/>
              </a:ext>
            </a:extLst>
          </p:cNvPr>
          <p:cNvSpPr txBox="1">
            <a:spLocks/>
          </p:cNvSpPr>
          <p:nvPr/>
        </p:nvSpPr>
        <p:spPr>
          <a:xfrm>
            <a:off x="7258805" y="1369591"/>
            <a:ext cx="3348384" cy="179906"/>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lvl="3" defTabSz="967175">
              <a:spcAft>
                <a:spcPts val="600"/>
              </a:spcAft>
            </a:pPr>
            <a:r>
              <a:rPr lang="en-GB" sz="999" b="1">
                <a:solidFill>
                  <a:srgbClr val="000000"/>
                </a:solidFill>
                <a:latin typeface="Calibri" panose="020F0502020204030204" pitchFamily="34" charset="0"/>
                <a:cs typeface="Calibri" panose="020F0502020204030204" pitchFamily="34" charset="0"/>
              </a:rPr>
              <a:t>Our Delivery Methodology</a:t>
            </a:r>
          </a:p>
        </p:txBody>
      </p:sp>
      <p:sp>
        <p:nvSpPr>
          <p:cNvPr id="123" name="Text Placeholder 3">
            <a:extLst>
              <a:ext uri="{FF2B5EF4-FFF2-40B4-BE49-F238E27FC236}">
                <a16:creationId xmlns:a16="http://schemas.microsoft.com/office/drawing/2014/main" id="{B18721CB-771E-F56D-03AD-2C8005BA3E97}"/>
              </a:ext>
            </a:extLst>
          </p:cNvPr>
          <p:cNvSpPr txBox="1">
            <a:spLocks/>
          </p:cNvSpPr>
          <p:nvPr/>
        </p:nvSpPr>
        <p:spPr>
          <a:xfrm>
            <a:off x="3632287" y="1415770"/>
            <a:ext cx="3295053" cy="5067508"/>
          </a:xfrm>
          <a:prstGeom prst="rect">
            <a:avLst/>
          </a:prstGeom>
        </p:spPr>
        <p:txBody>
          <a:bodyPr vert="horz" lIns="0" tIns="0" rIns="0" bIns="0" numCol="1" spcCol="180000" rtlCol="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900" b="0" i="0" baseline="0">
                <a:solidFill>
                  <a:schemeClr val="bg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600"/>
              </a:spcBef>
              <a:spcAft>
                <a:spcPts val="200"/>
              </a:spcAft>
              <a:buClrTx/>
              <a:buSzPct val="30000"/>
              <a:buFont typeface="Arial" charset="0"/>
              <a:buNone/>
              <a:tabLst/>
              <a:defRPr kumimoji="0" lang="en-GB" sz="900" b="1" i="0" u="none" strike="noStrike" kern="0" cap="none" spc="0" normalizeH="0" baseline="0">
                <a:ln>
                  <a:noFill/>
                </a:ln>
                <a:solidFill>
                  <a:schemeClr val="bg1"/>
                </a:solidFill>
                <a:effectLst/>
                <a:uLnTx/>
                <a:uFillTx/>
                <a:latin typeface="EYInterstate" panose="02000503020000020004" pitchFamily="2" charset="0"/>
                <a:ea typeface="+mn-ea"/>
                <a:cs typeface="+mn-cs"/>
              </a:defRPr>
            </a:lvl2pPr>
            <a:lvl3pPr marL="136525" marR="0" indent="-136525" algn="l" defTabSz="1070893" rtl="0" eaLnBrk="1" fontAlgn="base" latinLnBrk="0" hangingPunct="1">
              <a:lnSpc>
                <a:spcPct val="100000"/>
              </a:lnSpc>
              <a:spcBef>
                <a:spcPts val="0"/>
              </a:spcBef>
              <a:spcAft>
                <a:spcPts val="600"/>
              </a:spcAft>
              <a:buClr>
                <a:srgbClr val="FFE600"/>
              </a:buClr>
              <a:buSzPct val="70000"/>
              <a:buFont typeface="Arial" panose="020B0604020202020204" pitchFamily="34" charset="0"/>
              <a:buChar char="►"/>
              <a:tabLst/>
              <a:defRPr kumimoji="0" lang="en-US" sz="900" b="0" i="0" u="none" strike="noStrike" kern="0" cap="none" spc="0" normalizeH="0" baseline="0">
                <a:ln>
                  <a:noFill/>
                </a:ln>
                <a:solidFill>
                  <a:schemeClr val="bg1"/>
                </a:solidFill>
                <a:effectLst/>
                <a:uLnTx/>
                <a:uFillTx/>
                <a:latin typeface="EYInterstate Light"/>
                <a:ea typeface="+mn-ea"/>
                <a:cs typeface="+mn-cs"/>
              </a:defRPr>
            </a:lvl3pPr>
            <a:lvl4pPr marL="0" marR="0" indent="0" algn="l" defTabSz="1070893" rtl="0" eaLnBrk="1" fontAlgn="base" latinLnBrk="0" hangingPunct="1">
              <a:lnSpc>
                <a:spcPct val="100000"/>
              </a:lnSpc>
              <a:spcBef>
                <a:spcPts val="0"/>
              </a:spcBef>
              <a:spcAft>
                <a:spcPts val="1200"/>
              </a:spcAft>
              <a:buClr>
                <a:srgbClr val="FFE600"/>
              </a:buClr>
              <a:buSzPct val="70000"/>
              <a:buFont typeface="Arial" panose="020B0604020202020204" pitchFamily="34" charset="0"/>
              <a:buNone/>
              <a:tabLst/>
              <a:defRPr kumimoji="0" lang="en-US" sz="1400" b="0" i="0" u="none" strike="noStrike" kern="0" cap="none" spc="0" normalizeH="0" baseline="0">
                <a:ln>
                  <a:noFill/>
                </a:ln>
                <a:solidFill>
                  <a:schemeClr val="bg1"/>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a:ln>
                  <a:noFill/>
                </a:ln>
                <a:solidFill>
                  <a:schemeClr val="bg1"/>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r>
              <a:rPr kumimoji="0" lang="en-GB" sz="999"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ur Understanding and Approach</a:t>
            </a:r>
          </a:p>
          <a:p>
            <a:pPr marL="0" marR="0" lvl="3" indent="0" algn="just"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r>
              <a:rPr kumimoji="0" lang="en-IE" sz="1000" b="0"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e believe the delivery approach methodology </a:t>
            </a:r>
            <a:r>
              <a:rPr lang="en-IE" sz="1000" kern="600">
                <a:solidFill>
                  <a:srgbClr val="000000"/>
                </a:solidFill>
                <a:latin typeface="Calibri" panose="020F0502020204030204" pitchFamily="34" charset="0"/>
                <a:cs typeface="Calibri" panose="020F0502020204030204" pitchFamily="34" charset="0"/>
              </a:rPr>
              <a:t>we will follow and the </a:t>
            </a:r>
            <a:r>
              <a:rPr kumimoji="0" lang="en-IE" sz="1000" b="0"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olution we will implement, focusing on the following core components: </a:t>
            </a:r>
            <a:r>
              <a:rPr kumimoji="0" lang="en-IE" sz="1000" b="1"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DAM, Connectivity, Backup, Compute, Data, Deployment Management, Recovery, Security, overall Governance </a:t>
            </a:r>
            <a:r>
              <a:rPr kumimoji="0" lang="en-IE" sz="1000" b="0"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a:t>
            </a:r>
            <a:r>
              <a:rPr kumimoji="0" lang="en-IE" sz="1000" b="1"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Quality Assurance </a:t>
            </a:r>
            <a:r>
              <a:rPr kumimoji="0" lang="en-IE" sz="1000" b="0"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roughout each stage of the engagement, are key to delivering a solution that will be fit-for-purpose and fulfil all the requirements set by SJH. Our proposed team brings continuity and a unique awareness of both the challenges and opportunities for planning, building, deploying and then supporting a critical solution for SJH.</a:t>
            </a:r>
          </a:p>
          <a:p>
            <a:pPr marL="0" marR="0" lvl="3" indent="0" algn="just"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endParaRPr lang="en-IE" sz="1000" kern="600">
              <a:solidFill>
                <a:srgbClr val="000000"/>
              </a:solidFill>
              <a:latin typeface="Calibri" panose="020F0502020204030204" pitchFamily="34" charset="0"/>
              <a:cs typeface="Calibri" panose="020F0502020204030204" pitchFamily="34" charset="0"/>
            </a:endParaRPr>
          </a:p>
          <a:p>
            <a:pPr marL="0" marR="0" lvl="3" indent="0" algn="just"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r>
              <a:rPr lang="en-GB" sz="1000" b="1">
                <a:solidFill>
                  <a:srgbClr val="000000"/>
                </a:solidFill>
                <a:latin typeface="Calibri" panose="020F0502020204030204" pitchFamily="34" charset="0"/>
                <a:cs typeface="Calibri" panose="020F0502020204030204" pitchFamily="34" charset="0"/>
              </a:rPr>
              <a:t>Our Past Experience</a:t>
            </a:r>
            <a:endParaRPr kumimoji="0" lang="en-GB" sz="10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lvl="3" indent="-171364" defTabSz="913943">
              <a:spcAft>
                <a:spcPts val="600"/>
              </a:spcAft>
              <a:buClrTx/>
              <a:buFont typeface="Arial" panose="020B0604020202020204" pitchFamily="34" charset="0"/>
              <a:buChar char="►"/>
              <a:defRPr/>
            </a:pPr>
            <a:r>
              <a:rPr lang="en-GB" sz="1000" kern="1200">
                <a:solidFill>
                  <a:srgbClr val="000000"/>
                </a:solidFill>
                <a:latin typeface="Calibri" panose="020F0502020204030204" pitchFamily="34" charset="0"/>
                <a:cs typeface="Calibri" panose="020F0502020204030204" pitchFamily="34" charset="0"/>
              </a:rPr>
              <a:t>S</a:t>
            </a:r>
            <a:r>
              <a:rPr kumimoji="0" lang="en-GB" sz="1000" b="0" i="0" u="none" strike="noStrike" kern="120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trong</a:t>
            </a:r>
            <a:r>
              <a:rPr kumimoji="0" lang="en-GB" sz="10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foundations built through past engagements will allow us to hit the ground running and deliver with maximum impact and efficacy. </a:t>
            </a:r>
          </a:p>
          <a:p>
            <a:pPr marL="171364" lvl="3" indent="-171364" defTabSz="913943">
              <a:spcAft>
                <a:spcPts val="600"/>
              </a:spcAft>
              <a:buClrTx/>
              <a:buFont typeface="Arial" panose="020B0604020202020204" pitchFamily="34" charset="0"/>
              <a:buChar char="►"/>
              <a:defRPr/>
            </a:pPr>
            <a:r>
              <a:rPr kumimoji="0" lang="en-IE" sz="10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I: </a:t>
            </a:r>
            <a:r>
              <a:rPr kumimoji="0" lang="en-IE" sz="1000" b="0" i="0" u="none" strike="noStrike" kern="1200" cap="none" spc="0" normalizeH="0" baseline="0" noProof="0">
                <a:ln>
                  <a:noFill/>
                </a:ln>
                <a:solidFill>
                  <a:srgbClr val="2E2E38"/>
                </a:solidFill>
                <a:effectLst/>
                <a:uLnTx/>
                <a:uFillTx/>
                <a:latin typeface="Calibri"/>
                <a:ea typeface="+mn-ea"/>
                <a:cs typeface="Calibri"/>
              </a:rPr>
              <a:t>EY delivered an end-to-end fully managed case management solution and contact centre service. The solution utilised the full breadth and depth of Microsoft’s Cloud Platforms including Power, Dynamics and Azure. </a:t>
            </a:r>
            <a:endParaRPr kumimoji="0" lang="en-IE" sz="10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171364" marR="0" lvl="3" indent="-171364" algn="l" defTabSz="913943" rtl="0" eaLnBrk="1" fontAlgn="base" latinLnBrk="0" hangingPunct="1">
              <a:lnSpc>
                <a:spcPct val="100000"/>
              </a:lnSpc>
              <a:spcBef>
                <a:spcPts val="0"/>
              </a:spcBef>
              <a:spcAft>
                <a:spcPts val="600"/>
              </a:spcAft>
              <a:buClrTx/>
              <a:buSzPct val="70000"/>
              <a:buFont typeface="Arial" panose="020B0604020202020204" pitchFamily="34" charset="0"/>
              <a:buChar char="►"/>
              <a:tabLst/>
              <a:defRPr/>
            </a:pPr>
            <a:r>
              <a:rPr lang="en-IE" sz="1000" kern="1200">
                <a:solidFill>
                  <a:srgbClr val="000000"/>
                </a:solidFill>
                <a:latin typeface="Calibri" panose="020F0502020204030204" pitchFamily="34" charset="0"/>
                <a:cs typeface="Calibri" panose="020F0502020204030204" pitchFamily="34" charset="0"/>
              </a:rPr>
              <a:t>HSE: </a:t>
            </a:r>
            <a:r>
              <a:rPr kumimoji="0" lang="en-IE" sz="100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EY delivered an Azure Data Platform, </a:t>
            </a:r>
            <a:r>
              <a:rPr kumimoji="0" lang="en-IE" sz="1000" b="0" i="0" u="none" strike="noStrike" kern="1200" cap="none" spc="0" normalizeH="0" baseline="0" noProof="0">
                <a:ln>
                  <a:noFill/>
                </a:ln>
                <a:solidFill>
                  <a:srgbClr val="2E2E38"/>
                </a:solidFill>
                <a:effectLst/>
                <a:uLnTx/>
                <a:uFillTx/>
                <a:latin typeface="Calibri" panose="020F0502020204030204" pitchFamily="34" charset="0"/>
                <a:ea typeface="+mn-lt"/>
                <a:cs typeface="Calibri" panose="020F0502020204030204" pitchFamily="34" charset="0"/>
              </a:rPr>
              <a:t>enabling data integration</a:t>
            </a:r>
            <a:r>
              <a:rPr kumimoji="0" lang="en-IE" sz="100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 from various sources to model the disease's (COVID-19) impact and offer situational dashboards for decision-making. </a:t>
            </a:r>
            <a:endParaRPr lang="en-IE" sz="1000" kern="1200">
              <a:solidFill>
                <a:srgbClr val="000000"/>
              </a:solidFill>
              <a:latin typeface="Calibri" panose="020F0502020204030204" pitchFamily="34" charset="0"/>
              <a:ea typeface="+mn-ea"/>
              <a:cs typeface="Calibri" panose="020F0502020204030204" pitchFamily="34" charset="0"/>
            </a:endParaRPr>
          </a:p>
          <a:p>
            <a:pPr marL="171364" marR="0" lvl="3" indent="-171364" algn="l" defTabSz="913943" rtl="0" eaLnBrk="1" fontAlgn="base" latinLnBrk="0" hangingPunct="1">
              <a:lnSpc>
                <a:spcPct val="100000"/>
              </a:lnSpc>
              <a:spcBef>
                <a:spcPts val="0"/>
              </a:spcBef>
              <a:spcAft>
                <a:spcPts val="600"/>
              </a:spcAft>
              <a:buClrTx/>
              <a:buSzPct val="70000"/>
              <a:buFont typeface="Arial" panose="020B0604020202020204" pitchFamily="34" charset="0"/>
              <a:buChar char="►"/>
              <a:tabLst/>
              <a:defRPr/>
            </a:pPr>
            <a:r>
              <a:rPr lang="en-IE" sz="1000" kern="1200" err="1">
                <a:solidFill>
                  <a:srgbClr val="000000"/>
                </a:solidFill>
                <a:latin typeface="Calibri" panose="020F0502020204030204" pitchFamily="34" charset="0"/>
                <a:cs typeface="Calibri" panose="020F0502020204030204" pitchFamily="34" charset="0"/>
              </a:rPr>
              <a:t>Screenlink</a:t>
            </a:r>
            <a:r>
              <a:rPr lang="en-IE" sz="1000" kern="1200">
                <a:solidFill>
                  <a:srgbClr val="000000"/>
                </a:solidFill>
                <a:latin typeface="Calibri" panose="020F0502020204030204" pitchFamily="34" charset="0"/>
                <a:cs typeface="Calibri" panose="020F0502020204030204" pitchFamily="34" charset="0"/>
              </a:rPr>
              <a:t>: </a:t>
            </a:r>
            <a:r>
              <a:rPr kumimoji="0" lang="en-IE" sz="100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EY successfully migrated Screenlink legacy System to Microsoft Azure in 2020, resulting in upgraded servers, improved data security, and increased flexibility for future engagements. </a:t>
            </a:r>
            <a:endParaRPr kumimoji="0" lang="en-IE" sz="10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endParaRPr kumimoji="0" lang="en-IE" sz="900" b="0" i="0" u="none" strike="noStrike" kern="6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0" marR="0" lvl="3" indent="0" algn="l" defTabSz="967175" rtl="0" eaLnBrk="1" fontAlgn="base" latinLnBrk="0" hangingPunct="1">
              <a:lnSpc>
                <a:spcPct val="100000"/>
              </a:lnSpc>
              <a:spcBef>
                <a:spcPts val="0"/>
              </a:spcBef>
              <a:spcAft>
                <a:spcPts val="600"/>
              </a:spcAft>
              <a:buClr>
                <a:srgbClr val="FFE600"/>
              </a:buClr>
              <a:buSzPct val="70000"/>
              <a:buFont typeface="Arial" panose="020B0604020202020204" pitchFamily="34" charset="0"/>
              <a:buNone/>
              <a:tabLst/>
              <a:defRPr/>
            </a:pPr>
            <a:endParaRPr kumimoji="0" lang="en-GB" sz="900" b="0" i="0" u="none" strike="noStrike" kern="0" cap="none" spc="0" normalizeH="0" baseline="0" noProof="0">
              <a:ln>
                <a:noFill/>
              </a:ln>
              <a:solidFill>
                <a:srgbClr val="000000"/>
              </a:solidFill>
              <a:effectLst/>
              <a:uLnTx/>
              <a:uFillTx/>
              <a:latin typeface="EYInterstate Light"/>
              <a:ea typeface="+mn-ea"/>
              <a:cs typeface="+mn-cs"/>
            </a:endParaRPr>
          </a:p>
        </p:txBody>
      </p:sp>
      <p:sp>
        <p:nvSpPr>
          <p:cNvPr id="6" name="Text Placeholder 7">
            <a:extLst>
              <a:ext uri="{FF2B5EF4-FFF2-40B4-BE49-F238E27FC236}">
                <a16:creationId xmlns:a16="http://schemas.microsoft.com/office/drawing/2014/main" id="{55E0E012-0D47-92BE-031E-1BF62225CF8C}"/>
              </a:ext>
            </a:extLst>
          </p:cNvPr>
          <p:cNvSpPr txBox="1">
            <a:spLocks/>
          </p:cNvSpPr>
          <p:nvPr/>
        </p:nvSpPr>
        <p:spPr>
          <a:xfrm>
            <a:off x="608806" y="684250"/>
            <a:ext cx="10974388" cy="523983"/>
          </a:xfrm>
          <a:prstGeom prst="rect">
            <a:avLst/>
          </a:prstGeom>
        </p:spPr>
        <p:txBody>
          <a:bodyPr vert="horz" lIns="0" tIns="0" rIns="0" bIns="0" rtlCol="0" anchor="b" anchorCtr="0">
            <a:noAutofit/>
          </a:bodyPr>
          <a:lstStyle>
            <a:lvl1pPr marL="0"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2400" kern="1200">
                <a:solidFill>
                  <a:schemeClr val="bg1"/>
                </a:solidFill>
                <a:latin typeface="EYInterstate Light" panose="02000506000000020004" pitchFamily="2" charset="0"/>
                <a:ea typeface="+mn-ea"/>
                <a:cs typeface="+mn-cs"/>
              </a:defRPr>
            </a:lvl1pPr>
            <a:lvl2pPr marL="356437" indent="0" algn="l" defTabSz="913943" rtl="0" eaLnBrk="1" latinLnBrk="0" hangingPunct="1">
              <a:spcBef>
                <a:spcPts val="0"/>
              </a:spcBef>
              <a:spcAft>
                <a:spcPts val="500"/>
              </a:spcAft>
              <a:buClr>
                <a:schemeClr val="tx2"/>
              </a:buClr>
              <a:buSzPct val="110000"/>
              <a:buFont typeface="EYInterstate Light" panose="02000506000000020004" pitchFamily="2" charset="0"/>
              <a:buNone/>
              <a:defRPr lang="en-US" sz="1400" b="0"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0"/>
              </a:spcBef>
              <a:spcAft>
                <a:spcPts val="500"/>
              </a:spcAft>
              <a:buClr>
                <a:schemeClr val="tx2"/>
              </a:buClr>
              <a:buSzPct val="110000"/>
              <a:buFont typeface="EYInterstate Light" panose="02000506000000020004" pitchFamily="2" charset="0"/>
              <a:buChar char="•"/>
              <a:defRPr lang="en-US" sz="1100" b="1" kern="1200" dirty="0">
                <a:solidFill>
                  <a:srgbClr val="747480"/>
                </a:solidFill>
                <a:latin typeface="EYInterstate" panose="02000503020000020004" pitchFamily="2" charset="0"/>
                <a:ea typeface="+mn-ea"/>
                <a:cs typeface="+mn-cs"/>
              </a:defRPr>
            </a:lvl3pPr>
            <a:lvl4pPr marL="1425751" indent="-356438" algn="l" defTabSz="913943" rtl="0" eaLnBrk="1" latinLnBrk="0" hangingPunct="1">
              <a:spcBef>
                <a:spcPts val="0"/>
              </a:spcBef>
              <a:spcAft>
                <a:spcPts val="500"/>
              </a:spcAft>
              <a:buClrTx/>
              <a:buSzPct val="70000"/>
              <a:buFont typeface="Arial" panose="020B0604020202020204" pitchFamily="34" charset="0"/>
              <a:buChar char="►"/>
              <a:defRPr lang="en-US" sz="1000" kern="1200" dirty="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0"/>
              </a:spcBef>
              <a:spcAft>
                <a:spcPts val="500"/>
              </a:spcAft>
              <a:buClrTx/>
              <a:buSzPct val="70000"/>
              <a:buFont typeface="Arial" panose="020B0604020202020204" pitchFamily="34" charset="0"/>
              <a:buChar char="►"/>
              <a:defRPr lang="en-GB" sz="1000" kern="1200" dirty="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IE">
                <a:latin typeface="Calibri"/>
                <a:cs typeface="Calibri"/>
              </a:rPr>
              <a:t>Our Understanding</a:t>
            </a:r>
          </a:p>
        </p:txBody>
      </p:sp>
      <p:sp>
        <p:nvSpPr>
          <p:cNvPr id="7" name="TextBox 6">
            <a:extLst>
              <a:ext uri="{FF2B5EF4-FFF2-40B4-BE49-F238E27FC236}">
                <a16:creationId xmlns:a16="http://schemas.microsoft.com/office/drawing/2014/main" id="{1CAD1F7B-D803-E9FC-1120-1367D1D93CBA}"/>
              </a:ext>
            </a:extLst>
          </p:cNvPr>
          <p:cNvSpPr txBox="1"/>
          <p:nvPr/>
        </p:nvSpPr>
        <p:spPr>
          <a:xfrm>
            <a:off x="9655040" y="3423684"/>
            <a:ext cx="1731155" cy="606301"/>
          </a:xfrm>
          <a:prstGeom prst="rect">
            <a:avLst/>
          </a:prstGeom>
          <a:noFill/>
        </p:spPr>
        <p:txBody>
          <a:bodyPr wrap="square" lIns="0" tIns="36557" rIns="0" bIns="0" rtlCol="0" anchor="t">
            <a:spAutoFit/>
          </a:bodyPr>
          <a:lstStyle/>
          <a:p>
            <a:pPr marL="0" marR="0" lvl="0" indent="0" defTabSz="91440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Run</a:t>
            </a:r>
          </a:p>
          <a:p>
            <a:pPr marL="0" marR="0" lvl="0" indent="0" algn="just" defTabSz="913943" rtl="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Support new solution through </a:t>
            </a:r>
            <a:r>
              <a:rPr kumimoji="0" lang="en-AU" sz="900" b="0" i="0" u="none" strike="noStrike" kern="0" cap="none" spc="0" normalizeH="0" baseline="0" noProof="0" err="1">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hypercare</a:t>
            </a:r>
            <a:r>
              <a:rPr kumimoji="0" lang="en-AU" sz="900" b="0" i="0" u="none" strike="noStrike" kern="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 and handover to service management.</a:t>
            </a:r>
            <a:endParaRPr kumimoji="0" lang="en-US" sz="900" b="0" i="0" u="none" strike="noStrike" kern="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DA01C120-F5C4-ED5A-E54E-40CD4076FD4D}"/>
              </a:ext>
            </a:extLst>
          </p:cNvPr>
          <p:cNvSpPr txBox="1"/>
          <p:nvPr/>
        </p:nvSpPr>
        <p:spPr>
          <a:xfrm>
            <a:off x="9403504" y="3448059"/>
            <a:ext cx="179906" cy="179906"/>
          </a:xfrm>
          <a:prstGeom prst="ellipse">
            <a:avLst/>
          </a:prstGeom>
          <a:solidFill>
            <a:srgbClr val="000000"/>
          </a:solidFill>
          <a:ln w="12700">
            <a:solidFill>
              <a:srgbClr val="FFE600"/>
            </a:solidFill>
          </a:ln>
        </p:spPr>
        <p:txBody>
          <a:bodyPr wrap="square" lIns="0" tIns="35981" rIns="0" bIns="0" rtlCol="0" anchor="ctr">
            <a:noAutofit/>
          </a:bodyPr>
          <a:lstStyle/>
          <a:p>
            <a:pPr marL="0" marR="0" lvl="0" indent="0" algn="ctr" defTabSz="1018665" eaLnBrk="1" fontAlgn="auto" latinLnBrk="0" hangingPunct="1">
              <a:lnSpc>
                <a:spcPts val="1199"/>
              </a:lnSpc>
              <a:spcBef>
                <a:spcPts val="0"/>
              </a:spcBef>
              <a:spcAft>
                <a:spcPts val="600"/>
              </a:spcAft>
              <a:buClr>
                <a:prstClr val="white"/>
              </a:buClr>
              <a:buSzPct val="70000"/>
              <a:buFontTx/>
              <a:buNone/>
              <a:tabLst/>
              <a:defRPr/>
            </a:pPr>
            <a:r>
              <a:rPr lang="en-IE" sz="1000" b="1" kern="0">
                <a:solidFill>
                  <a:prstClr val="white"/>
                </a:solidFill>
                <a:latin typeface="Calibri" panose="020F0502020204030204" pitchFamily="34" charset="0"/>
                <a:cs typeface="Calibri" panose="020F0502020204030204" pitchFamily="34" charset="0"/>
              </a:rPr>
              <a:t>6</a:t>
            </a:r>
            <a:endParaRPr kumimoji="0" lang="en-IE" sz="10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1093670"/>
      </p:ext>
    </p:extLst>
  </p:cSld>
  <p:clrMapOvr>
    <a:masterClrMapping/>
  </p:clrMapOvr>
  <p:extLst>
    <p:ext uri="{6950BFC3-D8DA-4A85-94F7-54DA5524770B}">
      <p188:commentRel xmlns:p188="http://schemas.microsoft.com/office/powerpoint/2018/8/main" r:id="rId2"/>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BC82EFF-9A2D-B122-68F3-F2D1CFB771C2}"/>
              </a:ext>
            </a:extLst>
          </p:cNvPr>
          <p:cNvSpPr>
            <a:spLocks noGrp="1"/>
          </p:cNvSpPr>
          <p:nvPr>
            <p:ph idx="1"/>
          </p:nvPr>
        </p:nvSpPr>
        <p:spPr>
          <a:xfrm>
            <a:off x="609600" y="1453691"/>
            <a:ext cx="10974387" cy="4608000"/>
          </a:xfrm>
        </p:spPr>
        <p:txBody>
          <a:bodyPr/>
          <a:lstStyle/>
          <a:p>
            <a:pPr marL="171450" indent="-171450" algn="just" rtl="0" fontAlgn="base">
              <a:buClr>
                <a:schemeClr val="bg2">
                  <a:lumMod val="75000"/>
                  <a:lumOff val="25000"/>
                </a:schemeClr>
              </a:buClr>
              <a:buSzPct val="100000"/>
              <a:buFont typeface="Arial" panose="020B0604020202020204" pitchFamily="34" charset="0"/>
              <a:buChar char="•"/>
            </a:pPr>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Identify: EY works with you to ensure the necessary controls are in place to monitor and respond to risks and issues as they arise. The objective of risk identification is to identify risks directly relevant to the engagement, without creating an exhaustive listing of every possible negative eventuality. </a:t>
            </a:r>
            <a:r>
              <a:rPr lang="en-US" sz="1050" b="0" i="0">
                <a:solidFill>
                  <a:schemeClr val="bg2">
                    <a:lumMod val="65000"/>
                    <a:lumOff val="35000"/>
                  </a:schemeClr>
                </a:solidFill>
                <a:effectLst/>
                <a:latin typeface="Calibri" panose="020F0502020204030204" pitchFamily="34" charset="0"/>
                <a:cs typeface="Calibri" panose="020F0502020204030204" pitchFamily="34" charset="0"/>
              </a:rPr>
              <a:t>​</a:t>
            </a:r>
          </a:p>
          <a:p>
            <a:pPr algn="just" rtl="0" fontAlgn="base">
              <a:buClr>
                <a:schemeClr val="bg2">
                  <a:lumMod val="75000"/>
                  <a:lumOff val="25000"/>
                </a:schemeClr>
              </a:buClr>
              <a:buSzPct val="100000"/>
            </a:pPr>
            <a:endParaRPr lang="en-US" sz="1050" b="0" i="0">
              <a:solidFill>
                <a:schemeClr val="bg2">
                  <a:lumMod val="65000"/>
                  <a:lumOff val="35000"/>
                </a:schemeClr>
              </a:solidFill>
              <a:effectLst/>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Assess: Risk assessment provides the opportunity for EY and stakeholders to work together to develop consensus on risks. This is best accomplished as a collaborative effort and should be guided by the use of a risk factor priority matrix – which measures the probability of risk occurrence and severity of risk impact, as shown in the following diagram:</a:t>
            </a: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algn="just" rtl="0" fontAlgn="base">
              <a:buClr>
                <a:schemeClr val="bg2">
                  <a:lumMod val="75000"/>
                  <a:lumOff val="25000"/>
                </a:schemeClr>
              </a:buClr>
              <a:buSzPct val="100000"/>
            </a:pPr>
            <a:endParaRPr lang="en-US" sz="1050" b="0" i="0" u="none" strike="noStrike">
              <a:solidFill>
                <a:schemeClr val="bg2">
                  <a:lumMod val="65000"/>
                  <a:lumOff val="35000"/>
                </a:schemeClr>
              </a:solidFill>
              <a:effectLst/>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Mitigate: A risk management strategy will be developed for each identified risk to minimise or eliminate risk impact. Risk strategies will be incorporated throughout the project life cycle to limit the potential impact of project risk. Some risk strategies will have a cost and we help you to assess consequences against costs.</a:t>
            </a:r>
            <a:r>
              <a:rPr lang="en-US" sz="1050" b="0" i="0">
                <a:solidFill>
                  <a:schemeClr val="bg2">
                    <a:lumMod val="65000"/>
                    <a:lumOff val="35000"/>
                  </a:schemeClr>
                </a:solidFill>
                <a:effectLst/>
                <a:latin typeface="Calibri" panose="020F0502020204030204" pitchFamily="34" charset="0"/>
                <a:cs typeface="Calibri" panose="020F0502020204030204" pitchFamily="34" charset="0"/>
              </a:rPr>
              <a:t>​</a:t>
            </a:r>
          </a:p>
          <a:p>
            <a:pPr algn="just" rtl="0" fontAlgn="base">
              <a:buClr>
                <a:schemeClr val="bg2">
                  <a:lumMod val="75000"/>
                  <a:lumOff val="25000"/>
                </a:schemeClr>
              </a:buClr>
              <a:buSzPct val="100000"/>
            </a:pP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171450" indent="-171450" algn="just" rtl="0" fontAlgn="base">
              <a:buClr>
                <a:schemeClr val="bg2">
                  <a:lumMod val="75000"/>
                  <a:lumOff val="25000"/>
                </a:schemeClr>
              </a:buClr>
              <a:buSzPct val="100000"/>
              <a:buFont typeface="Arial" panose="020B0604020202020204" pitchFamily="34" charset="0"/>
              <a:buChar char="•"/>
            </a:pPr>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Track &amp; Report (risk controls): It is critical that Risk Management meetings take place on a weekly basis to monitor risks regularly and the ensure timely communication and escalation where appropriate. The effectiveness of the corrective or preventative action is also assessed and risks will be allocated a trend to clearly indicate whether risks are being effectively treated or otherwise.</a:t>
            </a:r>
            <a:r>
              <a:rPr lang="en-US" sz="1050" b="0" i="0">
                <a:solidFill>
                  <a:schemeClr val="bg2">
                    <a:lumMod val="65000"/>
                    <a:lumOff val="35000"/>
                  </a:schemeClr>
                </a:solidFill>
                <a:effectLst/>
                <a:latin typeface="Calibri" panose="020F0502020204030204" pitchFamily="34" charset="0"/>
                <a:cs typeface="Calibri" panose="020F0502020204030204" pitchFamily="34" charset="0"/>
              </a:rPr>
              <a:t>​</a:t>
            </a:r>
          </a:p>
          <a:p>
            <a:pPr algn="just" rtl="0" fontAlgn="base"/>
            <a:r>
              <a:rPr lang="en-IE" sz="1050" b="0" i="0" u="none" strike="noStrike">
                <a:solidFill>
                  <a:schemeClr val="bg2">
                    <a:lumMod val="65000"/>
                    <a:lumOff val="35000"/>
                  </a:schemeClr>
                </a:solidFill>
                <a:effectLst/>
                <a:latin typeface="Calibri" panose="020F0502020204030204" pitchFamily="34" charset="0"/>
                <a:cs typeface="Calibri" panose="020F0502020204030204" pitchFamily="34" charset="0"/>
              </a:rPr>
              <a:t>The approach above is fundamental to the success of projects. Regular management of project risks is a key activity and successful projects identify risks early to prevent them from becoming issues.  Project issues are also stored on RAID log and are managed using a similar process with clearly defined priority, impact, actions, owners and target resolution dates.</a:t>
            </a:r>
            <a:endParaRPr lang="en-US" sz="1050" b="0" i="0">
              <a:solidFill>
                <a:schemeClr val="bg2">
                  <a:lumMod val="65000"/>
                  <a:lumOff val="35000"/>
                </a:schemeClr>
              </a:solidFill>
              <a:effectLst/>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a:p>
            <a:endParaRPr lang="en-IE">
              <a:solidFill>
                <a:schemeClr val="bg2">
                  <a:lumMod val="65000"/>
                  <a:lumOff val="35000"/>
                </a:schemeClr>
              </a:solidFill>
              <a:latin typeface="Calibri" panose="020F0502020204030204" pitchFamily="34" charset="0"/>
              <a:cs typeface="Calibri" panose="020F0502020204030204" pitchFamily="34" charset="0"/>
            </a:endParaRPr>
          </a:p>
        </p:txBody>
      </p:sp>
      <p:sp>
        <p:nvSpPr>
          <p:cNvPr id="5" name="Text Placeholder 7">
            <a:extLst>
              <a:ext uri="{FF2B5EF4-FFF2-40B4-BE49-F238E27FC236}">
                <a16:creationId xmlns:a16="http://schemas.microsoft.com/office/drawing/2014/main" id="{6669DCCE-48CB-AEB0-D551-9273D9B109B4}"/>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Risk and Issue Management</a:t>
            </a:r>
          </a:p>
        </p:txBody>
      </p:sp>
      <p:pic>
        <p:nvPicPr>
          <p:cNvPr id="6" name="Picture 5">
            <a:extLst>
              <a:ext uri="{FF2B5EF4-FFF2-40B4-BE49-F238E27FC236}">
                <a16:creationId xmlns:a16="http://schemas.microsoft.com/office/drawing/2014/main" id="{5BA92D60-C8C9-3071-82D0-F8E2AC6F6AE7}"/>
              </a:ext>
            </a:extLst>
          </p:cNvPr>
          <p:cNvPicPr>
            <a:picLocks noChangeAspect="1"/>
          </p:cNvPicPr>
          <p:nvPr/>
        </p:nvPicPr>
        <p:blipFill>
          <a:blip r:embed="rId2"/>
          <a:stretch>
            <a:fillRect/>
          </a:stretch>
        </p:blipFill>
        <p:spPr>
          <a:xfrm>
            <a:off x="1672658" y="2467038"/>
            <a:ext cx="8846683" cy="1923923"/>
          </a:xfrm>
          <a:prstGeom prst="rect">
            <a:avLst/>
          </a:prstGeom>
        </p:spPr>
      </p:pic>
    </p:spTree>
    <p:extLst>
      <p:ext uri="{BB962C8B-B14F-4D97-AF65-F5344CB8AC3E}">
        <p14:creationId xmlns:p14="http://schemas.microsoft.com/office/powerpoint/2010/main" val="34478172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A6D57BF-0DCE-9D7C-D141-D42903319456}"/>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AB5BAADC-462D-A618-F2F0-CA7DD822EA0E}"/>
              </a:ext>
            </a:extLst>
          </p:cNvPr>
          <p:cNvSpPr>
            <a:spLocks noGrp="1"/>
          </p:cNvSpPr>
          <p:nvPr>
            <p:ph type="body" sz="quarter" idx="10"/>
          </p:nvPr>
        </p:nvSpPr>
        <p:spPr/>
        <p:txBody>
          <a:bodyPr/>
          <a:lstStyle/>
          <a:p>
            <a:r>
              <a:rPr lang="en-US">
                <a:latin typeface="EYInterstate Light"/>
              </a:rPr>
              <a:t>Case Study – Laboratory Testing</a:t>
            </a:r>
            <a:endParaRPr lang="en-US"/>
          </a:p>
        </p:txBody>
      </p:sp>
      <p:sp>
        <p:nvSpPr>
          <p:cNvPr id="4" name="TextBox 3">
            <a:extLst>
              <a:ext uri="{FF2B5EF4-FFF2-40B4-BE49-F238E27FC236}">
                <a16:creationId xmlns:a16="http://schemas.microsoft.com/office/drawing/2014/main" id="{657BA0B2-AD92-B652-16C0-31FD1094DAD8}"/>
              </a:ext>
            </a:extLst>
          </p:cNvPr>
          <p:cNvSpPr txBox="1"/>
          <p:nvPr/>
        </p:nvSpPr>
        <p:spPr>
          <a:xfrm>
            <a:off x="9223168" y="573974"/>
            <a:ext cx="2116571" cy="195310"/>
          </a:xfrm>
          <a:prstGeom prst="rect">
            <a:avLst/>
          </a:prstGeom>
          <a:solidFill>
            <a:schemeClr val="accent5"/>
          </a:solid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p>
            <a:pPr>
              <a:lnSpc>
                <a:spcPct val="85000"/>
              </a:lnSpc>
              <a:spcAft>
                <a:spcPts val="600"/>
              </a:spcAft>
              <a:buClr>
                <a:schemeClr val="accent2"/>
              </a:buClr>
              <a:buSzPct val="70000"/>
            </a:pPr>
            <a:r>
              <a:rPr lang="en-US" sz="1200">
                <a:solidFill>
                  <a:schemeClr val="bg1"/>
                </a:solidFill>
              </a:rPr>
              <a:t>Health Inputs</a:t>
            </a:r>
          </a:p>
        </p:txBody>
      </p:sp>
    </p:spTree>
    <p:extLst>
      <p:ext uri="{BB962C8B-B14F-4D97-AF65-F5344CB8AC3E}">
        <p14:creationId xmlns:p14="http://schemas.microsoft.com/office/powerpoint/2010/main" val="37517849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83066B-12A0-4434-BE3B-106D76B9E30E}"/>
              </a:ext>
            </a:extLst>
          </p:cNvPr>
          <p:cNvSpPr>
            <a:spLocks noGrp="1"/>
          </p:cNvSpPr>
          <p:nvPr>
            <p:ph idx="1"/>
          </p:nvPr>
        </p:nvSpPr>
        <p:spPr/>
        <p:txBody>
          <a:bodyPr/>
          <a:lstStyle/>
          <a:p>
            <a:pPr algn="just"/>
            <a:r>
              <a:rPr lang="en-IE" sz="1050">
                <a:latin typeface="Calibri"/>
                <a:cs typeface="Calibri"/>
              </a:rPr>
              <a:t>EY will implement a comprehensive testing strategy that clearly articulates who, what, when and how testing will be conducted throughout the course of the project. EY’s overall delivery methodology provides a framework for how we typically sequence the various types of testing required over the course of the build &amp; test phases. Our delivery method also provides a standard set of approaches, activities and deliverables that need to be produced to prepare, execute, manage testing activities. We will work with all stakeholders to ensure the roles and responsibilities for carrying out these activities are agreed and clearly understood. </a:t>
            </a:r>
            <a:endParaRPr lang="en-IE" sz="1050">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Testing Methodology</a:t>
            </a:r>
          </a:p>
        </p:txBody>
      </p:sp>
      <p:sp>
        <p:nvSpPr>
          <p:cNvPr id="134" name="Rectangle 133">
            <a:extLst>
              <a:ext uri="{FF2B5EF4-FFF2-40B4-BE49-F238E27FC236}">
                <a16:creationId xmlns:a16="http://schemas.microsoft.com/office/drawing/2014/main" id="{FC4A41A3-D16F-4888-BCFC-BB791267B05A}"/>
              </a:ext>
            </a:extLst>
          </p:cNvPr>
          <p:cNvSpPr/>
          <p:nvPr/>
        </p:nvSpPr>
        <p:spPr bwMode="auto">
          <a:xfrm>
            <a:off x="975478" y="2225610"/>
            <a:ext cx="2301975" cy="3909612"/>
          </a:xfrm>
          <a:prstGeom prst="rect">
            <a:avLst/>
          </a:prstGeom>
          <a:solidFill>
            <a:srgbClr val="2E2E38"/>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135" name="Rectangle 134">
            <a:extLst>
              <a:ext uri="{FF2B5EF4-FFF2-40B4-BE49-F238E27FC236}">
                <a16:creationId xmlns:a16="http://schemas.microsoft.com/office/drawing/2014/main" id="{EE26480B-C96E-4A1A-A39B-47B1C818D4C4}"/>
              </a:ext>
            </a:extLst>
          </p:cNvPr>
          <p:cNvSpPr/>
          <p:nvPr/>
        </p:nvSpPr>
        <p:spPr>
          <a:xfrm>
            <a:off x="1539889" y="2281034"/>
            <a:ext cx="1193785" cy="203390"/>
          </a:xfrm>
          <a:prstGeom prst="rect">
            <a:avLst/>
          </a:prstGeom>
          <a:noFill/>
          <a:ln w="9525" cap="flat" cmpd="sng" algn="ctr">
            <a:noFill/>
            <a:prstDash val="solid"/>
          </a:ln>
          <a:effectLst/>
        </p:spPr>
        <p:txBody>
          <a:bodyPr lIns="0" tIns="0" rIns="0" bIns="0" rtlCol="0" anchor="t" anchorCtr="0"/>
          <a:lstStyle/>
          <a:p>
            <a:pPr>
              <a:spcAft>
                <a:spcPts val="600"/>
              </a:spcAft>
              <a:buClr>
                <a:srgbClr val="000000"/>
              </a:buClr>
              <a:buSzPts val="1000"/>
            </a:pPr>
            <a:r>
              <a:rPr lang="en-IE" sz="1400" b="1" kern="600">
                <a:solidFill>
                  <a:srgbClr val="F6F5FA"/>
                </a:solidFill>
                <a:latin typeface="Calibri" panose="020F0502020204030204" pitchFamily="34" charset="0"/>
                <a:ea typeface="Times New Roman" panose="02020603050405020304" pitchFamily="18" charset="0"/>
                <a:cs typeface="Calibri" panose="020F0502020204030204" pitchFamily="34" charset="0"/>
              </a:rPr>
              <a:t>Test Planning</a:t>
            </a:r>
            <a:endParaRPr lang="en-IE" sz="1400" b="1" kern="600">
              <a:solidFill>
                <a:srgbClr val="F6F5FA"/>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6" name="Rectangle 135">
            <a:extLst>
              <a:ext uri="{FF2B5EF4-FFF2-40B4-BE49-F238E27FC236}">
                <a16:creationId xmlns:a16="http://schemas.microsoft.com/office/drawing/2014/main" id="{956F2634-9800-4E82-9448-A8D950336C04}"/>
              </a:ext>
            </a:extLst>
          </p:cNvPr>
          <p:cNvSpPr/>
          <p:nvPr/>
        </p:nvSpPr>
        <p:spPr>
          <a:xfrm>
            <a:off x="1059936" y="2539848"/>
            <a:ext cx="2153689" cy="2544939"/>
          </a:xfrm>
          <a:prstGeom prst="rect">
            <a:avLst/>
          </a:prstGeom>
          <a:noFill/>
          <a:ln w="9525" cap="flat" cmpd="sng" algn="ctr">
            <a:noFill/>
            <a:prstDash val="solid"/>
          </a:ln>
          <a:effectLst/>
        </p:spPr>
        <p:txBody>
          <a:bodyPr lIns="0" tIns="0" rIns="0" bIns="0" rtlCol="0" anchor="t" anchorCtr="0"/>
          <a:lstStyle/>
          <a:p>
            <a:pPr algn="just">
              <a:spcAft>
                <a:spcPts val="600"/>
              </a:spcAft>
              <a:buClr>
                <a:srgbClr val="000000"/>
              </a:buClr>
              <a:buSzPts val="1000"/>
            </a:pPr>
            <a:r>
              <a:rPr lang="en-IE" sz="1100" kern="600">
                <a:latin typeface="Calibri" panose="020F0502020204030204" pitchFamily="34" charset="0"/>
                <a:ea typeface="Times New Roman" panose="02020603050405020304" pitchFamily="18" charset="0"/>
                <a:cs typeface="Calibri" panose="020F0502020204030204" pitchFamily="34" charset="0"/>
              </a:rPr>
              <a:t>Each type of testing - unit testing during build sprints, integration testing, user acceptance testing (including security testing) and performance testing - will require its own planning approach.</a:t>
            </a:r>
          </a:p>
          <a:p>
            <a:pPr algn="just">
              <a:spcAft>
                <a:spcPts val="600"/>
              </a:spcAft>
              <a:buClr>
                <a:srgbClr val="000000"/>
              </a:buClr>
              <a:buSzPts val="1000"/>
            </a:pPr>
            <a:r>
              <a:rPr lang="en-IE" sz="1100" kern="600">
                <a:latin typeface="Calibri" panose="020F0502020204030204" pitchFamily="34" charset="0"/>
                <a:ea typeface="Times New Roman" panose="02020603050405020304" pitchFamily="18" charset="0"/>
                <a:cs typeface="Calibri" panose="020F0502020204030204" pitchFamily="34" charset="0"/>
              </a:rPr>
              <a:t>EY will play a pivotal role in helping the project develop the overall integrated test strategy across all workstreams and activities. </a:t>
            </a:r>
          </a:p>
          <a:p>
            <a:pPr algn="just">
              <a:spcAft>
                <a:spcPts val="600"/>
              </a:spcAft>
              <a:buClr>
                <a:srgbClr val="000000"/>
              </a:buClr>
              <a:buSzPts val="1000"/>
            </a:pPr>
            <a:r>
              <a:rPr lang="en-IE" sz="1100" kern="600">
                <a:latin typeface="Calibri" panose="020F0502020204030204" pitchFamily="34" charset="0"/>
                <a:ea typeface="Times New Roman" panose="02020603050405020304" pitchFamily="18" charset="0"/>
                <a:cs typeface="Calibri" panose="020F0502020204030204" pitchFamily="34" charset="0"/>
              </a:rPr>
              <a:t>The EY Test Lead will form part of the overall PMO team structure and therefore will be very close to the heart of all planning throughout the project.</a:t>
            </a:r>
          </a:p>
          <a:p>
            <a:pPr>
              <a:spcAft>
                <a:spcPts val="600"/>
              </a:spcAft>
              <a:buClr>
                <a:srgbClr val="000000"/>
              </a:buClr>
              <a:buSzPts val="1000"/>
            </a:pPr>
            <a:endParaRPr lang="en-IE" sz="1100" kern="600">
              <a:latin typeface="Calibri" panose="020F0502020204030204" pitchFamily="34" charset="0"/>
              <a:ea typeface="Times New Roman" panose="02020603050405020304" pitchFamily="18" charset="0"/>
              <a:cs typeface="Calibri" panose="020F0502020204030204" pitchFamily="34" charset="0"/>
            </a:endParaRPr>
          </a:p>
        </p:txBody>
      </p:sp>
      <p:sp>
        <p:nvSpPr>
          <p:cNvPr id="137" name="Rectangle 136">
            <a:extLst>
              <a:ext uri="{FF2B5EF4-FFF2-40B4-BE49-F238E27FC236}">
                <a16:creationId xmlns:a16="http://schemas.microsoft.com/office/drawing/2014/main" id="{4E4FAEB9-EAD0-4BE0-9261-7AF366614DF4}"/>
              </a:ext>
            </a:extLst>
          </p:cNvPr>
          <p:cNvSpPr/>
          <p:nvPr/>
        </p:nvSpPr>
        <p:spPr bwMode="auto">
          <a:xfrm>
            <a:off x="3529877" y="2225610"/>
            <a:ext cx="2301975" cy="1847850"/>
          </a:xfrm>
          <a:prstGeom prst="rect">
            <a:avLst/>
          </a:prstGeom>
          <a:solidFill>
            <a:srgbClr val="747480"/>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037B62A9-C13A-4C4D-AB22-BD0770CA7ED5}"/>
              </a:ext>
            </a:extLst>
          </p:cNvPr>
          <p:cNvSpPr/>
          <p:nvPr/>
        </p:nvSpPr>
        <p:spPr>
          <a:xfrm>
            <a:off x="4369724" y="2281034"/>
            <a:ext cx="1193785" cy="203390"/>
          </a:xfrm>
          <a:prstGeom prst="rect">
            <a:avLst/>
          </a:prstGeom>
          <a:noFill/>
          <a:ln w="9525" cap="flat" cmpd="sng" algn="ctr">
            <a:noFill/>
            <a:prstDash val="solid"/>
          </a:ln>
          <a:effectLst/>
        </p:spPr>
        <p:txBody>
          <a:bodyPr lIns="0" tIns="0" rIns="0" bIns="0" rtlCol="0" anchor="t" anchorCtr="0"/>
          <a:lstStyle/>
          <a:p>
            <a:pPr>
              <a:spcAft>
                <a:spcPts val="600"/>
              </a:spcAft>
              <a:buClr>
                <a:srgbClr val="000000"/>
              </a:buClr>
              <a:buSzPts val="1000"/>
            </a:pPr>
            <a:r>
              <a:rPr lang="en-IE" sz="1400" b="1" kern="600">
                <a:solidFill>
                  <a:srgbClr val="F6F5FA"/>
                </a:solidFill>
                <a:latin typeface="Calibri" panose="020F0502020204030204" pitchFamily="34" charset="0"/>
                <a:ea typeface="Times New Roman" panose="02020603050405020304" pitchFamily="18" charset="0"/>
                <a:cs typeface="Calibri" panose="020F0502020204030204" pitchFamily="34" charset="0"/>
              </a:rPr>
              <a:t>Tooling</a:t>
            </a:r>
            <a:endParaRPr lang="en-IE" sz="1400" b="1" kern="600">
              <a:solidFill>
                <a:srgbClr val="F6F5FA"/>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39" name="Rectangle 138">
            <a:extLst>
              <a:ext uri="{FF2B5EF4-FFF2-40B4-BE49-F238E27FC236}">
                <a16:creationId xmlns:a16="http://schemas.microsoft.com/office/drawing/2014/main" id="{A56DDB9D-7395-48F4-B30F-18083AF31137}"/>
              </a:ext>
            </a:extLst>
          </p:cNvPr>
          <p:cNvSpPr/>
          <p:nvPr/>
        </p:nvSpPr>
        <p:spPr bwMode="auto">
          <a:xfrm>
            <a:off x="3529878" y="4164827"/>
            <a:ext cx="2301975" cy="1970396"/>
          </a:xfrm>
          <a:prstGeom prst="rect">
            <a:avLst/>
          </a:prstGeom>
          <a:solidFill>
            <a:srgbClr val="747480"/>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140" name="Rectangle 139">
            <a:extLst>
              <a:ext uri="{FF2B5EF4-FFF2-40B4-BE49-F238E27FC236}">
                <a16:creationId xmlns:a16="http://schemas.microsoft.com/office/drawing/2014/main" id="{9B93B4DB-7C4A-4314-AA32-AAA0473EED08}"/>
              </a:ext>
            </a:extLst>
          </p:cNvPr>
          <p:cNvSpPr/>
          <p:nvPr/>
        </p:nvSpPr>
        <p:spPr>
          <a:xfrm>
            <a:off x="4152947" y="4230579"/>
            <a:ext cx="1193785" cy="203390"/>
          </a:xfrm>
          <a:prstGeom prst="rect">
            <a:avLst/>
          </a:prstGeom>
          <a:noFill/>
          <a:ln w="9525" cap="flat" cmpd="sng" algn="ctr">
            <a:noFill/>
            <a:prstDash val="solid"/>
          </a:ln>
          <a:effectLst/>
        </p:spPr>
        <p:txBody>
          <a:bodyPr lIns="0" tIns="0" rIns="0" bIns="0" rtlCol="0" anchor="t" anchorCtr="0"/>
          <a:lstStyle/>
          <a:p>
            <a:pPr>
              <a:spcAft>
                <a:spcPts val="600"/>
              </a:spcAft>
              <a:buClr>
                <a:srgbClr val="000000"/>
              </a:buClr>
              <a:buSzPts val="1000"/>
            </a:pPr>
            <a:r>
              <a:rPr lang="en-IE" sz="1400" b="1" kern="600">
                <a:solidFill>
                  <a:srgbClr val="F6F5FA"/>
                </a:solidFill>
                <a:latin typeface="Calibri" panose="020F0502020204030204" pitchFamily="34" charset="0"/>
                <a:ea typeface="Times New Roman" panose="02020603050405020304" pitchFamily="18" charset="0"/>
                <a:cs typeface="Calibri" panose="020F0502020204030204" pitchFamily="34" charset="0"/>
              </a:rPr>
              <a:t>Deliverables</a:t>
            </a:r>
            <a:endParaRPr lang="en-IE" sz="1400" b="1" kern="600">
              <a:solidFill>
                <a:srgbClr val="F6F5FA"/>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41" name="Rectangle 140">
            <a:extLst>
              <a:ext uri="{FF2B5EF4-FFF2-40B4-BE49-F238E27FC236}">
                <a16:creationId xmlns:a16="http://schemas.microsoft.com/office/drawing/2014/main" id="{D76FE7B2-1805-4CA7-A7EE-9686F11C90F4}"/>
              </a:ext>
            </a:extLst>
          </p:cNvPr>
          <p:cNvSpPr/>
          <p:nvPr/>
        </p:nvSpPr>
        <p:spPr bwMode="auto">
          <a:xfrm>
            <a:off x="6084276" y="2225609"/>
            <a:ext cx="2301975" cy="3909611"/>
          </a:xfrm>
          <a:prstGeom prst="rect">
            <a:avLst/>
          </a:prstGeom>
          <a:solidFill>
            <a:srgbClr val="C4C4CC"/>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bg1"/>
              </a:solidFill>
              <a:latin typeface="Calibri" panose="020F0502020204030204" pitchFamily="34" charset="0"/>
              <a:cs typeface="Calibri" panose="020F0502020204030204" pitchFamily="34" charset="0"/>
            </a:endParaRPr>
          </a:p>
        </p:txBody>
      </p:sp>
      <p:sp>
        <p:nvSpPr>
          <p:cNvPr id="142" name="Rectangle 141">
            <a:extLst>
              <a:ext uri="{FF2B5EF4-FFF2-40B4-BE49-F238E27FC236}">
                <a16:creationId xmlns:a16="http://schemas.microsoft.com/office/drawing/2014/main" id="{39C14675-AA0B-411B-949B-96E36EA2E357}"/>
              </a:ext>
            </a:extLst>
          </p:cNvPr>
          <p:cNvSpPr/>
          <p:nvPr/>
        </p:nvSpPr>
        <p:spPr bwMode="auto">
          <a:xfrm>
            <a:off x="8638672" y="2225609"/>
            <a:ext cx="2301975" cy="3909611"/>
          </a:xfrm>
          <a:prstGeom prst="rect">
            <a:avLst/>
          </a:prstGeom>
          <a:solidFill>
            <a:srgbClr val="747480"/>
          </a:solidFill>
          <a:ln>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ctr"/>
            <a:endParaRPr lang="en-IE" sz="1000">
              <a:solidFill>
                <a:schemeClr val="tx2"/>
              </a:solidFill>
              <a:latin typeface="Calibri" panose="020F0502020204030204" pitchFamily="34" charset="0"/>
              <a:cs typeface="Calibri" panose="020F0502020204030204" pitchFamily="34" charset="0"/>
            </a:endParaRPr>
          </a:p>
        </p:txBody>
      </p:sp>
      <p:sp>
        <p:nvSpPr>
          <p:cNvPr id="143" name="Rectangle 142">
            <a:extLst>
              <a:ext uri="{FF2B5EF4-FFF2-40B4-BE49-F238E27FC236}">
                <a16:creationId xmlns:a16="http://schemas.microsoft.com/office/drawing/2014/main" id="{841D13AA-E849-4D75-93F4-D025263116BE}"/>
              </a:ext>
            </a:extLst>
          </p:cNvPr>
          <p:cNvSpPr/>
          <p:nvPr/>
        </p:nvSpPr>
        <p:spPr>
          <a:xfrm>
            <a:off x="6721784" y="2281034"/>
            <a:ext cx="1193785" cy="203390"/>
          </a:xfrm>
          <a:prstGeom prst="rect">
            <a:avLst/>
          </a:prstGeom>
          <a:noFill/>
          <a:ln w="9525" cap="flat" cmpd="sng" algn="ctr">
            <a:noFill/>
            <a:prstDash val="solid"/>
          </a:ln>
          <a:effectLst/>
        </p:spPr>
        <p:txBody>
          <a:bodyPr lIns="0" tIns="0" rIns="0" bIns="0" rtlCol="0" anchor="t" anchorCtr="0"/>
          <a:lstStyle/>
          <a:p>
            <a:pPr>
              <a:spcAft>
                <a:spcPts val="600"/>
              </a:spcAft>
              <a:buClr>
                <a:srgbClr val="000000"/>
              </a:buClr>
              <a:buSzPts val="1000"/>
            </a:pPr>
            <a:r>
              <a:rPr lang="en-IE" sz="1400" b="1" kern="600">
                <a:solidFill>
                  <a:schemeClr val="bg1"/>
                </a:solidFill>
                <a:latin typeface="Calibri" panose="020F0502020204030204" pitchFamily="34" charset="0"/>
                <a:ea typeface="Times New Roman" panose="02020603050405020304" pitchFamily="18" charset="0"/>
                <a:cs typeface="Calibri" panose="020F0502020204030204" pitchFamily="34" charset="0"/>
              </a:rPr>
              <a:t>Management</a:t>
            </a:r>
            <a:endParaRPr lang="en-IE" sz="1400" b="1" kern="60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44" name="Rectangle 143">
            <a:extLst>
              <a:ext uri="{FF2B5EF4-FFF2-40B4-BE49-F238E27FC236}">
                <a16:creationId xmlns:a16="http://schemas.microsoft.com/office/drawing/2014/main" id="{7F2B9FAF-51BD-4970-864E-71C05754329B}"/>
              </a:ext>
            </a:extLst>
          </p:cNvPr>
          <p:cNvSpPr/>
          <p:nvPr/>
        </p:nvSpPr>
        <p:spPr>
          <a:xfrm>
            <a:off x="9412432" y="2281034"/>
            <a:ext cx="1193785" cy="203390"/>
          </a:xfrm>
          <a:prstGeom prst="rect">
            <a:avLst/>
          </a:prstGeom>
          <a:noFill/>
          <a:ln w="9525" cap="flat" cmpd="sng" algn="ctr">
            <a:noFill/>
            <a:prstDash val="solid"/>
          </a:ln>
          <a:effectLst/>
        </p:spPr>
        <p:txBody>
          <a:bodyPr lIns="0" tIns="0" rIns="0" bIns="0" rtlCol="0" anchor="t" anchorCtr="0"/>
          <a:lstStyle/>
          <a:p>
            <a:pPr>
              <a:spcAft>
                <a:spcPts val="600"/>
              </a:spcAft>
              <a:buClr>
                <a:srgbClr val="000000"/>
              </a:buClr>
              <a:buSzPts val="1000"/>
            </a:pPr>
            <a:r>
              <a:rPr lang="en-IE" sz="1400" b="1" kern="600">
                <a:solidFill>
                  <a:srgbClr val="F6F5FA"/>
                </a:solidFill>
                <a:latin typeface="Calibri" panose="020F0502020204030204" pitchFamily="34" charset="0"/>
                <a:ea typeface="Times New Roman" panose="02020603050405020304" pitchFamily="18" charset="0"/>
                <a:cs typeface="Calibri" panose="020F0502020204030204" pitchFamily="34" charset="0"/>
              </a:rPr>
              <a:t>Execution</a:t>
            </a:r>
            <a:endParaRPr lang="en-IE" sz="1400" b="1" kern="600">
              <a:solidFill>
                <a:srgbClr val="F6F5FA"/>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145" name="Rectangle 144">
            <a:extLst>
              <a:ext uri="{FF2B5EF4-FFF2-40B4-BE49-F238E27FC236}">
                <a16:creationId xmlns:a16="http://schemas.microsoft.com/office/drawing/2014/main" id="{641134F1-8847-43CC-B778-837C93B60F0D}"/>
              </a:ext>
            </a:extLst>
          </p:cNvPr>
          <p:cNvSpPr/>
          <p:nvPr/>
        </p:nvSpPr>
        <p:spPr>
          <a:xfrm>
            <a:off x="3604020" y="2504049"/>
            <a:ext cx="2158606" cy="1451873"/>
          </a:xfrm>
          <a:prstGeom prst="rect">
            <a:avLst/>
          </a:prstGeom>
          <a:noFill/>
          <a:ln w="9525" cap="flat" cmpd="sng" algn="ctr">
            <a:noFill/>
            <a:prstDash val="solid"/>
          </a:ln>
          <a:effectLst/>
        </p:spPr>
        <p:txBody>
          <a:bodyPr lIns="0" tIns="0" rIns="0" bIns="0" rtlCol="0" anchor="t" anchorCtr="0"/>
          <a:lstStyle/>
          <a:p>
            <a:pPr algn="just">
              <a:spcAft>
                <a:spcPts val="600"/>
              </a:spcAft>
              <a:buClr>
                <a:srgbClr val="000000"/>
              </a:buClr>
              <a:buSzPts val="1000"/>
            </a:pPr>
            <a:r>
              <a:rPr lang="en-IE" sz="1100" kern="600">
                <a:latin typeface="Calibri"/>
                <a:ea typeface="Times New Roman" panose="02020603050405020304" pitchFamily="18" charset="0"/>
                <a:cs typeface="Calibri"/>
              </a:rPr>
              <a:t>EY recommend using Microsoft Azure DevOps to help orchestrate testing efforts &amp; generate test cases. This is tightly integrated to the Requirements-to-Deploy process with an audit trail back to business requirements.</a:t>
            </a:r>
          </a:p>
          <a:p>
            <a:pPr>
              <a:spcAft>
                <a:spcPts val="600"/>
              </a:spcAft>
              <a:buClr>
                <a:srgbClr val="000000"/>
              </a:buClr>
              <a:buSzPts val="1000"/>
            </a:pPr>
            <a:endParaRPr lang="en-IE" sz="1100" kern="600">
              <a:latin typeface="Calibri" panose="020F0502020204030204" pitchFamily="34" charset="0"/>
              <a:ea typeface="Times New Roman" panose="02020603050405020304" pitchFamily="18" charset="0"/>
              <a:cs typeface="Calibri" panose="020F0502020204030204" pitchFamily="34" charset="0"/>
            </a:endParaRPr>
          </a:p>
        </p:txBody>
      </p:sp>
      <p:sp>
        <p:nvSpPr>
          <p:cNvPr id="146" name="Rectangle 145">
            <a:extLst>
              <a:ext uri="{FF2B5EF4-FFF2-40B4-BE49-F238E27FC236}">
                <a16:creationId xmlns:a16="http://schemas.microsoft.com/office/drawing/2014/main" id="{5D3BCF11-5966-4321-9695-17B622FAF2D5}"/>
              </a:ext>
            </a:extLst>
          </p:cNvPr>
          <p:cNvSpPr/>
          <p:nvPr/>
        </p:nvSpPr>
        <p:spPr>
          <a:xfrm>
            <a:off x="3604018" y="4499721"/>
            <a:ext cx="2158607" cy="1451873"/>
          </a:xfrm>
          <a:prstGeom prst="rect">
            <a:avLst/>
          </a:prstGeom>
          <a:noFill/>
          <a:ln w="9525" cap="flat" cmpd="sng" algn="ctr">
            <a:noFill/>
            <a:prstDash val="solid"/>
          </a:ln>
          <a:effectLst/>
        </p:spPr>
        <p:txBody>
          <a:bodyPr lIns="0" tIns="0" rIns="0" bIns="0" rtlCol="0" anchor="t" anchorCtr="0"/>
          <a:lstStyle/>
          <a:p>
            <a:pPr algn="just">
              <a:spcAft>
                <a:spcPts val="600"/>
              </a:spcAft>
              <a:buClr>
                <a:srgbClr val="000000"/>
              </a:buClr>
              <a:buSzPts val="1000"/>
            </a:pPr>
            <a:r>
              <a:rPr lang="en-IE" sz="1100" kern="600">
                <a:latin typeface="Calibri"/>
                <a:ea typeface="Times New Roman" panose="02020603050405020304" pitchFamily="18" charset="0"/>
                <a:cs typeface="Calibri"/>
              </a:rPr>
              <a:t>EY will align with all stakeholders  during the Prepare phase of the project on test deliverables, e.g., test scripts, status reports, test result sign-off etc. to make sure that your expectations are met. We can leverage the EY suite of test deliverable templates to augment the above. </a:t>
            </a:r>
            <a:endParaRPr lang="en-IE" sz="1100" kern="600">
              <a:latin typeface="Calibri" panose="020F0502020204030204" pitchFamily="34" charset="0"/>
              <a:ea typeface="Times New Roman" panose="02020603050405020304" pitchFamily="18" charset="0"/>
              <a:cs typeface="Calibri" panose="020F0502020204030204" pitchFamily="34" charset="0"/>
            </a:endParaRPr>
          </a:p>
        </p:txBody>
      </p:sp>
      <p:sp>
        <p:nvSpPr>
          <p:cNvPr id="147" name="Rectangle 146">
            <a:extLst>
              <a:ext uri="{FF2B5EF4-FFF2-40B4-BE49-F238E27FC236}">
                <a16:creationId xmlns:a16="http://schemas.microsoft.com/office/drawing/2014/main" id="{05E1380B-F547-46CA-AE95-55B8734D5649}"/>
              </a:ext>
            </a:extLst>
          </p:cNvPr>
          <p:cNvSpPr/>
          <p:nvPr/>
        </p:nvSpPr>
        <p:spPr>
          <a:xfrm>
            <a:off x="6158418" y="2504049"/>
            <a:ext cx="2159105" cy="3553851"/>
          </a:xfrm>
          <a:prstGeom prst="rect">
            <a:avLst/>
          </a:prstGeom>
          <a:noFill/>
          <a:ln w="9525" cap="flat" cmpd="sng" algn="ctr">
            <a:noFill/>
            <a:prstDash val="solid"/>
          </a:ln>
          <a:effectLst/>
        </p:spPr>
        <p:txBody>
          <a:bodyPr lIns="0" tIns="0" rIns="0" bIns="0" rtlCol="0" anchor="t" anchorCtr="0"/>
          <a:lstStyle/>
          <a:p>
            <a:pPr algn="just">
              <a:spcAft>
                <a:spcPts val="600"/>
              </a:spcAft>
              <a:buClr>
                <a:srgbClr val="000000"/>
              </a:buClr>
              <a:buSzPts val="1000"/>
            </a:pP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Test Status &amp; Tracking:</a:t>
            </a:r>
            <a:b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b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Accurate, measurable reporting is a cornerstone of the EY Test Management approach. Regular reports will providing plan v actual progress made, a summary of any blockers, dependencies, risks, and issue, as well as a Defect summary providing counts of defects by status and severity.</a:t>
            </a:r>
            <a:b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b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Risk &amp; Issue Management:</a:t>
            </a:r>
            <a:b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b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Test management will integrate with our Risk &amp; Issue management process with early warnings &amp; mitigations provided.</a:t>
            </a:r>
            <a:b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b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Actions &amp; Dependencies:</a:t>
            </a:r>
            <a:b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br>
            <a:r>
              <a:rPr lang="en-IE" sz="1100" kern="600">
                <a:solidFill>
                  <a:schemeClr val="bg1"/>
                </a:solidFill>
                <a:latin typeface="Calibri" panose="020F0502020204030204" pitchFamily="34" charset="0"/>
                <a:ea typeface="Times New Roman" panose="02020603050405020304" pitchFamily="18" charset="0"/>
                <a:cs typeface="Calibri" panose="020F0502020204030204" pitchFamily="34" charset="0"/>
              </a:rPr>
              <a:t>We will track any actions that arise from testing, to feed into other test phases or workstreams, along with any dependencies that emerge. </a:t>
            </a:r>
          </a:p>
        </p:txBody>
      </p:sp>
      <p:sp>
        <p:nvSpPr>
          <p:cNvPr id="148" name="Rectangle 147">
            <a:extLst>
              <a:ext uri="{FF2B5EF4-FFF2-40B4-BE49-F238E27FC236}">
                <a16:creationId xmlns:a16="http://schemas.microsoft.com/office/drawing/2014/main" id="{507B09CA-94F1-4D2D-BFC8-3E7949079F26}"/>
              </a:ext>
            </a:extLst>
          </p:cNvPr>
          <p:cNvSpPr/>
          <p:nvPr/>
        </p:nvSpPr>
        <p:spPr>
          <a:xfrm>
            <a:off x="8703290" y="2539848"/>
            <a:ext cx="2174260" cy="3518052"/>
          </a:xfrm>
          <a:prstGeom prst="rect">
            <a:avLst/>
          </a:prstGeom>
          <a:noFill/>
          <a:ln w="9525" cap="flat" cmpd="sng" algn="ctr">
            <a:noFill/>
            <a:prstDash val="solid"/>
          </a:ln>
          <a:effectLst/>
        </p:spPr>
        <p:txBody>
          <a:bodyPr lIns="0" tIns="0" rIns="0" bIns="0" rtlCol="0" anchor="t" anchorCtr="0"/>
          <a:lstStyle/>
          <a:p>
            <a:pPr algn="just">
              <a:spcAft>
                <a:spcPts val="600"/>
              </a:spcAft>
              <a:buClr>
                <a:srgbClr val="000000"/>
              </a:buClr>
              <a:buSzPts val="1000"/>
            </a:pPr>
            <a:r>
              <a:rPr lang="en-IE" sz="1100" kern="600">
                <a:latin typeface="Calibri"/>
                <a:ea typeface="Times New Roman" panose="02020603050405020304" pitchFamily="18" charset="0"/>
                <a:cs typeface="Calibri"/>
              </a:rPr>
              <a:t>EY will ensure that after a test object is ready for testing, and entry conditions for test execution are met, that testing is completed in a controlled and structured way. Testing will be conducted as per the defined test cases executing the appropriate build item and comparing the expected and actual results.</a:t>
            </a:r>
          </a:p>
          <a:p>
            <a:pPr algn="just">
              <a:spcAft>
                <a:spcPts val="600"/>
              </a:spcAft>
              <a:buClr>
                <a:srgbClr val="000000"/>
              </a:buClr>
              <a:buSzPts val="1000"/>
            </a:pPr>
            <a:r>
              <a:rPr lang="en-IE" sz="1100" kern="600">
                <a:latin typeface="Calibri"/>
                <a:ea typeface="Times New Roman" panose="02020603050405020304" pitchFamily="18" charset="0"/>
                <a:cs typeface="Calibri"/>
              </a:rPr>
              <a:t>A clear defect resolution process will be implemented across all stage of testing, including </a:t>
            </a:r>
            <a:r>
              <a:rPr lang="en-IE" sz="1100" kern="600" err="1">
                <a:latin typeface="Calibri"/>
                <a:ea typeface="Times New Roman" panose="02020603050405020304" pitchFamily="18" charset="0"/>
                <a:cs typeface="Calibri"/>
              </a:rPr>
              <a:t>hypercare</a:t>
            </a:r>
            <a:r>
              <a:rPr lang="en-IE" sz="1100" kern="600">
                <a:latin typeface="Calibri"/>
                <a:ea typeface="Times New Roman" panose="02020603050405020304" pitchFamily="18" charset="0"/>
                <a:cs typeface="Calibri"/>
              </a:rPr>
              <a:t>. Defects will be identified, tracked and closed out during each test cycle, according to severity &amp; priority level. Regular Defect Status calls will be used to monitor progress, with escalations to leadership as required. </a:t>
            </a:r>
            <a:endParaRPr lang="en-IE" sz="1100" kern="600">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1506083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0" y="2210160"/>
            <a:ext cx="9774477" cy="676788"/>
          </a:xfrm>
        </p:spPr>
        <p:txBody>
          <a:bodyPr/>
          <a:lstStyle/>
          <a:p>
            <a:r>
              <a:rPr lang="en-IE">
                <a:latin typeface="Calibri"/>
                <a:cs typeface="Calibri"/>
              </a:rPr>
              <a:t>F.3 – Training &amp; Knowledge Transfer</a:t>
            </a:r>
            <a:endParaRPr lang="en-GB">
              <a:latin typeface="Calibri"/>
              <a:cs typeface="Calibri"/>
            </a:endParaRPr>
          </a:p>
        </p:txBody>
      </p:sp>
    </p:spTree>
    <p:extLst>
      <p:ext uri="{BB962C8B-B14F-4D97-AF65-F5344CB8AC3E}">
        <p14:creationId xmlns:p14="http://schemas.microsoft.com/office/powerpoint/2010/main" val="17504362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C81416-4AB8-4384-86B4-FD1BAA773C93}"/>
              </a:ext>
            </a:extLst>
          </p:cNvPr>
          <p:cNvSpPr>
            <a:spLocks noGrp="1"/>
          </p:cNvSpPr>
          <p:nvPr>
            <p:ph idx="1"/>
          </p:nvPr>
        </p:nvSpPr>
        <p:spPr>
          <a:xfrm>
            <a:off x="609704" y="1460409"/>
            <a:ext cx="10974284" cy="146280"/>
          </a:xfrm>
        </p:spPr>
        <p:txBody>
          <a:bodyPr/>
          <a:lstStyle/>
          <a:p>
            <a:r>
              <a:rPr lang="en-IE">
                <a:latin typeface="Calibri" panose="020F0502020204030204" pitchFamily="34" charset="0"/>
                <a:cs typeface="Calibri" panose="020F0502020204030204" pitchFamily="34" charset="0"/>
              </a:rPr>
              <a:t>EY has a well developed, tried &amp; tested approach to training, which we see as a key transformation enabler within the business</a:t>
            </a:r>
          </a:p>
          <a:p>
            <a:endParaRPr lang="en-IE">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a:cs typeface="Calibri"/>
              </a:rPr>
              <a:t>E.2 - Training / Knowledge Transfer</a:t>
            </a:r>
          </a:p>
        </p:txBody>
      </p:sp>
      <p:sp>
        <p:nvSpPr>
          <p:cNvPr id="11" name="Rectangle 775">
            <a:extLst>
              <a:ext uri="{FF2B5EF4-FFF2-40B4-BE49-F238E27FC236}">
                <a16:creationId xmlns:a16="http://schemas.microsoft.com/office/drawing/2014/main" id="{90DDC0F7-ED30-4BBD-8268-C904D7B7B3E6}"/>
              </a:ext>
            </a:extLst>
          </p:cNvPr>
          <p:cNvSpPr>
            <a:spLocks/>
          </p:cNvSpPr>
          <p:nvPr/>
        </p:nvSpPr>
        <p:spPr>
          <a:xfrm>
            <a:off x="666049" y="1760704"/>
            <a:ext cx="2187615" cy="184666"/>
          </a:xfrm>
          <a:prstGeom prst="rect">
            <a:avLst/>
          </a:prstGeom>
          <a:noFill/>
        </p:spPr>
        <p:txBody>
          <a:bodyPr wrap="square" lIns="0" tIns="0" rIns="0" bIns="0">
            <a:spAutoFit/>
          </a:bodyPr>
          <a:lstStyle/>
          <a:p>
            <a:r>
              <a:rPr lang="en-US" sz="1200" b="1" i="0" spc="0" baseline="0">
                <a:latin typeface="Calibri" panose="020F0502020204030204" pitchFamily="34" charset="0"/>
                <a:cs typeface="Calibri" panose="020F0502020204030204" pitchFamily="34" charset="0"/>
              </a:rPr>
              <a:t>SAP Enable Now</a:t>
            </a:r>
          </a:p>
        </p:txBody>
      </p:sp>
      <p:sp>
        <p:nvSpPr>
          <p:cNvPr id="51" name="Rectangle 50">
            <a:extLst>
              <a:ext uri="{FF2B5EF4-FFF2-40B4-BE49-F238E27FC236}">
                <a16:creationId xmlns:a16="http://schemas.microsoft.com/office/drawing/2014/main" id="{B1A4AC14-C0D7-4DA1-9FAF-BE296C11652D}"/>
              </a:ext>
            </a:extLst>
          </p:cNvPr>
          <p:cNvSpPr>
            <a:spLocks/>
          </p:cNvSpPr>
          <p:nvPr/>
        </p:nvSpPr>
        <p:spPr>
          <a:xfrm>
            <a:off x="2974968" y="5433025"/>
            <a:ext cx="2900292" cy="601127"/>
          </a:xfrm>
          <a:prstGeom prst="rect">
            <a:avLst/>
          </a:prstGeom>
        </p:spPr>
        <p:txBody>
          <a:bodyPr wrap="square" lIns="0" tIns="0" rIns="0" bIns="0">
            <a:spAutoFit/>
          </a:bodyPr>
          <a:lstStyle/>
          <a:p>
            <a:pPr marL="0" marR="0" lvl="0" indent="0" defTabSz="959638" eaLnBrk="1" fontAlgn="auto" latinLnBrk="0" hangingPunct="1">
              <a:lnSpc>
                <a:spcPct val="85000"/>
              </a:lnSpc>
              <a:spcBef>
                <a:spcPts val="0"/>
              </a:spcBef>
              <a:spcAft>
                <a:spcPts val="300"/>
              </a:spcAft>
              <a:buClrTx/>
              <a:buSzTx/>
              <a:buFontTx/>
              <a:buNone/>
              <a:tabLst/>
              <a:defRPr/>
            </a:pPr>
            <a:r>
              <a:rPr kumimoji="0" lang="en-US" sz="800" b="1"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2. Design content</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Create a role-based training curriculum by leveraging needs assessment</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Combine global content + local context for relatable, contextual materials that will stick and encourage behaviors to change</a:t>
            </a:r>
          </a:p>
        </p:txBody>
      </p:sp>
      <p:sp>
        <p:nvSpPr>
          <p:cNvPr id="52" name="Rectangle 51">
            <a:extLst>
              <a:ext uri="{FF2B5EF4-FFF2-40B4-BE49-F238E27FC236}">
                <a16:creationId xmlns:a16="http://schemas.microsoft.com/office/drawing/2014/main" id="{28BE02C9-233F-4ED3-A00E-A864ECC4B801}"/>
              </a:ext>
            </a:extLst>
          </p:cNvPr>
          <p:cNvSpPr>
            <a:spLocks/>
          </p:cNvSpPr>
          <p:nvPr/>
        </p:nvSpPr>
        <p:spPr>
          <a:xfrm>
            <a:off x="6103207" y="5433025"/>
            <a:ext cx="3131178" cy="705771"/>
          </a:xfrm>
          <a:prstGeom prst="rect">
            <a:avLst/>
          </a:prstGeom>
        </p:spPr>
        <p:txBody>
          <a:bodyPr wrap="square" lIns="0" tIns="0" rIns="0" bIns="0">
            <a:spAutoFit/>
          </a:bodyPr>
          <a:lstStyle/>
          <a:p>
            <a:pPr marL="0" marR="0" lvl="0" indent="0" defTabSz="959638" eaLnBrk="1" fontAlgn="auto" latinLnBrk="0" hangingPunct="1">
              <a:lnSpc>
                <a:spcPct val="85000"/>
              </a:lnSpc>
              <a:spcBef>
                <a:spcPts val="0"/>
              </a:spcBef>
              <a:spcAft>
                <a:spcPts val="300"/>
              </a:spcAft>
              <a:buClrTx/>
              <a:buSzTx/>
              <a:buFontTx/>
              <a:buNone/>
              <a:tabLst/>
              <a:defRPr/>
            </a:pPr>
            <a:r>
              <a:rPr kumimoji="0" lang="en-US" sz="800" b="1"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4. Deliver Training</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Con</a:t>
            </a:r>
            <a:r>
              <a:rPr lang="en-US" sz="800" kern="0">
                <a:solidFill>
                  <a:schemeClr val="bg2">
                    <a:lumMod val="65000"/>
                    <a:lumOff val="35000"/>
                  </a:schemeClr>
                </a:solidFill>
                <a:latin typeface="Calibri" panose="020F0502020204030204" pitchFamily="34" charset="0"/>
                <a:ea typeface="EYInterstate Light" charset="0"/>
                <a:cs typeface="Calibri" panose="020F0502020204030204" pitchFamily="34" charset="0"/>
              </a:rPr>
              <a:t>duct Train-the-Trainer sessions to prepare super users for end-user training </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Equip client practitioners with knowledge of Cloud Storage Technology </a:t>
            </a:r>
            <a:r>
              <a:rPr lang="en-US" sz="800" kern="0">
                <a:solidFill>
                  <a:schemeClr val="bg2">
                    <a:lumMod val="65000"/>
                    <a:lumOff val="35000"/>
                  </a:schemeClr>
                </a:solidFill>
                <a:latin typeface="Calibri" panose="020F0502020204030204" pitchFamily="34" charset="0"/>
                <a:ea typeface="EYInterstate Light" charset="0"/>
                <a:cs typeface="Calibri" panose="020F0502020204030204" pitchFamily="34" charset="0"/>
              </a:rPr>
              <a:t>processes</a:t>
            </a: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 to deliver an exceptional and consistent learning experience – enhancing knowledge transfer and business ownership </a:t>
            </a:r>
          </a:p>
        </p:txBody>
      </p:sp>
      <p:cxnSp>
        <p:nvCxnSpPr>
          <p:cNvPr id="53" name="Straight Connector 52">
            <a:extLst>
              <a:ext uri="{FF2B5EF4-FFF2-40B4-BE49-F238E27FC236}">
                <a16:creationId xmlns:a16="http://schemas.microsoft.com/office/drawing/2014/main" id="{215764FD-D4D3-444B-B3E0-AD750C4CBA61}"/>
              </a:ext>
            </a:extLst>
          </p:cNvPr>
          <p:cNvCxnSpPr/>
          <p:nvPr/>
        </p:nvCxnSpPr>
        <p:spPr>
          <a:xfrm>
            <a:off x="7378160" y="5149060"/>
            <a:ext cx="0" cy="209845"/>
          </a:xfrm>
          <a:prstGeom prst="line">
            <a:avLst/>
          </a:prstGeom>
          <a:noFill/>
          <a:ln w="9525" cap="flat" cmpd="sng" algn="ctr">
            <a:solidFill>
              <a:schemeClr val="bg2"/>
            </a:solidFill>
            <a:prstDash val="solid"/>
            <a:tailEnd type="none"/>
          </a:ln>
          <a:effectLst/>
        </p:spPr>
      </p:cxnSp>
      <p:cxnSp>
        <p:nvCxnSpPr>
          <p:cNvPr id="54" name="Straight Connector 53">
            <a:extLst>
              <a:ext uri="{FF2B5EF4-FFF2-40B4-BE49-F238E27FC236}">
                <a16:creationId xmlns:a16="http://schemas.microsoft.com/office/drawing/2014/main" id="{F661EDBC-27EB-45B3-988F-0B361FB2383D}"/>
              </a:ext>
            </a:extLst>
          </p:cNvPr>
          <p:cNvCxnSpPr>
            <a:cxnSpLocks/>
          </p:cNvCxnSpPr>
          <p:nvPr/>
        </p:nvCxnSpPr>
        <p:spPr>
          <a:xfrm>
            <a:off x="6103207" y="5363081"/>
            <a:ext cx="3131178" cy="0"/>
          </a:xfrm>
          <a:prstGeom prst="line">
            <a:avLst/>
          </a:prstGeom>
          <a:noFill/>
          <a:ln w="9525" cap="flat" cmpd="sng" algn="ctr">
            <a:solidFill>
              <a:schemeClr val="bg2"/>
            </a:solidFill>
            <a:prstDash val="solid"/>
            <a:tailEnd type="none"/>
          </a:ln>
          <a:effectLst/>
        </p:spPr>
      </p:cxnSp>
      <p:cxnSp>
        <p:nvCxnSpPr>
          <p:cNvPr id="55" name="Straight Connector 54">
            <a:extLst>
              <a:ext uri="{FF2B5EF4-FFF2-40B4-BE49-F238E27FC236}">
                <a16:creationId xmlns:a16="http://schemas.microsoft.com/office/drawing/2014/main" id="{D61EEF58-D84D-4491-B6B0-BC05A635D5FA}"/>
              </a:ext>
            </a:extLst>
          </p:cNvPr>
          <p:cNvCxnSpPr/>
          <p:nvPr/>
        </p:nvCxnSpPr>
        <p:spPr>
          <a:xfrm>
            <a:off x="4351942" y="5148000"/>
            <a:ext cx="0" cy="209845"/>
          </a:xfrm>
          <a:prstGeom prst="line">
            <a:avLst/>
          </a:prstGeom>
          <a:noFill/>
          <a:ln w="9525" cap="flat" cmpd="sng" algn="ctr">
            <a:solidFill>
              <a:schemeClr val="bg2"/>
            </a:solidFill>
            <a:prstDash val="solid"/>
            <a:tailEnd type="none"/>
          </a:ln>
          <a:effectLst/>
        </p:spPr>
      </p:cxnSp>
      <p:cxnSp>
        <p:nvCxnSpPr>
          <p:cNvPr id="56" name="Straight Connector 55">
            <a:extLst>
              <a:ext uri="{FF2B5EF4-FFF2-40B4-BE49-F238E27FC236}">
                <a16:creationId xmlns:a16="http://schemas.microsoft.com/office/drawing/2014/main" id="{BD193F80-76A2-4ABB-8170-513B0248F4FC}"/>
              </a:ext>
            </a:extLst>
          </p:cNvPr>
          <p:cNvCxnSpPr>
            <a:cxnSpLocks/>
          </p:cNvCxnSpPr>
          <p:nvPr/>
        </p:nvCxnSpPr>
        <p:spPr>
          <a:xfrm>
            <a:off x="2974968" y="5362021"/>
            <a:ext cx="2900292" cy="1060"/>
          </a:xfrm>
          <a:prstGeom prst="line">
            <a:avLst/>
          </a:prstGeom>
          <a:noFill/>
          <a:ln w="9525" cap="flat" cmpd="sng" algn="ctr">
            <a:solidFill>
              <a:schemeClr val="bg2"/>
            </a:solidFill>
            <a:prstDash val="solid"/>
            <a:tailEnd type="none"/>
          </a:ln>
          <a:effectLst/>
        </p:spPr>
      </p:cxnSp>
      <p:sp>
        <p:nvSpPr>
          <p:cNvPr id="57" name="Freeform 9197">
            <a:extLst>
              <a:ext uri="{FF2B5EF4-FFF2-40B4-BE49-F238E27FC236}">
                <a16:creationId xmlns:a16="http://schemas.microsoft.com/office/drawing/2014/main" id="{8C2C675D-F088-4738-873F-40B216756E0B}"/>
              </a:ext>
            </a:extLst>
          </p:cNvPr>
          <p:cNvSpPr/>
          <p:nvPr/>
        </p:nvSpPr>
        <p:spPr>
          <a:xfrm>
            <a:off x="4602522" y="3141763"/>
            <a:ext cx="2586057" cy="2006279"/>
          </a:xfrm>
          <a:custGeom>
            <a:avLst/>
            <a:gdLst/>
            <a:ahLst/>
            <a:cxnLst/>
            <a:rect l="0" t="0" r="0" b="0"/>
            <a:pathLst>
              <a:path w="3117341" h="2485644">
                <a:moveTo>
                  <a:pt x="1559941" y="2485644"/>
                </a:moveTo>
                <a:cubicBezTo>
                  <a:pt x="1378204" y="2485644"/>
                  <a:pt x="1212216" y="2398396"/>
                  <a:pt x="1112012" y="2251965"/>
                </a:cubicBezTo>
                <a:cubicBezTo>
                  <a:pt x="123825" y="819150"/>
                  <a:pt x="123825" y="819150"/>
                  <a:pt x="123825" y="819150"/>
                </a:cubicBezTo>
                <a:cubicBezTo>
                  <a:pt x="13208" y="657352"/>
                  <a:pt x="0" y="451993"/>
                  <a:pt x="94869" y="279909"/>
                </a:cubicBezTo>
                <a:cubicBezTo>
                  <a:pt x="189739" y="107824"/>
                  <a:pt x="371603" y="0"/>
                  <a:pt x="571881" y="0"/>
                </a:cubicBezTo>
                <a:cubicBezTo>
                  <a:pt x="2548127" y="0"/>
                  <a:pt x="2548127" y="0"/>
                  <a:pt x="2548127" y="0"/>
                </a:cubicBezTo>
                <a:cubicBezTo>
                  <a:pt x="2745740" y="0"/>
                  <a:pt x="2930271" y="107824"/>
                  <a:pt x="3025140" y="279909"/>
                </a:cubicBezTo>
                <a:cubicBezTo>
                  <a:pt x="3117341" y="451993"/>
                  <a:pt x="3106801" y="657352"/>
                  <a:pt x="2996183" y="819150"/>
                </a:cubicBezTo>
                <a:cubicBezTo>
                  <a:pt x="2007996" y="2251965"/>
                  <a:pt x="2007996" y="2251965"/>
                  <a:pt x="2007996" y="2251965"/>
                </a:cubicBezTo>
                <a:cubicBezTo>
                  <a:pt x="1907793" y="2398396"/>
                  <a:pt x="1739137" y="2485644"/>
                  <a:pt x="1559941" y="2485644"/>
                </a:cubicBezTo>
                <a:close/>
              </a:path>
            </a:pathLst>
          </a:custGeom>
          <a:solidFill>
            <a:srgbClr val="C4C4CD"/>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58" name="Freeform 9198">
            <a:extLst>
              <a:ext uri="{FF2B5EF4-FFF2-40B4-BE49-F238E27FC236}">
                <a16:creationId xmlns:a16="http://schemas.microsoft.com/office/drawing/2014/main" id="{B1A8DEE7-BDFA-4275-8898-B8C0662776A7}"/>
              </a:ext>
            </a:extLst>
          </p:cNvPr>
          <p:cNvSpPr/>
          <p:nvPr/>
        </p:nvSpPr>
        <p:spPr>
          <a:xfrm>
            <a:off x="7600732" y="3141763"/>
            <a:ext cx="2584790" cy="2006279"/>
          </a:xfrm>
          <a:custGeom>
            <a:avLst/>
            <a:gdLst/>
            <a:ahLst/>
            <a:cxnLst/>
            <a:rect l="0" t="0" r="0" b="0"/>
            <a:pathLst>
              <a:path w="3115816" h="2485644">
                <a:moveTo>
                  <a:pt x="1559178" y="2485644"/>
                </a:moveTo>
                <a:cubicBezTo>
                  <a:pt x="1377441" y="2485644"/>
                  <a:pt x="1211579" y="2398396"/>
                  <a:pt x="1108837" y="2251965"/>
                </a:cubicBezTo>
                <a:cubicBezTo>
                  <a:pt x="123825" y="819150"/>
                  <a:pt x="123825" y="819150"/>
                  <a:pt x="123825" y="819150"/>
                </a:cubicBezTo>
                <a:cubicBezTo>
                  <a:pt x="10540" y="657352"/>
                  <a:pt x="0" y="451993"/>
                  <a:pt x="94868" y="279909"/>
                </a:cubicBezTo>
                <a:cubicBezTo>
                  <a:pt x="189611" y="107824"/>
                  <a:pt x="371348" y="0"/>
                  <a:pt x="571500" y="0"/>
                </a:cubicBezTo>
                <a:cubicBezTo>
                  <a:pt x="2544316" y="0"/>
                  <a:pt x="2544316" y="0"/>
                  <a:pt x="2544316" y="0"/>
                </a:cubicBezTo>
                <a:cubicBezTo>
                  <a:pt x="2744469" y="0"/>
                  <a:pt x="2928872" y="107824"/>
                  <a:pt x="3020947" y="279909"/>
                </a:cubicBezTo>
                <a:cubicBezTo>
                  <a:pt x="3115816" y="451993"/>
                  <a:pt x="3105275" y="657352"/>
                  <a:pt x="2994658" y="819150"/>
                </a:cubicBezTo>
                <a:cubicBezTo>
                  <a:pt x="2006979" y="2251965"/>
                  <a:pt x="2006979" y="2251965"/>
                  <a:pt x="2006979" y="2251965"/>
                </a:cubicBezTo>
                <a:cubicBezTo>
                  <a:pt x="1906903" y="2398396"/>
                  <a:pt x="1738374" y="2485644"/>
                  <a:pt x="1559178" y="2485644"/>
                </a:cubicBezTo>
                <a:close/>
              </a:path>
            </a:pathLst>
          </a:custGeom>
          <a:solidFill>
            <a:srgbClr val="C4C4CD"/>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59" name="Freeform 9199">
            <a:extLst>
              <a:ext uri="{FF2B5EF4-FFF2-40B4-BE49-F238E27FC236}">
                <a16:creationId xmlns:a16="http://schemas.microsoft.com/office/drawing/2014/main" id="{834BA052-E586-4C6D-90C2-9029FB7ED7C3}"/>
              </a:ext>
            </a:extLst>
          </p:cNvPr>
          <p:cNvSpPr/>
          <p:nvPr/>
        </p:nvSpPr>
        <p:spPr>
          <a:xfrm>
            <a:off x="6103206" y="3141764"/>
            <a:ext cx="2584790" cy="2006279"/>
          </a:xfrm>
          <a:custGeom>
            <a:avLst/>
            <a:gdLst/>
            <a:ahLst/>
            <a:cxnLst/>
            <a:rect l="0" t="0" r="0" b="0"/>
            <a:pathLst>
              <a:path w="3115816" h="2485644">
                <a:moveTo>
                  <a:pt x="1556638" y="0"/>
                </a:moveTo>
                <a:cubicBezTo>
                  <a:pt x="1738375" y="0"/>
                  <a:pt x="1904237" y="87248"/>
                  <a:pt x="2004313" y="233679"/>
                </a:cubicBezTo>
                <a:cubicBezTo>
                  <a:pt x="2991991" y="1666494"/>
                  <a:pt x="2991991" y="1666494"/>
                  <a:pt x="2991991" y="1666494"/>
                </a:cubicBezTo>
                <a:cubicBezTo>
                  <a:pt x="3105276" y="1828292"/>
                  <a:pt x="3115816" y="2033651"/>
                  <a:pt x="3020948" y="2205735"/>
                </a:cubicBezTo>
                <a:cubicBezTo>
                  <a:pt x="2926205" y="2377820"/>
                  <a:pt x="2744468" y="2485644"/>
                  <a:pt x="2544316" y="2485644"/>
                </a:cubicBezTo>
                <a:cubicBezTo>
                  <a:pt x="568960" y="2485644"/>
                  <a:pt x="568960" y="2485644"/>
                  <a:pt x="568960" y="2485644"/>
                </a:cubicBezTo>
                <a:cubicBezTo>
                  <a:pt x="371347" y="2485644"/>
                  <a:pt x="186944" y="2377820"/>
                  <a:pt x="94869" y="2205735"/>
                </a:cubicBezTo>
                <a:cubicBezTo>
                  <a:pt x="0" y="2033651"/>
                  <a:pt x="10541" y="1828292"/>
                  <a:pt x="121158" y="1666494"/>
                </a:cubicBezTo>
                <a:cubicBezTo>
                  <a:pt x="1108837" y="233679"/>
                  <a:pt x="1108837" y="233679"/>
                  <a:pt x="1108837" y="233679"/>
                </a:cubicBezTo>
                <a:cubicBezTo>
                  <a:pt x="1208913" y="87248"/>
                  <a:pt x="1377442" y="0"/>
                  <a:pt x="1556638" y="0"/>
                </a:cubicBezTo>
                <a:close/>
              </a:path>
            </a:pathLst>
          </a:custGeom>
          <a:solidFill>
            <a:srgbClr val="C4C4CD"/>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60" name="Freeform 9200">
            <a:extLst>
              <a:ext uri="{FF2B5EF4-FFF2-40B4-BE49-F238E27FC236}">
                <a16:creationId xmlns:a16="http://schemas.microsoft.com/office/drawing/2014/main" id="{8D57794D-71F6-4730-9E56-30B254A4A3D5}"/>
              </a:ext>
            </a:extLst>
          </p:cNvPr>
          <p:cNvSpPr/>
          <p:nvPr/>
        </p:nvSpPr>
        <p:spPr>
          <a:xfrm>
            <a:off x="6507141" y="3141764"/>
            <a:ext cx="1775029" cy="1090475"/>
          </a:xfrm>
          <a:custGeom>
            <a:avLst/>
            <a:gdLst/>
            <a:ahLst/>
            <a:cxnLst/>
            <a:rect l="0" t="0" r="0" b="0"/>
            <a:pathLst>
              <a:path w="2139696" h="1351025">
                <a:moveTo>
                  <a:pt x="1517777" y="233679"/>
                </a:moveTo>
                <a:cubicBezTo>
                  <a:pt x="1417701" y="87375"/>
                  <a:pt x="1251712" y="0"/>
                  <a:pt x="1069848" y="0"/>
                </a:cubicBezTo>
                <a:cubicBezTo>
                  <a:pt x="1069848" y="0"/>
                  <a:pt x="1069848" y="0"/>
                  <a:pt x="1069848" y="0"/>
                </a:cubicBezTo>
                <a:cubicBezTo>
                  <a:pt x="1069848" y="0"/>
                  <a:pt x="1069848" y="0"/>
                  <a:pt x="1069848" y="0"/>
                </a:cubicBezTo>
                <a:cubicBezTo>
                  <a:pt x="1069848" y="0"/>
                  <a:pt x="1069848" y="0"/>
                  <a:pt x="1069848" y="0"/>
                </a:cubicBezTo>
                <a:cubicBezTo>
                  <a:pt x="1069848" y="0"/>
                  <a:pt x="1069848" y="0"/>
                  <a:pt x="1069848" y="0"/>
                </a:cubicBezTo>
                <a:cubicBezTo>
                  <a:pt x="890651" y="0"/>
                  <a:pt x="721996" y="87375"/>
                  <a:pt x="621919" y="233679"/>
                </a:cubicBezTo>
                <a:cubicBezTo>
                  <a:pt x="0" y="1135251"/>
                  <a:pt x="0" y="1135251"/>
                  <a:pt x="0" y="1135251"/>
                </a:cubicBezTo>
                <a:cubicBezTo>
                  <a:pt x="239777" y="1140459"/>
                  <a:pt x="239777" y="1140459"/>
                  <a:pt x="239777" y="1140459"/>
                </a:cubicBezTo>
                <a:cubicBezTo>
                  <a:pt x="334645" y="1351025"/>
                  <a:pt x="334645" y="1351025"/>
                  <a:pt x="334645" y="1351025"/>
                </a:cubicBezTo>
                <a:cubicBezTo>
                  <a:pt x="953897" y="451992"/>
                  <a:pt x="953897" y="451992"/>
                  <a:pt x="953897" y="451992"/>
                </a:cubicBezTo>
                <a:cubicBezTo>
                  <a:pt x="982854" y="410971"/>
                  <a:pt x="1027684" y="390397"/>
                  <a:pt x="1069848" y="390397"/>
                </a:cubicBezTo>
                <a:cubicBezTo>
                  <a:pt x="1114680" y="390397"/>
                  <a:pt x="1159384" y="410971"/>
                  <a:pt x="1185800" y="451992"/>
                </a:cubicBezTo>
                <a:cubicBezTo>
                  <a:pt x="1807717" y="1351025"/>
                  <a:pt x="1807717" y="1351025"/>
                  <a:pt x="1807717" y="1351025"/>
                </a:cubicBezTo>
                <a:cubicBezTo>
                  <a:pt x="2044827" y="1345945"/>
                  <a:pt x="2044827" y="1345945"/>
                  <a:pt x="2044827" y="1345945"/>
                </a:cubicBezTo>
                <a:cubicBezTo>
                  <a:pt x="2139696" y="1135251"/>
                  <a:pt x="2139696" y="1135251"/>
                  <a:pt x="2139696" y="1135251"/>
                </a:cubicBezTo>
                <a:cubicBezTo>
                  <a:pt x="2139696" y="1135251"/>
                  <a:pt x="2139696" y="1135251"/>
                  <a:pt x="2139696" y="1135251"/>
                </a:cubicBezTo>
                <a:lnTo>
                  <a:pt x="1517777" y="233679"/>
                </a:lnTo>
                <a:close/>
              </a:path>
            </a:pathLst>
          </a:custGeom>
          <a:solidFill>
            <a:srgbClr val="FEE600"/>
          </a:solid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109090"/>
              </a:solidFill>
              <a:latin typeface="Calibri" panose="020F0502020204030204" pitchFamily="34" charset="0"/>
              <a:cs typeface="Calibri" panose="020F0502020204030204" pitchFamily="34" charset="0"/>
            </a:endParaRPr>
          </a:p>
        </p:txBody>
      </p:sp>
      <p:sp>
        <p:nvSpPr>
          <p:cNvPr id="61" name="Freeform 9201">
            <a:extLst>
              <a:ext uri="{FF2B5EF4-FFF2-40B4-BE49-F238E27FC236}">
                <a16:creationId xmlns:a16="http://schemas.microsoft.com/office/drawing/2014/main" id="{464C4160-B2DA-4299-8DAF-5003406F7531}"/>
              </a:ext>
            </a:extLst>
          </p:cNvPr>
          <p:cNvSpPr/>
          <p:nvPr/>
        </p:nvSpPr>
        <p:spPr>
          <a:xfrm>
            <a:off x="1608741" y="3141763"/>
            <a:ext cx="2582896" cy="2006279"/>
          </a:xfrm>
          <a:custGeom>
            <a:avLst/>
            <a:gdLst/>
            <a:ahLst/>
            <a:cxnLst/>
            <a:rect l="0" t="0" r="0" b="0"/>
            <a:pathLst>
              <a:path w="3113532" h="2485644">
                <a:moveTo>
                  <a:pt x="1556766" y="2485644"/>
                </a:moveTo>
                <a:cubicBezTo>
                  <a:pt x="1377696" y="2485644"/>
                  <a:pt x="1209041" y="2398396"/>
                  <a:pt x="1108965" y="2251965"/>
                </a:cubicBezTo>
                <a:cubicBezTo>
                  <a:pt x="121158" y="819150"/>
                  <a:pt x="121158" y="819150"/>
                  <a:pt x="121158" y="819150"/>
                </a:cubicBezTo>
                <a:cubicBezTo>
                  <a:pt x="10541" y="657352"/>
                  <a:pt x="0" y="451993"/>
                  <a:pt x="92203" y="279909"/>
                </a:cubicBezTo>
                <a:cubicBezTo>
                  <a:pt x="187072" y="107824"/>
                  <a:pt x="368808" y="0"/>
                  <a:pt x="568961" y="0"/>
                </a:cubicBezTo>
                <a:cubicBezTo>
                  <a:pt x="2544571" y="0"/>
                  <a:pt x="2544571" y="0"/>
                  <a:pt x="2544571" y="0"/>
                </a:cubicBezTo>
                <a:cubicBezTo>
                  <a:pt x="2744724" y="0"/>
                  <a:pt x="2926460" y="107824"/>
                  <a:pt x="3021329" y="279909"/>
                </a:cubicBezTo>
                <a:cubicBezTo>
                  <a:pt x="3113532" y="451993"/>
                  <a:pt x="3102991" y="657352"/>
                  <a:pt x="2992374" y="819150"/>
                </a:cubicBezTo>
                <a:cubicBezTo>
                  <a:pt x="2004567" y="2251965"/>
                  <a:pt x="2004567" y="2251965"/>
                  <a:pt x="2004567" y="2251965"/>
                </a:cubicBezTo>
                <a:cubicBezTo>
                  <a:pt x="1904491" y="2398396"/>
                  <a:pt x="1735836" y="2485644"/>
                  <a:pt x="1556766" y="2485644"/>
                </a:cubicBezTo>
                <a:close/>
              </a:path>
            </a:pathLst>
          </a:custGeom>
          <a:solidFill>
            <a:srgbClr val="C4C4CD"/>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62" name="Freeform 9202">
            <a:extLst>
              <a:ext uri="{FF2B5EF4-FFF2-40B4-BE49-F238E27FC236}">
                <a16:creationId xmlns:a16="http://schemas.microsoft.com/office/drawing/2014/main" id="{16AE0B04-529C-4E45-A408-8F8D31829AD7}"/>
              </a:ext>
            </a:extLst>
          </p:cNvPr>
          <p:cNvSpPr/>
          <p:nvPr/>
        </p:nvSpPr>
        <p:spPr>
          <a:xfrm>
            <a:off x="3104367" y="3141764"/>
            <a:ext cx="2586689" cy="2006279"/>
          </a:xfrm>
          <a:custGeom>
            <a:avLst/>
            <a:gdLst/>
            <a:ahLst/>
            <a:cxnLst/>
            <a:rect l="0" t="0" r="0" b="0"/>
            <a:pathLst>
              <a:path w="3118104" h="2485644">
                <a:moveTo>
                  <a:pt x="1557782" y="0"/>
                </a:moveTo>
                <a:cubicBezTo>
                  <a:pt x="1739645" y="0"/>
                  <a:pt x="1905634" y="87248"/>
                  <a:pt x="2008505" y="233679"/>
                </a:cubicBezTo>
                <a:cubicBezTo>
                  <a:pt x="2994279" y="1666494"/>
                  <a:pt x="2994279" y="1666494"/>
                  <a:pt x="2994279" y="1666494"/>
                </a:cubicBezTo>
                <a:cubicBezTo>
                  <a:pt x="3107562" y="1828292"/>
                  <a:pt x="3118104" y="2033651"/>
                  <a:pt x="3023234" y="2205735"/>
                </a:cubicBezTo>
                <a:cubicBezTo>
                  <a:pt x="2928365" y="2377820"/>
                  <a:pt x="2746501" y="2485644"/>
                  <a:pt x="2546095" y="2485644"/>
                </a:cubicBezTo>
                <a:cubicBezTo>
                  <a:pt x="572008" y="2485644"/>
                  <a:pt x="572008" y="2485644"/>
                  <a:pt x="572008" y="2485644"/>
                </a:cubicBezTo>
                <a:cubicBezTo>
                  <a:pt x="371602" y="2485644"/>
                  <a:pt x="187199" y="2377820"/>
                  <a:pt x="94869" y="2205735"/>
                </a:cubicBezTo>
                <a:cubicBezTo>
                  <a:pt x="0" y="2033651"/>
                  <a:pt x="10541" y="1828292"/>
                  <a:pt x="121285" y="1666494"/>
                </a:cubicBezTo>
                <a:cubicBezTo>
                  <a:pt x="1109599" y="233679"/>
                  <a:pt x="1109599" y="233679"/>
                  <a:pt x="1109599" y="233679"/>
                </a:cubicBezTo>
                <a:cubicBezTo>
                  <a:pt x="1209803" y="87248"/>
                  <a:pt x="1378459" y="0"/>
                  <a:pt x="1557782" y="0"/>
                </a:cubicBezTo>
                <a:close/>
              </a:path>
            </a:pathLst>
          </a:custGeom>
          <a:solidFill>
            <a:srgbClr val="C4C4CD"/>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63" name="Freeform 9203">
            <a:extLst>
              <a:ext uri="{FF2B5EF4-FFF2-40B4-BE49-F238E27FC236}">
                <a16:creationId xmlns:a16="http://schemas.microsoft.com/office/drawing/2014/main" id="{CB91E08E-2323-41CB-A3C7-95023F40A7D9}"/>
              </a:ext>
            </a:extLst>
          </p:cNvPr>
          <p:cNvSpPr/>
          <p:nvPr/>
        </p:nvSpPr>
        <p:spPr>
          <a:xfrm>
            <a:off x="3510197" y="3141764"/>
            <a:ext cx="1775028" cy="1090475"/>
          </a:xfrm>
          <a:custGeom>
            <a:avLst/>
            <a:gdLst/>
            <a:ahLst/>
            <a:cxnLst/>
            <a:rect l="0" t="0" r="0" b="0"/>
            <a:pathLst>
              <a:path w="2139695" h="1351025">
                <a:moveTo>
                  <a:pt x="1520444" y="233679"/>
                </a:moveTo>
                <a:cubicBezTo>
                  <a:pt x="1417701" y="87375"/>
                  <a:pt x="1251713" y="0"/>
                  <a:pt x="1069849" y="0"/>
                </a:cubicBezTo>
                <a:cubicBezTo>
                  <a:pt x="1069849" y="0"/>
                  <a:pt x="1069849" y="0"/>
                  <a:pt x="1069849" y="0"/>
                </a:cubicBezTo>
                <a:cubicBezTo>
                  <a:pt x="1069849" y="0"/>
                  <a:pt x="1069849" y="0"/>
                  <a:pt x="1069849" y="0"/>
                </a:cubicBezTo>
                <a:cubicBezTo>
                  <a:pt x="1069849" y="0"/>
                  <a:pt x="1069849" y="0"/>
                  <a:pt x="1069849" y="0"/>
                </a:cubicBezTo>
                <a:cubicBezTo>
                  <a:pt x="1069849" y="0"/>
                  <a:pt x="1069849" y="0"/>
                  <a:pt x="1069849" y="0"/>
                </a:cubicBezTo>
                <a:cubicBezTo>
                  <a:pt x="890651" y="0"/>
                  <a:pt x="721996" y="87375"/>
                  <a:pt x="621919" y="233679"/>
                </a:cubicBezTo>
                <a:cubicBezTo>
                  <a:pt x="0" y="1135251"/>
                  <a:pt x="0" y="1135251"/>
                  <a:pt x="0" y="1135251"/>
                </a:cubicBezTo>
                <a:cubicBezTo>
                  <a:pt x="239777" y="1140459"/>
                  <a:pt x="239777" y="1140459"/>
                  <a:pt x="239777" y="1140459"/>
                </a:cubicBezTo>
                <a:cubicBezTo>
                  <a:pt x="334645" y="1351025"/>
                  <a:pt x="334645" y="1351025"/>
                  <a:pt x="334645" y="1351025"/>
                </a:cubicBezTo>
                <a:cubicBezTo>
                  <a:pt x="956564" y="451992"/>
                  <a:pt x="956564" y="451992"/>
                  <a:pt x="956564" y="451992"/>
                </a:cubicBezTo>
                <a:cubicBezTo>
                  <a:pt x="982853" y="410971"/>
                  <a:pt x="1027685" y="390397"/>
                  <a:pt x="1069849" y="390397"/>
                </a:cubicBezTo>
                <a:cubicBezTo>
                  <a:pt x="1114679" y="390397"/>
                  <a:pt x="1159383" y="410971"/>
                  <a:pt x="1185799" y="451992"/>
                </a:cubicBezTo>
                <a:cubicBezTo>
                  <a:pt x="1807718" y="1351025"/>
                  <a:pt x="1807718" y="1351025"/>
                  <a:pt x="1807718" y="1351025"/>
                </a:cubicBezTo>
                <a:cubicBezTo>
                  <a:pt x="2044827" y="1345945"/>
                  <a:pt x="2044827" y="1345945"/>
                  <a:pt x="2044827" y="1345945"/>
                </a:cubicBezTo>
                <a:cubicBezTo>
                  <a:pt x="2139695" y="1135251"/>
                  <a:pt x="2139695" y="1135251"/>
                  <a:pt x="2139695" y="1135251"/>
                </a:cubicBezTo>
                <a:cubicBezTo>
                  <a:pt x="2139695" y="1135251"/>
                  <a:pt x="2139695" y="1135251"/>
                  <a:pt x="2139695" y="1135251"/>
                </a:cubicBezTo>
                <a:lnTo>
                  <a:pt x="1520444" y="233679"/>
                </a:lnTo>
                <a:close/>
              </a:path>
            </a:pathLst>
          </a:custGeom>
          <a:solidFill>
            <a:srgbClr val="FEE600"/>
          </a:solidFill>
          <a:ln w="12700">
            <a:solidFill>
              <a:srgbClr val="C4C4CC"/>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64" name="Freeform 9204">
            <a:extLst>
              <a:ext uri="{FF2B5EF4-FFF2-40B4-BE49-F238E27FC236}">
                <a16:creationId xmlns:a16="http://schemas.microsoft.com/office/drawing/2014/main" id="{D35778E3-87E8-4210-8094-1366369976AD}"/>
              </a:ext>
            </a:extLst>
          </p:cNvPr>
          <p:cNvSpPr/>
          <p:nvPr/>
        </p:nvSpPr>
        <p:spPr>
          <a:xfrm>
            <a:off x="5009617" y="4058796"/>
            <a:ext cx="1775029" cy="1089245"/>
          </a:xfrm>
          <a:custGeom>
            <a:avLst/>
            <a:gdLst/>
            <a:ahLst/>
            <a:cxnLst/>
            <a:rect l="0" t="0" r="0" b="0"/>
            <a:pathLst>
              <a:path w="2139696" h="1349500">
                <a:moveTo>
                  <a:pt x="1517777" y="1116075"/>
                </a:moveTo>
                <a:cubicBezTo>
                  <a:pt x="1417701" y="1262252"/>
                  <a:pt x="1249046"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887984" y="1349500"/>
                  <a:pt x="721996" y="1262252"/>
                  <a:pt x="621919" y="1116075"/>
                </a:cubicBezTo>
                <a:cubicBezTo>
                  <a:pt x="0" y="215518"/>
                  <a:pt x="0" y="215518"/>
                  <a:pt x="0" y="215518"/>
                </a:cubicBezTo>
                <a:cubicBezTo>
                  <a:pt x="237110" y="210439"/>
                  <a:pt x="237110" y="210439"/>
                  <a:pt x="237110" y="210439"/>
                </a:cubicBezTo>
                <a:cubicBezTo>
                  <a:pt x="331978" y="0"/>
                  <a:pt x="331978" y="0"/>
                  <a:pt x="331978" y="0"/>
                </a:cubicBezTo>
                <a:cubicBezTo>
                  <a:pt x="953897" y="898016"/>
                  <a:pt x="953897" y="898016"/>
                  <a:pt x="953897" y="898016"/>
                </a:cubicBezTo>
                <a:cubicBezTo>
                  <a:pt x="980314" y="939038"/>
                  <a:pt x="1025018" y="959485"/>
                  <a:pt x="1069848" y="959485"/>
                </a:cubicBezTo>
                <a:cubicBezTo>
                  <a:pt x="1114680" y="959485"/>
                  <a:pt x="1156843" y="939038"/>
                  <a:pt x="1185800" y="898016"/>
                </a:cubicBezTo>
                <a:cubicBezTo>
                  <a:pt x="1805051" y="0"/>
                  <a:pt x="1805051" y="0"/>
                  <a:pt x="1805051" y="0"/>
                </a:cubicBezTo>
                <a:cubicBezTo>
                  <a:pt x="2044827" y="5079"/>
                  <a:pt x="2044827" y="5079"/>
                  <a:pt x="2044827" y="5079"/>
                </a:cubicBezTo>
                <a:cubicBezTo>
                  <a:pt x="2139696" y="215518"/>
                  <a:pt x="2139696" y="215518"/>
                  <a:pt x="2139696" y="215518"/>
                </a:cubicBezTo>
                <a:cubicBezTo>
                  <a:pt x="2139696" y="215518"/>
                  <a:pt x="2139696" y="215518"/>
                  <a:pt x="2139696" y="215518"/>
                </a:cubicBezTo>
                <a:lnTo>
                  <a:pt x="1517777" y="1116075"/>
                </a:lnTo>
                <a:close/>
              </a:path>
            </a:pathLst>
          </a:custGeom>
          <a:solidFill>
            <a:srgbClr val="747480"/>
          </a:solidFill>
          <a:ln w="127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65" name="Freeform 9205">
            <a:extLst>
              <a:ext uri="{FF2B5EF4-FFF2-40B4-BE49-F238E27FC236}">
                <a16:creationId xmlns:a16="http://schemas.microsoft.com/office/drawing/2014/main" id="{4D4E29AA-FC67-49BC-94A8-13EE027B30D8}"/>
              </a:ext>
            </a:extLst>
          </p:cNvPr>
          <p:cNvSpPr/>
          <p:nvPr/>
        </p:nvSpPr>
        <p:spPr>
          <a:xfrm>
            <a:off x="2012673" y="4058796"/>
            <a:ext cx="1775029" cy="1089245"/>
          </a:xfrm>
          <a:custGeom>
            <a:avLst/>
            <a:gdLst/>
            <a:ahLst/>
            <a:cxnLst/>
            <a:rect l="0" t="0" r="0" b="0"/>
            <a:pathLst>
              <a:path w="2139696" h="1349500">
                <a:moveTo>
                  <a:pt x="1517777" y="1116075"/>
                </a:moveTo>
                <a:cubicBezTo>
                  <a:pt x="1417701" y="1262252"/>
                  <a:pt x="1249046"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890651" y="1349500"/>
                  <a:pt x="721996" y="1262252"/>
                  <a:pt x="621919" y="1116075"/>
                </a:cubicBezTo>
                <a:cubicBezTo>
                  <a:pt x="0" y="215518"/>
                  <a:pt x="0" y="215518"/>
                  <a:pt x="0" y="215518"/>
                </a:cubicBezTo>
                <a:cubicBezTo>
                  <a:pt x="237110" y="210439"/>
                  <a:pt x="237110" y="210439"/>
                  <a:pt x="237110" y="210439"/>
                </a:cubicBezTo>
                <a:cubicBezTo>
                  <a:pt x="331978" y="0"/>
                  <a:pt x="331978" y="0"/>
                  <a:pt x="331978" y="0"/>
                </a:cubicBezTo>
                <a:cubicBezTo>
                  <a:pt x="953897" y="898016"/>
                  <a:pt x="953897" y="898016"/>
                  <a:pt x="953897" y="898016"/>
                </a:cubicBezTo>
                <a:cubicBezTo>
                  <a:pt x="982854" y="939038"/>
                  <a:pt x="1025018" y="959485"/>
                  <a:pt x="1069848" y="959485"/>
                </a:cubicBezTo>
                <a:cubicBezTo>
                  <a:pt x="1114680" y="959485"/>
                  <a:pt x="1156843" y="939038"/>
                  <a:pt x="1185800" y="898016"/>
                </a:cubicBezTo>
                <a:cubicBezTo>
                  <a:pt x="1807717" y="0"/>
                  <a:pt x="1807717" y="0"/>
                  <a:pt x="1807717" y="0"/>
                </a:cubicBezTo>
                <a:cubicBezTo>
                  <a:pt x="2044827" y="5079"/>
                  <a:pt x="2044827" y="5079"/>
                  <a:pt x="2044827" y="5079"/>
                </a:cubicBezTo>
                <a:cubicBezTo>
                  <a:pt x="2139696" y="215518"/>
                  <a:pt x="2139696" y="215518"/>
                  <a:pt x="2139696" y="215518"/>
                </a:cubicBezTo>
                <a:cubicBezTo>
                  <a:pt x="2139696" y="215518"/>
                  <a:pt x="2139696" y="215518"/>
                  <a:pt x="2139696" y="215518"/>
                </a:cubicBezTo>
                <a:lnTo>
                  <a:pt x="1517777" y="1116075"/>
                </a:lnTo>
                <a:close/>
              </a:path>
            </a:pathLst>
          </a:custGeom>
          <a:solidFill>
            <a:srgbClr val="2E2E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66" name="Freeform 9206">
            <a:extLst>
              <a:ext uri="{FF2B5EF4-FFF2-40B4-BE49-F238E27FC236}">
                <a16:creationId xmlns:a16="http://schemas.microsoft.com/office/drawing/2014/main" id="{CE5931FD-5F69-4236-8638-2F8B2FFFAAF0}"/>
              </a:ext>
            </a:extLst>
          </p:cNvPr>
          <p:cNvSpPr/>
          <p:nvPr/>
        </p:nvSpPr>
        <p:spPr>
          <a:xfrm>
            <a:off x="7963576" y="3467123"/>
            <a:ext cx="1859735" cy="1354945"/>
          </a:xfrm>
          <a:custGeom>
            <a:avLst/>
            <a:gdLst/>
            <a:ahLst/>
            <a:cxnLst/>
            <a:rect l="0" t="0" r="0" b="0"/>
            <a:pathLst>
              <a:path w="2241804" h="1678685">
                <a:moveTo>
                  <a:pt x="1122172" y="1678685"/>
                </a:moveTo>
                <a:cubicBezTo>
                  <a:pt x="1077469" y="1678685"/>
                  <a:pt x="1040512" y="1658111"/>
                  <a:pt x="1016890" y="1624838"/>
                </a:cubicBezTo>
                <a:cubicBezTo>
                  <a:pt x="28956" y="192532"/>
                  <a:pt x="28956" y="192532"/>
                  <a:pt x="28956" y="192532"/>
                </a:cubicBezTo>
                <a:cubicBezTo>
                  <a:pt x="2667" y="154050"/>
                  <a:pt x="0" y="105283"/>
                  <a:pt x="23750" y="66674"/>
                </a:cubicBezTo>
                <a:cubicBezTo>
                  <a:pt x="44831" y="25653"/>
                  <a:pt x="86995" y="0"/>
                  <a:pt x="134367" y="0"/>
                </a:cubicBezTo>
                <a:cubicBezTo>
                  <a:pt x="2107438" y="0"/>
                  <a:pt x="2107438" y="0"/>
                  <a:pt x="2107438" y="0"/>
                </a:cubicBezTo>
                <a:cubicBezTo>
                  <a:pt x="2154808" y="0"/>
                  <a:pt x="2196972" y="25653"/>
                  <a:pt x="2220722" y="66674"/>
                </a:cubicBezTo>
                <a:cubicBezTo>
                  <a:pt x="2241804" y="105283"/>
                  <a:pt x="2239136" y="154050"/>
                  <a:pt x="2212847" y="192532"/>
                </a:cubicBezTo>
                <a:cubicBezTo>
                  <a:pt x="1224915" y="1624838"/>
                  <a:pt x="1224915" y="1624838"/>
                  <a:pt x="1224915" y="1624838"/>
                </a:cubicBezTo>
                <a:cubicBezTo>
                  <a:pt x="1201293" y="1658111"/>
                  <a:pt x="1164335" y="1678685"/>
                  <a:pt x="1122172" y="1678685"/>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67" name="Freeform 9207">
            <a:extLst>
              <a:ext uri="{FF2B5EF4-FFF2-40B4-BE49-F238E27FC236}">
                <a16:creationId xmlns:a16="http://schemas.microsoft.com/office/drawing/2014/main" id="{0A167960-8AA7-4E81-B77E-C417CAA82542}"/>
              </a:ext>
            </a:extLst>
          </p:cNvPr>
          <p:cNvSpPr/>
          <p:nvPr/>
        </p:nvSpPr>
        <p:spPr>
          <a:xfrm>
            <a:off x="6465420" y="3467123"/>
            <a:ext cx="1860367" cy="1354945"/>
          </a:xfrm>
          <a:custGeom>
            <a:avLst/>
            <a:gdLst/>
            <a:ahLst/>
            <a:cxnLst/>
            <a:rect l="0" t="0" r="0" b="0"/>
            <a:pathLst>
              <a:path w="2242565" h="1678685">
                <a:moveTo>
                  <a:pt x="1120013" y="0"/>
                </a:moveTo>
                <a:cubicBezTo>
                  <a:pt x="1162176" y="0"/>
                  <a:pt x="1201673" y="20574"/>
                  <a:pt x="1225423" y="53847"/>
                </a:cubicBezTo>
                <a:cubicBezTo>
                  <a:pt x="2213610" y="1486153"/>
                  <a:pt x="2213610" y="1486153"/>
                  <a:pt x="2213610" y="1486153"/>
                </a:cubicBezTo>
                <a:cubicBezTo>
                  <a:pt x="2239899" y="1524635"/>
                  <a:pt x="2242565" y="1573402"/>
                  <a:pt x="2218816" y="1612011"/>
                </a:cubicBezTo>
                <a:cubicBezTo>
                  <a:pt x="2197735" y="1653032"/>
                  <a:pt x="2155571" y="1678685"/>
                  <a:pt x="2108199" y="1678685"/>
                </a:cubicBezTo>
                <a:cubicBezTo>
                  <a:pt x="131700" y="1678685"/>
                  <a:pt x="131700" y="1678685"/>
                  <a:pt x="131700" y="1678685"/>
                </a:cubicBezTo>
                <a:cubicBezTo>
                  <a:pt x="86996" y="1678685"/>
                  <a:pt x="44831" y="1653032"/>
                  <a:pt x="21083" y="1612011"/>
                </a:cubicBezTo>
                <a:cubicBezTo>
                  <a:pt x="0" y="1573402"/>
                  <a:pt x="2667" y="1524635"/>
                  <a:pt x="28956" y="1486153"/>
                </a:cubicBezTo>
                <a:cubicBezTo>
                  <a:pt x="1017143" y="53847"/>
                  <a:pt x="1017143" y="53847"/>
                  <a:pt x="1017143" y="53847"/>
                </a:cubicBezTo>
                <a:cubicBezTo>
                  <a:pt x="1040892" y="20574"/>
                  <a:pt x="1077850" y="0"/>
                  <a:pt x="1120013" y="0"/>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68" name="Freeform 9208">
            <a:extLst>
              <a:ext uri="{FF2B5EF4-FFF2-40B4-BE49-F238E27FC236}">
                <a16:creationId xmlns:a16="http://schemas.microsoft.com/office/drawing/2014/main" id="{8D33E605-8529-423B-B879-0AA01D9F1E81}"/>
              </a:ext>
            </a:extLst>
          </p:cNvPr>
          <p:cNvSpPr/>
          <p:nvPr/>
        </p:nvSpPr>
        <p:spPr>
          <a:xfrm>
            <a:off x="4966000" y="3467123"/>
            <a:ext cx="1860367" cy="1354945"/>
          </a:xfrm>
          <a:custGeom>
            <a:avLst/>
            <a:gdLst/>
            <a:ahLst/>
            <a:cxnLst/>
            <a:rect l="0" t="0" r="0" b="0"/>
            <a:pathLst>
              <a:path w="2242565" h="1678685">
                <a:moveTo>
                  <a:pt x="1122552" y="1678685"/>
                </a:moveTo>
                <a:cubicBezTo>
                  <a:pt x="1080389" y="1678685"/>
                  <a:pt x="1040892" y="1658111"/>
                  <a:pt x="1017142" y="1624838"/>
                </a:cubicBezTo>
                <a:cubicBezTo>
                  <a:pt x="28955" y="192532"/>
                  <a:pt x="28955" y="192532"/>
                  <a:pt x="28955" y="192532"/>
                </a:cubicBezTo>
                <a:cubicBezTo>
                  <a:pt x="2666" y="154050"/>
                  <a:pt x="0" y="105283"/>
                  <a:pt x="23749" y="66674"/>
                </a:cubicBezTo>
                <a:cubicBezTo>
                  <a:pt x="44830" y="25653"/>
                  <a:pt x="86994" y="0"/>
                  <a:pt x="134366" y="0"/>
                </a:cubicBezTo>
                <a:cubicBezTo>
                  <a:pt x="2110865" y="0"/>
                  <a:pt x="2110865" y="0"/>
                  <a:pt x="2110865" y="0"/>
                </a:cubicBezTo>
                <a:cubicBezTo>
                  <a:pt x="2155569" y="0"/>
                  <a:pt x="2197734" y="25653"/>
                  <a:pt x="2221482" y="66674"/>
                </a:cubicBezTo>
                <a:cubicBezTo>
                  <a:pt x="2242565" y="105283"/>
                  <a:pt x="2239898" y="154050"/>
                  <a:pt x="2213609" y="192532"/>
                </a:cubicBezTo>
                <a:cubicBezTo>
                  <a:pt x="1225422" y="1624838"/>
                  <a:pt x="1225422" y="1624838"/>
                  <a:pt x="1225422" y="1624838"/>
                </a:cubicBezTo>
                <a:cubicBezTo>
                  <a:pt x="1201673" y="1658111"/>
                  <a:pt x="1164715" y="1678685"/>
                  <a:pt x="1122552" y="1678685"/>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69" name="Freeform 9209">
            <a:extLst>
              <a:ext uri="{FF2B5EF4-FFF2-40B4-BE49-F238E27FC236}">
                <a16:creationId xmlns:a16="http://schemas.microsoft.com/office/drawing/2014/main" id="{C9990DF7-F877-4E4A-A729-89BBE82CD08F}"/>
              </a:ext>
            </a:extLst>
          </p:cNvPr>
          <p:cNvSpPr/>
          <p:nvPr/>
        </p:nvSpPr>
        <p:spPr>
          <a:xfrm>
            <a:off x="1970953" y="3467123"/>
            <a:ext cx="1858470" cy="1354945"/>
          </a:xfrm>
          <a:custGeom>
            <a:avLst/>
            <a:gdLst/>
            <a:ahLst/>
            <a:cxnLst/>
            <a:rect l="0" t="0" r="0" b="0"/>
            <a:pathLst>
              <a:path w="2240278" h="1678685">
                <a:moveTo>
                  <a:pt x="1120139" y="1678685"/>
                </a:moveTo>
                <a:cubicBezTo>
                  <a:pt x="1077976" y="1678685"/>
                  <a:pt x="1038479" y="1658111"/>
                  <a:pt x="1014729" y="1624838"/>
                </a:cubicBezTo>
                <a:cubicBezTo>
                  <a:pt x="28956" y="192532"/>
                  <a:pt x="28956" y="192532"/>
                  <a:pt x="28956" y="192532"/>
                </a:cubicBezTo>
                <a:cubicBezTo>
                  <a:pt x="2667" y="154050"/>
                  <a:pt x="0" y="105283"/>
                  <a:pt x="21081" y="66674"/>
                </a:cubicBezTo>
                <a:cubicBezTo>
                  <a:pt x="44831" y="25653"/>
                  <a:pt x="84328" y="0"/>
                  <a:pt x="131826" y="0"/>
                </a:cubicBezTo>
                <a:cubicBezTo>
                  <a:pt x="2108452" y="0"/>
                  <a:pt x="2108452" y="0"/>
                  <a:pt x="2108452" y="0"/>
                </a:cubicBezTo>
                <a:cubicBezTo>
                  <a:pt x="2155950" y="0"/>
                  <a:pt x="2195447" y="25653"/>
                  <a:pt x="2219197" y="66674"/>
                </a:cubicBezTo>
                <a:cubicBezTo>
                  <a:pt x="2240278" y="105283"/>
                  <a:pt x="2237611" y="154050"/>
                  <a:pt x="2211322" y="192532"/>
                </a:cubicBezTo>
                <a:cubicBezTo>
                  <a:pt x="1225549" y="1624838"/>
                  <a:pt x="1225549" y="1624838"/>
                  <a:pt x="1225549" y="1624838"/>
                </a:cubicBezTo>
                <a:cubicBezTo>
                  <a:pt x="1201799" y="1658111"/>
                  <a:pt x="1162302" y="1678685"/>
                  <a:pt x="1120139" y="1678685"/>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70" name="Freeform 9210">
            <a:extLst>
              <a:ext uri="{FF2B5EF4-FFF2-40B4-BE49-F238E27FC236}">
                <a16:creationId xmlns:a16="http://schemas.microsoft.com/office/drawing/2014/main" id="{FC8DA017-5DD8-470D-8893-D83705504279}"/>
              </a:ext>
            </a:extLst>
          </p:cNvPr>
          <p:cNvSpPr/>
          <p:nvPr/>
        </p:nvSpPr>
        <p:spPr>
          <a:xfrm>
            <a:off x="3468475" y="3467123"/>
            <a:ext cx="1860367" cy="1354945"/>
          </a:xfrm>
          <a:custGeom>
            <a:avLst/>
            <a:gdLst/>
            <a:ahLst/>
            <a:cxnLst/>
            <a:rect l="0" t="0" r="0" b="0"/>
            <a:pathLst>
              <a:path w="2242565" h="1678685">
                <a:moveTo>
                  <a:pt x="1120013" y="0"/>
                </a:moveTo>
                <a:cubicBezTo>
                  <a:pt x="1164716" y="0"/>
                  <a:pt x="1201673" y="20574"/>
                  <a:pt x="1225423" y="53847"/>
                </a:cubicBezTo>
                <a:cubicBezTo>
                  <a:pt x="2213610" y="1486153"/>
                  <a:pt x="2213610" y="1486153"/>
                  <a:pt x="2213610" y="1486153"/>
                </a:cubicBezTo>
                <a:cubicBezTo>
                  <a:pt x="2239899" y="1524635"/>
                  <a:pt x="2242565" y="1573402"/>
                  <a:pt x="2218816" y="1612011"/>
                </a:cubicBezTo>
                <a:cubicBezTo>
                  <a:pt x="2197735" y="1653032"/>
                  <a:pt x="2155571" y="1678685"/>
                  <a:pt x="2108199" y="1678685"/>
                </a:cubicBezTo>
                <a:cubicBezTo>
                  <a:pt x="134366" y="1678685"/>
                  <a:pt x="134366" y="1678685"/>
                  <a:pt x="134366" y="1678685"/>
                </a:cubicBezTo>
                <a:cubicBezTo>
                  <a:pt x="86996" y="1678685"/>
                  <a:pt x="44831" y="1653032"/>
                  <a:pt x="23750" y="1612011"/>
                </a:cubicBezTo>
                <a:cubicBezTo>
                  <a:pt x="0" y="1573402"/>
                  <a:pt x="2667" y="1524635"/>
                  <a:pt x="28956" y="1486153"/>
                </a:cubicBezTo>
                <a:cubicBezTo>
                  <a:pt x="1017143" y="53847"/>
                  <a:pt x="1017143" y="53847"/>
                  <a:pt x="1017143" y="53847"/>
                </a:cubicBezTo>
                <a:cubicBezTo>
                  <a:pt x="1040892" y="20574"/>
                  <a:pt x="1077850" y="0"/>
                  <a:pt x="1120013" y="0"/>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71" name="Freeform 9211">
            <a:extLst>
              <a:ext uri="{FF2B5EF4-FFF2-40B4-BE49-F238E27FC236}">
                <a16:creationId xmlns:a16="http://schemas.microsoft.com/office/drawing/2014/main" id="{3F843851-940A-4B14-823E-48252DB58059}"/>
              </a:ext>
            </a:extLst>
          </p:cNvPr>
          <p:cNvSpPr/>
          <p:nvPr/>
        </p:nvSpPr>
        <p:spPr>
          <a:xfrm>
            <a:off x="8004032" y="4058796"/>
            <a:ext cx="1775029" cy="1089245"/>
          </a:xfrm>
          <a:custGeom>
            <a:avLst/>
            <a:gdLst/>
            <a:ahLst/>
            <a:cxnLst/>
            <a:rect l="0" t="0" r="0" b="0"/>
            <a:pathLst>
              <a:path w="2139696" h="1349500">
                <a:moveTo>
                  <a:pt x="1517777" y="1116075"/>
                </a:moveTo>
                <a:cubicBezTo>
                  <a:pt x="1417701" y="1262252"/>
                  <a:pt x="1249046"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1069848" y="1349500"/>
                  <a:pt x="1069848" y="1349500"/>
                  <a:pt x="1069848" y="1349500"/>
                </a:cubicBezTo>
                <a:cubicBezTo>
                  <a:pt x="887984" y="1349500"/>
                  <a:pt x="721996" y="1262252"/>
                  <a:pt x="621919" y="1116075"/>
                </a:cubicBezTo>
                <a:cubicBezTo>
                  <a:pt x="0" y="215518"/>
                  <a:pt x="0" y="215518"/>
                  <a:pt x="0" y="215518"/>
                </a:cubicBezTo>
                <a:cubicBezTo>
                  <a:pt x="237110" y="210439"/>
                  <a:pt x="237110" y="210439"/>
                  <a:pt x="237110" y="210439"/>
                </a:cubicBezTo>
                <a:cubicBezTo>
                  <a:pt x="331978" y="0"/>
                  <a:pt x="331978" y="0"/>
                  <a:pt x="331978" y="0"/>
                </a:cubicBezTo>
                <a:cubicBezTo>
                  <a:pt x="953897" y="898016"/>
                  <a:pt x="953897" y="898016"/>
                  <a:pt x="953897" y="898016"/>
                </a:cubicBezTo>
                <a:cubicBezTo>
                  <a:pt x="980314" y="939038"/>
                  <a:pt x="1025018" y="959485"/>
                  <a:pt x="1069848" y="959485"/>
                </a:cubicBezTo>
                <a:cubicBezTo>
                  <a:pt x="1114680" y="959485"/>
                  <a:pt x="1156843" y="939038"/>
                  <a:pt x="1185800" y="898016"/>
                </a:cubicBezTo>
                <a:cubicBezTo>
                  <a:pt x="1805051" y="0"/>
                  <a:pt x="1805051" y="0"/>
                  <a:pt x="1805051" y="0"/>
                </a:cubicBezTo>
                <a:cubicBezTo>
                  <a:pt x="2044827" y="5079"/>
                  <a:pt x="2044827" y="5079"/>
                  <a:pt x="2044827" y="5079"/>
                </a:cubicBezTo>
                <a:cubicBezTo>
                  <a:pt x="2139696" y="215518"/>
                  <a:pt x="2139696" y="215518"/>
                  <a:pt x="2139696" y="215518"/>
                </a:cubicBezTo>
                <a:cubicBezTo>
                  <a:pt x="2139696" y="215518"/>
                  <a:pt x="2139696" y="215518"/>
                  <a:pt x="2139696" y="215518"/>
                </a:cubicBezTo>
                <a:lnTo>
                  <a:pt x="1517777" y="1116075"/>
                </a:lnTo>
                <a:close/>
              </a:path>
            </a:pathLst>
          </a:custGeom>
          <a:solidFill>
            <a:srgbClr val="74748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870980"/>
            <a:endParaRPr lang="en-US" sz="1600">
              <a:solidFill>
                <a:srgbClr val="646464"/>
              </a:solidFill>
              <a:latin typeface="Calibri" panose="020F0502020204030204" pitchFamily="34" charset="0"/>
              <a:cs typeface="Calibri" panose="020F0502020204030204" pitchFamily="34" charset="0"/>
            </a:endParaRPr>
          </a:p>
        </p:txBody>
      </p:sp>
      <p:sp>
        <p:nvSpPr>
          <p:cNvPr id="72" name="Rectangle 9341">
            <a:extLst>
              <a:ext uri="{FF2B5EF4-FFF2-40B4-BE49-F238E27FC236}">
                <a16:creationId xmlns:a16="http://schemas.microsoft.com/office/drawing/2014/main" id="{2D91B89F-991D-4A10-B843-1223276DD9DE}"/>
              </a:ext>
            </a:extLst>
          </p:cNvPr>
          <p:cNvSpPr/>
          <p:nvPr/>
        </p:nvSpPr>
        <p:spPr>
          <a:xfrm>
            <a:off x="2430821" y="3542885"/>
            <a:ext cx="785215" cy="351378"/>
          </a:xfrm>
          <a:prstGeom prst="rect">
            <a:avLst/>
          </a:prstGeom>
        </p:spPr>
        <p:txBody>
          <a:bodyPr wrap="none" lIns="0" tIns="0" rIns="0" bIns="0">
            <a:spAutoFit/>
          </a:bodyPr>
          <a:lstStyle/>
          <a:p>
            <a:pPr marL="0" marR="0" lvl="0" indent="0" algn="l" defTabSz="87141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Understand </a:t>
            </a:r>
          </a:p>
          <a:p>
            <a:pPr marL="240042" marR="0" lvl="0" indent="0" algn="l" defTabSz="871416" rtl="0" eaLnBrk="1" fontAlgn="auto" latinLnBrk="0" hangingPunct="1">
              <a:lnSpc>
                <a:spcPts val="1259"/>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needs</a:t>
            </a:r>
          </a:p>
        </p:txBody>
      </p:sp>
      <p:sp>
        <p:nvSpPr>
          <p:cNvPr id="73" name="Rectangle 9342">
            <a:extLst>
              <a:ext uri="{FF2B5EF4-FFF2-40B4-BE49-F238E27FC236}">
                <a16:creationId xmlns:a16="http://schemas.microsoft.com/office/drawing/2014/main" id="{526D0F9E-442C-4C7F-8EA1-F1E579A8C104}"/>
              </a:ext>
            </a:extLst>
          </p:cNvPr>
          <p:cNvSpPr/>
          <p:nvPr/>
        </p:nvSpPr>
        <p:spPr>
          <a:xfrm>
            <a:off x="4082699" y="4397784"/>
            <a:ext cx="491481" cy="351378"/>
          </a:xfrm>
          <a:prstGeom prst="rect">
            <a:avLst/>
          </a:prstGeom>
        </p:spPr>
        <p:txBody>
          <a:bodyPr wrap="none" lIns="0" tIns="0" rIns="0" bIns="0">
            <a:spAutoFit/>
          </a:bodyPr>
          <a:lstStyle/>
          <a:p>
            <a:pPr marL="12775" marR="0" lvl="0" indent="0" algn="l" defTabSz="87141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esign </a:t>
            </a:r>
          </a:p>
          <a:p>
            <a:pPr marL="0" marR="0" lvl="0" indent="0" algn="l" defTabSz="871416" rtl="0" eaLnBrk="1" fontAlgn="auto" latinLnBrk="0" hangingPunct="1">
              <a:lnSpc>
                <a:spcPts val="1261"/>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ontent</a:t>
            </a:r>
          </a:p>
        </p:txBody>
      </p:sp>
      <p:sp>
        <p:nvSpPr>
          <p:cNvPr id="74" name="Rectangle 9343">
            <a:extLst>
              <a:ext uri="{FF2B5EF4-FFF2-40B4-BE49-F238E27FC236}">
                <a16:creationId xmlns:a16="http://schemas.microsoft.com/office/drawing/2014/main" id="{79642695-390D-4EB0-AE4C-4D0ADA7983D2}"/>
              </a:ext>
            </a:extLst>
          </p:cNvPr>
          <p:cNvSpPr/>
          <p:nvPr/>
        </p:nvSpPr>
        <p:spPr>
          <a:xfrm>
            <a:off x="5542716" y="3506946"/>
            <a:ext cx="596702" cy="351378"/>
          </a:xfrm>
          <a:prstGeom prst="rect">
            <a:avLst/>
          </a:prstGeom>
        </p:spPr>
        <p:txBody>
          <a:bodyPr wrap="none" lIns="0" tIns="0" rIns="0" bIns="0">
            <a:spAutoFit/>
          </a:bodyPr>
          <a:lstStyle/>
          <a:p>
            <a:pPr marL="34291" marR="0" lvl="0" indent="0" algn="l" defTabSz="87141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evelop </a:t>
            </a:r>
          </a:p>
          <a:p>
            <a:pPr marL="0" marR="0" lvl="0" indent="0" algn="l" defTabSz="871416" rtl="0" eaLnBrk="1" fontAlgn="auto" latinLnBrk="0" hangingPunct="1">
              <a:lnSpc>
                <a:spcPts val="1259"/>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materials</a:t>
            </a:r>
          </a:p>
        </p:txBody>
      </p:sp>
      <p:sp>
        <p:nvSpPr>
          <p:cNvPr id="75" name="Rectangle 9344">
            <a:extLst>
              <a:ext uri="{FF2B5EF4-FFF2-40B4-BE49-F238E27FC236}">
                <a16:creationId xmlns:a16="http://schemas.microsoft.com/office/drawing/2014/main" id="{66834414-6BAE-462E-BA1A-799CC2EC807F}"/>
              </a:ext>
            </a:extLst>
          </p:cNvPr>
          <p:cNvSpPr/>
          <p:nvPr/>
        </p:nvSpPr>
        <p:spPr>
          <a:xfrm>
            <a:off x="7078168" y="4397784"/>
            <a:ext cx="514756" cy="351378"/>
          </a:xfrm>
          <a:prstGeom prst="rect">
            <a:avLst/>
          </a:prstGeom>
        </p:spPr>
        <p:txBody>
          <a:bodyPr wrap="none" lIns="0" tIns="0" rIns="0" bIns="0">
            <a:spAutoFit/>
          </a:bodyPr>
          <a:lstStyle/>
          <a:p>
            <a:pPr marL="25550" marR="0" lvl="0" indent="0" algn="l" defTabSz="87141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eliver </a:t>
            </a:r>
          </a:p>
          <a:p>
            <a:pPr marL="0" marR="0" lvl="0" indent="0" algn="l" defTabSz="871416" rtl="0" eaLnBrk="1" fontAlgn="auto" latinLnBrk="0" hangingPunct="1">
              <a:lnSpc>
                <a:spcPts val="1261"/>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Training</a:t>
            </a:r>
          </a:p>
        </p:txBody>
      </p:sp>
      <p:sp>
        <p:nvSpPr>
          <p:cNvPr id="76" name="Rectangle 9345">
            <a:extLst>
              <a:ext uri="{FF2B5EF4-FFF2-40B4-BE49-F238E27FC236}">
                <a16:creationId xmlns:a16="http://schemas.microsoft.com/office/drawing/2014/main" id="{5F00242A-413F-479F-B2F8-870AB479D017}"/>
              </a:ext>
            </a:extLst>
          </p:cNvPr>
          <p:cNvSpPr/>
          <p:nvPr/>
        </p:nvSpPr>
        <p:spPr>
          <a:xfrm>
            <a:off x="8271424" y="3541513"/>
            <a:ext cx="939553" cy="351378"/>
          </a:xfrm>
          <a:prstGeom prst="rect">
            <a:avLst/>
          </a:prstGeom>
        </p:spPr>
        <p:txBody>
          <a:bodyPr wrap="none" lIns="0" tIns="0" rIns="0" bIns="0">
            <a:spAutoFit/>
          </a:bodyPr>
          <a:lstStyle/>
          <a:p>
            <a:pPr marL="284420" marR="0" lvl="0" indent="0" algn="l" defTabSz="87141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ngoing</a:t>
            </a:r>
          </a:p>
          <a:p>
            <a:pPr marL="0" marR="0" lvl="0" indent="0" algn="l" defTabSz="871416" rtl="0" eaLnBrk="1" fontAlgn="auto" latinLnBrk="0" hangingPunct="1">
              <a:lnSpc>
                <a:spcPts val="1259"/>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Enhancements</a:t>
            </a:r>
          </a:p>
        </p:txBody>
      </p:sp>
      <p:sp>
        <p:nvSpPr>
          <p:cNvPr id="77" name="Rectangle 76">
            <a:extLst>
              <a:ext uri="{FF2B5EF4-FFF2-40B4-BE49-F238E27FC236}">
                <a16:creationId xmlns:a16="http://schemas.microsoft.com/office/drawing/2014/main" id="{6CB1E535-C692-45E8-A6C2-0DD564460CD2}"/>
              </a:ext>
            </a:extLst>
          </p:cNvPr>
          <p:cNvSpPr>
            <a:spLocks/>
          </p:cNvSpPr>
          <p:nvPr/>
        </p:nvSpPr>
        <p:spPr>
          <a:xfrm>
            <a:off x="4376076" y="1905798"/>
            <a:ext cx="3699848" cy="782715"/>
          </a:xfrm>
          <a:prstGeom prst="rect">
            <a:avLst/>
          </a:prstGeom>
        </p:spPr>
        <p:txBody>
          <a:bodyPr wrap="square" lIns="0" tIns="0" rIns="0" bIns="0">
            <a:spAutoFit/>
          </a:bodyPr>
          <a:lstStyle/>
          <a:p>
            <a:pPr marL="0" marR="0" lvl="0" indent="0" defTabSz="959638" eaLnBrk="1" fontAlgn="auto" latinLnBrk="0" hangingPunct="1">
              <a:lnSpc>
                <a:spcPct val="85000"/>
              </a:lnSpc>
              <a:spcBef>
                <a:spcPts val="0"/>
              </a:spcBef>
              <a:spcAft>
                <a:spcPts val="300"/>
              </a:spcAft>
              <a:buClrTx/>
              <a:buSzTx/>
              <a:buFontTx/>
              <a:buNone/>
              <a:tabLst/>
              <a:defRPr/>
            </a:pPr>
            <a:r>
              <a:rPr kumimoji="0" lang="en-US" sz="800" b="1"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3. Develop materials</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Accelerate content development with what we know already works (engaging storytelling speed and relevant formats) at scale to reduce cost per session </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Leverage modular format to support consistency, quality and speed while scaling</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lang="en-US" sz="800" kern="0">
                <a:solidFill>
                  <a:schemeClr val="bg2">
                    <a:lumMod val="65000"/>
                    <a:lumOff val="35000"/>
                  </a:schemeClr>
                </a:solidFill>
                <a:latin typeface="Calibri" panose="020F0502020204030204" pitchFamily="34" charset="0"/>
                <a:ea typeface="EYInterstate Light" charset="0"/>
                <a:cs typeface="Calibri" panose="020F0502020204030204" pitchFamily="34" charset="0"/>
              </a:rPr>
              <a:t>Provide </a:t>
            </a:r>
            <a:r>
              <a:rPr lang="en-US" sz="800" kern="0" err="1">
                <a:solidFill>
                  <a:schemeClr val="bg2">
                    <a:lumMod val="65000"/>
                    <a:lumOff val="35000"/>
                  </a:schemeClr>
                </a:solidFill>
                <a:latin typeface="Calibri" panose="020F0502020204030204" pitchFamily="34" charset="0"/>
                <a:ea typeface="EYInterstate Light" charset="0"/>
                <a:cs typeface="Calibri" panose="020F0502020204030204" pitchFamily="34" charset="0"/>
              </a:rPr>
              <a:t>localisation</a:t>
            </a:r>
            <a:r>
              <a:rPr lang="en-US" sz="800" kern="0">
                <a:solidFill>
                  <a:schemeClr val="bg2">
                    <a:lumMod val="65000"/>
                    <a:lumOff val="35000"/>
                  </a:schemeClr>
                </a:solidFill>
                <a:latin typeface="Calibri" panose="020F0502020204030204" pitchFamily="34" charset="0"/>
                <a:ea typeface="EYInterstate Light" charset="0"/>
                <a:cs typeface="Calibri" panose="020F0502020204030204" pitchFamily="34" charset="0"/>
              </a:rPr>
              <a:t>/translation support for different geographies</a:t>
            </a:r>
            <a:endPar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endParaRP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Develop </a:t>
            </a:r>
            <a:r>
              <a:rPr kumimoji="0" lang="en-US" sz="800" b="0" i="0" u="none" strike="noStrike" kern="0" cap="none" spc="0" normalizeH="0" baseline="0" noProof="0" err="1">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personalised</a:t>
            </a: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 and experience-based content</a:t>
            </a:r>
          </a:p>
        </p:txBody>
      </p:sp>
      <p:sp>
        <p:nvSpPr>
          <p:cNvPr id="78" name="Rectangle 77">
            <a:extLst>
              <a:ext uri="{FF2B5EF4-FFF2-40B4-BE49-F238E27FC236}">
                <a16:creationId xmlns:a16="http://schemas.microsoft.com/office/drawing/2014/main" id="{FAA09599-4A35-46B1-9F86-8CFCEDADE328}"/>
              </a:ext>
            </a:extLst>
          </p:cNvPr>
          <p:cNvSpPr>
            <a:spLocks/>
          </p:cNvSpPr>
          <p:nvPr/>
        </p:nvSpPr>
        <p:spPr>
          <a:xfrm>
            <a:off x="1765964" y="1905798"/>
            <a:ext cx="2480766" cy="847924"/>
          </a:xfrm>
          <a:prstGeom prst="rect">
            <a:avLst/>
          </a:prstGeom>
        </p:spPr>
        <p:txBody>
          <a:bodyPr wrap="square" lIns="0" tIns="0" rIns="0" bIns="0">
            <a:spAutoFit/>
          </a:bodyPr>
          <a:lstStyle/>
          <a:p>
            <a:pPr marL="0" marR="0" lvl="0" indent="0" defTabSz="987186" eaLnBrk="1" fontAlgn="auto" latinLnBrk="0" hangingPunct="1">
              <a:lnSpc>
                <a:spcPct val="85000"/>
              </a:lnSpc>
              <a:spcBef>
                <a:spcPts val="0"/>
              </a:spcBef>
              <a:spcAft>
                <a:spcPts val="300"/>
              </a:spcAft>
              <a:buClrTx/>
              <a:buSzPct val="70000"/>
              <a:buFontTx/>
              <a:buNone/>
              <a:tabLst/>
              <a:defRPr/>
            </a:pPr>
            <a:r>
              <a:rPr kumimoji="0" lang="en-US" sz="800" b="1"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1. Understand needs</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Design a training strategy and approach to identify impacted roles and processes</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Early and ongoing engagement with stakeholders in all divisions to understand change impacts</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Serves as input to the learning curriculums, courses and ongoing support needs</a:t>
            </a:r>
          </a:p>
        </p:txBody>
      </p:sp>
      <p:sp>
        <p:nvSpPr>
          <p:cNvPr id="79" name="Rectangle 78">
            <a:extLst>
              <a:ext uri="{FF2B5EF4-FFF2-40B4-BE49-F238E27FC236}">
                <a16:creationId xmlns:a16="http://schemas.microsoft.com/office/drawing/2014/main" id="{C04416D8-FB52-490B-88F0-36142528019B}"/>
              </a:ext>
            </a:extLst>
          </p:cNvPr>
          <p:cNvSpPr>
            <a:spLocks/>
          </p:cNvSpPr>
          <p:nvPr/>
        </p:nvSpPr>
        <p:spPr>
          <a:xfrm>
            <a:off x="8205270" y="1905798"/>
            <a:ext cx="1951651" cy="809452"/>
          </a:xfrm>
          <a:prstGeom prst="rect">
            <a:avLst/>
          </a:prstGeom>
        </p:spPr>
        <p:txBody>
          <a:bodyPr wrap="square" lIns="0" tIns="0" rIns="0" bIns="0">
            <a:spAutoFit/>
          </a:bodyPr>
          <a:lstStyle/>
          <a:p>
            <a:pPr marL="0" marR="0" lvl="0" indent="0" defTabSz="959638" eaLnBrk="1" fontAlgn="auto" latinLnBrk="0" hangingPunct="1">
              <a:lnSpc>
                <a:spcPct val="85000"/>
              </a:lnSpc>
              <a:spcBef>
                <a:spcPts val="0"/>
              </a:spcBef>
              <a:spcAft>
                <a:spcPts val="300"/>
              </a:spcAft>
              <a:buClrTx/>
              <a:buSzTx/>
              <a:buFontTx/>
              <a:buNone/>
              <a:tabLst/>
              <a:defRPr/>
            </a:pPr>
            <a:r>
              <a:rPr kumimoji="0" lang="en-US" sz="800" b="1"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5. Ongoing Enhancements</a:t>
            </a: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lang="en-US" sz="800" kern="0">
                <a:solidFill>
                  <a:schemeClr val="bg2">
                    <a:lumMod val="65000"/>
                    <a:lumOff val="35000"/>
                  </a:schemeClr>
                </a:solidFill>
                <a:latin typeface="Calibri" panose="020F0502020204030204" pitchFamily="34" charset="0"/>
                <a:ea typeface="EYInterstate Light" charset="0"/>
                <a:cs typeface="Calibri" panose="020F0502020204030204" pitchFamily="34" charset="0"/>
              </a:rPr>
              <a:t>Provide hyper-care support to the client super users and support any refresher training knowledge</a:t>
            </a:r>
            <a:endPar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endParaRPr>
          </a:p>
          <a:p>
            <a:pPr marL="171450" marR="0" lvl="0" indent="-171450" defTabSz="987186" eaLnBrk="1" fontAlgn="auto" latinLnBrk="0" hangingPunct="1">
              <a:lnSpc>
                <a:spcPct val="85000"/>
              </a:lnSpc>
              <a:spcBef>
                <a:spcPts val="0"/>
              </a:spcBef>
              <a:spcAft>
                <a:spcPts val="300"/>
              </a:spcAft>
              <a:buClr>
                <a:srgbClr val="2E2E38"/>
              </a:buClr>
              <a:buSzPct val="70000"/>
              <a:buFont typeface="Arial" panose="020B0604020202020204" pitchFamily="34" charset="0"/>
              <a:buChar char="►"/>
              <a:tabLst/>
              <a:defRPr/>
            </a:pPr>
            <a:r>
              <a:rPr kumimoji="0" lang="en-US" sz="8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ea typeface="EYInterstate Light" charset="0"/>
                <a:cs typeface="Calibri" panose="020F0502020204030204" pitchFamily="34" charset="0"/>
              </a:rPr>
              <a:t>Agile facilitators to continually collaborate with stakeholders to enhance the learning experience </a:t>
            </a:r>
          </a:p>
        </p:txBody>
      </p:sp>
      <p:cxnSp>
        <p:nvCxnSpPr>
          <p:cNvPr id="80" name="Straight Connector 79">
            <a:extLst>
              <a:ext uri="{FF2B5EF4-FFF2-40B4-BE49-F238E27FC236}">
                <a16:creationId xmlns:a16="http://schemas.microsoft.com/office/drawing/2014/main" id="{56208E37-87A4-4140-B016-A5FDED7B089E}"/>
              </a:ext>
            </a:extLst>
          </p:cNvPr>
          <p:cNvCxnSpPr/>
          <p:nvPr/>
        </p:nvCxnSpPr>
        <p:spPr>
          <a:xfrm>
            <a:off x="5955748" y="2932142"/>
            <a:ext cx="0" cy="205903"/>
          </a:xfrm>
          <a:prstGeom prst="line">
            <a:avLst/>
          </a:prstGeom>
          <a:noFill/>
          <a:ln w="9525" cap="flat" cmpd="sng" algn="ctr">
            <a:solidFill>
              <a:schemeClr val="bg2"/>
            </a:solidFill>
            <a:prstDash val="solid"/>
            <a:tailEnd type="none"/>
          </a:ln>
          <a:effectLst/>
        </p:spPr>
      </p:cxnSp>
      <p:cxnSp>
        <p:nvCxnSpPr>
          <p:cNvPr id="81" name="Straight Connector 80">
            <a:extLst>
              <a:ext uri="{FF2B5EF4-FFF2-40B4-BE49-F238E27FC236}">
                <a16:creationId xmlns:a16="http://schemas.microsoft.com/office/drawing/2014/main" id="{6ADB377D-FE45-4B62-B938-992A6B092226}"/>
              </a:ext>
            </a:extLst>
          </p:cNvPr>
          <p:cNvCxnSpPr/>
          <p:nvPr/>
        </p:nvCxnSpPr>
        <p:spPr>
          <a:xfrm>
            <a:off x="2863545" y="2931098"/>
            <a:ext cx="0" cy="205903"/>
          </a:xfrm>
          <a:prstGeom prst="line">
            <a:avLst/>
          </a:prstGeom>
          <a:noFill/>
          <a:ln w="9525" cap="flat" cmpd="sng" algn="ctr">
            <a:solidFill>
              <a:schemeClr val="bg2"/>
            </a:solidFill>
            <a:prstDash val="solid"/>
            <a:tailEnd type="none"/>
          </a:ln>
          <a:effectLst/>
        </p:spPr>
      </p:cxnSp>
      <p:cxnSp>
        <p:nvCxnSpPr>
          <p:cNvPr id="82" name="Straight Connector 81">
            <a:extLst>
              <a:ext uri="{FF2B5EF4-FFF2-40B4-BE49-F238E27FC236}">
                <a16:creationId xmlns:a16="http://schemas.microsoft.com/office/drawing/2014/main" id="{122DC385-99E9-4564-92C4-8A0372B3A01E}"/>
              </a:ext>
            </a:extLst>
          </p:cNvPr>
          <p:cNvCxnSpPr/>
          <p:nvPr/>
        </p:nvCxnSpPr>
        <p:spPr>
          <a:xfrm>
            <a:off x="8873984" y="2932142"/>
            <a:ext cx="0" cy="205903"/>
          </a:xfrm>
          <a:prstGeom prst="line">
            <a:avLst/>
          </a:prstGeom>
          <a:noFill/>
          <a:ln w="9525" cap="flat" cmpd="sng" algn="ctr">
            <a:solidFill>
              <a:schemeClr val="bg2"/>
            </a:solidFill>
            <a:prstDash val="solid"/>
            <a:tailEnd type="none"/>
          </a:ln>
          <a:effectLst/>
        </p:spPr>
      </p:cxnSp>
      <p:cxnSp>
        <p:nvCxnSpPr>
          <p:cNvPr id="83" name="Straight Connector 82">
            <a:extLst>
              <a:ext uri="{FF2B5EF4-FFF2-40B4-BE49-F238E27FC236}">
                <a16:creationId xmlns:a16="http://schemas.microsoft.com/office/drawing/2014/main" id="{1EBDF19D-AB5A-4D7D-898C-C6F37639260E}"/>
              </a:ext>
            </a:extLst>
          </p:cNvPr>
          <p:cNvCxnSpPr>
            <a:cxnSpLocks/>
          </p:cNvCxnSpPr>
          <p:nvPr/>
        </p:nvCxnSpPr>
        <p:spPr>
          <a:xfrm>
            <a:off x="1765964" y="2931652"/>
            <a:ext cx="2480766" cy="0"/>
          </a:xfrm>
          <a:prstGeom prst="line">
            <a:avLst/>
          </a:prstGeom>
          <a:noFill/>
          <a:ln w="9525" cap="flat" cmpd="sng" algn="ctr">
            <a:solidFill>
              <a:schemeClr val="bg2"/>
            </a:solidFill>
            <a:prstDash val="solid"/>
            <a:tailEnd type="none"/>
          </a:ln>
          <a:effectLst/>
        </p:spPr>
      </p:cxnSp>
      <p:cxnSp>
        <p:nvCxnSpPr>
          <p:cNvPr id="84" name="Straight Connector 83">
            <a:extLst>
              <a:ext uri="{FF2B5EF4-FFF2-40B4-BE49-F238E27FC236}">
                <a16:creationId xmlns:a16="http://schemas.microsoft.com/office/drawing/2014/main" id="{F3CC51D1-AEC5-4E6D-9039-D676A72544BE}"/>
              </a:ext>
            </a:extLst>
          </p:cNvPr>
          <p:cNvCxnSpPr>
            <a:cxnSpLocks/>
          </p:cNvCxnSpPr>
          <p:nvPr/>
        </p:nvCxnSpPr>
        <p:spPr>
          <a:xfrm>
            <a:off x="4376076" y="2931652"/>
            <a:ext cx="3699848" cy="490"/>
          </a:xfrm>
          <a:prstGeom prst="line">
            <a:avLst/>
          </a:prstGeom>
          <a:noFill/>
          <a:ln w="9525" cap="flat" cmpd="sng" algn="ctr">
            <a:solidFill>
              <a:schemeClr val="bg2"/>
            </a:solidFill>
            <a:prstDash val="solid"/>
            <a:tailEnd type="none"/>
          </a:ln>
          <a:effectLst/>
        </p:spPr>
      </p:cxnSp>
      <p:cxnSp>
        <p:nvCxnSpPr>
          <p:cNvPr id="85" name="Straight Connector 84">
            <a:extLst>
              <a:ext uri="{FF2B5EF4-FFF2-40B4-BE49-F238E27FC236}">
                <a16:creationId xmlns:a16="http://schemas.microsoft.com/office/drawing/2014/main" id="{EFE1741C-7A07-4E9A-A612-1FE36D567769}"/>
              </a:ext>
            </a:extLst>
          </p:cNvPr>
          <p:cNvCxnSpPr>
            <a:cxnSpLocks/>
          </p:cNvCxnSpPr>
          <p:nvPr/>
        </p:nvCxnSpPr>
        <p:spPr>
          <a:xfrm>
            <a:off x="8205270" y="2931652"/>
            <a:ext cx="1951651" cy="0"/>
          </a:xfrm>
          <a:prstGeom prst="line">
            <a:avLst/>
          </a:prstGeom>
          <a:noFill/>
          <a:ln w="9525" cap="flat" cmpd="sng" algn="ctr">
            <a:solidFill>
              <a:schemeClr val="bg2"/>
            </a:solidFill>
            <a:prstDash val="solid"/>
            <a:tailEnd type="none"/>
          </a:ln>
          <a:effectLst/>
        </p:spPr>
      </p:cxnSp>
    </p:spTree>
    <p:extLst>
      <p:ext uri="{BB962C8B-B14F-4D97-AF65-F5344CB8AC3E}">
        <p14:creationId xmlns:p14="http://schemas.microsoft.com/office/powerpoint/2010/main" val="33483105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C81416-4AB8-4384-86B4-FD1BAA773C93}"/>
              </a:ext>
            </a:extLst>
          </p:cNvPr>
          <p:cNvSpPr>
            <a:spLocks noGrp="1"/>
          </p:cNvSpPr>
          <p:nvPr>
            <p:ph idx="1"/>
          </p:nvPr>
        </p:nvSpPr>
        <p:spPr>
          <a:xfrm>
            <a:off x="609704" y="1460409"/>
            <a:ext cx="10974284" cy="146280"/>
          </a:xfrm>
        </p:spPr>
        <p:txBody>
          <a:bodyPr/>
          <a:lstStyle/>
          <a:p>
            <a:r>
              <a:rPr lang="en-IE" sz="1050">
                <a:latin typeface="Calibri" panose="020F0502020204030204" pitchFamily="34" charset="0"/>
                <a:cs typeface="Calibri" panose="020F0502020204030204" pitchFamily="34" charset="0"/>
              </a:rPr>
              <a:t>EY has a well developed, tried &amp; tested approach to training, which we see as a key transformation enabler within the business</a:t>
            </a:r>
          </a:p>
          <a:p>
            <a:endParaRPr lang="en-IE" sz="1050">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a:cs typeface="Calibri"/>
              </a:rPr>
              <a:t>E.2 - Training / Knowledge Transfer</a:t>
            </a:r>
          </a:p>
        </p:txBody>
      </p:sp>
      <p:sp>
        <p:nvSpPr>
          <p:cNvPr id="66" name="Freeform 9206">
            <a:extLst>
              <a:ext uri="{FF2B5EF4-FFF2-40B4-BE49-F238E27FC236}">
                <a16:creationId xmlns:a16="http://schemas.microsoft.com/office/drawing/2014/main" id="{CE5931FD-5F69-4236-8638-2F8B2FFFAAF0}"/>
              </a:ext>
            </a:extLst>
          </p:cNvPr>
          <p:cNvSpPr/>
          <p:nvPr/>
        </p:nvSpPr>
        <p:spPr>
          <a:xfrm>
            <a:off x="7963576" y="3467123"/>
            <a:ext cx="1859735" cy="1354945"/>
          </a:xfrm>
          <a:custGeom>
            <a:avLst/>
            <a:gdLst/>
            <a:ahLst/>
            <a:cxnLst/>
            <a:rect l="0" t="0" r="0" b="0"/>
            <a:pathLst>
              <a:path w="2241804" h="1678685">
                <a:moveTo>
                  <a:pt x="1122172" y="1678685"/>
                </a:moveTo>
                <a:cubicBezTo>
                  <a:pt x="1077469" y="1678685"/>
                  <a:pt x="1040512" y="1658111"/>
                  <a:pt x="1016890" y="1624838"/>
                </a:cubicBezTo>
                <a:cubicBezTo>
                  <a:pt x="28956" y="192532"/>
                  <a:pt x="28956" y="192532"/>
                  <a:pt x="28956" y="192532"/>
                </a:cubicBezTo>
                <a:cubicBezTo>
                  <a:pt x="2667" y="154050"/>
                  <a:pt x="0" y="105283"/>
                  <a:pt x="23750" y="66674"/>
                </a:cubicBezTo>
                <a:cubicBezTo>
                  <a:pt x="44831" y="25653"/>
                  <a:pt x="86995" y="0"/>
                  <a:pt x="134367" y="0"/>
                </a:cubicBezTo>
                <a:cubicBezTo>
                  <a:pt x="2107438" y="0"/>
                  <a:pt x="2107438" y="0"/>
                  <a:pt x="2107438" y="0"/>
                </a:cubicBezTo>
                <a:cubicBezTo>
                  <a:pt x="2154808" y="0"/>
                  <a:pt x="2196972" y="25653"/>
                  <a:pt x="2220722" y="66674"/>
                </a:cubicBezTo>
                <a:cubicBezTo>
                  <a:pt x="2241804" y="105283"/>
                  <a:pt x="2239136" y="154050"/>
                  <a:pt x="2212847" y="192532"/>
                </a:cubicBezTo>
                <a:cubicBezTo>
                  <a:pt x="1224915" y="1624838"/>
                  <a:pt x="1224915" y="1624838"/>
                  <a:pt x="1224915" y="1624838"/>
                </a:cubicBezTo>
                <a:cubicBezTo>
                  <a:pt x="1201293" y="1658111"/>
                  <a:pt x="1164335" y="1678685"/>
                  <a:pt x="1122172" y="1678685"/>
                </a:cubicBez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B62662A1-6231-C9A3-CB98-DA447F38793A}"/>
              </a:ext>
            </a:extLst>
          </p:cNvPr>
          <p:cNvSpPr txBox="1"/>
          <p:nvPr/>
        </p:nvSpPr>
        <p:spPr>
          <a:xfrm>
            <a:off x="609600" y="1746118"/>
            <a:ext cx="5486400" cy="4325287"/>
          </a:xfrm>
          <a:prstGeom prst="rect">
            <a:avLst/>
          </a:prstGeom>
          <a:noFill/>
        </p:spPr>
        <p:txBody>
          <a:bodyPr wrap="square" lIns="0" tIns="36576" rIns="0" bIns="0" rtlCol="0">
            <a:spAutoFit/>
          </a:bodyPr>
          <a:lstStyle/>
          <a:p>
            <a:pPr algn="just">
              <a:lnSpc>
                <a:spcPts val="1400"/>
              </a:lnSpc>
              <a:spcAft>
                <a:spcPts val="800"/>
              </a:spcAft>
            </a:pPr>
            <a:r>
              <a:rPr lang="en-IE" sz="105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Knowledge Transfer (KT) is the transfer of knowledge, partial services, and processes from a transferring unit to a receiving unit. Training / KT focuses on the upskilling of stakeholders through the transfer of skills and knowledge between knowledge holders and designated knowledge receivers. It initially forms part of the Operational Readiness criteria under the Build Phase (Phase One) of the Implementation Plan, where the existing skills are identified, and the KT plan and methods are finalised. It then continues into the Transition Phase (Phase Two), where the planned methods are executed and measured and the Sustain Phase (Phase Three), where the initial trainings have been completed and any further required trainings are carried out on an ‘as and when’ basis. </a:t>
            </a:r>
            <a:endPar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fontAlgn="base">
              <a:spcAft>
                <a:spcPts val="1350"/>
              </a:spcAft>
              <a:tabLst>
                <a:tab pos="288290" algn="l"/>
                <a:tab pos="575945" algn="l"/>
                <a:tab pos="864235" algn="l"/>
                <a:tab pos="1151890" algn="l"/>
                <a:tab pos="457200" algn="l"/>
              </a:tabLst>
            </a:pPr>
            <a:r>
              <a:rPr lang="en-IE" sz="105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KT will assess the resource requirements for training, testing, and performing the processes and develop a plan on how this will be achieved before, during and after the implementation of </a:t>
            </a:r>
            <a:r>
              <a:rPr lang="en-IE" sz="105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rPr>
              <a:t>Cloud storage services</a:t>
            </a:r>
            <a:r>
              <a:rPr lang="en-IE" sz="105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a:t>
            </a:r>
          </a:p>
          <a:p>
            <a:pPr algn="just" fontAlgn="base">
              <a:spcAft>
                <a:spcPts val="1350"/>
              </a:spcAft>
              <a:tabLst>
                <a:tab pos="288290" algn="l"/>
                <a:tab pos="575945" algn="l"/>
                <a:tab pos="864235" algn="l"/>
                <a:tab pos="1151890" algn="l"/>
                <a:tab pos="457200" algn="l"/>
              </a:tabLst>
            </a:pPr>
            <a:r>
              <a:rPr lang="en-IE" sz="105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F.1.1 Training / KT Objectives</a:t>
            </a:r>
          </a:p>
          <a:p>
            <a:pPr algn="just" fontAlgn="base">
              <a:spcAft>
                <a:spcPts val="800"/>
              </a:spcAft>
              <a:tabLst>
                <a:tab pos="288290" algn="l"/>
                <a:tab pos="575945" algn="l"/>
                <a:tab pos="864235" algn="l"/>
                <a:tab pos="1151890" algn="l"/>
                <a:tab pos="457200" algn="l"/>
              </a:tabLst>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The objectives of Training / KT are to:</a:t>
            </a:r>
            <a:endParaRPr lang="en-IE" sz="100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gn="just">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Build capabilities and support the preparedness of the St. James's Hospital Cloud Storage services in advance of the change taking place.</a:t>
            </a:r>
          </a:p>
          <a:p>
            <a:pPr marL="342900" lvl="0" indent="-342900" algn="just">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Capture and manage the knowledge that is most important to perform the processes and activities.</a:t>
            </a:r>
          </a:p>
          <a:p>
            <a:pPr marL="342900" lvl="0" indent="-342900" algn="just">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Organise, create, capture, and distribute knowledge, ensuring its availability for future users.</a:t>
            </a:r>
          </a:p>
          <a:p>
            <a:pPr marL="342900" lvl="0" indent="-342900" algn="just">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Promote collaboration and information sharing across the St. James's Hospital Cloud Storage services team.</a:t>
            </a:r>
          </a:p>
          <a:p>
            <a:pPr marL="342900" lvl="0" indent="-342900" algn="just">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Promote and encourage a knowledge-driven culture by which innovations are stimulated.</a:t>
            </a:r>
          </a:p>
        </p:txBody>
      </p:sp>
      <p:sp>
        <p:nvSpPr>
          <p:cNvPr id="4" name="TextBox 3">
            <a:extLst>
              <a:ext uri="{FF2B5EF4-FFF2-40B4-BE49-F238E27FC236}">
                <a16:creationId xmlns:a16="http://schemas.microsoft.com/office/drawing/2014/main" id="{C60F421B-BF94-1677-9595-B5C1422289A2}"/>
              </a:ext>
            </a:extLst>
          </p:cNvPr>
          <p:cNvSpPr txBox="1"/>
          <p:nvPr/>
        </p:nvSpPr>
        <p:spPr>
          <a:xfrm>
            <a:off x="6238875" y="1746117"/>
            <a:ext cx="5486400" cy="4742067"/>
          </a:xfrm>
          <a:prstGeom prst="rect">
            <a:avLst/>
          </a:prstGeom>
          <a:noFill/>
        </p:spPr>
        <p:txBody>
          <a:bodyPr wrap="square" lIns="0" tIns="36576" rIns="0" bIns="0" rtlCol="0">
            <a:spAutoFit/>
          </a:bodyPr>
          <a:lstStyle/>
          <a:p>
            <a:pPr algn="just">
              <a:lnSpc>
                <a:spcPts val="1400"/>
              </a:lnSpc>
              <a:spcAft>
                <a:spcPts val="800"/>
              </a:spcAft>
            </a:pPr>
            <a:r>
              <a:rPr lang="en-IE" sz="1050">
                <a:solidFill>
                  <a:schemeClr val="bg2">
                    <a:lumMod val="65000"/>
                    <a:lumOff val="35000"/>
                  </a:schemeClr>
                </a:solidFill>
                <a:latin typeface="Calibri" panose="020F0502020204030204" pitchFamily="34" charset="0"/>
                <a:ea typeface="Calibri" panose="020F0502020204030204" pitchFamily="34" charset="0"/>
                <a:cs typeface="Calibri" panose="020F0502020204030204" pitchFamily="34" charset="0"/>
              </a:rPr>
              <a:t>F.1.2 Training / KT Plan Key Elements</a:t>
            </a:r>
          </a:p>
          <a:p>
            <a:pPr algn="just" fontAlgn="base">
              <a:lnSpc>
                <a:spcPts val="1400"/>
              </a:lnSpc>
              <a:spcAft>
                <a:spcPts val="800"/>
              </a:spcAft>
              <a:tabLst>
                <a:tab pos="288290" algn="l"/>
                <a:tab pos="575945" algn="l"/>
                <a:tab pos="864235" algn="l"/>
                <a:tab pos="1151890" algn="l"/>
                <a:tab pos="457200" algn="l"/>
              </a:tabLst>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Key elements of the Training / KT Plan include:</a:t>
            </a:r>
            <a:endParaRPr lang="en-IE" sz="1000">
              <a:solidFill>
                <a:schemeClr val="bg2">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Developing and implementing the Training / KT approach for the project (focused on experience at individual ETBs).</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Designing and executing a comprehensive Training / KT Plan, and communicating with stakeholders on it.</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Capturing the Training / KT targets and metrics.</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Tracking and measuring progress of Training / KT through Knowledge Gap Analysis with the trained stakeholders.</a:t>
            </a:r>
            <a:endParaRPr lang="en-IE" sz="100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endParaRPr>
          </a:p>
          <a:p>
            <a:pPr lvl="0" algn="just">
              <a:lnSpc>
                <a:spcPts val="1400"/>
              </a:lnSpc>
              <a:spcAft>
                <a:spcPts val="800"/>
              </a:spcAft>
            </a:pPr>
            <a:r>
              <a:rPr lang="en-IE" sz="105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rPr>
              <a:t>F.1.3 Training / KT Plan Scope</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Scheduling training sessions, this includes in person and virtual trainings, and the organisation of work shadowing / reverse work shadowing.</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Upskilling the St. James's Hospital cloud storage services team in all incoming process changes.</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Conducting ‘Train the Trainer’ sessions with St. James's Hospital Cloud Storage services team who will go on to train and upskill other stakeholders. </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Where Transition Leads will go on to upskill St. James's Hospital </a:t>
            </a:r>
            <a:r>
              <a:rPr lang="en-IE" sz="100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rPr>
              <a:t>C</a:t>
            </a:r>
            <a:r>
              <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rPr>
              <a:t>loud Storage services team, they will receive relevant ‘Train the Trainer’.</a:t>
            </a:r>
          </a:p>
          <a:p>
            <a:pPr marL="342900" lvl="0" indent="-342900" algn="just">
              <a:lnSpc>
                <a:spcPts val="1400"/>
              </a:lnSpc>
              <a:spcAft>
                <a:spcPts val="800"/>
              </a:spcAft>
              <a:buFont typeface="Symbol" panose="05050102010706020507" pitchFamily="18" charset="2"/>
              <a:buChar char=""/>
            </a:pPr>
            <a:r>
              <a:rPr lang="en-IE" sz="1000">
                <a:solidFill>
                  <a:schemeClr val="bg2">
                    <a:lumMod val="65000"/>
                    <a:lumOff val="35000"/>
                  </a:schemeClr>
                </a:solidFill>
                <a:latin typeface="Calibri" panose="020F0502020204030204" pitchFamily="34" charset="0"/>
                <a:ea typeface="Times New Roman" panose="02020603050405020304" pitchFamily="18" charset="0"/>
                <a:cs typeface="Calibri" panose="020F0502020204030204" pitchFamily="34" charset="0"/>
              </a:rPr>
              <a:t>All documentation produced will go through a quality review process and once approved will be stored within the Quality Management System.</a:t>
            </a:r>
            <a:endParaRPr lang="en-IE" sz="1000">
              <a:solidFill>
                <a:schemeClr val="bg2">
                  <a:lumMod val="65000"/>
                  <a:lumOff val="35000"/>
                </a:schemeClr>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1754796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12" name="Content Placeholder 3">
            <a:extLst>
              <a:ext uri="{FF2B5EF4-FFF2-40B4-BE49-F238E27FC236}">
                <a16:creationId xmlns:a16="http://schemas.microsoft.com/office/drawing/2014/main" id="{F6E8B279-1398-B4F2-2F45-A63F0E17D8AD}"/>
              </a:ext>
            </a:extLst>
          </p:cNvPr>
          <p:cNvSpPr>
            <a:spLocks noGrp="1"/>
          </p:cNvSpPr>
          <p:nvPr>
            <p:ph idx="1"/>
          </p:nvPr>
        </p:nvSpPr>
        <p:spPr>
          <a:xfrm>
            <a:off x="1328792" y="1265205"/>
            <a:ext cx="5486399" cy="676788"/>
          </a:xfrm>
        </p:spPr>
        <p:txBody>
          <a:bodyPr/>
          <a:lstStyle/>
          <a:p>
            <a:r>
              <a:rPr lang="en-IE">
                <a:latin typeface="Calibri" panose="020F0502020204030204" pitchFamily="34" charset="0"/>
                <a:cs typeface="Calibri" panose="020F0502020204030204" pitchFamily="34" charset="0"/>
              </a:rPr>
              <a:t>Managed Service</a:t>
            </a:r>
            <a:endParaRPr lang="en-US"/>
          </a:p>
        </p:txBody>
      </p:sp>
      <p:sp>
        <p:nvSpPr>
          <p:cNvPr id="13" name="Text Placeholder 4">
            <a:extLst>
              <a:ext uri="{FF2B5EF4-FFF2-40B4-BE49-F238E27FC236}">
                <a16:creationId xmlns:a16="http://schemas.microsoft.com/office/drawing/2014/main" id="{520F0468-A3AA-F93D-4825-530FAB52C9CB}"/>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F.</a:t>
            </a:r>
            <a:endParaRPr lang="en-IE">
              <a:solidFill>
                <a:srgbClr val="F6DF09"/>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B4783593-C7C6-BC3F-9B70-D8CAB693396E}"/>
              </a:ext>
            </a:extLst>
          </p:cNvPr>
          <p:cNvSpPr txBox="1"/>
          <p:nvPr/>
        </p:nvSpPr>
        <p:spPr>
          <a:xfrm>
            <a:off x="609600" y="3429000"/>
            <a:ext cx="6096000" cy="2492990"/>
          </a:xfrm>
          <a:prstGeom prst="rect">
            <a:avLst/>
          </a:prstGeom>
          <a:noFill/>
        </p:spPr>
        <p:txBody>
          <a:bodyPr wrap="square" lIns="91440" tIns="45720" rIns="91440" bIns="45720" anchor="t">
            <a:spAutoFit/>
          </a:bodyPr>
          <a:lstStyle/>
          <a:p>
            <a:pPr>
              <a:spcAft>
                <a:spcPts val="600"/>
              </a:spcAft>
              <a:buClr>
                <a:srgbClr val="FFFFFF"/>
              </a:buClr>
            </a:pPr>
            <a:r>
              <a:rPr lang="en-GB">
                <a:latin typeface="Calibri"/>
                <a:cs typeface="Calibri"/>
              </a:rPr>
              <a:t>F</a:t>
            </a:r>
            <a:r>
              <a:rPr lang="en-GB" sz="1800" b="0">
                <a:latin typeface="Calibri"/>
                <a:cs typeface="Calibri"/>
              </a:rPr>
              <a:t>.1 – Managed Service</a:t>
            </a:r>
          </a:p>
          <a:p>
            <a:pPr>
              <a:spcAft>
                <a:spcPts val="600"/>
              </a:spcAft>
              <a:buClr>
                <a:srgbClr val="FFFFFF"/>
              </a:buClr>
            </a:pPr>
            <a:r>
              <a:rPr lang="en-GB">
                <a:latin typeface="Calibri"/>
                <a:cs typeface="Calibri"/>
              </a:rPr>
              <a:t>F</a:t>
            </a:r>
            <a:r>
              <a:rPr lang="en-GB" sz="1800" b="0">
                <a:latin typeface="Calibri"/>
                <a:cs typeface="Calibri"/>
              </a:rPr>
              <a:t>.2 – </a:t>
            </a:r>
            <a:r>
              <a:rPr lang="en-IE">
                <a:latin typeface="Calibri"/>
                <a:cs typeface="Calibri"/>
              </a:rPr>
              <a:t>Benefits of our Support Offering</a:t>
            </a:r>
          </a:p>
          <a:p>
            <a:pPr>
              <a:spcAft>
                <a:spcPts val="600"/>
              </a:spcAft>
              <a:buClr>
                <a:srgbClr val="FFFFFF"/>
              </a:buClr>
            </a:pPr>
            <a:r>
              <a:rPr lang="en-IE">
                <a:latin typeface="Calibri"/>
                <a:cs typeface="Calibri"/>
              </a:rPr>
              <a:t>F.3</a:t>
            </a:r>
            <a:r>
              <a:rPr lang="en-GB" sz="1800" b="0">
                <a:latin typeface="Calibri"/>
                <a:cs typeface="Calibri"/>
              </a:rPr>
              <a:t> – </a:t>
            </a:r>
            <a:r>
              <a:rPr lang="en-IE">
                <a:latin typeface="Calibri"/>
                <a:cs typeface="Calibri"/>
              </a:rPr>
              <a:t>EY Managed Service Event Categorisation</a:t>
            </a:r>
          </a:p>
          <a:p>
            <a:pPr>
              <a:spcAft>
                <a:spcPts val="600"/>
              </a:spcAft>
              <a:buClr>
                <a:srgbClr val="FFFFFF"/>
              </a:buClr>
            </a:pPr>
            <a:r>
              <a:rPr lang="en-IN">
                <a:latin typeface="Calibri"/>
                <a:cs typeface="Calibri"/>
              </a:rPr>
              <a:t>F.4 – </a:t>
            </a:r>
            <a:r>
              <a:rPr lang="en-IE">
                <a:latin typeface="Calibri"/>
                <a:cs typeface="Calibri"/>
              </a:rPr>
              <a:t>Support Levels Structure</a:t>
            </a:r>
          </a:p>
          <a:p>
            <a:pPr>
              <a:spcAft>
                <a:spcPts val="600"/>
              </a:spcAft>
              <a:buClr>
                <a:srgbClr val="FFFFFF"/>
              </a:buClr>
            </a:pPr>
            <a:r>
              <a:rPr lang="en-IN">
                <a:latin typeface="Calibri"/>
                <a:cs typeface="Calibri"/>
              </a:rPr>
              <a:t>F.5 – </a:t>
            </a:r>
            <a:r>
              <a:rPr lang="en-IE">
                <a:latin typeface="Calibri"/>
                <a:cs typeface="Calibri"/>
              </a:rPr>
              <a:t>Support Operating Model</a:t>
            </a:r>
          </a:p>
          <a:p>
            <a:pPr>
              <a:spcAft>
                <a:spcPts val="600"/>
              </a:spcAft>
              <a:buClr>
                <a:srgbClr val="FFFFFF"/>
              </a:buClr>
            </a:pPr>
            <a:r>
              <a:rPr lang="en-IN">
                <a:latin typeface="Calibri"/>
                <a:cs typeface="Calibri"/>
              </a:rPr>
              <a:t>F.6 – </a:t>
            </a:r>
            <a:r>
              <a:rPr lang="en-IE">
                <a:latin typeface="Calibri"/>
                <a:cs typeface="Calibri"/>
              </a:rPr>
              <a:t>EY Managed Service – Transition Quality</a:t>
            </a:r>
          </a:p>
          <a:p>
            <a:pPr>
              <a:spcAft>
                <a:spcPts val="600"/>
              </a:spcAft>
              <a:buClr>
                <a:srgbClr val="FFFFFF"/>
              </a:buClr>
            </a:pPr>
            <a:r>
              <a:rPr lang="en-IN">
                <a:latin typeface="Calibri"/>
                <a:cs typeface="Calibri"/>
              </a:rPr>
              <a:t>F.7 – </a:t>
            </a:r>
            <a:r>
              <a:rPr lang="en-IE">
                <a:latin typeface="Calibri"/>
                <a:cs typeface="Calibri"/>
              </a:rPr>
              <a:t>Performance Reporting</a:t>
            </a:r>
          </a:p>
        </p:txBody>
      </p:sp>
    </p:spTree>
    <p:extLst>
      <p:ext uri="{BB962C8B-B14F-4D97-AF65-F5344CB8AC3E}">
        <p14:creationId xmlns:p14="http://schemas.microsoft.com/office/powerpoint/2010/main" val="27034903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a:cs typeface="Calibri"/>
              </a:rPr>
              <a:t>F.1 – EY Ireland </a:t>
            </a:r>
            <a:r>
              <a:rPr lang="en-IE">
                <a:latin typeface="Calibri"/>
                <a:cs typeface="Calibri"/>
              </a:rPr>
              <a:t>Managed Service Overview</a:t>
            </a:r>
          </a:p>
        </p:txBody>
      </p:sp>
      <p:pic>
        <p:nvPicPr>
          <p:cNvPr id="111" name="Picture 110">
            <a:extLst>
              <a:ext uri="{FF2B5EF4-FFF2-40B4-BE49-F238E27FC236}">
                <a16:creationId xmlns:a16="http://schemas.microsoft.com/office/drawing/2014/main" id="{28C244F5-FD94-40DC-A706-E634CEAF43C3}"/>
              </a:ext>
            </a:extLst>
          </p:cNvPr>
          <p:cNvPicPr>
            <a:picLocks noChangeAspect="1"/>
          </p:cNvPicPr>
          <p:nvPr/>
        </p:nvPicPr>
        <p:blipFill>
          <a:blip r:embed="rId3"/>
          <a:stretch>
            <a:fillRect/>
          </a:stretch>
        </p:blipFill>
        <p:spPr>
          <a:xfrm>
            <a:off x="10358549" y="162480"/>
            <a:ext cx="1024125" cy="1024125"/>
          </a:xfrm>
          <a:prstGeom prst="rect">
            <a:avLst/>
          </a:prstGeom>
        </p:spPr>
      </p:pic>
      <p:sp>
        <p:nvSpPr>
          <p:cNvPr id="9" name="Content Placeholder 4">
            <a:extLst>
              <a:ext uri="{FF2B5EF4-FFF2-40B4-BE49-F238E27FC236}">
                <a16:creationId xmlns:a16="http://schemas.microsoft.com/office/drawing/2014/main" id="{239F2B45-0ACC-423D-B497-F4FF2974EB21}"/>
              </a:ext>
            </a:extLst>
          </p:cNvPr>
          <p:cNvSpPr>
            <a:spLocks noGrp="1"/>
          </p:cNvSpPr>
          <p:nvPr>
            <p:ph idx="1"/>
          </p:nvPr>
        </p:nvSpPr>
        <p:spPr>
          <a:xfrm>
            <a:off x="609600" y="1396208"/>
            <a:ext cx="8270240" cy="4947920"/>
          </a:xfrm>
        </p:spPr>
        <p:txBody>
          <a:bodyPr/>
          <a:lstStyle/>
          <a:p>
            <a:pPr marL="0" indent="0" algn="just">
              <a:spcBef>
                <a:spcPts val="0"/>
              </a:spcBef>
              <a:spcAft>
                <a:spcPts val="600"/>
              </a:spcAft>
              <a:buSzPct val="70000"/>
              <a:buNone/>
            </a:pPr>
            <a:r>
              <a:rPr lang="en-IE" sz="1050">
                <a:solidFill>
                  <a:schemeClr val="bg2">
                    <a:lumMod val="65000"/>
                    <a:lumOff val="35000"/>
                  </a:schemeClr>
                </a:solidFill>
                <a:latin typeface="Calibri" panose="020F0502020204030204" pitchFamily="34" charset="0"/>
                <a:cs typeface="Calibri" panose="020F0502020204030204" pitchFamily="34" charset="0"/>
              </a:rPr>
              <a:t>Our team in EY Ireland have been providing Managed Service support for over 10 years covering a wide suite of applications. </a:t>
            </a:r>
            <a:r>
              <a:rPr lang="en-AU" sz="1050">
                <a:solidFill>
                  <a:schemeClr val="bg2">
                    <a:lumMod val="65000"/>
                    <a:lumOff val="35000"/>
                  </a:schemeClr>
                </a:solidFill>
                <a:latin typeface="Calibri" panose="020F0502020204030204" pitchFamily="34" charset="0"/>
                <a:cs typeface="Calibri" panose="020F0502020204030204" pitchFamily="34" charset="0"/>
              </a:rPr>
              <a:t>We will provide support and maintenance as well as continuous improvement services for the Cloud Storage Technology Service for the Central Pathology Laboratory at St James’s Hospital.</a:t>
            </a:r>
          </a:p>
          <a:p>
            <a:pPr marL="0" indent="0" algn="just">
              <a:spcBef>
                <a:spcPts val="0"/>
              </a:spcBef>
              <a:spcAft>
                <a:spcPts val="600"/>
              </a:spcAft>
              <a:buSzPct val="70000"/>
              <a:buNone/>
            </a:pPr>
            <a:endParaRPr lang="en-AU" sz="1050">
              <a:solidFill>
                <a:schemeClr val="bg2">
                  <a:lumMod val="65000"/>
                  <a:lumOff val="35000"/>
                </a:schemeClr>
              </a:solidFill>
              <a:latin typeface="Calibri" panose="020F0502020204030204" pitchFamily="34" charset="0"/>
              <a:cs typeface="Calibri" panose="020F0502020204030204" pitchFamily="34" charset="0"/>
            </a:endParaRPr>
          </a:p>
          <a:p>
            <a:pPr marL="0" indent="0" algn="just">
              <a:spcBef>
                <a:spcPts val="0"/>
              </a:spcBef>
              <a:spcAft>
                <a:spcPts val="600"/>
              </a:spcAft>
              <a:buSzPct val="70000"/>
              <a:buNone/>
            </a:pPr>
            <a:r>
              <a:rPr lang="en-AU" sz="1050">
                <a:solidFill>
                  <a:schemeClr val="bg2">
                    <a:lumMod val="65000"/>
                    <a:lumOff val="35000"/>
                  </a:schemeClr>
                </a:solidFill>
                <a:latin typeface="Calibri" panose="020F0502020204030204" pitchFamily="34" charset="0"/>
                <a:cs typeface="Calibri" panose="020F0502020204030204" pitchFamily="34" charset="0"/>
              </a:rPr>
              <a:t>The services that we provide can be summarised into three categories. They are transition in, solution support and continuous improvement. </a:t>
            </a:r>
          </a:p>
          <a:p>
            <a:pPr marL="171450" indent="-171450" algn="just">
              <a:spcBef>
                <a:spcPts val="0"/>
              </a:spcBef>
              <a:spcAft>
                <a:spcPts val="600"/>
              </a:spcAft>
              <a:buSzPct val="100000"/>
              <a:buFont typeface="EYInterstate Light" panose="02000506000000020004" pitchFamily="2" charset="0"/>
              <a:buChar char="•"/>
            </a:pPr>
            <a:r>
              <a:rPr lang="en-AU" sz="1050" b="1">
                <a:solidFill>
                  <a:schemeClr val="bg2">
                    <a:lumMod val="65000"/>
                    <a:lumOff val="35000"/>
                  </a:schemeClr>
                </a:solidFill>
                <a:latin typeface="Calibri" panose="020F0502020204030204" pitchFamily="34" charset="0"/>
                <a:cs typeface="Calibri" panose="020F0502020204030204" pitchFamily="34" charset="0"/>
              </a:rPr>
              <a:t>Transition-In Services </a:t>
            </a:r>
            <a:r>
              <a:rPr lang="en-AU" sz="1050">
                <a:solidFill>
                  <a:schemeClr val="bg2">
                    <a:lumMod val="65000"/>
                    <a:lumOff val="35000"/>
                  </a:schemeClr>
                </a:solidFill>
                <a:latin typeface="Calibri" panose="020F0502020204030204" pitchFamily="34" charset="0"/>
                <a:cs typeface="Calibri" panose="020F0502020204030204" pitchFamily="34" charset="0"/>
              </a:rPr>
              <a:t>– comprehensive transition activities including the setup of support services and training of managed services support;</a:t>
            </a:r>
          </a:p>
          <a:p>
            <a:pPr marL="171450" indent="-171450" algn="just">
              <a:spcBef>
                <a:spcPts val="0"/>
              </a:spcBef>
              <a:spcAft>
                <a:spcPts val="600"/>
              </a:spcAft>
              <a:buSzPct val="100000"/>
              <a:buFont typeface="EYInterstate Light" panose="02000506000000020004" pitchFamily="2" charset="0"/>
              <a:buChar char="•"/>
            </a:pPr>
            <a:r>
              <a:rPr lang="en-AU" sz="1050" b="1">
                <a:solidFill>
                  <a:schemeClr val="bg2">
                    <a:lumMod val="65000"/>
                    <a:lumOff val="35000"/>
                  </a:schemeClr>
                </a:solidFill>
                <a:latin typeface="Calibri" panose="020F0502020204030204" pitchFamily="34" charset="0"/>
                <a:cs typeface="Calibri" panose="020F0502020204030204" pitchFamily="34" charset="0"/>
              </a:rPr>
              <a:t>Solution Support </a:t>
            </a:r>
            <a:r>
              <a:rPr lang="en-AU" sz="1050">
                <a:solidFill>
                  <a:schemeClr val="bg2">
                    <a:lumMod val="65000"/>
                    <a:lumOff val="35000"/>
                  </a:schemeClr>
                </a:solidFill>
                <a:latin typeface="Calibri" panose="020F0502020204030204" pitchFamily="34" charset="0"/>
                <a:cs typeface="Calibri" panose="020F0502020204030204" pitchFamily="34" charset="0"/>
              </a:rPr>
              <a:t>– Managed Services, providing maintenance, application security patching and incident management; </a:t>
            </a:r>
          </a:p>
          <a:p>
            <a:pPr marL="352335" lvl="3" indent="-171450" algn="just">
              <a:spcAft>
                <a:spcPts val="600"/>
              </a:spcAft>
              <a:buSzPct val="100000"/>
              <a:buFont typeface="EYInterstate Light" panose="02000506000000020004" pitchFamily="2" charset="0"/>
              <a:buChar char="•"/>
            </a:pPr>
            <a:r>
              <a:rPr lang="en-AU" sz="1050" b="1">
                <a:solidFill>
                  <a:schemeClr val="bg2">
                    <a:lumMod val="65000"/>
                    <a:lumOff val="35000"/>
                  </a:schemeClr>
                </a:solidFill>
                <a:latin typeface="Calibri" panose="020F0502020204030204" pitchFamily="34" charset="0"/>
                <a:cs typeface="Calibri" panose="020F0502020204030204" pitchFamily="34" charset="0"/>
              </a:rPr>
              <a:t>Platform Support and Maintenance </a:t>
            </a:r>
            <a:r>
              <a:rPr lang="en-AU" sz="1050">
                <a:solidFill>
                  <a:schemeClr val="bg2">
                    <a:lumMod val="65000"/>
                    <a:lumOff val="35000"/>
                  </a:schemeClr>
                </a:solidFill>
                <a:latin typeface="Calibri" panose="020F0502020204030204" pitchFamily="34" charset="0"/>
                <a:cs typeface="Calibri" panose="020F0502020204030204" pitchFamily="34" charset="0"/>
              </a:rPr>
              <a:t>- The provision and/or management of infrastructure for the hosting of the platform.</a:t>
            </a:r>
          </a:p>
          <a:p>
            <a:pPr marL="352335" lvl="3" indent="-171450" algn="just">
              <a:spcAft>
                <a:spcPts val="600"/>
              </a:spcAft>
              <a:buSzPct val="100000"/>
              <a:buFont typeface="EYInterstate Light" panose="02000506000000020004" pitchFamily="2" charset="0"/>
              <a:buChar char="•"/>
            </a:pPr>
            <a:r>
              <a:rPr lang="en-AU" sz="1050" b="1">
                <a:solidFill>
                  <a:schemeClr val="bg2">
                    <a:lumMod val="65000"/>
                    <a:lumOff val="35000"/>
                  </a:schemeClr>
                </a:solidFill>
                <a:latin typeface="Calibri" panose="020F0502020204030204" pitchFamily="34" charset="0"/>
                <a:cs typeface="Calibri" panose="020F0502020204030204" pitchFamily="34" charset="0"/>
              </a:rPr>
              <a:t>Application Support and Maintenance </a:t>
            </a:r>
            <a:r>
              <a:rPr lang="en-AU" sz="1050">
                <a:solidFill>
                  <a:schemeClr val="bg2">
                    <a:lumMod val="65000"/>
                    <a:lumOff val="35000"/>
                  </a:schemeClr>
                </a:solidFill>
                <a:latin typeface="Calibri" panose="020F0502020204030204" pitchFamily="34" charset="0"/>
                <a:cs typeface="Calibri" panose="020F0502020204030204" pitchFamily="34" charset="0"/>
              </a:rPr>
              <a:t>– Ongoing real-time monitoring/alerting, patching and maintenance of the digital applications;</a:t>
            </a:r>
          </a:p>
          <a:p>
            <a:pPr marL="171450" indent="-171450" algn="just">
              <a:spcBef>
                <a:spcPts val="0"/>
              </a:spcBef>
              <a:spcAft>
                <a:spcPts val="600"/>
              </a:spcAft>
              <a:buSzPct val="100000"/>
              <a:buFont typeface="EYInterstate Light" panose="02000506000000020004" pitchFamily="2" charset="0"/>
              <a:buChar char="•"/>
            </a:pPr>
            <a:r>
              <a:rPr lang="en-AU" sz="1050" b="1">
                <a:solidFill>
                  <a:schemeClr val="bg2">
                    <a:lumMod val="65000"/>
                    <a:lumOff val="35000"/>
                  </a:schemeClr>
                </a:solidFill>
                <a:latin typeface="Calibri" panose="020F0502020204030204" pitchFamily="34" charset="0"/>
                <a:cs typeface="Calibri" panose="020F0502020204030204" pitchFamily="34" charset="0"/>
              </a:rPr>
              <a:t>Continuous Improvement Services </a:t>
            </a:r>
            <a:r>
              <a:rPr lang="en-AU" sz="1050">
                <a:solidFill>
                  <a:schemeClr val="bg2">
                    <a:lumMod val="65000"/>
                    <a:lumOff val="35000"/>
                  </a:schemeClr>
                </a:solidFill>
                <a:latin typeface="Calibri" panose="020F0502020204030204" pitchFamily="34" charset="0"/>
                <a:cs typeface="Calibri" panose="020F0502020204030204" pitchFamily="34" charset="0"/>
              </a:rPr>
              <a:t>– EY Consulting Services covering platform enhancements, system upgrades, problem management and investigation, application testing, and performance improvements.</a:t>
            </a:r>
          </a:p>
          <a:p>
            <a:pPr algn="just">
              <a:spcBef>
                <a:spcPts val="0"/>
              </a:spcBef>
              <a:spcAft>
                <a:spcPts val="600"/>
              </a:spcAft>
              <a:buSzPct val="70000"/>
            </a:pPr>
            <a:endParaRPr lang="en-AU" sz="1050">
              <a:solidFill>
                <a:schemeClr val="bg2">
                  <a:lumMod val="65000"/>
                  <a:lumOff val="35000"/>
                </a:schemeClr>
              </a:solidFill>
              <a:latin typeface="Calibri" panose="020F0502020204030204" pitchFamily="34" charset="0"/>
              <a:cs typeface="Calibri" panose="020F0502020204030204" pitchFamily="34" charset="0"/>
            </a:endParaRPr>
          </a:p>
          <a:p>
            <a:pPr marL="0" indent="0" algn="just">
              <a:spcBef>
                <a:spcPts val="0"/>
              </a:spcBef>
              <a:spcAft>
                <a:spcPts val="600"/>
              </a:spcAft>
              <a:buSzPct val="70000"/>
              <a:buNone/>
            </a:pPr>
            <a:r>
              <a:rPr lang="en-AU" sz="1050">
                <a:solidFill>
                  <a:schemeClr val="bg2">
                    <a:lumMod val="65000"/>
                    <a:lumOff val="35000"/>
                  </a:schemeClr>
                </a:solidFill>
                <a:latin typeface="Calibri" panose="020F0502020204030204" pitchFamily="34" charset="0"/>
                <a:cs typeface="Calibri" panose="020F0502020204030204" pitchFamily="34" charset="0"/>
              </a:rPr>
              <a:t>EY’s Managed Service team is a responsive, local team focused on providing enterprise application and infrastructure support that’s secure, scalable and sustainable for your business. Our team, spanning Ireland, business hours and provides 24x7 support for highly technical client solutions, and infrastructure for government agencies and large multi-nationals and not-for-profit enterprises. </a:t>
            </a:r>
          </a:p>
          <a:p>
            <a:pPr marL="0" indent="0" algn="just">
              <a:spcBef>
                <a:spcPts val="0"/>
              </a:spcBef>
              <a:spcAft>
                <a:spcPts val="600"/>
              </a:spcAft>
              <a:buSzPct val="70000"/>
              <a:buNone/>
            </a:pPr>
            <a:r>
              <a:rPr lang="en-AU" sz="1050">
                <a:solidFill>
                  <a:schemeClr val="bg2">
                    <a:lumMod val="65000"/>
                    <a:lumOff val="35000"/>
                  </a:schemeClr>
                </a:solidFill>
                <a:latin typeface="Calibri" panose="020F0502020204030204" pitchFamily="34" charset="0"/>
                <a:cs typeface="Calibri" panose="020F0502020204030204" pitchFamily="34" charset="0"/>
              </a:rPr>
              <a:t>We provide support for critical government and industry digital solutions across Ireland with customised support structures, processes and SLA’s suited to each specific client. We will provide the confidence to your team and key stakeholders that the platform is well supported through excellent communication and a pro-active approach to issues and any incidents. </a:t>
            </a:r>
          </a:p>
          <a:p>
            <a:pPr marL="0" indent="0" algn="just">
              <a:spcBef>
                <a:spcPts val="0"/>
              </a:spcBef>
              <a:spcAft>
                <a:spcPts val="600"/>
              </a:spcAft>
              <a:buSzPct val="70000"/>
              <a:buNone/>
            </a:pPr>
            <a:r>
              <a:rPr lang="en-AU" sz="1050">
                <a:solidFill>
                  <a:schemeClr val="bg2">
                    <a:lumMod val="65000"/>
                    <a:lumOff val="35000"/>
                  </a:schemeClr>
                </a:solidFill>
                <a:latin typeface="Calibri" panose="020F0502020204030204" pitchFamily="34" charset="0"/>
                <a:cs typeface="Calibri" panose="020F0502020204030204" pitchFamily="34" charset="0"/>
              </a:rPr>
              <a:t>Our continuous improvement team offers a range of consulting services, with relevant expertise to St. James's Hospital in design, technology, management, analysis and strategy. Whether it be solution enhancements, design uplifts, platform configurations or large-scale application delivery projects, our team of experts are tried and proven within the Microsoft technical ecosystem. </a:t>
            </a:r>
          </a:p>
          <a:p>
            <a:pPr marL="0" indent="0" algn="just">
              <a:spcBef>
                <a:spcPts val="0"/>
              </a:spcBef>
              <a:spcAft>
                <a:spcPts val="600"/>
              </a:spcAft>
              <a:buSzPct val="70000"/>
              <a:buNone/>
            </a:pPr>
            <a:endParaRPr lang="en-AU" sz="1100">
              <a:solidFill>
                <a:schemeClr val="bg2">
                  <a:lumMod val="65000"/>
                  <a:lumOff val="35000"/>
                </a:schemeClr>
              </a:solidFill>
              <a:latin typeface="Calibri" panose="020F0502020204030204" pitchFamily="34" charset="0"/>
              <a:cs typeface="Calibri" panose="020F0502020204030204" pitchFamily="34" charset="0"/>
            </a:endParaRPr>
          </a:p>
          <a:p>
            <a:pPr marL="0" indent="0" algn="just">
              <a:spcBef>
                <a:spcPts val="0"/>
              </a:spcBef>
              <a:spcAft>
                <a:spcPts val="600"/>
              </a:spcAft>
              <a:buSzPct val="70000"/>
              <a:buNone/>
            </a:pPr>
            <a:endParaRPr lang="en-AU" sz="1100">
              <a:solidFill>
                <a:schemeClr val="bg2">
                  <a:lumMod val="65000"/>
                  <a:lumOff val="35000"/>
                </a:schemeClr>
              </a:solidFill>
              <a:latin typeface="Calibri" panose="020F0502020204030204" pitchFamily="34" charset="0"/>
              <a:cs typeface="Calibri" panose="020F0502020204030204" pitchFamily="34" charset="0"/>
            </a:endParaRPr>
          </a:p>
          <a:p>
            <a:pPr algn="just">
              <a:spcBef>
                <a:spcPts val="0"/>
              </a:spcBef>
              <a:spcAft>
                <a:spcPts val="600"/>
              </a:spcAft>
              <a:buSzPct val="70000"/>
              <a:buFont typeface="Arial" panose="020B0604020202020204" pitchFamily="34" charset="0"/>
              <a:buChar char="►"/>
            </a:pPr>
            <a:endParaRPr lang="en-AU" sz="1100">
              <a:solidFill>
                <a:schemeClr val="bg2">
                  <a:lumMod val="65000"/>
                  <a:lumOff val="35000"/>
                </a:schemeClr>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9EDA381-ECB6-4D2A-AA02-437545DB7196}"/>
              </a:ext>
            </a:extLst>
          </p:cNvPr>
          <p:cNvSpPr>
            <a:spLocks/>
          </p:cNvSpPr>
          <p:nvPr/>
        </p:nvSpPr>
        <p:spPr>
          <a:xfrm>
            <a:off x="9208990" y="1396208"/>
            <a:ext cx="2373410" cy="3213892"/>
          </a:xfrm>
          <a:prstGeom prst="rect">
            <a:avLst/>
          </a:prstGeom>
          <a:solidFill>
            <a:srgbClr val="F6F6F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E600"/>
                </a:solidFill>
                <a:prstDash val="solid"/>
                <a:round/>
                <a:headEnd type="none" w="med" len="med"/>
                <a:tailEnd type="none" w="med" len="med"/>
              </a14:hiddenLine>
            </a:ext>
          </a:extLst>
        </p:spPr>
        <p:txBody>
          <a:bodyPr wrap="square" lIns="107975" tIns="107975" rIns="107975" bIns="107975">
            <a:noAutofit/>
          </a:bodyPr>
          <a:lstStyle/>
          <a:p>
            <a:pPr algn="just" defTabSz="912572"/>
            <a:r>
              <a:rPr lang="en-AU" sz="1050">
                <a:solidFill>
                  <a:schemeClr val="bg2">
                    <a:lumMod val="65000"/>
                    <a:lumOff val="35000"/>
                  </a:schemeClr>
                </a:solidFill>
                <a:latin typeface="Calibri" panose="020F0502020204030204" pitchFamily="34" charset="0"/>
                <a:cs typeface="Calibri" panose="020F0502020204030204" pitchFamily="34" charset="0"/>
              </a:rPr>
              <a:t>Digital platforms are an ongoing journey and not a set and forget IT asset, with often complex business logic, system integrations and customised content the platform provides a solution that users and the organisation rely on. As business needs change constantly the solution must remain relevant and capable for today and the future. </a:t>
            </a:r>
          </a:p>
          <a:p>
            <a:pPr algn="just" defTabSz="912572"/>
            <a:endParaRPr lang="en-AU" sz="1050">
              <a:solidFill>
                <a:schemeClr val="bg2">
                  <a:lumMod val="65000"/>
                  <a:lumOff val="35000"/>
                </a:schemeClr>
              </a:solidFill>
              <a:latin typeface="Calibri" panose="020F0502020204030204" pitchFamily="34" charset="0"/>
              <a:cs typeface="Calibri" panose="020F0502020204030204" pitchFamily="34" charset="0"/>
            </a:endParaRPr>
          </a:p>
          <a:p>
            <a:pPr algn="just" defTabSz="912572"/>
            <a:r>
              <a:rPr lang="en-AU" sz="1050">
                <a:solidFill>
                  <a:schemeClr val="bg2">
                    <a:lumMod val="65000"/>
                    <a:lumOff val="35000"/>
                  </a:schemeClr>
                </a:solidFill>
                <a:latin typeface="Calibri" panose="020F0502020204030204" pitchFamily="34" charset="0"/>
                <a:cs typeface="Calibri" panose="020F0502020204030204" pitchFamily="34" charset="0"/>
              </a:rPr>
              <a:t>EY Managed Service is a capability where the primary function is to provide application and infrastructure support for clients across the globe.</a:t>
            </a:r>
          </a:p>
        </p:txBody>
      </p:sp>
    </p:spTree>
    <p:extLst>
      <p:ext uri="{BB962C8B-B14F-4D97-AF65-F5344CB8AC3E}">
        <p14:creationId xmlns:p14="http://schemas.microsoft.com/office/powerpoint/2010/main" val="20423490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EYInterstate Light"/>
                <a:cs typeface="Arial"/>
              </a:rPr>
              <a:t>F.1 – </a:t>
            </a:r>
            <a:r>
              <a:rPr lang="en-IE">
                <a:latin typeface="EYInterstate Light"/>
                <a:cs typeface="Arial"/>
              </a:rPr>
              <a:t>EY Managed Service</a:t>
            </a:r>
          </a:p>
        </p:txBody>
      </p:sp>
      <p:sp>
        <p:nvSpPr>
          <p:cNvPr id="20" name="TextBox 19">
            <a:extLst>
              <a:ext uri="{FF2B5EF4-FFF2-40B4-BE49-F238E27FC236}">
                <a16:creationId xmlns:a16="http://schemas.microsoft.com/office/drawing/2014/main" id="{4233EFC8-C57D-439B-97EA-634EC2902006}"/>
              </a:ext>
            </a:extLst>
          </p:cNvPr>
          <p:cNvSpPr txBox="1"/>
          <p:nvPr/>
        </p:nvSpPr>
        <p:spPr>
          <a:xfrm>
            <a:off x="549888" y="2058437"/>
            <a:ext cx="4158366" cy="4225516"/>
          </a:xfrm>
          <a:prstGeom prst="rect">
            <a:avLst/>
          </a:prstGeom>
          <a:noFill/>
        </p:spPr>
        <p:txBody>
          <a:bodyPr wrap="square">
            <a:spAutoFit/>
          </a:bodyPr>
          <a:lstStyle/>
          <a:p>
            <a:pPr algn="just" defTabSz="802020"/>
            <a:r>
              <a:rPr lang="en-IE" sz="1050">
                <a:solidFill>
                  <a:schemeClr val="bg2">
                    <a:lumMod val="65000"/>
                    <a:lumOff val="35000"/>
                  </a:schemeClr>
                </a:solidFill>
                <a:latin typeface="Calibri" panose="020F0502020204030204" pitchFamily="34" charset="0"/>
                <a:cs typeface="Calibri" panose="020F0502020204030204" pitchFamily="34" charset="0"/>
              </a:rPr>
              <a:t>With EY Managed Service our dedicated team will provide, </a:t>
            </a:r>
            <a:r>
              <a:rPr lang="en-US" sz="1050">
                <a:solidFill>
                  <a:schemeClr val="bg2">
                    <a:lumMod val="65000"/>
                    <a:lumOff val="35000"/>
                  </a:schemeClr>
                </a:solidFill>
                <a:latin typeface="Calibri" panose="020F0502020204030204" pitchFamily="34" charset="0"/>
                <a:cs typeface="Calibri" panose="020F0502020204030204" pitchFamily="34" charset="0"/>
              </a:rPr>
              <a:t>9AM to 5PM Monday to Friday, </a:t>
            </a:r>
            <a:r>
              <a:rPr lang="en-IE" sz="1050">
                <a:solidFill>
                  <a:schemeClr val="bg2">
                    <a:lumMod val="65000"/>
                    <a:lumOff val="35000"/>
                  </a:schemeClr>
                </a:solidFill>
                <a:latin typeface="Calibri" panose="020F0502020204030204" pitchFamily="34" charset="0"/>
                <a:cs typeface="Calibri" panose="020F0502020204030204" pitchFamily="34" charset="0"/>
              </a:rPr>
              <a:t>support for the Cloud Storage Technology solution, this will include Core Support Services and overall Platform application support.</a:t>
            </a:r>
          </a:p>
          <a:p>
            <a:pPr algn="just" defTabSz="802020"/>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just" defTabSz="802020"/>
            <a:r>
              <a:rPr lang="en-IE" sz="1050">
                <a:solidFill>
                  <a:schemeClr val="bg2">
                    <a:lumMod val="65000"/>
                    <a:lumOff val="35000"/>
                  </a:schemeClr>
                </a:solidFill>
                <a:latin typeface="Calibri" panose="020F0502020204030204" pitchFamily="34" charset="0"/>
                <a:cs typeface="Calibri" panose="020F0502020204030204" pitchFamily="34" charset="0"/>
              </a:rPr>
              <a:t>EY Managed Service provide services based on your current needs, with the flexibility to build customised cloud solutions that match your specific needs.</a:t>
            </a:r>
          </a:p>
          <a:p>
            <a:pPr algn="just" defTabSz="802020"/>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just" defTabSz="802020"/>
            <a:r>
              <a:rPr lang="en-US" altLang="en-US" sz="1050">
                <a:solidFill>
                  <a:schemeClr val="bg2">
                    <a:lumMod val="65000"/>
                    <a:lumOff val="35000"/>
                  </a:schemeClr>
                </a:solidFill>
                <a:latin typeface="Calibri" panose="020F0502020204030204" pitchFamily="34" charset="0"/>
                <a:ea typeface="EYInterstate-Light"/>
                <a:cs typeface="Calibri" panose="020F0502020204030204" pitchFamily="34" charset="0"/>
              </a:rPr>
              <a:t>EY will provide St James’s Hospital with:</a:t>
            </a:r>
          </a:p>
          <a:p>
            <a:pPr algn="just" defTabSz="802020"/>
            <a:endParaRPr lang="en-US" altLang="en-US" sz="1050">
              <a:solidFill>
                <a:schemeClr val="bg2">
                  <a:lumMod val="65000"/>
                  <a:lumOff val="35000"/>
                </a:schemeClr>
              </a:solidFill>
              <a:latin typeface="Calibri" panose="020F0502020204030204" pitchFamily="34" charset="0"/>
              <a:ea typeface="EYInterstate-Light"/>
              <a:cs typeface="Calibri" panose="020F0502020204030204" pitchFamily="34" charset="0"/>
            </a:endParaRPr>
          </a:p>
          <a:p>
            <a:pPr marL="256201" indent="-150379" algn="just" defTabSz="668350" eaLnBrk="0" fontAlgn="base" hangingPunct="0">
              <a:spcBef>
                <a:spcPct val="30000"/>
              </a:spcBef>
              <a:spcAft>
                <a:spcPts val="526"/>
              </a:spcAft>
              <a:buSzPct val="100000"/>
              <a:buFont typeface="EYInterstate Light" panose="02000506000000020004" pitchFamily="2" charset="0"/>
              <a:buChar char="•"/>
            </a:pPr>
            <a:r>
              <a:rPr lang="en-US" sz="1050" b="1">
                <a:solidFill>
                  <a:schemeClr val="bg2">
                    <a:lumMod val="65000"/>
                    <a:lumOff val="35000"/>
                  </a:schemeClr>
                </a:solidFill>
                <a:latin typeface="Calibri" panose="020F0502020204030204" pitchFamily="34" charset="0"/>
                <a:cs typeface="Calibri" panose="020F0502020204030204" pitchFamily="34" charset="0"/>
              </a:rPr>
              <a:t>Support Coverage:  </a:t>
            </a:r>
            <a:r>
              <a:rPr lang="en-US" sz="1050">
                <a:solidFill>
                  <a:schemeClr val="bg2">
                    <a:lumMod val="65000"/>
                    <a:lumOff val="35000"/>
                  </a:schemeClr>
                </a:solidFill>
                <a:latin typeface="Calibri" panose="020F0502020204030204" pitchFamily="34" charset="0"/>
                <a:cs typeface="Calibri" panose="020F0502020204030204" pitchFamily="34" charset="0"/>
              </a:rPr>
              <a:t>9AM to 5PM Monday to Friday</a:t>
            </a:r>
          </a:p>
          <a:p>
            <a:pPr marL="256201" indent="-150379" algn="just" defTabSz="668350" eaLnBrk="0" fontAlgn="base" hangingPunct="0">
              <a:spcBef>
                <a:spcPct val="30000"/>
              </a:spcBef>
              <a:spcAft>
                <a:spcPts val="526"/>
              </a:spcAft>
              <a:buSzPct val="100000"/>
              <a:buFont typeface="EYInterstate Light" panose="02000506000000020004" pitchFamily="2" charset="0"/>
              <a:buChar char="•"/>
            </a:pPr>
            <a:r>
              <a:rPr lang="en-US" sz="1050" b="1">
                <a:solidFill>
                  <a:schemeClr val="bg2">
                    <a:lumMod val="65000"/>
                    <a:lumOff val="35000"/>
                  </a:schemeClr>
                </a:solidFill>
                <a:latin typeface="Calibri" panose="020F0502020204030204" pitchFamily="34" charset="0"/>
                <a:cs typeface="Calibri" panose="020F0502020204030204" pitchFamily="34" charset="0"/>
              </a:rPr>
              <a:t>Support for Incidents, Changes, Problems, Service Requests, and Enhancement Requests </a:t>
            </a:r>
            <a:r>
              <a:rPr lang="en-US" sz="1050">
                <a:solidFill>
                  <a:schemeClr val="bg2">
                    <a:lumMod val="65000"/>
                    <a:lumOff val="35000"/>
                  </a:schemeClr>
                </a:solidFill>
                <a:latin typeface="Calibri" panose="020F0502020204030204" pitchFamily="34" charset="0"/>
                <a:cs typeface="Calibri" panose="020F0502020204030204" pitchFamily="34" charset="0"/>
              </a:rPr>
              <a:t>related to all components of the solution</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marL="256201" indent="-150379" algn="just" defTabSz="668350" eaLnBrk="0" fontAlgn="base" hangingPunct="0">
              <a:spcBef>
                <a:spcPct val="30000"/>
              </a:spcBef>
              <a:spcAft>
                <a:spcPts val="526"/>
              </a:spcAft>
              <a:buSzPct val="100000"/>
              <a:buFont typeface="EYInterstate Light" panose="02000506000000020004" pitchFamily="2" charset="0"/>
              <a:buChar char="•"/>
            </a:pPr>
            <a:r>
              <a:rPr lang="en-US" sz="1050" b="1">
                <a:solidFill>
                  <a:schemeClr val="bg2">
                    <a:lumMod val="65000"/>
                    <a:lumOff val="35000"/>
                  </a:schemeClr>
                </a:solidFill>
                <a:latin typeface="Calibri" panose="020F0502020204030204" pitchFamily="34" charset="0"/>
                <a:cs typeface="Calibri" panose="020F0502020204030204" pitchFamily="34" charset="0"/>
              </a:rPr>
              <a:t>Support Continuity</a:t>
            </a:r>
            <a:r>
              <a:rPr lang="en-US" sz="1050">
                <a:solidFill>
                  <a:schemeClr val="bg2">
                    <a:lumMod val="65000"/>
                    <a:lumOff val="35000"/>
                  </a:schemeClr>
                </a:solidFill>
                <a:latin typeface="Calibri" panose="020F0502020204030204" pitchFamily="34" charset="0"/>
                <a:cs typeface="Calibri" panose="020F0502020204030204" pitchFamily="34" charset="0"/>
              </a:rPr>
              <a:t>: An on-shore single point-of-contact for all escalations and a team of resources that know you and the platform</a:t>
            </a:r>
          </a:p>
          <a:p>
            <a:pPr marL="256201" indent="-150379" algn="just" defTabSz="668350" eaLnBrk="0" fontAlgn="base" hangingPunct="0">
              <a:spcBef>
                <a:spcPct val="30000"/>
              </a:spcBef>
              <a:spcAft>
                <a:spcPts val="526"/>
              </a:spcAft>
              <a:buSzPct val="100000"/>
              <a:buFont typeface="EYInterstate Light" panose="02000506000000020004" pitchFamily="2" charset="0"/>
              <a:buChar char="•"/>
            </a:pPr>
            <a:r>
              <a:rPr lang="en-GB" sz="1050" b="1">
                <a:solidFill>
                  <a:schemeClr val="bg2">
                    <a:lumMod val="65000"/>
                    <a:lumOff val="35000"/>
                  </a:schemeClr>
                </a:solidFill>
                <a:latin typeface="Calibri" panose="020F0502020204030204" pitchFamily="34" charset="0"/>
                <a:cs typeface="Calibri" panose="020F0502020204030204" pitchFamily="34" charset="0"/>
              </a:rPr>
              <a:t>Resolution Management: </a:t>
            </a:r>
            <a:r>
              <a:rPr lang="en-GB" sz="1050">
                <a:solidFill>
                  <a:schemeClr val="bg2">
                    <a:lumMod val="65000"/>
                    <a:lumOff val="35000"/>
                  </a:schemeClr>
                </a:solidFill>
                <a:latin typeface="Calibri" panose="020F0502020204030204" pitchFamily="34" charset="0"/>
                <a:cs typeface="Calibri" panose="020F0502020204030204" pitchFamily="34" charset="0"/>
              </a:rPr>
              <a:t>EY will provide end-to-end resolution management working with vendors and internal teams as necessary</a:t>
            </a:r>
            <a:endParaRPr lang="en-US" sz="1050">
              <a:solidFill>
                <a:schemeClr val="bg2">
                  <a:lumMod val="65000"/>
                  <a:lumOff val="35000"/>
                </a:schemeClr>
              </a:solidFill>
              <a:latin typeface="Calibri" panose="020F0502020204030204" pitchFamily="34" charset="0"/>
              <a:cs typeface="Calibri" panose="020F0502020204030204" pitchFamily="34" charset="0"/>
            </a:endParaRPr>
          </a:p>
          <a:p>
            <a:pPr marL="256201" indent="-150379" algn="just" defTabSz="668350" eaLnBrk="0" fontAlgn="base" hangingPunct="0">
              <a:spcBef>
                <a:spcPct val="30000"/>
              </a:spcBef>
              <a:spcAft>
                <a:spcPts val="526"/>
              </a:spcAft>
              <a:buSzPct val="100000"/>
              <a:buFont typeface="EYInterstate Light" panose="02000506000000020004" pitchFamily="2" charset="0"/>
              <a:buChar char="•"/>
            </a:pPr>
            <a:r>
              <a:rPr lang="en-US" sz="1050" b="1">
                <a:solidFill>
                  <a:schemeClr val="bg2">
                    <a:lumMod val="65000"/>
                    <a:lumOff val="35000"/>
                  </a:schemeClr>
                </a:solidFill>
                <a:latin typeface="Calibri" panose="020F0502020204030204" pitchFamily="34" charset="0"/>
                <a:cs typeface="Calibri" panose="020F0502020204030204" pitchFamily="34" charset="0"/>
              </a:rPr>
              <a:t>Commitment to Quality: </a:t>
            </a:r>
            <a:r>
              <a:rPr lang="en-US" sz="1050">
                <a:solidFill>
                  <a:schemeClr val="bg2">
                    <a:lumMod val="65000"/>
                    <a:lumOff val="35000"/>
                  </a:schemeClr>
                </a:solidFill>
                <a:latin typeface="Calibri" panose="020F0502020204030204" pitchFamily="34" charset="0"/>
                <a:cs typeface="Calibri" panose="020F0502020204030204" pitchFamily="34" charset="0"/>
              </a:rPr>
              <a:t>Providing a Subject Matter Resource (SMR) and Service Manager to enable quality and operational excellence</a:t>
            </a:r>
          </a:p>
          <a:p>
            <a:pPr algn="just" defTabSz="802020"/>
            <a:endParaRPr lang="en-IE" sz="1100">
              <a:solidFill>
                <a:schemeClr val="bg1"/>
              </a:solidFill>
              <a:latin typeface="EYInterstate Light"/>
            </a:endParaRPr>
          </a:p>
          <a:p>
            <a:pPr algn="just" defTabSz="802020"/>
            <a:endParaRPr lang="en-IE" sz="1100">
              <a:latin typeface="EYInterstate Light"/>
            </a:endParaRPr>
          </a:p>
        </p:txBody>
      </p:sp>
      <p:sp>
        <p:nvSpPr>
          <p:cNvPr id="24" name="Rectangle: Rounded Corners 23">
            <a:extLst>
              <a:ext uri="{FF2B5EF4-FFF2-40B4-BE49-F238E27FC236}">
                <a16:creationId xmlns:a16="http://schemas.microsoft.com/office/drawing/2014/main" id="{59FD48C9-AD9F-42AB-ABF2-514B6BE45E2F}"/>
              </a:ext>
            </a:extLst>
          </p:cNvPr>
          <p:cNvSpPr/>
          <p:nvPr/>
        </p:nvSpPr>
        <p:spPr>
          <a:xfrm>
            <a:off x="4935433" y="2271254"/>
            <a:ext cx="6106972" cy="3939475"/>
          </a:xfrm>
          <a:prstGeom prst="roundRect">
            <a:avLst>
              <a:gd name="adj" fmla="val 1035"/>
            </a:avLst>
          </a:prstGeom>
          <a:solidFill>
            <a:schemeClr val="tx1"/>
          </a:solidFill>
          <a:ln w="19050" cap="sq" cmpd="sng" algn="ctr">
            <a:solidFill>
              <a:schemeClr val="bg1"/>
            </a:solidFill>
            <a:prstDash val="solid"/>
            <a:miter lim="800000"/>
          </a:ln>
          <a:effectLst/>
        </p:spPr>
        <p:txBody>
          <a:bodyPr rot="0" spcFirstLastPara="0" vertOverflow="overflow" horzOverflow="overflow" vert="horz" wrap="square" lIns="53678" tIns="53678" rIns="53678" bIns="53678" numCol="1" spcCol="0" rtlCol="0" fromWordArt="0" anchor="t" anchorCtr="0" forceAA="0" compatLnSpc="1">
            <a:prstTxWarp prst="textNoShape">
              <a:avLst/>
            </a:prstTxWarp>
            <a:noAutofit/>
          </a:bodyPr>
          <a:lstStyle/>
          <a:p>
            <a:pPr marL="238100" indent="-238100" defTabSz="801004" fontAlgn="base">
              <a:spcAft>
                <a:spcPts val="526"/>
              </a:spcAft>
              <a:buClr>
                <a:srgbClr val="FFE600"/>
              </a:buClr>
              <a:buSzPct val="80000"/>
              <a:buFont typeface="Arial" charset="0"/>
              <a:buChar char="►"/>
              <a:defRPr/>
            </a:pPr>
            <a:endParaRPr lang="en-IE" sz="1228" kern="0" noProof="1">
              <a:solidFill>
                <a:srgbClr val="FFFFFF"/>
              </a:solidFill>
              <a:latin typeface="EYInterstate Light"/>
            </a:endParaRPr>
          </a:p>
        </p:txBody>
      </p:sp>
      <p:sp>
        <p:nvSpPr>
          <p:cNvPr id="26" name="Rectangle: Diagonal Corners Rounded 25">
            <a:extLst>
              <a:ext uri="{FF2B5EF4-FFF2-40B4-BE49-F238E27FC236}">
                <a16:creationId xmlns:a16="http://schemas.microsoft.com/office/drawing/2014/main" id="{CD33E3D1-3D3E-4677-9479-C83BEAA47CD4}"/>
              </a:ext>
            </a:extLst>
          </p:cNvPr>
          <p:cNvSpPr/>
          <p:nvPr/>
        </p:nvSpPr>
        <p:spPr>
          <a:xfrm>
            <a:off x="5206345" y="4653933"/>
            <a:ext cx="5669373" cy="1421061"/>
          </a:xfrm>
          <a:prstGeom prst="round2DiagRect">
            <a:avLst/>
          </a:prstGeom>
          <a:solidFill>
            <a:schemeClr val="bg1"/>
          </a:solidFill>
          <a:ln w="19050" cap="sq" cmpd="sng" algn="ctr">
            <a:noFill/>
            <a:prstDash val="sysDot"/>
            <a:miter lim="800000"/>
          </a:ln>
          <a:effectLst/>
        </p:spPr>
        <p:txBody>
          <a:bodyPr rot="0" spcFirstLastPara="0" vertOverflow="overflow" horzOverflow="overflow" vert="horz" wrap="square" lIns="53678" tIns="53678" rIns="53678" bIns="53678" numCol="1" spcCol="0" rtlCol="0" fromWordArt="0" anchor="t" anchorCtr="0" forceAA="0" compatLnSpc="1">
            <a:prstTxWarp prst="textNoShape">
              <a:avLst/>
            </a:prstTxWarp>
            <a:noAutofit/>
          </a:bodyPr>
          <a:lstStyle/>
          <a:p>
            <a:pPr marL="238100" indent="-238100" defTabSz="801004" fontAlgn="base">
              <a:spcAft>
                <a:spcPts val="526"/>
              </a:spcAft>
              <a:buClr>
                <a:srgbClr val="FFE600"/>
              </a:buClr>
              <a:buSzPct val="80000"/>
              <a:buFont typeface="Arial" charset="0"/>
              <a:buChar char="►"/>
              <a:defRPr/>
            </a:pPr>
            <a:endParaRPr lang="en-IE" sz="1228" kern="0" noProof="1">
              <a:latin typeface="EYInterstate Light"/>
            </a:endParaRPr>
          </a:p>
        </p:txBody>
      </p:sp>
      <p:sp>
        <p:nvSpPr>
          <p:cNvPr id="27" name="TextBox 26">
            <a:extLst>
              <a:ext uri="{FF2B5EF4-FFF2-40B4-BE49-F238E27FC236}">
                <a16:creationId xmlns:a16="http://schemas.microsoft.com/office/drawing/2014/main" id="{23486D29-A454-4EE5-8E1B-CD63ED250937}"/>
              </a:ext>
            </a:extLst>
          </p:cNvPr>
          <p:cNvSpPr txBox="1"/>
          <p:nvPr/>
        </p:nvSpPr>
        <p:spPr>
          <a:xfrm>
            <a:off x="5907360" y="4650266"/>
            <a:ext cx="4329336" cy="324063"/>
          </a:xfrm>
          <a:prstGeom prst="rect">
            <a:avLst/>
          </a:prstGeom>
          <a:noFill/>
          <a:ln>
            <a:noFill/>
          </a:ln>
        </p:spPr>
        <p:txBody>
          <a:bodyPr wrap="square" lIns="0" tIns="0" rIns="0" bIns="0" rtlCol="0">
            <a:spAutoFit/>
          </a:bodyPr>
          <a:lstStyle>
            <a:defPPr>
              <a:defRPr lang="en-US"/>
            </a:defPPr>
            <a:lvl1pPr algn="ctr">
              <a:spcAft>
                <a:spcPts val="600"/>
              </a:spcAft>
              <a:buClr>
                <a:schemeClr val="accent2"/>
              </a:buClr>
              <a:buSzPct val="70000"/>
              <a:defRPr sz="1400">
                <a:solidFill>
                  <a:schemeClr val="bg1"/>
                </a:solidFill>
              </a:defRPr>
            </a:lvl1pPr>
          </a:lstStyle>
          <a:p>
            <a:pPr defTabSz="800417">
              <a:spcAft>
                <a:spcPts val="0"/>
              </a:spcAft>
              <a:buClr>
                <a:srgbClr val="FFE600"/>
              </a:buClr>
              <a:defRPr/>
            </a:pPr>
            <a:r>
              <a:rPr lang="en-IN" sz="1053" b="1" kern="0">
                <a:solidFill>
                  <a:schemeClr val="tx1"/>
                </a:solidFill>
                <a:latin typeface="EYInterstate Light"/>
              </a:rPr>
              <a:t>Cloud Platform – Support Activities</a:t>
            </a:r>
          </a:p>
          <a:p>
            <a:pPr defTabSz="800417">
              <a:spcAft>
                <a:spcPts val="0"/>
              </a:spcAft>
              <a:buClr>
                <a:srgbClr val="FFE600"/>
              </a:buClr>
              <a:defRPr/>
            </a:pPr>
            <a:r>
              <a:rPr lang="en-IE" sz="1053" kern="0">
                <a:solidFill>
                  <a:schemeClr val="tx1"/>
                </a:solidFill>
                <a:latin typeface="EYInterstate Light"/>
              </a:rPr>
              <a:t>Azure, AWS, SAP Cloud, Google Cloud Platform, M365, ServiceNow </a:t>
            </a:r>
          </a:p>
        </p:txBody>
      </p:sp>
      <p:sp>
        <p:nvSpPr>
          <p:cNvPr id="51" name="TextBox 50">
            <a:extLst>
              <a:ext uri="{FF2B5EF4-FFF2-40B4-BE49-F238E27FC236}">
                <a16:creationId xmlns:a16="http://schemas.microsoft.com/office/drawing/2014/main" id="{57CBA1C0-2C62-41AF-9DF0-59FC77D90196}"/>
              </a:ext>
            </a:extLst>
          </p:cNvPr>
          <p:cNvSpPr txBox="1"/>
          <p:nvPr/>
        </p:nvSpPr>
        <p:spPr>
          <a:xfrm rot="16200000">
            <a:off x="4537072" y="5189127"/>
            <a:ext cx="1190675" cy="273912"/>
          </a:xfrm>
          <a:prstGeom prst="rect">
            <a:avLst/>
          </a:prstGeom>
        </p:spPr>
        <p:txBody>
          <a:bodyPr vert="horz" wrap="square" lIns="0" tIns="0" rIns="0" bIns="0" rtlCol="0">
            <a:noAutofit/>
          </a:bodyPr>
          <a:lstStyle/>
          <a:p>
            <a:pPr algn="ctr" defTabSz="801004" fontAlgn="base">
              <a:spcAft>
                <a:spcPts val="526"/>
              </a:spcAft>
              <a:buClr>
                <a:srgbClr val="FFE600"/>
              </a:buClr>
              <a:buSzPct val="80000"/>
              <a:defRPr/>
            </a:pPr>
            <a:r>
              <a:rPr lang="en-IE" sz="1053" b="1" kern="0" noProof="1">
                <a:solidFill>
                  <a:schemeClr val="bg1"/>
                </a:solidFill>
                <a:latin typeface="EYInterstate Light"/>
              </a:rPr>
              <a:t>PLATFORM</a:t>
            </a:r>
          </a:p>
        </p:txBody>
      </p:sp>
      <p:sp>
        <p:nvSpPr>
          <p:cNvPr id="52" name="TextBox 51">
            <a:extLst>
              <a:ext uri="{FF2B5EF4-FFF2-40B4-BE49-F238E27FC236}">
                <a16:creationId xmlns:a16="http://schemas.microsoft.com/office/drawing/2014/main" id="{BABBC224-CA63-4CD1-8C89-3578FCE20174}"/>
              </a:ext>
            </a:extLst>
          </p:cNvPr>
          <p:cNvSpPr txBox="1"/>
          <p:nvPr/>
        </p:nvSpPr>
        <p:spPr>
          <a:xfrm>
            <a:off x="6387463" y="2136521"/>
            <a:ext cx="3307136" cy="269946"/>
          </a:xfrm>
          <a:prstGeom prst="rect">
            <a:avLst/>
          </a:prstGeom>
          <a:solidFill>
            <a:schemeClr val="bg1"/>
          </a:solidFill>
          <a:ln>
            <a:noFill/>
          </a:ln>
        </p:spPr>
        <p:txBody>
          <a:bodyPr wrap="square" lIns="0" tIns="0" rIns="0" bIns="0" rtlCol="0">
            <a:spAutoFit/>
          </a:bodyPr>
          <a:lstStyle>
            <a:defPPr>
              <a:defRPr lang="en-US"/>
            </a:defPPr>
            <a:lvl1pPr algn="ctr">
              <a:spcAft>
                <a:spcPts val="600"/>
              </a:spcAft>
              <a:buClr>
                <a:schemeClr val="accent2"/>
              </a:buClr>
              <a:buSzPct val="70000"/>
              <a:defRPr sz="1400">
                <a:solidFill>
                  <a:schemeClr val="bg1"/>
                </a:solidFill>
              </a:defRPr>
            </a:lvl1pPr>
          </a:lstStyle>
          <a:p>
            <a:pPr defTabSz="800417">
              <a:spcAft>
                <a:spcPts val="0"/>
              </a:spcAft>
              <a:buClr>
                <a:srgbClr val="FFE600"/>
              </a:buClr>
              <a:defRPr/>
            </a:pPr>
            <a:r>
              <a:rPr lang="en-IN" sz="1754" b="1" kern="0">
                <a:solidFill>
                  <a:schemeClr val="tx1"/>
                </a:solidFill>
                <a:latin typeface="EYInterstate Light"/>
              </a:rPr>
              <a:t>EY Managed Service</a:t>
            </a:r>
          </a:p>
        </p:txBody>
      </p:sp>
      <p:sp>
        <p:nvSpPr>
          <p:cNvPr id="73" name="Rectangle: Diagonal Corners Rounded 72">
            <a:extLst>
              <a:ext uri="{FF2B5EF4-FFF2-40B4-BE49-F238E27FC236}">
                <a16:creationId xmlns:a16="http://schemas.microsoft.com/office/drawing/2014/main" id="{47DF439B-7BB1-4540-8E4F-FB08379FB57B}"/>
              </a:ext>
            </a:extLst>
          </p:cNvPr>
          <p:cNvSpPr/>
          <p:nvPr/>
        </p:nvSpPr>
        <p:spPr>
          <a:xfrm>
            <a:off x="5232104" y="2556496"/>
            <a:ext cx="5645429" cy="1663027"/>
          </a:xfrm>
          <a:prstGeom prst="round2DiagRect">
            <a:avLst/>
          </a:prstGeom>
          <a:solidFill>
            <a:schemeClr val="bg1"/>
          </a:solidFill>
          <a:ln w="19050" cap="sq" cmpd="sng" algn="ctr">
            <a:noFill/>
            <a:prstDash val="sysDot"/>
            <a:miter lim="800000"/>
          </a:ln>
          <a:effectLst/>
        </p:spPr>
        <p:txBody>
          <a:bodyPr rot="0" spcFirstLastPara="0" vertOverflow="overflow" horzOverflow="overflow" vert="horz" wrap="square" lIns="53678" tIns="53678" rIns="53678" bIns="53678" numCol="1" spcCol="0" rtlCol="0" fromWordArt="0" anchor="t" anchorCtr="0" forceAA="0" compatLnSpc="1">
            <a:prstTxWarp prst="textNoShape">
              <a:avLst/>
            </a:prstTxWarp>
            <a:noAutofit/>
          </a:bodyPr>
          <a:lstStyle/>
          <a:p>
            <a:pPr marL="238100" indent="-238100" defTabSz="801004" fontAlgn="base">
              <a:spcAft>
                <a:spcPts val="526"/>
              </a:spcAft>
              <a:buClr>
                <a:srgbClr val="FFE600"/>
              </a:buClr>
              <a:buSzPct val="80000"/>
              <a:buFont typeface="Arial" charset="0"/>
              <a:buChar char="►"/>
              <a:defRPr/>
            </a:pPr>
            <a:endParaRPr lang="en-IE" sz="1228" kern="0" noProof="1">
              <a:latin typeface="EYInterstate Light"/>
            </a:endParaRPr>
          </a:p>
        </p:txBody>
      </p:sp>
      <p:sp>
        <p:nvSpPr>
          <p:cNvPr id="74" name="TextBox 73">
            <a:extLst>
              <a:ext uri="{FF2B5EF4-FFF2-40B4-BE49-F238E27FC236}">
                <a16:creationId xmlns:a16="http://schemas.microsoft.com/office/drawing/2014/main" id="{B5650901-869E-40F7-AF37-DBB54AE1CDA3}"/>
              </a:ext>
            </a:extLst>
          </p:cNvPr>
          <p:cNvSpPr txBox="1"/>
          <p:nvPr/>
        </p:nvSpPr>
        <p:spPr>
          <a:xfrm>
            <a:off x="6046535" y="2585920"/>
            <a:ext cx="4004984" cy="324063"/>
          </a:xfrm>
          <a:prstGeom prst="rect">
            <a:avLst/>
          </a:prstGeom>
          <a:noFill/>
          <a:ln>
            <a:noFill/>
          </a:ln>
        </p:spPr>
        <p:txBody>
          <a:bodyPr wrap="square" lIns="0" tIns="0" rIns="0" bIns="0" rtlCol="0">
            <a:spAutoFit/>
          </a:bodyPr>
          <a:lstStyle>
            <a:defPPr>
              <a:defRPr lang="en-US"/>
            </a:defPPr>
            <a:lvl1pPr algn="ctr">
              <a:spcAft>
                <a:spcPts val="600"/>
              </a:spcAft>
              <a:buClr>
                <a:schemeClr val="accent2"/>
              </a:buClr>
              <a:buSzPct val="70000"/>
              <a:defRPr sz="1400">
                <a:solidFill>
                  <a:schemeClr val="bg1"/>
                </a:solidFill>
              </a:defRPr>
            </a:lvl1pPr>
          </a:lstStyle>
          <a:p>
            <a:pPr defTabSz="800417">
              <a:spcAft>
                <a:spcPts val="0"/>
              </a:spcAft>
              <a:buClr>
                <a:srgbClr val="FFE600"/>
              </a:buClr>
              <a:defRPr/>
            </a:pPr>
            <a:r>
              <a:rPr lang="en-IN" sz="1053" b="1" kern="0">
                <a:solidFill>
                  <a:schemeClr val="tx1"/>
                </a:solidFill>
                <a:latin typeface="EYInterstate Light"/>
              </a:rPr>
              <a:t>Cloud Application - Support Activities</a:t>
            </a:r>
          </a:p>
          <a:p>
            <a:pPr defTabSz="800417">
              <a:spcAft>
                <a:spcPts val="0"/>
              </a:spcAft>
              <a:buClr>
                <a:srgbClr val="FFE600"/>
              </a:buClr>
              <a:defRPr/>
            </a:pPr>
            <a:r>
              <a:rPr lang="en-IE" sz="1053" kern="0">
                <a:solidFill>
                  <a:schemeClr val="tx1"/>
                </a:solidFill>
                <a:latin typeface="EYInterstate Light"/>
              </a:rPr>
              <a:t>Additional functional offerings available</a:t>
            </a:r>
          </a:p>
        </p:txBody>
      </p:sp>
      <p:pic>
        <p:nvPicPr>
          <p:cNvPr id="75" name="Picture 12" descr="SLO document">
            <a:extLst>
              <a:ext uri="{FF2B5EF4-FFF2-40B4-BE49-F238E27FC236}">
                <a16:creationId xmlns:a16="http://schemas.microsoft.com/office/drawing/2014/main" id="{D35D4FE0-6DF4-4964-A5C4-3B97008BCC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22598" y="2914084"/>
            <a:ext cx="378645" cy="378645"/>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 75">
            <a:extLst>
              <a:ext uri="{FF2B5EF4-FFF2-40B4-BE49-F238E27FC236}">
                <a16:creationId xmlns:a16="http://schemas.microsoft.com/office/drawing/2014/main" id="{B6E6B656-4678-49DA-9073-C3A04EB86B69}"/>
              </a:ext>
            </a:extLst>
          </p:cNvPr>
          <p:cNvGrpSpPr/>
          <p:nvPr/>
        </p:nvGrpSpPr>
        <p:grpSpPr>
          <a:xfrm>
            <a:off x="7125374" y="3530201"/>
            <a:ext cx="378383" cy="328126"/>
            <a:chOff x="4335007" y="4201877"/>
            <a:chExt cx="1764168" cy="1330910"/>
          </a:xfrm>
        </p:grpSpPr>
        <p:grpSp>
          <p:nvGrpSpPr>
            <p:cNvPr id="77" name="Agile_development" descr="{&quot;Key&quot;:&quot;POWER_USER_SHAPE_ICON&quot;,&quot;Value&quot;:&quot;POWER_USER_SHAPE_ICON_STYLE_1&quot;}">
              <a:extLst>
                <a:ext uri="{FF2B5EF4-FFF2-40B4-BE49-F238E27FC236}">
                  <a16:creationId xmlns:a16="http://schemas.microsoft.com/office/drawing/2014/main" id="{289FB916-14C4-4FAF-AFC2-97596AB94764}"/>
                </a:ext>
              </a:extLst>
            </p:cNvPr>
            <p:cNvGrpSpPr>
              <a:grpSpLocks noChangeAspect="1"/>
            </p:cNvGrpSpPr>
            <p:nvPr>
              <p:custDataLst>
                <p:tags r:id="rId7"/>
              </p:custDataLst>
            </p:nvPr>
          </p:nvGrpSpPr>
          <p:grpSpPr>
            <a:xfrm>
              <a:off x="4335007" y="4201877"/>
              <a:ext cx="1764168" cy="1330910"/>
              <a:chOff x="7643813" y="5260975"/>
              <a:chExt cx="1079500" cy="814388"/>
            </a:xfrm>
            <a:noFill/>
          </p:grpSpPr>
          <p:sp>
            <p:nvSpPr>
              <p:cNvPr id="79" name="Freeform 190">
                <a:extLst>
                  <a:ext uri="{FF2B5EF4-FFF2-40B4-BE49-F238E27FC236}">
                    <a16:creationId xmlns:a16="http://schemas.microsoft.com/office/drawing/2014/main" id="{333F6D90-8091-476F-A174-8C6DF575E38B}"/>
                  </a:ext>
                </a:extLst>
              </p:cNvPr>
              <p:cNvSpPr>
                <a:spLocks/>
              </p:cNvSpPr>
              <p:nvPr/>
            </p:nvSpPr>
            <p:spPr bwMode="auto">
              <a:xfrm>
                <a:off x="8266113" y="5849938"/>
                <a:ext cx="457200" cy="225425"/>
              </a:xfrm>
              <a:custGeom>
                <a:avLst/>
                <a:gdLst>
                  <a:gd name="T0" fmla="*/ 437 w 759"/>
                  <a:gd name="T1" fmla="*/ 0 h 373"/>
                  <a:gd name="T2" fmla="*/ 437 w 759"/>
                  <a:gd name="T3" fmla="*/ 168 h 373"/>
                  <a:gd name="T4" fmla="*/ 431 w 759"/>
                  <a:gd name="T5" fmla="*/ 157 h 373"/>
                  <a:gd name="T6" fmla="*/ 403 w 759"/>
                  <a:gd name="T7" fmla="*/ 94 h 373"/>
                  <a:gd name="T8" fmla="*/ 252 w 759"/>
                  <a:gd name="T9" fmla="*/ 94 h 373"/>
                  <a:gd name="T10" fmla="*/ 0 w 759"/>
                  <a:gd name="T11" fmla="*/ 294 h 373"/>
                  <a:gd name="T12" fmla="*/ 434 w 759"/>
                  <a:gd name="T13" fmla="*/ 294 h 373"/>
                  <a:gd name="T14" fmla="*/ 436 w 759"/>
                  <a:gd name="T15" fmla="*/ 373 h 373"/>
                  <a:gd name="T16" fmla="*/ 759 w 759"/>
                  <a:gd name="T17" fmla="*/ 177 h 373"/>
                  <a:gd name="T18" fmla="*/ 437 w 759"/>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373">
                    <a:moveTo>
                      <a:pt x="437" y="0"/>
                    </a:moveTo>
                    <a:lnTo>
                      <a:pt x="437" y="168"/>
                    </a:lnTo>
                    <a:lnTo>
                      <a:pt x="431" y="157"/>
                    </a:lnTo>
                    <a:lnTo>
                      <a:pt x="403" y="94"/>
                    </a:lnTo>
                    <a:lnTo>
                      <a:pt x="252" y="94"/>
                    </a:lnTo>
                    <a:cubicBezTo>
                      <a:pt x="185" y="179"/>
                      <a:pt x="99" y="248"/>
                      <a:pt x="0" y="294"/>
                    </a:cubicBezTo>
                    <a:lnTo>
                      <a:pt x="434" y="294"/>
                    </a:lnTo>
                    <a:lnTo>
                      <a:pt x="436" y="373"/>
                    </a:lnTo>
                    <a:lnTo>
                      <a:pt x="759" y="177"/>
                    </a:lnTo>
                    <a:lnTo>
                      <a:pt x="437" y="0"/>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0" name="Freeform 191">
                <a:extLst>
                  <a:ext uri="{FF2B5EF4-FFF2-40B4-BE49-F238E27FC236}">
                    <a16:creationId xmlns:a16="http://schemas.microsoft.com/office/drawing/2014/main" id="{0F1B6608-FDBE-464B-9F3B-1EAC1CCD1576}"/>
                  </a:ext>
                </a:extLst>
              </p:cNvPr>
              <p:cNvSpPr>
                <a:spLocks/>
              </p:cNvSpPr>
              <p:nvPr/>
            </p:nvSpPr>
            <p:spPr bwMode="auto">
              <a:xfrm>
                <a:off x="7794625" y="5810250"/>
                <a:ext cx="139700" cy="57150"/>
              </a:xfrm>
              <a:custGeom>
                <a:avLst/>
                <a:gdLst>
                  <a:gd name="T0" fmla="*/ 115 w 232"/>
                  <a:gd name="T1" fmla="*/ 0 h 94"/>
                  <a:gd name="T2" fmla="*/ 0 w 232"/>
                  <a:gd name="T3" fmla="*/ 94 h 94"/>
                  <a:gd name="T4" fmla="*/ 232 w 232"/>
                  <a:gd name="T5" fmla="*/ 94 h 94"/>
                  <a:gd name="T6" fmla="*/ 115 w 232"/>
                  <a:gd name="T7" fmla="*/ 0 h 94"/>
                </a:gdLst>
                <a:ahLst/>
                <a:cxnLst>
                  <a:cxn ang="0">
                    <a:pos x="T0" y="T1"/>
                  </a:cxn>
                  <a:cxn ang="0">
                    <a:pos x="T2" y="T3"/>
                  </a:cxn>
                  <a:cxn ang="0">
                    <a:pos x="T4" y="T5"/>
                  </a:cxn>
                  <a:cxn ang="0">
                    <a:pos x="T6" y="T7"/>
                  </a:cxn>
                </a:cxnLst>
                <a:rect l="0" t="0" r="r" b="b"/>
                <a:pathLst>
                  <a:path w="232" h="94">
                    <a:moveTo>
                      <a:pt x="115" y="0"/>
                    </a:moveTo>
                    <a:lnTo>
                      <a:pt x="0" y="94"/>
                    </a:lnTo>
                    <a:lnTo>
                      <a:pt x="232" y="94"/>
                    </a:lnTo>
                    <a:cubicBezTo>
                      <a:pt x="185" y="68"/>
                      <a:pt x="144" y="37"/>
                      <a:pt x="115" y="0"/>
                    </a:cubicBez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1" name="Freeform 192">
                <a:extLst>
                  <a:ext uri="{FF2B5EF4-FFF2-40B4-BE49-F238E27FC236}">
                    <a16:creationId xmlns:a16="http://schemas.microsoft.com/office/drawing/2014/main" id="{067AD16D-A82E-449A-89B0-4F26E495630B}"/>
                  </a:ext>
                </a:extLst>
              </p:cNvPr>
              <p:cNvSpPr>
                <a:spLocks/>
              </p:cNvSpPr>
              <p:nvPr/>
            </p:nvSpPr>
            <p:spPr bwMode="auto">
              <a:xfrm>
                <a:off x="7643813" y="5530850"/>
                <a:ext cx="862013" cy="496888"/>
              </a:xfrm>
              <a:custGeom>
                <a:avLst/>
                <a:gdLst>
                  <a:gd name="T0" fmla="*/ 1197 w 1430"/>
                  <a:gd name="T1" fmla="*/ 624 h 824"/>
                  <a:gd name="T2" fmla="*/ 1349 w 1430"/>
                  <a:gd name="T3" fmla="*/ 347 h 824"/>
                  <a:gd name="T4" fmla="*/ 1415 w 1430"/>
                  <a:gd name="T5" fmla="*/ 358 h 824"/>
                  <a:gd name="T6" fmla="*/ 1430 w 1430"/>
                  <a:gd name="T7" fmla="*/ 361 h 824"/>
                  <a:gd name="T8" fmla="*/ 1420 w 1430"/>
                  <a:gd name="T9" fmla="*/ 333 h 824"/>
                  <a:gd name="T10" fmla="*/ 1406 w 1430"/>
                  <a:gd name="T11" fmla="*/ 296 h 824"/>
                  <a:gd name="T12" fmla="*/ 1297 w 1430"/>
                  <a:gd name="T13" fmla="*/ 0 h 824"/>
                  <a:gd name="T14" fmla="*/ 1065 w 1430"/>
                  <a:gd name="T15" fmla="*/ 280 h 824"/>
                  <a:gd name="T16" fmla="*/ 1089 w 1430"/>
                  <a:gd name="T17" fmla="*/ 286 h 824"/>
                  <a:gd name="T18" fmla="*/ 1154 w 1430"/>
                  <a:gd name="T19" fmla="*/ 300 h 824"/>
                  <a:gd name="T20" fmla="*/ 1241 w 1430"/>
                  <a:gd name="T21" fmla="*/ 318 h 824"/>
                  <a:gd name="T22" fmla="*/ 1215 w 1430"/>
                  <a:gd name="T23" fmla="*/ 324 h 824"/>
                  <a:gd name="T24" fmla="*/ 1141 w 1430"/>
                  <a:gd name="T25" fmla="*/ 340 h 824"/>
                  <a:gd name="T26" fmla="*/ 734 w 1430"/>
                  <a:gd name="T27" fmla="*/ 624 h 824"/>
                  <a:gd name="T28" fmla="*/ 732 w 1430"/>
                  <a:gd name="T29" fmla="*/ 624 h 824"/>
                  <a:gd name="T30" fmla="*/ 240 w 1430"/>
                  <a:gd name="T31" fmla="*/ 624 h 824"/>
                  <a:gd name="T32" fmla="*/ 0 w 1430"/>
                  <a:gd name="T33" fmla="*/ 624 h 824"/>
                  <a:gd name="T34" fmla="*/ 0 w 1430"/>
                  <a:gd name="T35" fmla="*/ 824 h 824"/>
                  <a:gd name="T36" fmla="*/ 732 w 1430"/>
                  <a:gd name="T37" fmla="*/ 824 h 824"/>
                  <a:gd name="T38" fmla="*/ 734 w 1430"/>
                  <a:gd name="T39" fmla="*/ 824 h 824"/>
                  <a:gd name="T40" fmla="*/ 1197 w 1430"/>
                  <a:gd name="T41" fmla="*/ 6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0" h="824">
                    <a:moveTo>
                      <a:pt x="1197" y="624"/>
                    </a:moveTo>
                    <a:cubicBezTo>
                      <a:pt x="1268" y="548"/>
                      <a:pt x="1321" y="453"/>
                      <a:pt x="1349" y="347"/>
                    </a:cubicBezTo>
                    <a:lnTo>
                      <a:pt x="1415" y="358"/>
                    </a:lnTo>
                    <a:lnTo>
                      <a:pt x="1430" y="361"/>
                    </a:lnTo>
                    <a:lnTo>
                      <a:pt x="1420" y="333"/>
                    </a:lnTo>
                    <a:lnTo>
                      <a:pt x="1406" y="296"/>
                    </a:lnTo>
                    <a:lnTo>
                      <a:pt x="1297" y="0"/>
                    </a:lnTo>
                    <a:lnTo>
                      <a:pt x="1065" y="280"/>
                    </a:lnTo>
                    <a:lnTo>
                      <a:pt x="1089" y="286"/>
                    </a:lnTo>
                    <a:lnTo>
                      <a:pt x="1154" y="300"/>
                    </a:lnTo>
                    <a:lnTo>
                      <a:pt x="1241" y="318"/>
                    </a:lnTo>
                    <a:lnTo>
                      <a:pt x="1215" y="324"/>
                    </a:lnTo>
                    <a:lnTo>
                      <a:pt x="1141" y="340"/>
                    </a:lnTo>
                    <a:cubicBezTo>
                      <a:pt x="1079" y="508"/>
                      <a:pt x="920" y="623"/>
                      <a:pt x="734" y="624"/>
                    </a:cubicBezTo>
                    <a:cubicBezTo>
                      <a:pt x="733" y="624"/>
                      <a:pt x="733" y="624"/>
                      <a:pt x="732" y="624"/>
                    </a:cubicBezTo>
                    <a:lnTo>
                      <a:pt x="240" y="624"/>
                    </a:lnTo>
                    <a:lnTo>
                      <a:pt x="0" y="624"/>
                    </a:lnTo>
                    <a:lnTo>
                      <a:pt x="0" y="824"/>
                    </a:lnTo>
                    <a:lnTo>
                      <a:pt x="732" y="824"/>
                    </a:lnTo>
                    <a:cubicBezTo>
                      <a:pt x="733" y="824"/>
                      <a:pt x="734" y="824"/>
                      <a:pt x="734" y="824"/>
                    </a:cubicBezTo>
                    <a:cubicBezTo>
                      <a:pt x="916" y="823"/>
                      <a:pt x="1081" y="747"/>
                      <a:pt x="1197" y="624"/>
                    </a:cubicBez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2" name="Freeform 193">
                <a:extLst>
                  <a:ext uri="{FF2B5EF4-FFF2-40B4-BE49-F238E27FC236}">
                    <a16:creationId xmlns:a16="http://schemas.microsoft.com/office/drawing/2014/main" id="{529BF111-B7D6-437F-85A7-3DDA27873FD5}"/>
                  </a:ext>
                </a:extLst>
              </p:cNvPr>
              <p:cNvSpPr>
                <a:spLocks/>
              </p:cNvSpPr>
              <p:nvPr/>
            </p:nvSpPr>
            <p:spPr bwMode="auto">
              <a:xfrm>
                <a:off x="7651750" y="5260975"/>
                <a:ext cx="814388" cy="560388"/>
              </a:xfrm>
              <a:custGeom>
                <a:avLst/>
                <a:gdLst>
                  <a:gd name="T0" fmla="*/ 375 w 1353"/>
                  <a:gd name="T1" fmla="*/ 569 h 930"/>
                  <a:gd name="T2" fmla="*/ 287 w 1353"/>
                  <a:gd name="T3" fmla="*/ 584 h 930"/>
                  <a:gd name="T4" fmla="*/ 720 w 1353"/>
                  <a:gd name="T5" fmla="*/ 200 h 930"/>
                  <a:gd name="T6" fmla="*/ 1170 w 1353"/>
                  <a:gd name="T7" fmla="*/ 440 h 930"/>
                  <a:gd name="T8" fmla="*/ 1353 w 1353"/>
                  <a:gd name="T9" fmla="*/ 358 h 930"/>
                  <a:gd name="T10" fmla="*/ 720 w 1353"/>
                  <a:gd name="T11" fmla="*/ 0 h 930"/>
                  <a:gd name="T12" fmla="*/ 86 w 1353"/>
                  <a:gd name="T13" fmla="*/ 585 h 930"/>
                  <a:gd name="T14" fmla="*/ 170 w 1353"/>
                  <a:gd name="T15" fmla="*/ 604 h 930"/>
                  <a:gd name="T16" fmla="*/ 163 w 1353"/>
                  <a:gd name="T17" fmla="*/ 606 h 930"/>
                  <a:gd name="T18" fmla="*/ 84 w 1353"/>
                  <a:gd name="T19" fmla="*/ 622 h 930"/>
                  <a:gd name="T20" fmla="*/ 0 w 1353"/>
                  <a:gd name="T21" fmla="*/ 640 h 930"/>
                  <a:gd name="T22" fmla="*/ 242 w 1353"/>
                  <a:gd name="T23" fmla="*/ 930 h 930"/>
                  <a:gd name="T24" fmla="*/ 375 w 1353"/>
                  <a:gd name="T25" fmla="*/ 56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3" h="930">
                    <a:moveTo>
                      <a:pt x="375" y="569"/>
                    </a:moveTo>
                    <a:lnTo>
                      <a:pt x="287" y="584"/>
                    </a:lnTo>
                    <a:cubicBezTo>
                      <a:pt x="312" y="368"/>
                      <a:pt x="497" y="200"/>
                      <a:pt x="720" y="200"/>
                    </a:cubicBezTo>
                    <a:cubicBezTo>
                      <a:pt x="915" y="200"/>
                      <a:pt x="1109" y="303"/>
                      <a:pt x="1170" y="440"/>
                    </a:cubicBezTo>
                    <a:lnTo>
                      <a:pt x="1353" y="358"/>
                    </a:lnTo>
                    <a:cubicBezTo>
                      <a:pt x="1258" y="147"/>
                      <a:pt x="998" y="0"/>
                      <a:pt x="720" y="0"/>
                    </a:cubicBezTo>
                    <a:cubicBezTo>
                      <a:pt x="386" y="0"/>
                      <a:pt x="112" y="258"/>
                      <a:pt x="86" y="585"/>
                    </a:cubicBezTo>
                    <a:lnTo>
                      <a:pt x="170" y="604"/>
                    </a:lnTo>
                    <a:lnTo>
                      <a:pt x="163" y="606"/>
                    </a:lnTo>
                    <a:lnTo>
                      <a:pt x="84" y="622"/>
                    </a:lnTo>
                    <a:lnTo>
                      <a:pt x="0" y="640"/>
                    </a:lnTo>
                    <a:lnTo>
                      <a:pt x="242" y="930"/>
                    </a:lnTo>
                    <a:lnTo>
                      <a:pt x="375" y="569"/>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sp>
          <p:nvSpPr>
            <p:cNvPr id="78" name="Gear2" descr="{&quot;Key&quot;:&quot;POWER_USER_SHAPE_ICON&quot;,&quot;Value&quot;:&quot;POWER_USER_SHAPE_ICON_STYLE_1&quot;}">
              <a:extLst>
                <a:ext uri="{FF2B5EF4-FFF2-40B4-BE49-F238E27FC236}">
                  <a16:creationId xmlns:a16="http://schemas.microsoft.com/office/drawing/2014/main" id="{4037459A-768A-4D61-8230-50A4F7E1145B}"/>
                </a:ext>
              </a:extLst>
            </p:cNvPr>
            <p:cNvSpPr>
              <a:spLocks noChangeAspect="1" noEditPoints="1"/>
            </p:cNvSpPr>
            <p:nvPr>
              <p:custDataLst>
                <p:tags r:id="rId8"/>
              </p:custDataLst>
            </p:nvPr>
          </p:nvSpPr>
          <p:spPr bwMode="auto">
            <a:xfrm>
              <a:off x="4810233" y="4543622"/>
              <a:ext cx="541765" cy="542925"/>
            </a:xfrm>
            <a:custGeom>
              <a:avLst/>
              <a:gdLst>
                <a:gd name="T0" fmla="*/ 500 w 1150"/>
                <a:gd name="T1" fmla="*/ 0 h 1150"/>
                <a:gd name="T2" fmla="*/ 475 w 1150"/>
                <a:gd name="T3" fmla="*/ 25 h 1150"/>
                <a:gd name="T4" fmla="*/ 475 w 1150"/>
                <a:gd name="T5" fmla="*/ 150 h 1150"/>
                <a:gd name="T6" fmla="*/ 345 w 1150"/>
                <a:gd name="T7" fmla="*/ 204 h 1150"/>
                <a:gd name="T8" fmla="*/ 257 w 1150"/>
                <a:gd name="T9" fmla="*/ 115 h 1150"/>
                <a:gd name="T10" fmla="*/ 221 w 1150"/>
                <a:gd name="T11" fmla="*/ 115 h 1150"/>
                <a:gd name="T12" fmla="*/ 115 w 1150"/>
                <a:gd name="T13" fmla="*/ 221 h 1150"/>
                <a:gd name="T14" fmla="*/ 115 w 1150"/>
                <a:gd name="T15" fmla="*/ 257 h 1150"/>
                <a:gd name="T16" fmla="*/ 203 w 1150"/>
                <a:gd name="T17" fmla="*/ 345 h 1150"/>
                <a:gd name="T18" fmla="*/ 150 w 1150"/>
                <a:gd name="T19" fmla="*/ 475 h 1150"/>
                <a:gd name="T20" fmla="*/ 25 w 1150"/>
                <a:gd name="T21" fmla="*/ 475 h 1150"/>
                <a:gd name="T22" fmla="*/ 0 w 1150"/>
                <a:gd name="T23" fmla="*/ 500 h 1150"/>
                <a:gd name="T24" fmla="*/ 0 w 1150"/>
                <a:gd name="T25" fmla="*/ 650 h 1150"/>
                <a:gd name="T26" fmla="*/ 25 w 1150"/>
                <a:gd name="T27" fmla="*/ 675 h 1150"/>
                <a:gd name="T28" fmla="*/ 150 w 1150"/>
                <a:gd name="T29" fmla="*/ 675 h 1150"/>
                <a:gd name="T30" fmla="*/ 204 w 1150"/>
                <a:gd name="T31" fmla="*/ 805 h 1150"/>
                <a:gd name="T32" fmla="*/ 115 w 1150"/>
                <a:gd name="T33" fmla="*/ 893 h 1150"/>
                <a:gd name="T34" fmla="*/ 115 w 1150"/>
                <a:gd name="T35" fmla="*/ 929 h 1150"/>
                <a:gd name="T36" fmla="*/ 221 w 1150"/>
                <a:gd name="T37" fmla="*/ 1035 h 1150"/>
                <a:gd name="T38" fmla="*/ 257 w 1150"/>
                <a:gd name="T39" fmla="*/ 1035 h 1150"/>
                <a:gd name="T40" fmla="*/ 345 w 1150"/>
                <a:gd name="T41" fmla="*/ 947 h 1150"/>
                <a:gd name="T42" fmla="*/ 475 w 1150"/>
                <a:gd name="T43" fmla="*/ 1000 h 1150"/>
                <a:gd name="T44" fmla="*/ 475 w 1150"/>
                <a:gd name="T45" fmla="*/ 1125 h 1150"/>
                <a:gd name="T46" fmla="*/ 500 w 1150"/>
                <a:gd name="T47" fmla="*/ 1150 h 1150"/>
                <a:gd name="T48" fmla="*/ 650 w 1150"/>
                <a:gd name="T49" fmla="*/ 1150 h 1150"/>
                <a:gd name="T50" fmla="*/ 675 w 1150"/>
                <a:gd name="T51" fmla="*/ 1125 h 1150"/>
                <a:gd name="T52" fmla="*/ 675 w 1150"/>
                <a:gd name="T53" fmla="*/ 1000 h 1150"/>
                <a:gd name="T54" fmla="*/ 805 w 1150"/>
                <a:gd name="T55" fmla="*/ 946 h 1150"/>
                <a:gd name="T56" fmla="*/ 893 w 1150"/>
                <a:gd name="T57" fmla="*/ 1035 h 1150"/>
                <a:gd name="T58" fmla="*/ 929 w 1150"/>
                <a:gd name="T59" fmla="*/ 1035 h 1150"/>
                <a:gd name="T60" fmla="*/ 1035 w 1150"/>
                <a:gd name="T61" fmla="*/ 929 h 1150"/>
                <a:gd name="T62" fmla="*/ 1035 w 1150"/>
                <a:gd name="T63" fmla="*/ 893 h 1150"/>
                <a:gd name="T64" fmla="*/ 947 w 1150"/>
                <a:gd name="T65" fmla="*/ 805 h 1150"/>
                <a:gd name="T66" fmla="*/ 1001 w 1150"/>
                <a:gd name="T67" fmla="*/ 675 h 1150"/>
                <a:gd name="T68" fmla="*/ 1125 w 1150"/>
                <a:gd name="T69" fmla="*/ 675 h 1150"/>
                <a:gd name="T70" fmla="*/ 1150 w 1150"/>
                <a:gd name="T71" fmla="*/ 650 h 1150"/>
                <a:gd name="T72" fmla="*/ 1150 w 1150"/>
                <a:gd name="T73" fmla="*/ 500 h 1150"/>
                <a:gd name="T74" fmla="*/ 1125 w 1150"/>
                <a:gd name="T75" fmla="*/ 475 h 1150"/>
                <a:gd name="T76" fmla="*/ 1001 w 1150"/>
                <a:gd name="T77" fmla="*/ 475 h 1150"/>
                <a:gd name="T78" fmla="*/ 947 w 1150"/>
                <a:gd name="T79" fmla="*/ 345 h 1150"/>
                <a:gd name="T80" fmla="*/ 1035 w 1150"/>
                <a:gd name="T81" fmla="*/ 257 h 1150"/>
                <a:gd name="T82" fmla="*/ 1035 w 1150"/>
                <a:gd name="T83" fmla="*/ 221 h 1150"/>
                <a:gd name="T84" fmla="*/ 929 w 1150"/>
                <a:gd name="T85" fmla="*/ 115 h 1150"/>
                <a:gd name="T86" fmla="*/ 893 w 1150"/>
                <a:gd name="T87" fmla="*/ 115 h 1150"/>
                <a:gd name="T88" fmla="*/ 805 w 1150"/>
                <a:gd name="T89" fmla="*/ 203 h 1150"/>
                <a:gd name="T90" fmla="*/ 675 w 1150"/>
                <a:gd name="T91" fmla="*/ 150 h 1150"/>
                <a:gd name="T92" fmla="*/ 675 w 1150"/>
                <a:gd name="T93" fmla="*/ 25 h 1150"/>
                <a:gd name="T94" fmla="*/ 650 w 1150"/>
                <a:gd name="T95" fmla="*/ 0 h 1150"/>
                <a:gd name="T96" fmla="*/ 500 w 1150"/>
                <a:gd name="T97" fmla="*/ 0 h 1150"/>
                <a:gd name="T98" fmla="*/ 577 w 1150"/>
                <a:gd name="T99" fmla="*/ 413 h 1150"/>
                <a:gd name="T100" fmla="*/ 690 w 1150"/>
                <a:gd name="T101" fmla="*/ 460 h 1150"/>
                <a:gd name="T102" fmla="*/ 690 w 1150"/>
                <a:gd name="T103" fmla="*/ 690 h 1150"/>
                <a:gd name="T104" fmla="*/ 460 w 1150"/>
                <a:gd name="T105" fmla="*/ 690 h 1150"/>
                <a:gd name="T106" fmla="*/ 460 w 1150"/>
                <a:gd name="T107" fmla="*/ 460 h 1150"/>
                <a:gd name="T108" fmla="*/ 577 w 1150"/>
                <a:gd name="T109" fmla="*/ 413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0" h="1150">
                  <a:moveTo>
                    <a:pt x="500" y="0"/>
                  </a:moveTo>
                  <a:cubicBezTo>
                    <a:pt x="486" y="0"/>
                    <a:pt x="475" y="11"/>
                    <a:pt x="475" y="25"/>
                  </a:cubicBezTo>
                  <a:lnTo>
                    <a:pt x="475" y="150"/>
                  </a:lnTo>
                  <a:cubicBezTo>
                    <a:pt x="429" y="160"/>
                    <a:pt x="385" y="179"/>
                    <a:pt x="345" y="204"/>
                  </a:cubicBezTo>
                  <a:lnTo>
                    <a:pt x="257" y="115"/>
                  </a:lnTo>
                  <a:cubicBezTo>
                    <a:pt x="247" y="106"/>
                    <a:pt x="231" y="106"/>
                    <a:pt x="221" y="115"/>
                  </a:cubicBezTo>
                  <a:lnTo>
                    <a:pt x="115" y="221"/>
                  </a:lnTo>
                  <a:cubicBezTo>
                    <a:pt x="106" y="231"/>
                    <a:pt x="106" y="247"/>
                    <a:pt x="115" y="257"/>
                  </a:cubicBezTo>
                  <a:lnTo>
                    <a:pt x="203" y="345"/>
                  </a:lnTo>
                  <a:cubicBezTo>
                    <a:pt x="179" y="385"/>
                    <a:pt x="160" y="429"/>
                    <a:pt x="150" y="475"/>
                  </a:cubicBezTo>
                  <a:lnTo>
                    <a:pt x="25" y="475"/>
                  </a:lnTo>
                  <a:cubicBezTo>
                    <a:pt x="11" y="475"/>
                    <a:pt x="0" y="486"/>
                    <a:pt x="0" y="500"/>
                  </a:cubicBezTo>
                  <a:lnTo>
                    <a:pt x="0" y="650"/>
                  </a:lnTo>
                  <a:cubicBezTo>
                    <a:pt x="0" y="664"/>
                    <a:pt x="11" y="675"/>
                    <a:pt x="25" y="675"/>
                  </a:cubicBezTo>
                  <a:lnTo>
                    <a:pt x="150" y="675"/>
                  </a:lnTo>
                  <a:cubicBezTo>
                    <a:pt x="160" y="721"/>
                    <a:pt x="179" y="765"/>
                    <a:pt x="204" y="805"/>
                  </a:cubicBezTo>
                  <a:lnTo>
                    <a:pt x="115" y="893"/>
                  </a:lnTo>
                  <a:cubicBezTo>
                    <a:pt x="106" y="903"/>
                    <a:pt x="106" y="919"/>
                    <a:pt x="115" y="929"/>
                  </a:cubicBezTo>
                  <a:lnTo>
                    <a:pt x="221" y="1035"/>
                  </a:lnTo>
                  <a:cubicBezTo>
                    <a:pt x="231" y="1044"/>
                    <a:pt x="247" y="1044"/>
                    <a:pt x="257" y="1035"/>
                  </a:cubicBezTo>
                  <a:lnTo>
                    <a:pt x="345" y="947"/>
                  </a:lnTo>
                  <a:cubicBezTo>
                    <a:pt x="385" y="971"/>
                    <a:pt x="429" y="990"/>
                    <a:pt x="475" y="1000"/>
                  </a:cubicBezTo>
                  <a:lnTo>
                    <a:pt x="475" y="1125"/>
                  </a:lnTo>
                  <a:cubicBezTo>
                    <a:pt x="475" y="1139"/>
                    <a:pt x="486" y="1150"/>
                    <a:pt x="500" y="1150"/>
                  </a:cubicBezTo>
                  <a:lnTo>
                    <a:pt x="650" y="1150"/>
                  </a:lnTo>
                  <a:cubicBezTo>
                    <a:pt x="664" y="1150"/>
                    <a:pt x="675" y="1139"/>
                    <a:pt x="675" y="1125"/>
                  </a:cubicBezTo>
                  <a:lnTo>
                    <a:pt x="675" y="1000"/>
                  </a:lnTo>
                  <a:cubicBezTo>
                    <a:pt x="721" y="990"/>
                    <a:pt x="765" y="971"/>
                    <a:pt x="805" y="946"/>
                  </a:cubicBezTo>
                  <a:lnTo>
                    <a:pt x="893" y="1035"/>
                  </a:lnTo>
                  <a:cubicBezTo>
                    <a:pt x="903" y="1044"/>
                    <a:pt x="919" y="1044"/>
                    <a:pt x="929" y="1035"/>
                  </a:cubicBezTo>
                  <a:lnTo>
                    <a:pt x="1035" y="929"/>
                  </a:lnTo>
                  <a:cubicBezTo>
                    <a:pt x="1044" y="919"/>
                    <a:pt x="1044" y="903"/>
                    <a:pt x="1035" y="893"/>
                  </a:cubicBezTo>
                  <a:lnTo>
                    <a:pt x="947" y="805"/>
                  </a:lnTo>
                  <a:cubicBezTo>
                    <a:pt x="971" y="765"/>
                    <a:pt x="990" y="721"/>
                    <a:pt x="1001" y="675"/>
                  </a:cubicBezTo>
                  <a:lnTo>
                    <a:pt x="1125" y="675"/>
                  </a:lnTo>
                  <a:cubicBezTo>
                    <a:pt x="1139" y="675"/>
                    <a:pt x="1150" y="664"/>
                    <a:pt x="1150" y="650"/>
                  </a:cubicBezTo>
                  <a:lnTo>
                    <a:pt x="1150" y="500"/>
                  </a:lnTo>
                  <a:cubicBezTo>
                    <a:pt x="1150" y="486"/>
                    <a:pt x="1139" y="475"/>
                    <a:pt x="1125" y="475"/>
                  </a:cubicBezTo>
                  <a:lnTo>
                    <a:pt x="1001" y="475"/>
                  </a:lnTo>
                  <a:cubicBezTo>
                    <a:pt x="990" y="429"/>
                    <a:pt x="971" y="385"/>
                    <a:pt x="947" y="345"/>
                  </a:cubicBezTo>
                  <a:lnTo>
                    <a:pt x="1035" y="257"/>
                  </a:lnTo>
                  <a:cubicBezTo>
                    <a:pt x="1044" y="247"/>
                    <a:pt x="1044" y="231"/>
                    <a:pt x="1035" y="221"/>
                  </a:cubicBezTo>
                  <a:lnTo>
                    <a:pt x="929" y="115"/>
                  </a:lnTo>
                  <a:cubicBezTo>
                    <a:pt x="919" y="106"/>
                    <a:pt x="903" y="106"/>
                    <a:pt x="893" y="115"/>
                  </a:cubicBezTo>
                  <a:lnTo>
                    <a:pt x="805" y="203"/>
                  </a:lnTo>
                  <a:cubicBezTo>
                    <a:pt x="765" y="179"/>
                    <a:pt x="721" y="160"/>
                    <a:pt x="675" y="150"/>
                  </a:cubicBezTo>
                  <a:lnTo>
                    <a:pt x="675" y="25"/>
                  </a:lnTo>
                  <a:cubicBezTo>
                    <a:pt x="675" y="11"/>
                    <a:pt x="664" y="0"/>
                    <a:pt x="650" y="0"/>
                  </a:cubicBezTo>
                  <a:lnTo>
                    <a:pt x="500" y="0"/>
                  </a:lnTo>
                  <a:moveTo>
                    <a:pt x="577" y="413"/>
                  </a:moveTo>
                  <a:cubicBezTo>
                    <a:pt x="620" y="413"/>
                    <a:pt x="660" y="430"/>
                    <a:pt x="690" y="460"/>
                  </a:cubicBezTo>
                  <a:cubicBezTo>
                    <a:pt x="753" y="524"/>
                    <a:pt x="753" y="626"/>
                    <a:pt x="690" y="690"/>
                  </a:cubicBezTo>
                  <a:cubicBezTo>
                    <a:pt x="626" y="753"/>
                    <a:pt x="524" y="753"/>
                    <a:pt x="460" y="690"/>
                  </a:cubicBezTo>
                  <a:cubicBezTo>
                    <a:pt x="397" y="626"/>
                    <a:pt x="397" y="524"/>
                    <a:pt x="460" y="460"/>
                  </a:cubicBezTo>
                  <a:cubicBezTo>
                    <a:pt x="491" y="429"/>
                    <a:pt x="533" y="412"/>
                    <a:pt x="577" y="413"/>
                  </a:cubicBezTo>
                </a:path>
              </a:pathLst>
            </a:custGeom>
            <a:noFill/>
            <a:ln w="0">
              <a:solidFill>
                <a:srgbClr val="FFE600"/>
              </a:solidFill>
              <a:prstDash val="solid"/>
              <a:round/>
              <a:headEnd/>
              <a:tailEnd/>
            </a:ln>
          </p:spPr>
          <p:txBody>
            <a:bodyPr vert="horz" wrap="square" lIns="80201" tIns="40100" rIns="80201" bIns="40100" numCol="1" anchor="t" anchorCtr="0" compatLnSpc="1">
              <a:prstTxWarp prst="textNoShape">
                <a:avLst/>
              </a:prstTxWarp>
            </a:bodyPr>
            <a:lstStyle/>
            <a:p>
              <a:pPr defTabSz="802020">
                <a:defRPr/>
              </a:pPr>
              <a:endParaRPr lang="en-US" sz="1579">
                <a:latin typeface="Calibri" panose="020F0502020204030204"/>
              </a:endParaRPr>
            </a:p>
          </p:txBody>
        </p:sp>
      </p:grpSp>
      <p:grpSp>
        <p:nvGrpSpPr>
          <p:cNvPr id="83" name="Analytics3" descr="{&quot;Key&quot;:&quot;POWER_USER_SHAPE_ICON&quot;,&quot;Value&quot;:&quot;POWER_USER_SHAPE_ICON_STYLE_1&quot;}">
            <a:extLst>
              <a:ext uri="{FF2B5EF4-FFF2-40B4-BE49-F238E27FC236}">
                <a16:creationId xmlns:a16="http://schemas.microsoft.com/office/drawing/2014/main" id="{01AC2E0A-BD13-4844-A01A-F4D88586881C}"/>
              </a:ext>
            </a:extLst>
          </p:cNvPr>
          <p:cNvGrpSpPr>
            <a:grpSpLocks noChangeAspect="1"/>
          </p:cNvGrpSpPr>
          <p:nvPr>
            <p:custDataLst>
              <p:tags r:id="rId1"/>
            </p:custDataLst>
          </p:nvPr>
        </p:nvGrpSpPr>
        <p:grpSpPr>
          <a:xfrm>
            <a:off x="8644862" y="2936099"/>
            <a:ext cx="378385" cy="339474"/>
            <a:chOff x="8543926" y="100012"/>
            <a:chExt cx="895350" cy="803275"/>
          </a:xfrm>
          <a:noFill/>
        </p:grpSpPr>
        <p:sp>
          <p:nvSpPr>
            <p:cNvPr id="84" name="Freeform 115">
              <a:extLst>
                <a:ext uri="{FF2B5EF4-FFF2-40B4-BE49-F238E27FC236}">
                  <a16:creationId xmlns:a16="http://schemas.microsoft.com/office/drawing/2014/main" id="{CF6A804B-FC7E-4DAD-9A71-8C6D8B2725A0}"/>
                </a:ext>
              </a:extLst>
            </p:cNvPr>
            <p:cNvSpPr>
              <a:spLocks/>
            </p:cNvSpPr>
            <p:nvPr/>
          </p:nvSpPr>
          <p:spPr bwMode="auto">
            <a:xfrm>
              <a:off x="8801101" y="547687"/>
              <a:ext cx="180975" cy="180975"/>
            </a:xfrm>
            <a:custGeom>
              <a:avLst/>
              <a:gdLst>
                <a:gd name="T0" fmla="*/ 113 w 239"/>
                <a:gd name="T1" fmla="*/ 58 h 237"/>
                <a:gd name="T2" fmla="*/ 217 w 239"/>
                <a:gd name="T3" fmla="*/ 237 h 237"/>
                <a:gd name="T4" fmla="*/ 239 w 239"/>
                <a:gd name="T5" fmla="*/ 171 h 237"/>
                <a:gd name="T6" fmla="*/ 159 w 239"/>
                <a:gd name="T7" fmla="*/ 35 h 237"/>
                <a:gd name="T8" fmla="*/ 98 w 239"/>
                <a:gd name="T9" fmla="*/ 9 h 237"/>
                <a:gd name="T10" fmla="*/ 0 w 239"/>
                <a:gd name="T11" fmla="*/ 49 h 237"/>
                <a:gd name="T12" fmla="*/ 0 w 239"/>
                <a:gd name="T13" fmla="*/ 105 h 237"/>
                <a:gd name="T14" fmla="*/ 113 w 239"/>
                <a:gd name="T15" fmla="*/ 58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7">
                  <a:moveTo>
                    <a:pt x="113" y="58"/>
                  </a:moveTo>
                  <a:lnTo>
                    <a:pt x="217" y="237"/>
                  </a:lnTo>
                  <a:lnTo>
                    <a:pt x="239" y="171"/>
                  </a:lnTo>
                  <a:lnTo>
                    <a:pt x="159" y="35"/>
                  </a:lnTo>
                  <a:cubicBezTo>
                    <a:pt x="145" y="12"/>
                    <a:pt x="118" y="0"/>
                    <a:pt x="98" y="9"/>
                  </a:cubicBezTo>
                  <a:lnTo>
                    <a:pt x="0" y="49"/>
                  </a:lnTo>
                  <a:lnTo>
                    <a:pt x="0" y="105"/>
                  </a:lnTo>
                  <a:lnTo>
                    <a:pt x="113" y="58"/>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5" name="Freeform 116">
              <a:extLst>
                <a:ext uri="{FF2B5EF4-FFF2-40B4-BE49-F238E27FC236}">
                  <a16:creationId xmlns:a16="http://schemas.microsoft.com/office/drawing/2014/main" id="{1B50A8DB-D8CD-4731-83F3-4DA2D298A97B}"/>
                </a:ext>
              </a:extLst>
            </p:cNvPr>
            <p:cNvSpPr>
              <a:spLocks/>
            </p:cNvSpPr>
            <p:nvPr/>
          </p:nvSpPr>
          <p:spPr bwMode="auto">
            <a:xfrm>
              <a:off x="8645526" y="706437"/>
              <a:ext cx="87313" cy="114300"/>
            </a:xfrm>
            <a:custGeom>
              <a:avLst/>
              <a:gdLst>
                <a:gd name="T0" fmla="*/ 60 w 114"/>
                <a:gd name="T1" fmla="*/ 0 h 151"/>
                <a:gd name="T2" fmla="*/ 0 w 114"/>
                <a:gd name="T3" fmla="*/ 0 h 151"/>
                <a:gd name="T4" fmla="*/ 89 w 114"/>
                <a:gd name="T5" fmla="*/ 151 h 151"/>
                <a:gd name="T6" fmla="*/ 114 w 114"/>
                <a:gd name="T7" fmla="*/ 93 h 151"/>
                <a:gd name="T8" fmla="*/ 60 w 114"/>
                <a:gd name="T9" fmla="*/ 0 h 151"/>
              </a:gdLst>
              <a:ahLst/>
              <a:cxnLst>
                <a:cxn ang="0">
                  <a:pos x="T0" y="T1"/>
                </a:cxn>
                <a:cxn ang="0">
                  <a:pos x="T2" y="T3"/>
                </a:cxn>
                <a:cxn ang="0">
                  <a:pos x="T4" y="T5"/>
                </a:cxn>
                <a:cxn ang="0">
                  <a:pos x="T6" y="T7"/>
                </a:cxn>
                <a:cxn ang="0">
                  <a:pos x="T8" y="T9"/>
                </a:cxn>
              </a:cxnLst>
              <a:rect l="0" t="0" r="r" b="b"/>
              <a:pathLst>
                <a:path w="114" h="151">
                  <a:moveTo>
                    <a:pt x="60" y="0"/>
                  </a:moveTo>
                  <a:lnTo>
                    <a:pt x="0" y="0"/>
                  </a:lnTo>
                  <a:lnTo>
                    <a:pt x="89" y="151"/>
                  </a:lnTo>
                  <a:cubicBezTo>
                    <a:pt x="92" y="128"/>
                    <a:pt x="101" y="109"/>
                    <a:pt x="114" y="93"/>
                  </a:cubicBezTo>
                  <a:lnTo>
                    <a:pt x="60" y="0"/>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6" name="Freeform 117">
              <a:extLst>
                <a:ext uri="{FF2B5EF4-FFF2-40B4-BE49-F238E27FC236}">
                  <a16:creationId xmlns:a16="http://schemas.microsoft.com/office/drawing/2014/main" id="{B375B9FC-A190-4823-919E-40CD655F17D7}"/>
                </a:ext>
              </a:extLst>
            </p:cNvPr>
            <p:cNvSpPr>
              <a:spLocks/>
            </p:cNvSpPr>
            <p:nvPr/>
          </p:nvSpPr>
          <p:spPr bwMode="auto">
            <a:xfrm>
              <a:off x="8743951" y="447675"/>
              <a:ext cx="695325" cy="455612"/>
            </a:xfrm>
            <a:custGeom>
              <a:avLst/>
              <a:gdLst>
                <a:gd name="T0" fmla="*/ 616 w 914"/>
                <a:gd name="T1" fmla="*/ 0 h 598"/>
                <a:gd name="T2" fmla="*/ 414 w 914"/>
                <a:gd name="T3" fmla="*/ 134 h 598"/>
                <a:gd name="T4" fmla="*/ 414 w 914"/>
                <a:gd name="T5" fmla="*/ 134 h 598"/>
                <a:gd name="T6" fmla="*/ 323 w 914"/>
                <a:gd name="T7" fmla="*/ 408 h 598"/>
                <a:gd name="T8" fmla="*/ 87 w 914"/>
                <a:gd name="T9" fmla="*/ 431 h 598"/>
                <a:gd name="T10" fmla="*/ 87 w 914"/>
                <a:gd name="T11" fmla="*/ 431 h 598"/>
                <a:gd name="T12" fmla="*/ 0 w 914"/>
                <a:gd name="T13" fmla="*/ 515 h 598"/>
                <a:gd name="T14" fmla="*/ 95 w 914"/>
                <a:gd name="T15" fmla="*/ 598 h 598"/>
                <a:gd name="T16" fmla="*/ 403 w 914"/>
                <a:gd name="T17" fmla="*/ 598 h 598"/>
                <a:gd name="T18" fmla="*/ 504 w 914"/>
                <a:gd name="T19" fmla="*/ 528 h 598"/>
                <a:gd name="T20" fmla="*/ 616 w 914"/>
                <a:gd name="T21" fmla="*/ 296 h 598"/>
                <a:gd name="T22" fmla="*/ 674 w 914"/>
                <a:gd name="T23" fmla="*/ 311 h 598"/>
                <a:gd name="T24" fmla="*/ 547 w 914"/>
                <a:gd name="T25" fmla="*/ 569 h 598"/>
                <a:gd name="T26" fmla="*/ 914 w 914"/>
                <a:gd name="T27" fmla="*/ 569 h 598"/>
                <a:gd name="T28" fmla="*/ 872 w 914"/>
                <a:gd name="T29" fmla="*/ 219 h 598"/>
                <a:gd name="T30" fmla="*/ 616 w 914"/>
                <a:gd name="T3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4" h="598">
                  <a:moveTo>
                    <a:pt x="616" y="0"/>
                  </a:moveTo>
                  <a:cubicBezTo>
                    <a:pt x="519" y="0"/>
                    <a:pt x="442" y="55"/>
                    <a:pt x="414" y="134"/>
                  </a:cubicBezTo>
                  <a:lnTo>
                    <a:pt x="414" y="134"/>
                  </a:lnTo>
                  <a:lnTo>
                    <a:pt x="323" y="408"/>
                  </a:lnTo>
                  <a:lnTo>
                    <a:pt x="87" y="431"/>
                  </a:lnTo>
                  <a:lnTo>
                    <a:pt x="87" y="431"/>
                  </a:lnTo>
                  <a:cubicBezTo>
                    <a:pt x="39" y="432"/>
                    <a:pt x="0" y="455"/>
                    <a:pt x="0" y="515"/>
                  </a:cubicBezTo>
                  <a:cubicBezTo>
                    <a:pt x="0" y="569"/>
                    <a:pt x="35" y="598"/>
                    <a:pt x="95" y="598"/>
                  </a:cubicBezTo>
                  <a:lnTo>
                    <a:pt x="403" y="598"/>
                  </a:lnTo>
                  <a:cubicBezTo>
                    <a:pt x="448" y="598"/>
                    <a:pt x="482" y="573"/>
                    <a:pt x="504" y="528"/>
                  </a:cubicBezTo>
                  <a:cubicBezTo>
                    <a:pt x="534" y="467"/>
                    <a:pt x="585" y="362"/>
                    <a:pt x="616" y="296"/>
                  </a:cubicBezTo>
                  <a:lnTo>
                    <a:pt x="674" y="311"/>
                  </a:lnTo>
                  <a:lnTo>
                    <a:pt x="547" y="569"/>
                  </a:lnTo>
                  <a:lnTo>
                    <a:pt x="914" y="569"/>
                  </a:lnTo>
                  <a:lnTo>
                    <a:pt x="872" y="219"/>
                  </a:lnTo>
                  <a:cubicBezTo>
                    <a:pt x="860" y="98"/>
                    <a:pt x="746" y="0"/>
                    <a:pt x="616" y="0"/>
                  </a:cubicBez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7" name="Rectangle 118">
              <a:extLst>
                <a:ext uri="{FF2B5EF4-FFF2-40B4-BE49-F238E27FC236}">
                  <a16:creationId xmlns:a16="http://schemas.microsoft.com/office/drawing/2014/main" id="{699CE707-4936-4DD3-B7B2-CE413D1F6CCC}"/>
                </a:ext>
              </a:extLst>
            </p:cNvPr>
            <p:cNvSpPr>
              <a:spLocks noChangeArrowheads="1"/>
            </p:cNvSpPr>
            <p:nvPr/>
          </p:nvSpPr>
          <p:spPr bwMode="auto">
            <a:xfrm>
              <a:off x="8543926" y="536575"/>
              <a:ext cx="49213" cy="138113"/>
            </a:xfrm>
            <a:prstGeom prst="rect">
              <a:avLst/>
            </a:prstGeom>
            <a:grpFill/>
            <a:ln w="9525">
              <a:solidFill>
                <a:srgbClr val="FFE600"/>
              </a:solidFill>
              <a:miter lim="800000"/>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8" name="Rectangle 119">
              <a:extLst>
                <a:ext uri="{FF2B5EF4-FFF2-40B4-BE49-F238E27FC236}">
                  <a16:creationId xmlns:a16="http://schemas.microsoft.com/office/drawing/2014/main" id="{727E3D6A-E6E9-4D70-98F7-DC0EBE19EF12}"/>
                </a:ext>
              </a:extLst>
            </p:cNvPr>
            <p:cNvSpPr>
              <a:spLocks noChangeArrowheads="1"/>
            </p:cNvSpPr>
            <p:nvPr/>
          </p:nvSpPr>
          <p:spPr bwMode="auto">
            <a:xfrm>
              <a:off x="8631238" y="444500"/>
              <a:ext cx="49213" cy="230188"/>
            </a:xfrm>
            <a:prstGeom prst="rect">
              <a:avLst/>
            </a:prstGeom>
            <a:grpFill/>
            <a:ln w="9525">
              <a:solidFill>
                <a:srgbClr val="FFE600"/>
              </a:solidFill>
              <a:miter lim="800000"/>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89" name="Rectangle 120">
              <a:extLst>
                <a:ext uri="{FF2B5EF4-FFF2-40B4-BE49-F238E27FC236}">
                  <a16:creationId xmlns:a16="http://schemas.microsoft.com/office/drawing/2014/main" id="{8849631B-9494-46B8-A27C-8BA7BCBDC4E4}"/>
                </a:ext>
              </a:extLst>
            </p:cNvPr>
            <p:cNvSpPr>
              <a:spLocks noChangeArrowheads="1"/>
            </p:cNvSpPr>
            <p:nvPr/>
          </p:nvSpPr>
          <p:spPr bwMode="auto">
            <a:xfrm>
              <a:off x="8718551" y="503237"/>
              <a:ext cx="49213" cy="171450"/>
            </a:xfrm>
            <a:prstGeom prst="rect">
              <a:avLst/>
            </a:prstGeom>
            <a:grpFill/>
            <a:ln w="9525">
              <a:solidFill>
                <a:srgbClr val="FFE600"/>
              </a:solidFill>
              <a:miter lim="800000"/>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90" name="Oval 121">
              <a:extLst>
                <a:ext uri="{FF2B5EF4-FFF2-40B4-BE49-F238E27FC236}">
                  <a16:creationId xmlns:a16="http://schemas.microsoft.com/office/drawing/2014/main" id="{6AD541C3-4EE6-4956-839D-802FF86398E2}"/>
                </a:ext>
              </a:extLst>
            </p:cNvPr>
            <p:cNvSpPr>
              <a:spLocks noChangeArrowheads="1"/>
            </p:cNvSpPr>
            <p:nvPr/>
          </p:nvSpPr>
          <p:spPr bwMode="auto">
            <a:xfrm>
              <a:off x="8956676" y="100012"/>
              <a:ext cx="327025" cy="327025"/>
            </a:xfrm>
            <a:prstGeom prst="ellipse">
              <a:avLst/>
            </a:pr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sp>
        <p:nvSpPr>
          <p:cNvPr id="91" name="TextBox 90">
            <a:extLst>
              <a:ext uri="{FF2B5EF4-FFF2-40B4-BE49-F238E27FC236}">
                <a16:creationId xmlns:a16="http://schemas.microsoft.com/office/drawing/2014/main" id="{ADBB9319-C8F1-4782-8525-F8ABA7E52206}"/>
              </a:ext>
            </a:extLst>
          </p:cNvPr>
          <p:cNvSpPr txBox="1"/>
          <p:nvPr/>
        </p:nvSpPr>
        <p:spPr>
          <a:xfrm>
            <a:off x="9793419" y="3879775"/>
            <a:ext cx="1117045" cy="282129"/>
          </a:xfrm>
          <a:prstGeom prst="rect">
            <a:avLst/>
          </a:prstGeom>
          <a:noFill/>
        </p:spPr>
        <p:txBody>
          <a:bodyPr wrap="square" lIns="0" tIns="0" rIns="0" bIns="0" rtlCol="0">
            <a:spAutoFit/>
          </a:bodyPr>
          <a:lstStyle/>
          <a:p>
            <a:pPr algn="ctr" defTabSz="893918">
              <a:lnSpc>
                <a:spcPts val="1053"/>
              </a:lnSpc>
              <a:spcAft>
                <a:spcPts val="526"/>
              </a:spcAft>
              <a:buClr>
                <a:srgbClr val="2E2E38"/>
              </a:buClr>
              <a:buSzPct val="70000"/>
              <a:defRPr/>
            </a:pPr>
            <a:r>
              <a:rPr lang="en-IE" sz="921" b="1" kern="0">
                <a:latin typeface="EYInterstate Light"/>
              </a:rPr>
              <a:t>Security Operations Centre</a:t>
            </a:r>
          </a:p>
        </p:txBody>
      </p:sp>
      <p:sp>
        <p:nvSpPr>
          <p:cNvPr id="92" name="TextBox 91">
            <a:extLst>
              <a:ext uri="{FF2B5EF4-FFF2-40B4-BE49-F238E27FC236}">
                <a16:creationId xmlns:a16="http://schemas.microsoft.com/office/drawing/2014/main" id="{8F169D3B-5BF2-4415-B953-8465B75203E8}"/>
              </a:ext>
            </a:extLst>
          </p:cNvPr>
          <p:cNvSpPr txBox="1"/>
          <p:nvPr/>
        </p:nvSpPr>
        <p:spPr>
          <a:xfrm>
            <a:off x="10240497" y="3317202"/>
            <a:ext cx="678714"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SAP</a:t>
            </a:r>
          </a:p>
        </p:txBody>
      </p:sp>
      <p:sp>
        <p:nvSpPr>
          <p:cNvPr id="93" name="TextBox 92">
            <a:extLst>
              <a:ext uri="{FF2B5EF4-FFF2-40B4-BE49-F238E27FC236}">
                <a16:creationId xmlns:a16="http://schemas.microsoft.com/office/drawing/2014/main" id="{2A7F5B53-4DBC-4F93-B2DA-B63C3DF83F2D}"/>
              </a:ext>
            </a:extLst>
          </p:cNvPr>
          <p:cNvSpPr txBox="1"/>
          <p:nvPr/>
        </p:nvSpPr>
        <p:spPr>
          <a:xfrm>
            <a:off x="5449423" y="3306533"/>
            <a:ext cx="828071"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 App Support</a:t>
            </a:r>
          </a:p>
        </p:txBody>
      </p:sp>
      <p:grpSp>
        <p:nvGrpSpPr>
          <p:cNvPr id="94" name="Code_implementation" descr="{&quot;Key&quot;:&quot;POWER_USER_SHAPE_ICON&quot;,&quot;Value&quot;:&quot;POWER_USER_SHAPE_ICON_STYLE_1&quot;}">
            <a:extLst>
              <a:ext uri="{FF2B5EF4-FFF2-40B4-BE49-F238E27FC236}">
                <a16:creationId xmlns:a16="http://schemas.microsoft.com/office/drawing/2014/main" id="{BB66C615-D915-45CF-8076-54C218C2A88F}"/>
              </a:ext>
            </a:extLst>
          </p:cNvPr>
          <p:cNvGrpSpPr>
            <a:grpSpLocks noChangeAspect="1"/>
          </p:cNvGrpSpPr>
          <p:nvPr>
            <p:custDataLst>
              <p:tags r:id="rId2"/>
            </p:custDataLst>
          </p:nvPr>
        </p:nvGrpSpPr>
        <p:grpSpPr>
          <a:xfrm>
            <a:off x="5600617" y="2967927"/>
            <a:ext cx="378383" cy="292977"/>
            <a:chOff x="7613650" y="384175"/>
            <a:chExt cx="1062038" cy="822326"/>
          </a:xfrm>
          <a:noFill/>
        </p:grpSpPr>
        <p:sp>
          <p:nvSpPr>
            <p:cNvPr id="95" name="Freeform 261">
              <a:extLst>
                <a:ext uri="{FF2B5EF4-FFF2-40B4-BE49-F238E27FC236}">
                  <a16:creationId xmlns:a16="http://schemas.microsoft.com/office/drawing/2014/main" id="{AD904FC6-4097-4F60-A0B3-9DCCD4074A61}"/>
                </a:ext>
              </a:extLst>
            </p:cNvPr>
            <p:cNvSpPr>
              <a:spLocks/>
            </p:cNvSpPr>
            <p:nvPr/>
          </p:nvSpPr>
          <p:spPr bwMode="auto">
            <a:xfrm>
              <a:off x="7613650" y="490538"/>
              <a:ext cx="330200" cy="463550"/>
            </a:xfrm>
            <a:custGeom>
              <a:avLst/>
              <a:gdLst>
                <a:gd name="T0" fmla="*/ 0 w 208"/>
                <a:gd name="T1" fmla="*/ 177 h 292"/>
                <a:gd name="T2" fmla="*/ 208 w 208"/>
                <a:gd name="T3" fmla="*/ 292 h 292"/>
                <a:gd name="T4" fmla="*/ 208 w 208"/>
                <a:gd name="T5" fmla="*/ 210 h 292"/>
                <a:gd name="T6" fmla="*/ 84 w 208"/>
                <a:gd name="T7" fmla="*/ 146 h 292"/>
                <a:gd name="T8" fmla="*/ 208 w 208"/>
                <a:gd name="T9" fmla="*/ 83 h 292"/>
                <a:gd name="T10" fmla="*/ 208 w 208"/>
                <a:gd name="T11" fmla="*/ 0 h 292"/>
                <a:gd name="T12" fmla="*/ 0 w 208"/>
                <a:gd name="T13" fmla="*/ 116 h 292"/>
                <a:gd name="T14" fmla="*/ 0 w 208"/>
                <a:gd name="T15" fmla="*/ 177 h 2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292">
                  <a:moveTo>
                    <a:pt x="0" y="177"/>
                  </a:moveTo>
                  <a:lnTo>
                    <a:pt x="208" y="292"/>
                  </a:lnTo>
                  <a:lnTo>
                    <a:pt x="208" y="210"/>
                  </a:lnTo>
                  <a:lnTo>
                    <a:pt x="84" y="146"/>
                  </a:lnTo>
                  <a:lnTo>
                    <a:pt x="208" y="83"/>
                  </a:lnTo>
                  <a:lnTo>
                    <a:pt x="208" y="0"/>
                  </a:lnTo>
                  <a:lnTo>
                    <a:pt x="0" y="116"/>
                  </a:lnTo>
                  <a:lnTo>
                    <a:pt x="0" y="177"/>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96" name="Freeform 262">
              <a:extLst>
                <a:ext uri="{FF2B5EF4-FFF2-40B4-BE49-F238E27FC236}">
                  <a16:creationId xmlns:a16="http://schemas.microsoft.com/office/drawing/2014/main" id="{959AD5F7-EC73-4102-ACDA-59167BFBCAAA}"/>
                </a:ext>
              </a:extLst>
            </p:cNvPr>
            <p:cNvSpPr>
              <a:spLocks/>
            </p:cNvSpPr>
            <p:nvPr/>
          </p:nvSpPr>
          <p:spPr bwMode="auto">
            <a:xfrm>
              <a:off x="8004175" y="384175"/>
              <a:ext cx="225425" cy="590550"/>
            </a:xfrm>
            <a:custGeom>
              <a:avLst/>
              <a:gdLst>
                <a:gd name="T0" fmla="*/ 77 w 142"/>
                <a:gd name="T1" fmla="*/ 0 h 372"/>
                <a:gd name="T2" fmla="*/ 0 w 142"/>
                <a:gd name="T3" fmla="*/ 372 h 372"/>
                <a:gd name="T4" fmla="*/ 66 w 142"/>
                <a:gd name="T5" fmla="*/ 372 h 372"/>
                <a:gd name="T6" fmla="*/ 142 w 142"/>
                <a:gd name="T7" fmla="*/ 0 h 372"/>
                <a:gd name="T8" fmla="*/ 77 w 142"/>
                <a:gd name="T9" fmla="*/ 0 h 372"/>
              </a:gdLst>
              <a:ahLst/>
              <a:cxnLst>
                <a:cxn ang="0">
                  <a:pos x="T0" y="T1"/>
                </a:cxn>
                <a:cxn ang="0">
                  <a:pos x="T2" y="T3"/>
                </a:cxn>
                <a:cxn ang="0">
                  <a:pos x="T4" y="T5"/>
                </a:cxn>
                <a:cxn ang="0">
                  <a:pos x="T6" y="T7"/>
                </a:cxn>
                <a:cxn ang="0">
                  <a:pos x="T8" y="T9"/>
                </a:cxn>
              </a:cxnLst>
              <a:rect l="0" t="0" r="r" b="b"/>
              <a:pathLst>
                <a:path w="142" h="372">
                  <a:moveTo>
                    <a:pt x="77" y="0"/>
                  </a:moveTo>
                  <a:lnTo>
                    <a:pt x="0" y="372"/>
                  </a:lnTo>
                  <a:lnTo>
                    <a:pt x="66" y="372"/>
                  </a:lnTo>
                  <a:lnTo>
                    <a:pt x="142" y="0"/>
                  </a:lnTo>
                  <a:lnTo>
                    <a:pt x="77" y="0"/>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97" name="Freeform 263">
              <a:extLst>
                <a:ext uri="{FF2B5EF4-FFF2-40B4-BE49-F238E27FC236}">
                  <a16:creationId xmlns:a16="http://schemas.microsoft.com/office/drawing/2014/main" id="{5865BF9E-2804-4059-9746-5D168A490361}"/>
                </a:ext>
              </a:extLst>
            </p:cNvPr>
            <p:cNvSpPr>
              <a:spLocks/>
            </p:cNvSpPr>
            <p:nvPr/>
          </p:nvSpPr>
          <p:spPr bwMode="auto">
            <a:xfrm>
              <a:off x="8275638" y="490538"/>
              <a:ext cx="331788" cy="401638"/>
            </a:xfrm>
            <a:custGeom>
              <a:avLst/>
              <a:gdLst>
                <a:gd name="T0" fmla="*/ 32 w 551"/>
                <a:gd name="T1" fmla="*/ 619 h 666"/>
                <a:gd name="T2" fmla="*/ 61 w 551"/>
                <a:gd name="T3" fmla="*/ 613 h 666"/>
                <a:gd name="T4" fmla="*/ 140 w 551"/>
                <a:gd name="T5" fmla="*/ 653 h 666"/>
                <a:gd name="T6" fmla="*/ 147 w 551"/>
                <a:gd name="T7" fmla="*/ 666 h 666"/>
                <a:gd name="T8" fmla="*/ 159 w 551"/>
                <a:gd name="T9" fmla="*/ 656 h 666"/>
                <a:gd name="T10" fmla="*/ 238 w 551"/>
                <a:gd name="T11" fmla="*/ 640 h 666"/>
                <a:gd name="T12" fmla="*/ 256 w 551"/>
                <a:gd name="T13" fmla="*/ 630 h 666"/>
                <a:gd name="T14" fmla="*/ 259 w 551"/>
                <a:gd name="T15" fmla="*/ 569 h 666"/>
                <a:gd name="T16" fmla="*/ 273 w 551"/>
                <a:gd name="T17" fmla="*/ 542 h 666"/>
                <a:gd name="T18" fmla="*/ 291 w 551"/>
                <a:gd name="T19" fmla="*/ 516 h 666"/>
                <a:gd name="T20" fmla="*/ 354 w 551"/>
                <a:gd name="T21" fmla="*/ 486 h 666"/>
                <a:gd name="T22" fmla="*/ 374 w 551"/>
                <a:gd name="T23" fmla="*/ 489 h 666"/>
                <a:gd name="T24" fmla="*/ 386 w 551"/>
                <a:gd name="T25" fmla="*/ 492 h 666"/>
                <a:gd name="T26" fmla="*/ 389 w 551"/>
                <a:gd name="T27" fmla="*/ 490 h 666"/>
                <a:gd name="T28" fmla="*/ 393 w 551"/>
                <a:gd name="T29" fmla="*/ 479 h 666"/>
                <a:gd name="T30" fmla="*/ 462 w 551"/>
                <a:gd name="T31" fmla="*/ 424 h 666"/>
                <a:gd name="T32" fmla="*/ 492 w 551"/>
                <a:gd name="T33" fmla="*/ 424 h 666"/>
                <a:gd name="T34" fmla="*/ 523 w 551"/>
                <a:gd name="T35" fmla="*/ 426 h 666"/>
                <a:gd name="T36" fmla="*/ 551 w 551"/>
                <a:gd name="T37" fmla="*/ 436 h 666"/>
                <a:gd name="T38" fmla="*/ 551 w 551"/>
                <a:gd name="T39" fmla="*/ 300 h 666"/>
                <a:gd name="T40" fmla="*/ 0 w 551"/>
                <a:gd name="T41" fmla="*/ 0 h 666"/>
                <a:gd name="T42" fmla="*/ 0 w 551"/>
                <a:gd name="T43" fmla="*/ 217 h 666"/>
                <a:gd name="T44" fmla="*/ 338 w 551"/>
                <a:gd name="T45" fmla="*/ 385 h 666"/>
                <a:gd name="T46" fmla="*/ 0 w 551"/>
                <a:gd name="T47" fmla="*/ 552 h 666"/>
                <a:gd name="T48" fmla="*/ 0 w 551"/>
                <a:gd name="T49" fmla="*/ 628 h 666"/>
                <a:gd name="T50" fmla="*/ 1 w 551"/>
                <a:gd name="T51" fmla="*/ 628 h 666"/>
                <a:gd name="T52" fmla="*/ 32 w 551"/>
                <a:gd name="T53" fmla="*/ 61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1" h="666">
                  <a:moveTo>
                    <a:pt x="32" y="619"/>
                  </a:moveTo>
                  <a:cubicBezTo>
                    <a:pt x="41" y="617"/>
                    <a:pt x="51" y="615"/>
                    <a:pt x="61" y="613"/>
                  </a:cubicBezTo>
                  <a:cubicBezTo>
                    <a:pt x="91" y="609"/>
                    <a:pt x="124" y="626"/>
                    <a:pt x="140" y="653"/>
                  </a:cubicBezTo>
                  <a:lnTo>
                    <a:pt x="147" y="666"/>
                  </a:lnTo>
                  <a:lnTo>
                    <a:pt x="159" y="656"/>
                  </a:lnTo>
                  <a:cubicBezTo>
                    <a:pt x="179" y="637"/>
                    <a:pt x="212" y="631"/>
                    <a:pt x="238" y="640"/>
                  </a:cubicBezTo>
                  <a:lnTo>
                    <a:pt x="256" y="630"/>
                  </a:lnTo>
                  <a:cubicBezTo>
                    <a:pt x="249" y="610"/>
                    <a:pt x="249" y="588"/>
                    <a:pt x="259" y="569"/>
                  </a:cubicBezTo>
                  <a:cubicBezTo>
                    <a:pt x="263" y="559"/>
                    <a:pt x="268" y="550"/>
                    <a:pt x="273" y="542"/>
                  </a:cubicBezTo>
                  <a:cubicBezTo>
                    <a:pt x="278" y="533"/>
                    <a:pt x="285" y="525"/>
                    <a:pt x="291" y="516"/>
                  </a:cubicBezTo>
                  <a:cubicBezTo>
                    <a:pt x="305" y="498"/>
                    <a:pt x="329" y="486"/>
                    <a:pt x="354" y="486"/>
                  </a:cubicBezTo>
                  <a:cubicBezTo>
                    <a:pt x="361" y="486"/>
                    <a:pt x="368" y="487"/>
                    <a:pt x="374" y="489"/>
                  </a:cubicBezTo>
                  <a:lnTo>
                    <a:pt x="386" y="492"/>
                  </a:lnTo>
                  <a:cubicBezTo>
                    <a:pt x="387" y="491"/>
                    <a:pt x="388" y="491"/>
                    <a:pt x="389" y="490"/>
                  </a:cubicBezTo>
                  <a:lnTo>
                    <a:pt x="393" y="479"/>
                  </a:lnTo>
                  <a:cubicBezTo>
                    <a:pt x="403" y="449"/>
                    <a:pt x="431" y="426"/>
                    <a:pt x="462" y="424"/>
                  </a:cubicBezTo>
                  <a:cubicBezTo>
                    <a:pt x="472" y="424"/>
                    <a:pt x="482" y="423"/>
                    <a:pt x="492" y="424"/>
                  </a:cubicBezTo>
                  <a:cubicBezTo>
                    <a:pt x="502" y="424"/>
                    <a:pt x="513" y="425"/>
                    <a:pt x="523" y="426"/>
                  </a:cubicBezTo>
                  <a:cubicBezTo>
                    <a:pt x="533" y="428"/>
                    <a:pt x="542" y="431"/>
                    <a:pt x="551" y="436"/>
                  </a:cubicBezTo>
                  <a:lnTo>
                    <a:pt x="551" y="300"/>
                  </a:lnTo>
                  <a:lnTo>
                    <a:pt x="0" y="0"/>
                  </a:lnTo>
                  <a:lnTo>
                    <a:pt x="0" y="217"/>
                  </a:lnTo>
                  <a:lnTo>
                    <a:pt x="338" y="385"/>
                  </a:lnTo>
                  <a:lnTo>
                    <a:pt x="0" y="552"/>
                  </a:lnTo>
                  <a:lnTo>
                    <a:pt x="0" y="628"/>
                  </a:lnTo>
                  <a:cubicBezTo>
                    <a:pt x="1" y="628"/>
                    <a:pt x="1" y="628"/>
                    <a:pt x="1" y="628"/>
                  </a:cubicBezTo>
                  <a:cubicBezTo>
                    <a:pt x="12" y="624"/>
                    <a:pt x="22" y="621"/>
                    <a:pt x="32" y="619"/>
                  </a:cubicBez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98" name="Freeform 264">
              <a:extLst>
                <a:ext uri="{FF2B5EF4-FFF2-40B4-BE49-F238E27FC236}">
                  <a16:creationId xmlns:a16="http://schemas.microsoft.com/office/drawing/2014/main" id="{8EFD04B4-180A-453D-8D4E-C1C07A2CDBF3}"/>
                </a:ext>
              </a:extLst>
            </p:cNvPr>
            <p:cNvSpPr>
              <a:spLocks noEditPoints="1"/>
            </p:cNvSpPr>
            <p:nvPr/>
          </p:nvSpPr>
          <p:spPr bwMode="auto">
            <a:xfrm>
              <a:off x="8181975" y="893763"/>
              <a:ext cx="312738" cy="312738"/>
            </a:xfrm>
            <a:custGeom>
              <a:avLst/>
              <a:gdLst>
                <a:gd name="T0" fmla="*/ 349 w 518"/>
                <a:gd name="T1" fmla="*/ 316 h 518"/>
                <a:gd name="T2" fmla="*/ 203 w 518"/>
                <a:gd name="T3" fmla="*/ 351 h 518"/>
                <a:gd name="T4" fmla="*/ 168 w 518"/>
                <a:gd name="T5" fmla="*/ 204 h 518"/>
                <a:gd name="T6" fmla="*/ 362 w 518"/>
                <a:gd name="T7" fmla="*/ 286 h 518"/>
                <a:gd name="T8" fmla="*/ 506 w 518"/>
                <a:gd name="T9" fmla="*/ 176 h 518"/>
                <a:gd name="T10" fmla="*/ 504 w 518"/>
                <a:gd name="T11" fmla="*/ 172 h 518"/>
                <a:gd name="T12" fmla="*/ 501 w 518"/>
                <a:gd name="T13" fmla="*/ 169 h 518"/>
                <a:gd name="T14" fmla="*/ 487 w 518"/>
                <a:gd name="T15" fmla="*/ 163 h 518"/>
                <a:gd name="T16" fmla="*/ 446 w 518"/>
                <a:gd name="T17" fmla="*/ 159 h 518"/>
                <a:gd name="T18" fmla="*/ 419 w 518"/>
                <a:gd name="T19" fmla="*/ 130 h 518"/>
                <a:gd name="T20" fmla="*/ 414 w 518"/>
                <a:gd name="T21" fmla="*/ 106 h 518"/>
                <a:gd name="T22" fmla="*/ 416 w 518"/>
                <a:gd name="T23" fmla="*/ 52 h 518"/>
                <a:gd name="T24" fmla="*/ 395 w 518"/>
                <a:gd name="T25" fmla="*/ 37 h 518"/>
                <a:gd name="T26" fmla="*/ 352 w 518"/>
                <a:gd name="T27" fmla="*/ 29 h 518"/>
                <a:gd name="T28" fmla="*/ 302 w 518"/>
                <a:gd name="T29" fmla="*/ 58 h 518"/>
                <a:gd name="T30" fmla="*/ 260 w 518"/>
                <a:gd name="T31" fmla="*/ 42 h 518"/>
                <a:gd name="T32" fmla="*/ 243 w 518"/>
                <a:gd name="T33" fmla="*/ 12 h 518"/>
                <a:gd name="T34" fmla="*/ 199 w 518"/>
                <a:gd name="T35" fmla="*/ 6 h 518"/>
                <a:gd name="T36" fmla="*/ 162 w 518"/>
                <a:gd name="T37" fmla="*/ 31 h 518"/>
                <a:gd name="T38" fmla="*/ 154 w 518"/>
                <a:gd name="T39" fmla="*/ 79 h 518"/>
                <a:gd name="T40" fmla="*/ 129 w 518"/>
                <a:gd name="T41" fmla="*/ 99 h 518"/>
                <a:gd name="T42" fmla="*/ 73 w 518"/>
                <a:gd name="T43" fmla="*/ 95 h 518"/>
                <a:gd name="T44" fmla="*/ 37 w 518"/>
                <a:gd name="T45" fmla="*/ 123 h 518"/>
                <a:gd name="T46" fmla="*/ 29 w 518"/>
                <a:gd name="T47" fmla="*/ 167 h 518"/>
                <a:gd name="T48" fmla="*/ 59 w 518"/>
                <a:gd name="T49" fmla="*/ 207 h 518"/>
                <a:gd name="T50" fmla="*/ 53 w 518"/>
                <a:gd name="T51" fmla="*/ 238 h 518"/>
                <a:gd name="T52" fmla="*/ 11 w 518"/>
                <a:gd name="T53" fmla="*/ 275 h 518"/>
                <a:gd name="T54" fmla="*/ 5 w 518"/>
                <a:gd name="T55" fmla="*/ 319 h 518"/>
                <a:gd name="T56" fmla="*/ 12 w 518"/>
                <a:gd name="T57" fmla="*/ 343 h 518"/>
                <a:gd name="T58" fmla="*/ 14 w 518"/>
                <a:gd name="T59" fmla="*/ 348 h 518"/>
                <a:gd name="T60" fmla="*/ 31 w 518"/>
                <a:gd name="T61" fmla="*/ 357 h 518"/>
                <a:gd name="T62" fmla="*/ 84 w 518"/>
                <a:gd name="T63" fmla="*/ 371 h 518"/>
                <a:gd name="T64" fmla="*/ 103 w 518"/>
                <a:gd name="T65" fmla="*/ 414 h 518"/>
                <a:gd name="T66" fmla="*/ 102 w 518"/>
                <a:gd name="T67" fmla="*/ 468 h 518"/>
                <a:gd name="T68" fmla="*/ 143 w 518"/>
                <a:gd name="T69" fmla="*/ 493 h 518"/>
                <a:gd name="T70" fmla="*/ 190 w 518"/>
                <a:gd name="T71" fmla="*/ 468 h 518"/>
                <a:gd name="T72" fmla="*/ 238 w 518"/>
                <a:gd name="T73" fmla="*/ 466 h 518"/>
                <a:gd name="T74" fmla="*/ 274 w 518"/>
                <a:gd name="T75" fmla="*/ 507 h 518"/>
                <a:gd name="T76" fmla="*/ 319 w 518"/>
                <a:gd name="T77" fmla="*/ 513 h 518"/>
                <a:gd name="T78" fmla="*/ 356 w 518"/>
                <a:gd name="T79" fmla="*/ 488 h 518"/>
                <a:gd name="T80" fmla="*/ 370 w 518"/>
                <a:gd name="T81" fmla="*/ 435 h 518"/>
                <a:gd name="T82" fmla="*/ 413 w 518"/>
                <a:gd name="T83" fmla="*/ 415 h 518"/>
                <a:gd name="T84" fmla="*/ 467 w 518"/>
                <a:gd name="T85" fmla="*/ 417 h 518"/>
                <a:gd name="T86" fmla="*/ 492 w 518"/>
                <a:gd name="T87" fmla="*/ 375 h 518"/>
                <a:gd name="T88" fmla="*/ 467 w 518"/>
                <a:gd name="T89" fmla="*/ 328 h 518"/>
                <a:gd name="T90" fmla="*/ 460 w 518"/>
                <a:gd name="T91" fmla="*/ 309 h 518"/>
                <a:gd name="T92" fmla="*/ 478 w 518"/>
                <a:gd name="T93" fmla="*/ 261 h 518"/>
                <a:gd name="T94" fmla="*/ 517 w 518"/>
                <a:gd name="T95" fmla="*/ 224 h 518"/>
                <a:gd name="T96" fmla="*/ 507 w 518"/>
                <a:gd name="T97" fmla="*/ 18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8" h="518">
                  <a:moveTo>
                    <a:pt x="362" y="286"/>
                  </a:moveTo>
                  <a:cubicBezTo>
                    <a:pt x="360" y="296"/>
                    <a:pt x="355" y="307"/>
                    <a:pt x="349" y="316"/>
                  </a:cubicBezTo>
                  <a:cubicBezTo>
                    <a:pt x="334" y="341"/>
                    <a:pt x="311" y="358"/>
                    <a:pt x="283" y="364"/>
                  </a:cubicBezTo>
                  <a:cubicBezTo>
                    <a:pt x="256" y="371"/>
                    <a:pt x="227" y="366"/>
                    <a:pt x="203" y="351"/>
                  </a:cubicBezTo>
                  <a:cubicBezTo>
                    <a:pt x="163" y="327"/>
                    <a:pt x="144" y="280"/>
                    <a:pt x="155" y="235"/>
                  </a:cubicBezTo>
                  <a:cubicBezTo>
                    <a:pt x="158" y="224"/>
                    <a:pt x="162" y="214"/>
                    <a:pt x="168" y="204"/>
                  </a:cubicBezTo>
                  <a:cubicBezTo>
                    <a:pt x="199" y="154"/>
                    <a:pt x="265" y="139"/>
                    <a:pt x="315" y="170"/>
                  </a:cubicBezTo>
                  <a:cubicBezTo>
                    <a:pt x="354" y="194"/>
                    <a:pt x="373" y="241"/>
                    <a:pt x="362" y="286"/>
                  </a:cubicBezTo>
                  <a:close/>
                  <a:moveTo>
                    <a:pt x="507" y="180"/>
                  </a:moveTo>
                  <a:cubicBezTo>
                    <a:pt x="507" y="179"/>
                    <a:pt x="506" y="178"/>
                    <a:pt x="506" y="176"/>
                  </a:cubicBezTo>
                  <a:cubicBezTo>
                    <a:pt x="505" y="175"/>
                    <a:pt x="505" y="174"/>
                    <a:pt x="505" y="174"/>
                  </a:cubicBezTo>
                  <a:cubicBezTo>
                    <a:pt x="504" y="173"/>
                    <a:pt x="504" y="172"/>
                    <a:pt x="504" y="172"/>
                  </a:cubicBezTo>
                  <a:cubicBezTo>
                    <a:pt x="503" y="172"/>
                    <a:pt x="503" y="171"/>
                    <a:pt x="503" y="171"/>
                  </a:cubicBezTo>
                  <a:cubicBezTo>
                    <a:pt x="503" y="171"/>
                    <a:pt x="502" y="170"/>
                    <a:pt x="501" y="169"/>
                  </a:cubicBezTo>
                  <a:lnTo>
                    <a:pt x="501" y="169"/>
                  </a:lnTo>
                  <a:cubicBezTo>
                    <a:pt x="497" y="165"/>
                    <a:pt x="492" y="163"/>
                    <a:pt x="487" y="163"/>
                  </a:cubicBezTo>
                  <a:lnTo>
                    <a:pt x="453" y="161"/>
                  </a:lnTo>
                  <a:cubicBezTo>
                    <a:pt x="451" y="160"/>
                    <a:pt x="448" y="160"/>
                    <a:pt x="446" y="159"/>
                  </a:cubicBezTo>
                  <a:cubicBezTo>
                    <a:pt x="440" y="156"/>
                    <a:pt x="435" y="152"/>
                    <a:pt x="433" y="148"/>
                  </a:cubicBezTo>
                  <a:cubicBezTo>
                    <a:pt x="429" y="142"/>
                    <a:pt x="424" y="136"/>
                    <a:pt x="419" y="130"/>
                  </a:cubicBezTo>
                  <a:cubicBezTo>
                    <a:pt x="415" y="125"/>
                    <a:pt x="413" y="115"/>
                    <a:pt x="414" y="108"/>
                  </a:cubicBezTo>
                  <a:cubicBezTo>
                    <a:pt x="414" y="108"/>
                    <a:pt x="414" y="107"/>
                    <a:pt x="414" y="106"/>
                  </a:cubicBezTo>
                  <a:lnTo>
                    <a:pt x="423" y="74"/>
                  </a:lnTo>
                  <a:cubicBezTo>
                    <a:pt x="425" y="66"/>
                    <a:pt x="422" y="56"/>
                    <a:pt x="416" y="52"/>
                  </a:cubicBezTo>
                  <a:cubicBezTo>
                    <a:pt x="412" y="49"/>
                    <a:pt x="408" y="46"/>
                    <a:pt x="404" y="44"/>
                  </a:cubicBezTo>
                  <a:cubicBezTo>
                    <a:pt x="401" y="41"/>
                    <a:pt x="398" y="39"/>
                    <a:pt x="395" y="37"/>
                  </a:cubicBezTo>
                  <a:cubicBezTo>
                    <a:pt x="388" y="33"/>
                    <a:pt x="381" y="29"/>
                    <a:pt x="374" y="26"/>
                  </a:cubicBezTo>
                  <a:cubicBezTo>
                    <a:pt x="368" y="23"/>
                    <a:pt x="357" y="24"/>
                    <a:pt x="352" y="29"/>
                  </a:cubicBezTo>
                  <a:lnTo>
                    <a:pt x="326" y="52"/>
                  </a:lnTo>
                  <a:cubicBezTo>
                    <a:pt x="320" y="57"/>
                    <a:pt x="310" y="60"/>
                    <a:pt x="302" y="58"/>
                  </a:cubicBezTo>
                  <a:cubicBezTo>
                    <a:pt x="295" y="57"/>
                    <a:pt x="288" y="55"/>
                    <a:pt x="281" y="55"/>
                  </a:cubicBezTo>
                  <a:cubicBezTo>
                    <a:pt x="273" y="54"/>
                    <a:pt x="264" y="48"/>
                    <a:pt x="260" y="42"/>
                  </a:cubicBezTo>
                  <a:cubicBezTo>
                    <a:pt x="260" y="42"/>
                    <a:pt x="260" y="42"/>
                    <a:pt x="260" y="42"/>
                  </a:cubicBezTo>
                  <a:lnTo>
                    <a:pt x="243" y="12"/>
                  </a:lnTo>
                  <a:cubicBezTo>
                    <a:pt x="239" y="5"/>
                    <a:pt x="230" y="0"/>
                    <a:pt x="223" y="1"/>
                  </a:cubicBezTo>
                  <a:cubicBezTo>
                    <a:pt x="215" y="2"/>
                    <a:pt x="207" y="4"/>
                    <a:pt x="199" y="6"/>
                  </a:cubicBezTo>
                  <a:cubicBezTo>
                    <a:pt x="191" y="7"/>
                    <a:pt x="183" y="10"/>
                    <a:pt x="175" y="13"/>
                  </a:cubicBezTo>
                  <a:cubicBezTo>
                    <a:pt x="168" y="15"/>
                    <a:pt x="162" y="24"/>
                    <a:pt x="162" y="31"/>
                  </a:cubicBezTo>
                  <a:lnTo>
                    <a:pt x="160" y="66"/>
                  </a:lnTo>
                  <a:cubicBezTo>
                    <a:pt x="159" y="70"/>
                    <a:pt x="157" y="75"/>
                    <a:pt x="154" y="79"/>
                  </a:cubicBezTo>
                  <a:cubicBezTo>
                    <a:pt x="152" y="82"/>
                    <a:pt x="150" y="85"/>
                    <a:pt x="147" y="86"/>
                  </a:cubicBezTo>
                  <a:cubicBezTo>
                    <a:pt x="141" y="90"/>
                    <a:pt x="135" y="94"/>
                    <a:pt x="129" y="99"/>
                  </a:cubicBezTo>
                  <a:cubicBezTo>
                    <a:pt x="123" y="104"/>
                    <a:pt x="113" y="106"/>
                    <a:pt x="106" y="104"/>
                  </a:cubicBezTo>
                  <a:lnTo>
                    <a:pt x="73" y="95"/>
                  </a:lnTo>
                  <a:cubicBezTo>
                    <a:pt x="66" y="93"/>
                    <a:pt x="56" y="96"/>
                    <a:pt x="51" y="102"/>
                  </a:cubicBezTo>
                  <a:cubicBezTo>
                    <a:pt x="46" y="109"/>
                    <a:pt x="41" y="116"/>
                    <a:pt x="37" y="123"/>
                  </a:cubicBezTo>
                  <a:cubicBezTo>
                    <a:pt x="32" y="130"/>
                    <a:pt x="29" y="137"/>
                    <a:pt x="25" y="144"/>
                  </a:cubicBezTo>
                  <a:cubicBezTo>
                    <a:pt x="22" y="151"/>
                    <a:pt x="24" y="161"/>
                    <a:pt x="29" y="167"/>
                  </a:cubicBezTo>
                  <a:lnTo>
                    <a:pt x="51" y="192"/>
                  </a:lnTo>
                  <a:cubicBezTo>
                    <a:pt x="56" y="198"/>
                    <a:pt x="60" y="204"/>
                    <a:pt x="59" y="207"/>
                  </a:cubicBezTo>
                  <a:cubicBezTo>
                    <a:pt x="58" y="208"/>
                    <a:pt x="58" y="210"/>
                    <a:pt x="58" y="212"/>
                  </a:cubicBezTo>
                  <a:cubicBezTo>
                    <a:pt x="55" y="220"/>
                    <a:pt x="54" y="229"/>
                    <a:pt x="53" y="238"/>
                  </a:cubicBezTo>
                  <a:cubicBezTo>
                    <a:pt x="52" y="245"/>
                    <a:pt x="47" y="255"/>
                    <a:pt x="40" y="258"/>
                  </a:cubicBezTo>
                  <a:lnTo>
                    <a:pt x="11" y="275"/>
                  </a:lnTo>
                  <a:cubicBezTo>
                    <a:pt x="4" y="279"/>
                    <a:pt x="0" y="288"/>
                    <a:pt x="1" y="295"/>
                  </a:cubicBezTo>
                  <a:cubicBezTo>
                    <a:pt x="2" y="303"/>
                    <a:pt x="3" y="311"/>
                    <a:pt x="5" y="319"/>
                  </a:cubicBezTo>
                  <a:cubicBezTo>
                    <a:pt x="6" y="325"/>
                    <a:pt x="8" y="331"/>
                    <a:pt x="10" y="337"/>
                  </a:cubicBezTo>
                  <a:cubicBezTo>
                    <a:pt x="11" y="339"/>
                    <a:pt x="11" y="341"/>
                    <a:pt x="12" y="343"/>
                  </a:cubicBezTo>
                  <a:cubicBezTo>
                    <a:pt x="12" y="344"/>
                    <a:pt x="13" y="345"/>
                    <a:pt x="13" y="346"/>
                  </a:cubicBezTo>
                  <a:cubicBezTo>
                    <a:pt x="14" y="346"/>
                    <a:pt x="14" y="347"/>
                    <a:pt x="14" y="348"/>
                  </a:cubicBezTo>
                  <a:cubicBezTo>
                    <a:pt x="15" y="348"/>
                    <a:pt x="15" y="348"/>
                    <a:pt x="15" y="348"/>
                  </a:cubicBezTo>
                  <a:cubicBezTo>
                    <a:pt x="19" y="353"/>
                    <a:pt x="25" y="356"/>
                    <a:pt x="31" y="357"/>
                  </a:cubicBezTo>
                  <a:lnTo>
                    <a:pt x="63" y="358"/>
                  </a:lnTo>
                  <a:cubicBezTo>
                    <a:pt x="71" y="359"/>
                    <a:pt x="80" y="365"/>
                    <a:pt x="84" y="371"/>
                  </a:cubicBezTo>
                  <a:cubicBezTo>
                    <a:pt x="88" y="378"/>
                    <a:pt x="93" y="384"/>
                    <a:pt x="98" y="390"/>
                  </a:cubicBezTo>
                  <a:cubicBezTo>
                    <a:pt x="102" y="396"/>
                    <a:pt x="105" y="407"/>
                    <a:pt x="103" y="414"/>
                  </a:cubicBezTo>
                  <a:lnTo>
                    <a:pt x="94" y="446"/>
                  </a:lnTo>
                  <a:cubicBezTo>
                    <a:pt x="93" y="453"/>
                    <a:pt x="96" y="463"/>
                    <a:pt x="102" y="468"/>
                  </a:cubicBezTo>
                  <a:cubicBezTo>
                    <a:pt x="108" y="472"/>
                    <a:pt x="114" y="477"/>
                    <a:pt x="121" y="481"/>
                  </a:cubicBezTo>
                  <a:cubicBezTo>
                    <a:pt x="128" y="485"/>
                    <a:pt x="136" y="490"/>
                    <a:pt x="143" y="493"/>
                  </a:cubicBezTo>
                  <a:cubicBezTo>
                    <a:pt x="150" y="496"/>
                    <a:pt x="160" y="495"/>
                    <a:pt x="166" y="490"/>
                  </a:cubicBezTo>
                  <a:lnTo>
                    <a:pt x="190" y="468"/>
                  </a:lnTo>
                  <a:cubicBezTo>
                    <a:pt x="196" y="463"/>
                    <a:pt x="206" y="461"/>
                    <a:pt x="214" y="463"/>
                  </a:cubicBezTo>
                  <a:cubicBezTo>
                    <a:pt x="221" y="464"/>
                    <a:pt x="229" y="466"/>
                    <a:pt x="238" y="466"/>
                  </a:cubicBezTo>
                  <a:cubicBezTo>
                    <a:pt x="245" y="467"/>
                    <a:pt x="254" y="473"/>
                    <a:pt x="258" y="479"/>
                  </a:cubicBezTo>
                  <a:lnTo>
                    <a:pt x="274" y="507"/>
                  </a:lnTo>
                  <a:cubicBezTo>
                    <a:pt x="278" y="514"/>
                    <a:pt x="287" y="518"/>
                    <a:pt x="294" y="518"/>
                  </a:cubicBezTo>
                  <a:cubicBezTo>
                    <a:pt x="303" y="517"/>
                    <a:pt x="311" y="515"/>
                    <a:pt x="319" y="513"/>
                  </a:cubicBezTo>
                  <a:cubicBezTo>
                    <a:pt x="327" y="511"/>
                    <a:pt x="335" y="509"/>
                    <a:pt x="342" y="506"/>
                  </a:cubicBezTo>
                  <a:cubicBezTo>
                    <a:pt x="349" y="504"/>
                    <a:pt x="355" y="496"/>
                    <a:pt x="356" y="488"/>
                  </a:cubicBezTo>
                  <a:lnTo>
                    <a:pt x="358" y="456"/>
                  </a:lnTo>
                  <a:cubicBezTo>
                    <a:pt x="358" y="448"/>
                    <a:pt x="364" y="439"/>
                    <a:pt x="370" y="435"/>
                  </a:cubicBezTo>
                  <a:cubicBezTo>
                    <a:pt x="377" y="431"/>
                    <a:pt x="384" y="426"/>
                    <a:pt x="390" y="421"/>
                  </a:cubicBezTo>
                  <a:cubicBezTo>
                    <a:pt x="396" y="416"/>
                    <a:pt x="406" y="413"/>
                    <a:pt x="413" y="415"/>
                  </a:cubicBezTo>
                  <a:lnTo>
                    <a:pt x="445" y="424"/>
                  </a:lnTo>
                  <a:cubicBezTo>
                    <a:pt x="452" y="426"/>
                    <a:pt x="462" y="423"/>
                    <a:pt x="467" y="417"/>
                  </a:cubicBezTo>
                  <a:cubicBezTo>
                    <a:pt x="472" y="411"/>
                    <a:pt x="476" y="404"/>
                    <a:pt x="480" y="397"/>
                  </a:cubicBezTo>
                  <a:cubicBezTo>
                    <a:pt x="485" y="390"/>
                    <a:pt x="489" y="383"/>
                    <a:pt x="492" y="375"/>
                  </a:cubicBezTo>
                  <a:cubicBezTo>
                    <a:pt x="496" y="368"/>
                    <a:pt x="494" y="358"/>
                    <a:pt x="489" y="352"/>
                  </a:cubicBezTo>
                  <a:lnTo>
                    <a:pt x="467" y="328"/>
                  </a:lnTo>
                  <a:cubicBezTo>
                    <a:pt x="462" y="322"/>
                    <a:pt x="458" y="316"/>
                    <a:pt x="459" y="313"/>
                  </a:cubicBezTo>
                  <a:cubicBezTo>
                    <a:pt x="459" y="312"/>
                    <a:pt x="460" y="311"/>
                    <a:pt x="460" y="309"/>
                  </a:cubicBezTo>
                  <a:cubicBezTo>
                    <a:pt x="462" y="300"/>
                    <a:pt x="464" y="291"/>
                    <a:pt x="465" y="281"/>
                  </a:cubicBezTo>
                  <a:cubicBezTo>
                    <a:pt x="465" y="274"/>
                    <a:pt x="471" y="264"/>
                    <a:pt x="478" y="261"/>
                  </a:cubicBezTo>
                  <a:lnTo>
                    <a:pt x="506" y="244"/>
                  </a:lnTo>
                  <a:cubicBezTo>
                    <a:pt x="513" y="240"/>
                    <a:pt x="518" y="231"/>
                    <a:pt x="517" y="224"/>
                  </a:cubicBezTo>
                  <a:cubicBezTo>
                    <a:pt x="516" y="215"/>
                    <a:pt x="514" y="207"/>
                    <a:pt x="512" y="199"/>
                  </a:cubicBezTo>
                  <a:cubicBezTo>
                    <a:pt x="511" y="193"/>
                    <a:pt x="509" y="187"/>
                    <a:pt x="507" y="180"/>
                  </a:cubicBez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99" name="Freeform 265">
              <a:extLst>
                <a:ext uri="{FF2B5EF4-FFF2-40B4-BE49-F238E27FC236}">
                  <a16:creationId xmlns:a16="http://schemas.microsoft.com/office/drawing/2014/main" id="{776EA276-0473-44F9-9151-9F0C3212CB79}"/>
                </a:ext>
              </a:extLst>
            </p:cNvPr>
            <p:cNvSpPr>
              <a:spLocks noEditPoints="1"/>
            </p:cNvSpPr>
            <p:nvPr/>
          </p:nvSpPr>
          <p:spPr bwMode="auto">
            <a:xfrm>
              <a:off x="8459788" y="781050"/>
              <a:ext cx="215900" cy="230188"/>
            </a:xfrm>
            <a:custGeom>
              <a:avLst/>
              <a:gdLst>
                <a:gd name="T0" fmla="*/ 237 w 360"/>
                <a:gd name="T1" fmla="*/ 226 h 382"/>
                <a:gd name="T2" fmla="*/ 111 w 360"/>
                <a:gd name="T3" fmla="*/ 174 h 382"/>
                <a:gd name="T4" fmla="*/ 162 w 360"/>
                <a:gd name="T5" fmla="*/ 123 h 382"/>
                <a:gd name="T6" fmla="*/ 246 w 360"/>
                <a:gd name="T7" fmla="*/ 206 h 382"/>
                <a:gd name="T8" fmla="*/ 325 w 360"/>
                <a:gd name="T9" fmla="*/ 203 h 382"/>
                <a:gd name="T10" fmla="*/ 334 w 360"/>
                <a:gd name="T11" fmla="*/ 164 h 382"/>
                <a:gd name="T12" fmla="*/ 358 w 360"/>
                <a:gd name="T13" fmla="*/ 123 h 382"/>
                <a:gd name="T14" fmla="*/ 335 w 360"/>
                <a:gd name="T15" fmla="*/ 79 h 382"/>
                <a:gd name="T16" fmla="*/ 332 w 360"/>
                <a:gd name="T17" fmla="*/ 77 h 382"/>
                <a:gd name="T18" fmla="*/ 330 w 360"/>
                <a:gd name="T19" fmla="*/ 75 h 382"/>
                <a:gd name="T20" fmla="*/ 313 w 360"/>
                <a:gd name="T21" fmla="*/ 71 h 382"/>
                <a:gd name="T22" fmla="*/ 265 w 360"/>
                <a:gd name="T23" fmla="*/ 72 h 382"/>
                <a:gd name="T24" fmla="*/ 246 w 360"/>
                <a:gd name="T25" fmla="*/ 60 h 382"/>
                <a:gd name="T26" fmla="*/ 226 w 360"/>
                <a:gd name="T27" fmla="*/ 18 h 382"/>
                <a:gd name="T28" fmla="*/ 209 w 360"/>
                <a:gd name="T29" fmla="*/ 2 h 382"/>
                <a:gd name="T30" fmla="*/ 160 w 360"/>
                <a:gd name="T31" fmla="*/ 0 h 382"/>
                <a:gd name="T32" fmla="*/ 135 w 360"/>
                <a:gd name="T33" fmla="*/ 38 h 382"/>
                <a:gd name="T34" fmla="*/ 101 w 360"/>
                <a:gd name="T35" fmla="*/ 65 h 382"/>
                <a:gd name="T36" fmla="*/ 53 w 360"/>
                <a:gd name="T37" fmla="*/ 63 h 382"/>
                <a:gd name="T38" fmla="*/ 17 w 360"/>
                <a:gd name="T39" fmla="*/ 91 h 382"/>
                <a:gd name="T40" fmla="*/ 4 w 360"/>
                <a:gd name="T41" fmla="*/ 119 h 382"/>
                <a:gd name="T42" fmla="*/ 25 w 360"/>
                <a:gd name="T43" fmla="*/ 153 h 382"/>
                <a:gd name="T44" fmla="*/ 32 w 360"/>
                <a:gd name="T45" fmla="*/ 196 h 382"/>
                <a:gd name="T46" fmla="*/ 16 w 360"/>
                <a:gd name="T47" fmla="*/ 226 h 382"/>
                <a:gd name="T48" fmla="*/ 0 w 360"/>
                <a:gd name="T49" fmla="*/ 249 h 382"/>
                <a:gd name="T50" fmla="*/ 0 w 360"/>
                <a:gd name="T51" fmla="*/ 252 h 382"/>
                <a:gd name="T52" fmla="*/ 0 w 360"/>
                <a:gd name="T53" fmla="*/ 255 h 382"/>
                <a:gd name="T54" fmla="*/ 1 w 360"/>
                <a:gd name="T55" fmla="*/ 259 h 382"/>
                <a:gd name="T56" fmla="*/ 16 w 360"/>
                <a:gd name="T57" fmla="*/ 289 h 382"/>
                <a:gd name="T58" fmla="*/ 24 w 360"/>
                <a:gd name="T59" fmla="*/ 302 h 382"/>
                <a:gd name="T60" fmla="*/ 27 w 360"/>
                <a:gd name="T61" fmla="*/ 305 h 382"/>
                <a:gd name="T62" fmla="*/ 30 w 360"/>
                <a:gd name="T63" fmla="*/ 307 h 382"/>
                <a:gd name="T64" fmla="*/ 37 w 360"/>
                <a:gd name="T65" fmla="*/ 310 h 382"/>
                <a:gd name="T66" fmla="*/ 69 w 360"/>
                <a:gd name="T67" fmla="*/ 305 h 382"/>
                <a:gd name="T68" fmla="*/ 92 w 360"/>
                <a:gd name="T69" fmla="*/ 309 h 382"/>
                <a:gd name="T70" fmla="*/ 111 w 360"/>
                <a:gd name="T71" fmla="*/ 321 h 382"/>
                <a:gd name="T72" fmla="*/ 132 w 360"/>
                <a:gd name="T73" fmla="*/ 364 h 382"/>
                <a:gd name="T74" fmla="*/ 173 w 360"/>
                <a:gd name="T75" fmla="*/ 381 h 382"/>
                <a:gd name="T76" fmla="*/ 216 w 360"/>
                <a:gd name="T77" fmla="*/ 366 h 382"/>
                <a:gd name="T78" fmla="*/ 241 w 360"/>
                <a:gd name="T79" fmla="*/ 323 h 382"/>
                <a:gd name="T80" fmla="*/ 280 w 360"/>
                <a:gd name="T81" fmla="*/ 311 h 382"/>
                <a:gd name="T82" fmla="*/ 328 w 360"/>
                <a:gd name="T83" fmla="*/ 311 h 382"/>
                <a:gd name="T84" fmla="*/ 353 w 360"/>
                <a:gd name="T85" fmla="*/ 269 h 382"/>
                <a:gd name="T86" fmla="*/ 332 w 360"/>
                <a:gd name="T87" fmla="*/ 22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382">
                  <a:moveTo>
                    <a:pt x="246" y="206"/>
                  </a:moveTo>
                  <a:cubicBezTo>
                    <a:pt x="244" y="213"/>
                    <a:pt x="241" y="220"/>
                    <a:pt x="237" y="226"/>
                  </a:cubicBezTo>
                  <a:cubicBezTo>
                    <a:pt x="217" y="259"/>
                    <a:pt x="174" y="269"/>
                    <a:pt x="142" y="249"/>
                  </a:cubicBezTo>
                  <a:cubicBezTo>
                    <a:pt x="116" y="233"/>
                    <a:pt x="104" y="203"/>
                    <a:pt x="111" y="174"/>
                  </a:cubicBezTo>
                  <a:cubicBezTo>
                    <a:pt x="113" y="167"/>
                    <a:pt x="116" y="160"/>
                    <a:pt x="119" y="154"/>
                  </a:cubicBezTo>
                  <a:cubicBezTo>
                    <a:pt x="129" y="138"/>
                    <a:pt x="144" y="127"/>
                    <a:pt x="162" y="123"/>
                  </a:cubicBezTo>
                  <a:cubicBezTo>
                    <a:pt x="180" y="118"/>
                    <a:pt x="199" y="121"/>
                    <a:pt x="215" y="131"/>
                  </a:cubicBezTo>
                  <a:cubicBezTo>
                    <a:pt x="240" y="147"/>
                    <a:pt x="253" y="177"/>
                    <a:pt x="246" y="206"/>
                  </a:cubicBezTo>
                  <a:close/>
                  <a:moveTo>
                    <a:pt x="332" y="227"/>
                  </a:moveTo>
                  <a:cubicBezTo>
                    <a:pt x="327" y="221"/>
                    <a:pt x="324" y="210"/>
                    <a:pt x="325" y="203"/>
                  </a:cubicBezTo>
                  <a:cubicBezTo>
                    <a:pt x="325" y="198"/>
                    <a:pt x="325" y="192"/>
                    <a:pt x="325" y="187"/>
                  </a:cubicBezTo>
                  <a:cubicBezTo>
                    <a:pt x="325" y="179"/>
                    <a:pt x="329" y="169"/>
                    <a:pt x="334" y="164"/>
                  </a:cubicBezTo>
                  <a:lnTo>
                    <a:pt x="353" y="145"/>
                  </a:lnTo>
                  <a:cubicBezTo>
                    <a:pt x="358" y="140"/>
                    <a:pt x="360" y="130"/>
                    <a:pt x="358" y="123"/>
                  </a:cubicBezTo>
                  <a:cubicBezTo>
                    <a:pt x="354" y="115"/>
                    <a:pt x="351" y="107"/>
                    <a:pt x="347" y="100"/>
                  </a:cubicBezTo>
                  <a:cubicBezTo>
                    <a:pt x="343" y="93"/>
                    <a:pt x="339" y="86"/>
                    <a:pt x="335" y="79"/>
                  </a:cubicBezTo>
                  <a:cubicBezTo>
                    <a:pt x="334" y="79"/>
                    <a:pt x="334" y="78"/>
                    <a:pt x="333" y="77"/>
                  </a:cubicBezTo>
                  <a:cubicBezTo>
                    <a:pt x="333" y="77"/>
                    <a:pt x="332" y="77"/>
                    <a:pt x="332" y="77"/>
                  </a:cubicBezTo>
                  <a:cubicBezTo>
                    <a:pt x="332" y="76"/>
                    <a:pt x="331" y="76"/>
                    <a:pt x="331" y="76"/>
                  </a:cubicBezTo>
                  <a:cubicBezTo>
                    <a:pt x="331" y="75"/>
                    <a:pt x="330" y="75"/>
                    <a:pt x="330" y="75"/>
                  </a:cubicBezTo>
                  <a:cubicBezTo>
                    <a:pt x="330" y="75"/>
                    <a:pt x="329" y="74"/>
                    <a:pt x="329" y="74"/>
                  </a:cubicBezTo>
                  <a:cubicBezTo>
                    <a:pt x="324" y="71"/>
                    <a:pt x="318" y="70"/>
                    <a:pt x="313" y="71"/>
                  </a:cubicBezTo>
                  <a:lnTo>
                    <a:pt x="288" y="76"/>
                  </a:lnTo>
                  <a:cubicBezTo>
                    <a:pt x="281" y="78"/>
                    <a:pt x="271" y="76"/>
                    <a:pt x="265" y="72"/>
                  </a:cubicBezTo>
                  <a:cubicBezTo>
                    <a:pt x="262" y="69"/>
                    <a:pt x="259" y="67"/>
                    <a:pt x="256" y="65"/>
                  </a:cubicBezTo>
                  <a:cubicBezTo>
                    <a:pt x="252" y="63"/>
                    <a:pt x="249" y="61"/>
                    <a:pt x="246" y="60"/>
                  </a:cubicBezTo>
                  <a:cubicBezTo>
                    <a:pt x="241" y="57"/>
                    <a:pt x="235" y="49"/>
                    <a:pt x="233" y="42"/>
                  </a:cubicBezTo>
                  <a:lnTo>
                    <a:pt x="226" y="18"/>
                  </a:lnTo>
                  <a:cubicBezTo>
                    <a:pt x="225" y="12"/>
                    <a:pt x="220" y="7"/>
                    <a:pt x="215" y="4"/>
                  </a:cubicBezTo>
                  <a:cubicBezTo>
                    <a:pt x="213" y="3"/>
                    <a:pt x="211" y="2"/>
                    <a:pt x="209" y="2"/>
                  </a:cubicBezTo>
                  <a:cubicBezTo>
                    <a:pt x="201" y="1"/>
                    <a:pt x="193" y="0"/>
                    <a:pt x="184" y="0"/>
                  </a:cubicBezTo>
                  <a:cubicBezTo>
                    <a:pt x="176" y="0"/>
                    <a:pt x="168" y="0"/>
                    <a:pt x="160" y="0"/>
                  </a:cubicBezTo>
                  <a:cubicBezTo>
                    <a:pt x="153" y="1"/>
                    <a:pt x="145" y="8"/>
                    <a:pt x="142" y="15"/>
                  </a:cubicBezTo>
                  <a:lnTo>
                    <a:pt x="135" y="38"/>
                  </a:lnTo>
                  <a:cubicBezTo>
                    <a:pt x="132" y="45"/>
                    <a:pt x="125" y="53"/>
                    <a:pt x="118" y="56"/>
                  </a:cubicBezTo>
                  <a:cubicBezTo>
                    <a:pt x="112" y="59"/>
                    <a:pt x="106" y="62"/>
                    <a:pt x="101" y="65"/>
                  </a:cubicBezTo>
                  <a:cubicBezTo>
                    <a:pt x="94" y="69"/>
                    <a:pt x="84" y="72"/>
                    <a:pt x="76" y="70"/>
                  </a:cubicBezTo>
                  <a:lnTo>
                    <a:pt x="53" y="63"/>
                  </a:lnTo>
                  <a:cubicBezTo>
                    <a:pt x="46" y="61"/>
                    <a:pt x="36" y="64"/>
                    <a:pt x="31" y="70"/>
                  </a:cubicBezTo>
                  <a:cubicBezTo>
                    <a:pt x="26" y="77"/>
                    <a:pt x="21" y="84"/>
                    <a:pt x="17" y="91"/>
                  </a:cubicBezTo>
                  <a:cubicBezTo>
                    <a:pt x="12" y="98"/>
                    <a:pt x="9" y="105"/>
                    <a:pt x="5" y="112"/>
                  </a:cubicBezTo>
                  <a:cubicBezTo>
                    <a:pt x="4" y="114"/>
                    <a:pt x="4" y="117"/>
                    <a:pt x="4" y="119"/>
                  </a:cubicBezTo>
                  <a:cubicBezTo>
                    <a:pt x="3" y="125"/>
                    <a:pt x="5" y="131"/>
                    <a:pt x="9" y="134"/>
                  </a:cubicBezTo>
                  <a:lnTo>
                    <a:pt x="25" y="153"/>
                  </a:lnTo>
                  <a:cubicBezTo>
                    <a:pt x="30" y="158"/>
                    <a:pt x="33" y="169"/>
                    <a:pt x="32" y="177"/>
                  </a:cubicBezTo>
                  <a:cubicBezTo>
                    <a:pt x="32" y="183"/>
                    <a:pt x="31" y="190"/>
                    <a:pt x="32" y="196"/>
                  </a:cubicBezTo>
                  <a:cubicBezTo>
                    <a:pt x="32" y="203"/>
                    <a:pt x="28" y="214"/>
                    <a:pt x="23" y="219"/>
                  </a:cubicBezTo>
                  <a:lnTo>
                    <a:pt x="16" y="226"/>
                  </a:lnTo>
                  <a:lnTo>
                    <a:pt x="6" y="237"/>
                  </a:lnTo>
                  <a:cubicBezTo>
                    <a:pt x="3" y="240"/>
                    <a:pt x="1" y="244"/>
                    <a:pt x="0" y="249"/>
                  </a:cubicBezTo>
                  <a:cubicBezTo>
                    <a:pt x="0" y="250"/>
                    <a:pt x="0" y="250"/>
                    <a:pt x="0" y="251"/>
                  </a:cubicBezTo>
                  <a:cubicBezTo>
                    <a:pt x="0" y="251"/>
                    <a:pt x="0" y="251"/>
                    <a:pt x="0" y="252"/>
                  </a:cubicBezTo>
                  <a:cubicBezTo>
                    <a:pt x="0" y="252"/>
                    <a:pt x="0" y="253"/>
                    <a:pt x="0" y="254"/>
                  </a:cubicBezTo>
                  <a:cubicBezTo>
                    <a:pt x="0" y="254"/>
                    <a:pt x="0" y="255"/>
                    <a:pt x="0" y="255"/>
                  </a:cubicBezTo>
                  <a:cubicBezTo>
                    <a:pt x="0" y="255"/>
                    <a:pt x="0" y="256"/>
                    <a:pt x="0" y="257"/>
                  </a:cubicBezTo>
                  <a:cubicBezTo>
                    <a:pt x="0" y="257"/>
                    <a:pt x="0" y="258"/>
                    <a:pt x="1" y="259"/>
                  </a:cubicBezTo>
                  <a:cubicBezTo>
                    <a:pt x="4" y="266"/>
                    <a:pt x="7" y="273"/>
                    <a:pt x="11" y="280"/>
                  </a:cubicBezTo>
                  <a:cubicBezTo>
                    <a:pt x="12" y="283"/>
                    <a:pt x="14" y="286"/>
                    <a:pt x="16" y="289"/>
                  </a:cubicBezTo>
                  <a:cubicBezTo>
                    <a:pt x="17" y="290"/>
                    <a:pt x="17" y="291"/>
                    <a:pt x="18" y="292"/>
                  </a:cubicBezTo>
                  <a:cubicBezTo>
                    <a:pt x="20" y="295"/>
                    <a:pt x="22" y="299"/>
                    <a:pt x="24" y="302"/>
                  </a:cubicBezTo>
                  <a:cubicBezTo>
                    <a:pt x="25" y="303"/>
                    <a:pt x="26" y="304"/>
                    <a:pt x="26" y="305"/>
                  </a:cubicBezTo>
                  <a:cubicBezTo>
                    <a:pt x="27" y="305"/>
                    <a:pt x="27" y="305"/>
                    <a:pt x="27" y="305"/>
                  </a:cubicBezTo>
                  <a:cubicBezTo>
                    <a:pt x="28" y="306"/>
                    <a:pt x="29" y="306"/>
                    <a:pt x="29" y="307"/>
                  </a:cubicBezTo>
                  <a:cubicBezTo>
                    <a:pt x="30" y="307"/>
                    <a:pt x="30" y="307"/>
                    <a:pt x="30" y="307"/>
                  </a:cubicBezTo>
                  <a:cubicBezTo>
                    <a:pt x="32" y="309"/>
                    <a:pt x="35" y="310"/>
                    <a:pt x="37" y="310"/>
                  </a:cubicBezTo>
                  <a:lnTo>
                    <a:pt x="37" y="310"/>
                  </a:lnTo>
                  <a:cubicBezTo>
                    <a:pt x="40" y="311"/>
                    <a:pt x="43" y="311"/>
                    <a:pt x="46" y="310"/>
                  </a:cubicBezTo>
                  <a:lnTo>
                    <a:pt x="69" y="305"/>
                  </a:lnTo>
                  <a:lnTo>
                    <a:pt x="70" y="305"/>
                  </a:lnTo>
                  <a:cubicBezTo>
                    <a:pt x="78" y="304"/>
                    <a:pt x="87" y="306"/>
                    <a:pt x="92" y="309"/>
                  </a:cubicBezTo>
                  <a:cubicBezTo>
                    <a:pt x="95" y="311"/>
                    <a:pt x="98" y="313"/>
                    <a:pt x="101" y="315"/>
                  </a:cubicBezTo>
                  <a:cubicBezTo>
                    <a:pt x="104" y="317"/>
                    <a:pt x="108" y="319"/>
                    <a:pt x="111" y="321"/>
                  </a:cubicBezTo>
                  <a:cubicBezTo>
                    <a:pt x="117" y="324"/>
                    <a:pt x="124" y="332"/>
                    <a:pt x="126" y="339"/>
                  </a:cubicBezTo>
                  <a:lnTo>
                    <a:pt x="132" y="364"/>
                  </a:lnTo>
                  <a:cubicBezTo>
                    <a:pt x="134" y="371"/>
                    <a:pt x="142" y="378"/>
                    <a:pt x="149" y="379"/>
                  </a:cubicBezTo>
                  <a:cubicBezTo>
                    <a:pt x="157" y="380"/>
                    <a:pt x="165" y="381"/>
                    <a:pt x="173" y="381"/>
                  </a:cubicBezTo>
                  <a:cubicBezTo>
                    <a:pt x="181" y="382"/>
                    <a:pt x="190" y="381"/>
                    <a:pt x="198" y="381"/>
                  </a:cubicBezTo>
                  <a:cubicBezTo>
                    <a:pt x="206" y="380"/>
                    <a:pt x="214" y="373"/>
                    <a:pt x="216" y="366"/>
                  </a:cubicBezTo>
                  <a:lnTo>
                    <a:pt x="224" y="341"/>
                  </a:lnTo>
                  <a:cubicBezTo>
                    <a:pt x="227" y="334"/>
                    <a:pt x="234" y="326"/>
                    <a:pt x="241" y="323"/>
                  </a:cubicBezTo>
                  <a:cubicBezTo>
                    <a:pt x="246" y="320"/>
                    <a:pt x="251" y="318"/>
                    <a:pt x="255" y="315"/>
                  </a:cubicBezTo>
                  <a:cubicBezTo>
                    <a:pt x="262" y="311"/>
                    <a:pt x="273" y="309"/>
                    <a:pt x="280" y="311"/>
                  </a:cubicBezTo>
                  <a:lnTo>
                    <a:pt x="306" y="318"/>
                  </a:lnTo>
                  <a:cubicBezTo>
                    <a:pt x="313" y="320"/>
                    <a:pt x="323" y="317"/>
                    <a:pt x="328" y="311"/>
                  </a:cubicBezTo>
                  <a:cubicBezTo>
                    <a:pt x="332" y="305"/>
                    <a:pt x="337" y="298"/>
                    <a:pt x="341" y="292"/>
                  </a:cubicBezTo>
                  <a:cubicBezTo>
                    <a:pt x="346" y="284"/>
                    <a:pt x="350" y="277"/>
                    <a:pt x="353" y="269"/>
                  </a:cubicBezTo>
                  <a:cubicBezTo>
                    <a:pt x="356" y="262"/>
                    <a:pt x="355" y="252"/>
                    <a:pt x="350" y="247"/>
                  </a:cubicBezTo>
                  <a:lnTo>
                    <a:pt x="332" y="227"/>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sp>
        <p:nvSpPr>
          <p:cNvPr id="100" name="TextBox 99">
            <a:extLst>
              <a:ext uri="{FF2B5EF4-FFF2-40B4-BE49-F238E27FC236}">
                <a16:creationId xmlns:a16="http://schemas.microsoft.com/office/drawing/2014/main" id="{CF27C4FA-6D60-4ECF-BA7F-9FF620C98883}"/>
              </a:ext>
            </a:extLst>
          </p:cNvPr>
          <p:cNvSpPr txBox="1"/>
          <p:nvPr/>
        </p:nvSpPr>
        <p:spPr>
          <a:xfrm>
            <a:off x="6761398" y="3317202"/>
            <a:ext cx="1163564"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MS Dynamics - CRM</a:t>
            </a:r>
          </a:p>
        </p:txBody>
      </p:sp>
      <p:pic>
        <p:nvPicPr>
          <p:cNvPr id="101" name="Picture 12" descr="SLO document">
            <a:extLst>
              <a:ext uri="{FF2B5EF4-FFF2-40B4-BE49-F238E27FC236}">
                <a16:creationId xmlns:a16="http://schemas.microsoft.com/office/drawing/2014/main" id="{24FCEE8C-34C5-4FAF-B975-D9FFF705D18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66818" y="2905919"/>
            <a:ext cx="378645" cy="378645"/>
          </a:xfrm>
          <a:prstGeom prst="rect">
            <a:avLst/>
          </a:prstGeom>
          <a:noFill/>
          <a:extLst>
            <a:ext uri="{909E8E84-426E-40DD-AFC4-6F175D3DCCD1}">
              <a14:hiddenFill xmlns:a14="http://schemas.microsoft.com/office/drawing/2010/main">
                <a:solidFill>
                  <a:srgbClr val="FFFFFF"/>
                </a:solidFill>
              </a14:hiddenFill>
            </a:ext>
          </a:extLst>
        </p:spPr>
      </p:pic>
      <p:sp>
        <p:nvSpPr>
          <p:cNvPr id="102" name="TextBox 101">
            <a:extLst>
              <a:ext uri="{FF2B5EF4-FFF2-40B4-BE49-F238E27FC236}">
                <a16:creationId xmlns:a16="http://schemas.microsoft.com/office/drawing/2014/main" id="{F677A236-27C9-43C6-98B7-DEBA579D0691}"/>
              </a:ext>
            </a:extLst>
          </p:cNvPr>
          <p:cNvSpPr txBox="1"/>
          <p:nvPr/>
        </p:nvSpPr>
        <p:spPr>
          <a:xfrm>
            <a:off x="8451155" y="3319998"/>
            <a:ext cx="1117376"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Data Engineering </a:t>
            </a:r>
          </a:p>
        </p:txBody>
      </p:sp>
      <p:sp>
        <p:nvSpPr>
          <p:cNvPr id="103" name="TextBox 102">
            <a:extLst>
              <a:ext uri="{FF2B5EF4-FFF2-40B4-BE49-F238E27FC236}">
                <a16:creationId xmlns:a16="http://schemas.microsoft.com/office/drawing/2014/main" id="{FD5F4981-BFC7-4126-A52C-7D4BFB952B24}"/>
              </a:ext>
            </a:extLst>
          </p:cNvPr>
          <p:cNvSpPr txBox="1"/>
          <p:nvPr/>
        </p:nvSpPr>
        <p:spPr>
          <a:xfrm>
            <a:off x="5587691" y="3906158"/>
            <a:ext cx="964156" cy="282129"/>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Database Support</a:t>
            </a:r>
          </a:p>
        </p:txBody>
      </p:sp>
      <p:pic>
        <p:nvPicPr>
          <p:cNvPr id="104" name="Picture 12" descr="SLO document">
            <a:extLst>
              <a:ext uri="{FF2B5EF4-FFF2-40B4-BE49-F238E27FC236}">
                <a16:creationId xmlns:a16="http://schemas.microsoft.com/office/drawing/2014/main" id="{1197663D-0AA6-4E78-8211-9DE06300E06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41925" y="3515913"/>
            <a:ext cx="367918" cy="367918"/>
          </a:xfrm>
          <a:prstGeom prst="rect">
            <a:avLst/>
          </a:prstGeom>
          <a:noFill/>
          <a:ln w="3175" cap="flat">
            <a:solidFill>
              <a:srgbClr val="FFFF00"/>
            </a:solidFill>
            <a:prstDash val="solid"/>
            <a:miter/>
          </a:ln>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FC6FCE1-8FB9-4010-ABE1-9FA52C83A99B}"/>
              </a:ext>
            </a:extLst>
          </p:cNvPr>
          <p:cNvSpPr txBox="1"/>
          <p:nvPr/>
        </p:nvSpPr>
        <p:spPr>
          <a:xfrm>
            <a:off x="8514201" y="3949091"/>
            <a:ext cx="678714"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Service Now </a:t>
            </a:r>
          </a:p>
        </p:txBody>
      </p:sp>
      <p:pic>
        <p:nvPicPr>
          <p:cNvPr id="106" name="Picture 12" descr="Unlock outline">
            <a:extLst>
              <a:ext uri="{FF2B5EF4-FFF2-40B4-BE49-F238E27FC236}">
                <a16:creationId xmlns:a16="http://schemas.microsoft.com/office/drawing/2014/main" id="{5BF5F06E-BEA3-4D97-8D61-CC89638C5800}"/>
              </a:ext>
            </a:extLst>
          </p:cNvPr>
          <p:cNvPicPr>
            <a:picLocks noChangeAspect="1" noChangeArrowheads="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bwMode="auto">
          <a:xfrm>
            <a:off x="10159833" y="3499123"/>
            <a:ext cx="378383" cy="378383"/>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92" descr="Database with solid fill">
            <a:extLst>
              <a:ext uri="{FF2B5EF4-FFF2-40B4-BE49-F238E27FC236}">
                <a16:creationId xmlns:a16="http://schemas.microsoft.com/office/drawing/2014/main" id="{E74EDD61-48BA-4E1E-A413-6D7E33C0236F}"/>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auto">
          <a:xfrm>
            <a:off x="5602996" y="3514934"/>
            <a:ext cx="385740" cy="385740"/>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a:extLst>
              <a:ext uri="{FF2B5EF4-FFF2-40B4-BE49-F238E27FC236}">
                <a16:creationId xmlns:a16="http://schemas.microsoft.com/office/drawing/2014/main" id="{AFA69493-44BC-449B-BA34-94494D15724F}"/>
              </a:ext>
            </a:extLst>
          </p:cNvPr>
          <p:cNvSpPr txBox="1"/>
          <p:nvPr/>
        </p:nvSpPr>
        <p:spPr>
          <a:xfrm rot="16200000">
            <a:off x="4615976" y="3323925"/>
            <a:ext cx="916178" cy="170045"/>
          </a:xfrm>
          <a:prstGeom prst="rect">
            <a:avLst/>
          </a:prstGeom>
        </p:spPr>
        <p:txBody>
          <a:bodyPr vert="horz" wrap="square" lIns="0" tIns="0" rIns="0" bIns="0" rtlCol="0">
            <a:noAutofit/>
          </a:bodyPr>
          <a:lstStyle/>
          <a:p>
            <a:pPr defTabSz="801004" fontAlgn="base">
              <a:spcAft>
                <a:spcPts val="526"/>
              </a:spcAft>
              <a:buClr>
                <a:srgbClr val="FFE600"/>
              </a:buClr>
              <a:buSzPct val="80000"/>
              <a:defRPr/>
            </a:pPr>
            <a:r>
              <a:rPr lang="en-IE" sz="1053" b="1" kern="0" noProof="1">
                <a:solidFill>
                  <a:schemeClr val="bg1"/>
                </a:solidFill>
                <a:latin typeface="EYInterstate Light"/>
              </a:rPr>
              <a:t>APPLICATION</a:t>
            </a:r>
          </a:p>
        </p:txBody>
      </p:sp>
      <p:sp>
        <p:nvSpPr>
          <p:cNvPr id="109" name="TextBox 108">
            <a:extLst>
              <a:ext uri="{FF2B5EF4-FFF2-40B4-BE49-F238E27FC236}">
                <a16:creationId xmlns:a16="http://schemas.microsoft.com/office/drawing/2014/main" id="{526857C2-2C35-4D87-8FD7-AC609996AF4F}"/>
              </a:ext>
            </a:extLst>
          </p:cNvPr>
          <p:cNvSpPr txBox="1"/>
          <p:nvPr/>
        </p:nvSpPr>
        <p:spPr>
          <a:xfrm>
            <a:off x="6477618" y="4344929"/>
            <a:ext cx="3151283" cy="269946"/>
          </a:xfrm>
          <a:prstGeom prst="rect">
            <a:avLst/>
          </a:prstGeom>
          <a:noFill/>
          <a:ln>
            <a:noFill/>
          </a:ln>
        </p:spPr>
        <p:txBody>
          <a:bodyPr wrap="square" lIns="0" tIns="0" rIns="0" bIns="0" rtlCol="0">
            <a:spAutoFit/>
          </a:bodyPr>
          <a:lstStyle>
            <a:defPPr>
              <a:defRPr lang="en-US"/>
            </a:defPPr>
            <a:lvl1pPr algn="ctr">
              <a:spcAft>
                <a:spcPts val="600"/>
              </a:spcAft>
              <a:buClr>
                <a:schemeClr val="accent2"/>
              </a:buClr>
              <a:buSzPct val="70000"/>
              <a:defRPr sz="1400">
                <a:solidFill>
                  <a:schemeClr val="bg1"/>
                </a:solidFill>
              </a:defRPr>
            </a:lvl1pPr>
          </a:lstStyle>
          <a:p>
            <a:pPr defTabSz="800417">
              <a:spcAft>
                <a:spcPts val="0"/>
              </a:spcAft>
              <a:buClr>
                <a:srgbClr val="FFE600"/>
              </a:buClr>
              <a:defRPr/>
            </a:pPr>
            <a:r>
              <a:rPr lang="en-IN" sz="1754" b="1" kern="0">
                <a:latin typeface="EYInterstate Light"/>
              </a:rPr>
              <a:t>CORE SUPPORT SERVICE</a:t>
            </a:r>
          </a:p>
        </p:txBody>
      </p:sp>
      <p:sp>
        <p:nvSpPr>
          <p:cNvPr id="110" name="TextBox 109">
            <a:extLst>
              <a:ext uri="{FF2B5EF4-FFF2-40B4-BE49-F238E27FC236}">
                <a16:creationId xmlns:a16="http://schemas.microsoft.com/office/drawing/2014/main" id="{0C5169D3-7799-4C9B-985F-6334C24514D1}"/>
              </a:ext>
            </a:extLst>
          </p:cNvPr>
          <p:cNvSpPr txBox="1"/>
          <p:nvPr/>
        </p:nvSpPr>
        <p:spPr>
          <a:xfrm>
            <a:off x="6745311" y="3939081"/>
            <a:ext cx="1080372" cy="1410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921" b="1" kern="0">
                <a:latin typeface="EYInterstate Light"/>
              </a:rPr>
              <a:t>Dev Ops Service</a:t>
            </a:r>
          </a:p>
        </p:txBody>
      </p:sp>
      <p:pic>
        <p:nvPicPr>
          <p:cNvPr id="130" name="Picture 14" descr="Alerting">
            <a:extLst>
              <a:ext uri="{FF2B5EF4-FFF2-40B4-BE49-F238E27FC236}">
                <a16:creationId xmlns:a16="http://schemas.microsoft.com/office/drawing/2014/main" id="{4E522631-01EA-4E13-A772-55821DD9BB6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04735" y="4980985"/>
            <a:ext cx="312713" cy="312713"/>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10" descr="Availability">
            <a:extLst>
              <a:ext uri="{FF2B5EF4-FFF2-40B4-BE49-F238E27FC236}">
                <a16:creationId xmlns:a16="http://schemas.microsoft.com/office/drawing/2014/main" id="{AE91ADC0-4720-4790-A1A5-7BD238F7F6E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228566" y="5024026"/>
            <a:ext cx="312713" cy="312713"/>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On-call">
            <a:extLst>
              <a:ext uri="{FF2B5EF4-FFF2-40B4-BE49-F238E27FC236}">
                <a16:creationId xmlns:a16="http://schemas.microsoft.com/office/drawing/2014/main" id="{325FC3AA-FC7A-4FDF-96FF-CDD340A3DE9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37068" y="5575233"/>
            <a:ext cx="343984" cy="34398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3" name="Picture 132">
            <a:extLst>
              <a:ext uri="{FF2B5EF4-FFF2-40B4-BE49-F238E27FC236}">
                <a16:creationId xmlns:a16="http://schemas.microsoft.com/office/drawing/2014/main" id="{E02FBEFE-7648-4C04-98C3-C17687639C7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289008" y="5546720"/>
            <a:ext cx="312713" cy="385171"/>
          </a:xfrm>
          <a:prstGeom prst="rect">
            <a:avLst/>
          </a:prstGeom>
          <a:noFill/>
          <a:extLst>
            <a:ext uri="{909E8E84-426E-40DD-AFC4-6F175D3DCCD1}">
              <a14:hiddenFill xmlns:a14="http://schemas.microsoft.com/office/drawing/2010/main">
                <a:solidFill>
                  <a:srgbClr val="FFFFFF"/>
                </a:solidFill>
              </a14:hiddenFill>
            </a:ext>
          </a:extLst>
        </p:spPr>
      </p:pic>
      <p:sp>
        <p:nvSpPr>
          <p:cNvPr id="134" name="Network10" descr="{&quot;Key&quot;:&quot;POWER_USER_SHAPE_ICON&quot;,&quot;Value&quot;:&quot;POWER_USER_SHAPE_ICON_STYLE_1&quot;}">
            <a:extLst>
              <a:ext uri="{FF2B5EF4-FFF2-40B4-BE49-F238E27FC236}">
                <a16:creationId xmlns:a16="http://schemas.microsoft.com/office/drawing/2014/main" id="{051E0EF6-6C81-45C7-80DF-363703146A3F}"/>
              </a:ext>
            </a:extLst>
          </p:cNvPr>
          <p:cNvSpPr>
            <a:spLocks noChangeAspect="1" noEditPoints="1"/>
          </p:cNvSpPr>
          <p:nvPr>
            <p:custDataLst>
              <p:tags r:id="rId3"/>
            </p:custDataLst>
          </p:nvPr>
        </p:nvSpPr>
        <p:spPr bwMode="auto">
          <a:xfrm>
            <a:off x="7924962" y="5073053"/>
            <a:ext cx="343984" cy="254829"/>
          </a:xfrm>
          <a:custGeom>
            <a:avLst/>
            <a:gdLst>
              <a:gd name="T0" fmla="*/ 1800 w 4945"/>
              <a:gd name="T1" fmla="*/ 1411 h 3664"/>
              <a:gd name="T2" fmla="*/ 3137 w 4945"/>
              <a:gd name="T3" fmla="*/ 1082 h 3664"/>
              <a:gd name="T4" fmla="*/ 3146 w 4945"/>
              <a:gd name="T5" fmla="*/ 644 h 3664"/>
              <a:gd name="T6" fmla="*/ 1800 w 4945"/>
              <a:gd name="T7" fmla="*/ 636 h 3664"/>
              <a:gd name="T8" fmla="*/ 3146 w 4945"/>
              <a:gd name="T9" fmla="*/ 636 h 3664"/>
              <a:gd name="T10" fmla="*/ 2969 w 4945"/>
              <a:gd name="T11" fmla="*/ 0 h 3664"/>
              <a:gd name="T12" fmla="*/ 3146 w 4945"/>
              <a:gd name="T13" fmla="*/ 511 h 3664"/>
              <a:gd name="T14" fmla="*/ 1809 w 4945"/>
              <a:gd name="T15" fmla="*/ 519 h 3664"/>
              <a:gd name="T16" fmla="*/ 1800 w 4945"/>
              <a:gd name="T17" fmla="*/ 176 h 3664"/>
              <a:gd name="T18" fmla="*/ 1346 w 4945"/>
              <a:gd name="T19" fmla="*/ 1090 h 3664"/>
              <a:gd name="T20" fmla="*/ 0 w 4945"/>
              <a:gd name="T21" fmla="*/ 1082 h 3664"/>
              <a:gd name="T22" fmla="*/ 1346 w 4945"/>
              <a:gd name="T23" fmla="*/ 1082 h 3664"/>
              <a:gd name="T24" fmla="*/ 1346 w 4945"/>
              <a:gd name="T25" fmla="*/ 965 h 3664"/>
              <a:gd name="T26" fmla="*/ 9 w 4945"/>
              <a:gd name="T27" fmla="*/ 636 h 3664"/>
              <a:gd name="T28" fmla="*/ 1346 w 4945"/>
              <a:gd name="T29" fmla="*/ 644 h 3664"/>
              <a:gd name="T30" fmla="*/ 1294 w 4945"/>
              <a:gd name="T31" fmla="*/ 51 h 3664"/>
              <a:gd name="T32" fmla="*/ 1346 w 4945"/>
              <a:gd name="T33" fmla="*/ 519 h 3664"/>
              <a:gd name="T34" fmla="*/ 0 w 4945"/>
              <a:gd name="T35" fmla="*/ 519 h 3664"/>
              <a:gd name="T36" fmla="*/ 52 w 4945"/>
              <a:gd name="T37" fmla="*/ 51 h 3664"/>
              <a:gd name="T38" fmla="*/ 2267 w 4945"/>
              <a:gd name="T39" fmla="*/ 1975 h 3664"/>
              <a:gd name="T40" fmla="*/ 2679 w 4945"/>
              <a:gd name="T41" fmla="*/ 1975 h 3664"/>
              <a:gd name="T42" fmla="*/ 467 w 4945"/>
              <a:gd name="T43" fmla="*/ 2386 h 3664"/>
              <a:gd name="T44" fmla="*/ 4478 w 4945"/>
              <a:gd name="T45" fmla="*/ 1975 h 3664"/>
              <a:gd name="T46" fmla="*/ 4478 w 4945"/>
              <a:gd name="T47" fmla="*/ 2386 h 3664"/>
              <a:gd name="T48" fmla="*/ 4945 w 4945"/>
              <a:gd name="T49" fmla="*/ 1411 h 3664"/>
              <a:gd name="T50" fmla="*/ 3608 w 4945"/>
              <a:gd name="T51" fmla="*/ 1082 h 3664"/>
              <a:gd name="T52" fmla="*/ 4945 w 4945"/>
              <a:gd name="T53" fmla="*/ 1090 h 3664"/>
              <a:gd name="T54" fmla="*/ 3600 w 4945"/>
              <a:gd name="T55" fmla="*/ 965 h 3664"/>
              <a:gd name="T56" fmla="*/ 4937 w 4945"/>
              <a:gd name="T57" fmla="*/ 636 h 3664"/>
              <a:gd name="T58" fmla="*/ 2548 w 4945"/>
              <a:gd name="T59" fmla="*/ 2917 h 3664"/>
              <a:gd name="T60" fmla="*/ 4198 w 4945"/>
              <a:gd name="T61" fmla="*/ 2917 h 3664"/>
              <a:gd name="T62" fmla="*/ 3600 w 4945"/>
              <a:gd name="T63" fmla="*/ 2741 h 3664"/>
              <a:gd name="T64" fmla="*/ 3600 w 4945"/>
              <a:gd name="T65" fmla="*/ 1527 h 3664"/>
              <a:gd name="T66" fmla="*/ 4945 w 4945"/>
              <a:gd name="T67" fmla="*/ 1527 h 3664"/>
              <a:gd name="T68" fmla="*/ 4893 w 4945"/>
              <a:gd name="T69" fmla="*/ 2866 h 3664"/>
              <a:gd name="T70" fmla="*/ 4348 w 4945"/>
              <a:gd name="T71" fmla="*/ 3589 h 3664"/>
              <a:gd name="T72" fmla="*/ 4339 w 4945"/>
              <a:gd name="T73" fmla="*/ 3664 h 3664"/>
              <a:gd name="T74" fmla="*/ 673 w 4945"/>
              <a:gd name="T75" fmla="*/ 3664 h 3664"/>
              <a:gd name="T76" fmla="*/ 598 w 4945"/>
              <a:gd name="T77" fmla="*/ 3656 h 3664"/>
              <a:gd name="T78" fmla="*/ 177 w 4945"/>
              <a:gd name="T79" fmla="*/ 2917 h 3664"/>
              <a:gd name="T80" fmla="*/ 0 w 4945"/>
              <a:gd name="T81" fmla="*/ 1536 h 3664"/>
              <a:gd name="T82" fmla="*/ 1337 w 4945"/>
              <a:gd name="T83" fmla="*/ 1527 h 3664"/>
              <a:gd name="T84" fmla="*/ 1346 w 4945"/>
              <a:gd name="T85" fmla="*/ 2424 h 3664"/>
              <a:gd name="T86" fmla="*/ 1169 w 4945"/>
              <a:gd name="T87" fmla="*/ 2917 h 3664"/>
              <a:gd name="T88" fmla="*/ 1668 w 4945"/>
              <a:gd name="T89" fmla="*/ 3514 h 3664"/>
              <a:gd name="T90" fmla="*/ 1977 w 4945"/>
              <a:gd name="T91" fmla="*/ 2917 h 3664"/>
              <a:gd name="T92" fmla="*/ 1800 w 4945"/>
              <a:gd name="T93" fmla="*/ 2425 h 3664"/>
              <a:gd name="T94" fmla="*/ 1809 w 4945"/>
              <a:gd name="T95" fmla="*/ 1527 h 3664"/>
              <a:gd name="T96" fmla="*/ 3146 w 4945"/>
              <a:gd name="T97" fmla="*/ 1536 h 3664"/>
              <a:gd name="T98" fmla="*/ 3094 w 4945"/>
              <a:gd name="T99" fmla="*/ 2866 h 3664"/>
              <a:gd name="T100" fmla="*/ 3777 w 4945"/>
              <a:gd name="T101" fmla="*/ 0 h 3664"/>
              <a:gd name="T102" fmla="*/ 4945 w 4945"/>
              <a:gd name="T103" fmla="*/ 176 h 3664"/>
              <a:gd name="T104" fmla="*/ 4937 w 4945"/>
              <a:gd name="T105" fmla="*/ 519 h 3664"/>
              <a:gd name="T106" fmla="*/ 3600 w 4945"/>
              <a:gd name="T107" fmla="*/ 511 h 3664"/>
              <a:gd name="T108" fmla="*/ 3777 w 4945"/>
              <a:gd name="T109" fmla="*/ 0 h 3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45" h="3664">
                <a:moveTo>
                  <a:pt x="3146" y="1090"/>
                </a:moveTo>
                <a:lnTo>
                  <a:pt x="3146" y="1411"/>
                </a:lnTo>
                <a:lnTo>
                  <a:pt x="1800" y="1411"/>
                </a:lnTo>
                <a:lnTo>
                  <a:pt x="1800" y="1082"/>
                </a:lnTo>
                <a:lnTo>
                  <a:pt x="1809" y="1082"/>
                </a:lnTo>
                <a:lnTo>
                  <a:pt x="3137" y="1082"/>
                </a:lnTo>
                <a:lnTo>
                  <a:pt x="3146" y="1082"/>
                </a:lnTo>
                <a:lnTo>
                  <a:pt x="3146" y="1090"/>
                </a:lnTo>
                <a:close/>
                <a:moveTo>
                  <a:pt x="3146" y="644"/>
                </a:moveTo>
                <a:lnTo>
                  <a:pt x="3146" y="965"/>
                </a:lnTo>
                <a:lnTo>
                  <a:pt x="1800" y="965"/>
                </a:lnTo>
                <a:lnTo>
                  <a:pt x="1800" y="636"/>
                </a:lnTo>
                <a:lnTo>
                  <a:pt x="1809" y="636"/>
                </a:lnTo>
                <a:lnTo>
                  <a:pt x="3137" y="636"/>
                </a:lnTo>
                <a:lnTo>
                  <a:pt x="3146" y="636"/>
                </a:lnTo>
                <a:lnTo>
                  <a:pt x="3146" y="644"/>
                </a:lnTo>
                <a:close/>
                <a:moveTo>
                  <a:pt x="1977" y="0"/>
                </a:moveTo>
                <a:lnTo>
                  <a:pt x="2969" y="0"/>
                </a:lnTo>
                <a:cubicBezTo>
                  <a:pt x="3018" y="0"/>
                  <a:pt x="3062" y="19"/>
                  <a:pt x="3094" y="51"/>
                </a:cubicBezTo>
                <a:cubicBezTo>
                  <a:pt x="3126" y="83"/>
                  <a:pt x="3146" y="127"/>
                  <a:pt x="3146" y="176"/>
                </a:cubicBezTo>
                <a:lnTo>
                  <a:pt x="3146" y="511"/>
                </a:lnTo>
                <a:lnTo>
                  <a:pt x="3146" y="519"/>
                </a:lnTo>
                <a:lnTo>
                  <a:pt x="3137" y="519"/>
                </a:lnTo>
                <a:lnTo>
                  <a:pt x="1809" y="519"/>
                </a:lnTo>
                <a:lnTo>
                  <a:pt x="1800" y="519"/>
                </a:lnTo>
                <a:lnTo>
                  <a:pt x="1800" y="511"/>
                </a:lnTo>
                <a:lnTo>
                  <a:pt x="1800" y="176"/>
                </a:lnTo>
                <a:cubicBezTo>
                  <a:pt x="1800" y="127"/>
                  <a:pt x="1820" y="83"/>
                  <a:pt x="1852" y="51"/>
                </a:cubicBezTo>
                <a:cubicBezTo>
                  <a:pt x="1884" y="19"/>
                  <a:pt x="1928" y="0"/>
                  <a:pt x="1977" y="0"/>
                </a:cubicBezTo>
                <a:close/>
                <a:moveTo>
                  <a:pt x="1346" y="1090"/>
                </a:moveTo>
                <a:lnTo>
                  <a:pt x="1346" y="1411"/>
                </a:lnTo>
                <a:lnTo>
                  <a:pt x="0" y="1411"/>
                </a:lnTo>
                <a:lnTo>
                  <a:pt x="0" y="1082"/>
                </a:lnTo>
                <a:lnTo>
                  <a:pt x="9" y="1082"/>
                </a:lnTo>
                <a:lnTo>
                  <a:pt x="1337" y="1082"/>
                </a:lnTo>
                <a:lnTo>
                  <a:pt x="1346" y="1082"/>
                </a:lnTo>
                <a:lnTo>
                  <a:pt x="1346" y="1090"/>
                </a:lnTo>
                <a:close/>
                <a:moveTo>
                  <a:pt x="1346" y="644"/>
                </a:moveTo>
                <a:lnTo>
                  <a:pt x="1346" y="965"/>
                </a:lnTo>
                <a:lnTo>
                  <a:pt x="0" y="965"/>
                </a:lnTo>
                <a:lnTo>
                  <a:pt x="0" y="636"/>
                </a:lnTo>
                <a:lnTo>
                  <a:pt x="9" y="636"/>
                </a:lnTo>
                <a:lnTo>
                  <a:pt x="1337" y="636"/>
                </a:lnTo>
                <a:lnTo>
                  <a:pt x="1346" y="636"/>
                </a:lnTo>
                <a:lnTo>
                  <a:pt x="1346" y="644"/>
                </a:lnTo>
                <a:close/>
                <a:moveTo>
                  <a:pt x="177" y="0"/>
                </a:moveTo>
                <a:lnTo>
                  <a:pt x="1169" y="0"/>
                </a:lnTo>
                <a:cubicBezTo>
                  <a:pt x="1218" y="0"/>
                  <a:pt x="1262" y="19"/>
                  <a:pt x="1294" y="51"/>
                </a:cubicBezTo>
                <a:cubicBezTo>
                  <a:pt x="1326" y="83"/>
                  <a:pt x="1346" y="127"/>
                  <a:pt x="1346" y="176"/>
                </a:cubicBezTo>
                <a:lnTo>
                  <a:pt x="1346" y="511"/>
                </a:lnTo>
                <a:lnTo>
                  <a:pt x="1346" y="519"/>
                </a:lnTo>
                <a:lnTo>
                  <a:pt x="1337" y="519"/>
                </a:lnTo>
                <a:lnTo>
                  <a:pt x="9" y="519"/>
                </a:lnTo>
                <a:lnTo>
                  <a:pt x="0" y="519"/>
                </a:lnTo>
                <a:lnTo>
                  <a:pt x="0" y="511"/>
                </a:lnTo>
                <a:lnTo>
                  <a:pt x="0" y="176"/>
                </a:lnTo>
                <a:cubicBezTo>
                  <a:pt x="0" y="127"/>
                  <a:pt x="20" y="83"/>
                  <a:pt x="52" y="51"/>
                </a:cubicBezTo>
                <a:cubicBezTo>
                  <a:pt x="84" y="19"/>
                  <a:pt x="128" y="0"/>
                  <a:pt x="177" y="0"/>
                </a:cubicBezTo>
                <a:close/>
                <a:moveTo>
                  <a:pt x="2679" y="1975"/>
                </a:moveTo>
                <a:lnTo>
                  <a:pt x="2267" y="1975"/>
                </a:lnTo>
                <a:lnTo>
                  <a:pt x="2267" y="2386"/>
                </a:lnTo>
                <a:lnTo>
                  <a:pt x="2679" y="2386"/>
                </a:lnTo>
                <a:lnTo>
                  <a:pt x="2679" y="1975"/>
                </a:lnTo>
                <a:close/>
                <a:moveTo>
                  <a:pt x="879" y="1975"/>
                </a:moveTo>
                <a:lnTo>
                  <a:pt x="467" y="1975"/>
                </a:lnTo>
                <a:lnTo>
                  <a:pt x="467" y="2386"/>
                </a:lnTo>
                <a:lnTo>
                  <a:pt x="879" y="2386"/>
                </a:lnTo>
                <a:lnTo>
                  <a:pt x="879" y="1975"/>
                </a:lnTo>
                <a:close/>
                <a:moveTo>
                  <a:pt x="4478" y="1975"/>
                </a:moveTo>
                <a:lnTo>
                  <a:pt x="4067" y="1975"/>
                </a:lnTo>
                <a:lnTo>
                  <a:pt x="4067" y="2386"/>
                </a:lnTo>
                <a:lnTo>
                  <a:pt x="4478" y="2386"/>
                </a:lnTo>
                <a:lnTo>
                  <a:pt x="4478" y="1975"/>
                </a:lnTo>
                <a:close/>
                <a:moveTo>
                  <a:pt x="4945" y="1090"/>
                </a:moveTo>
                <a:lnTo>
                  <a:pt x="4945" y="1411"/>
                </a:lnTo>
                <a:lnTo>
                  <a:pt x="3600" y="1411"/>
                </a:lnTo>
                <a:lnTo>
                  <a:pt x="3600" y="1082"/>
                </a:lnTo>
                <a:lnTo>
                  <a:pt x="3608" y="1082"/>
                </a:lnTo>
                <a:lnTo>
                  <a:pt x="4937" y="1082"/>
                </a:lnTo>
                <a:lnTo>
                  <a:pt x="4945" y="1082"/>
                </a:lnTo>
                <a:lnTo>
                  <a:pt x="4945" y="1090"/>
                </a:lnTo>
                <a:close/>
                <a:moveTo>
                  <a:pt x="4945" y="644"/>
                </a:moveTo>
                <a:lnTo>
                  <a:pt x="4945" y="965"/>
                </a:lnTo>
                <a:lnTo>
                  <a:pt x="3600" y="965"/>
                </a:lnTo>
                <a:lnTo>
                  <a:pt x="3600" y="636"/>
                </a:lnTo>
                <a:lnTo>
                  <a:pt x="3608" y="636"/>
                </a:lnTo>
                <a:lnTo>
                  <a:pt x="4937" y="636"/>
                </a:lnTo>
                <a:lnTo>
                  <a:pt x="4945" y="636"/>
                </a:lnTo>
                <a:lnTo>
                  <a:pt x="4945" y="644"/>
                </a:lnTo>
                <a:close/>
                <a:moveTo>
                  <a:pt x="2548" y="2917"/>
                </a:moveTo>
                <a:lnTo>
                  <a:pt x="2548" y="3514"/>
                </a:lnTo>
                <a:lnTo>
                  <a:pt x="4198" y="3514"/>
                </a:lnTo>
                <a:lnTo>
                  <a:pt x="4198" y="2917"/>
                </a:lnTo>
                <a:lnTo>
                  <a:pt x="3777" y="2917"/>
                </a:lnTo>
                <a:cubicBezTo>
                  <a:pt x="3728" y="2917"/>
                  <a:pt x="3684" y="2898"/>
                  <a:pt x="3652" y="2866"/>
                </a:cubicBezTo>
                <a:cubicBezTo>
                  <a:pt x="3620" y="2834"/>
                  <a:pt x="3600" y="2789"/>
                  <a:pt x="3600" y="2741"/>
                </a:cubicBezTo>
                <a:lnTo>
                  <a:pt x="3600" y="2427"/>
                </a:lnTo>
                <a:lnTo>
                  <a:pt x="3600" y="1536"/>
                </a:lnTo>
                <a:lnTo>
                  <a:pt x="3600" y="1527"/>
                </a:lnTo>
                <a:lnTo>
                  <a:pt x="3608" y="1527"/>
                </a:lnTo>
                <a:lnTo>
                  <a:pt x="4937" y="1527"/>
                </a:lnTo>
                <a:lnTo>
                  <a:pt x="4945" y="1527"/>
                </a:lnTo>
                <a:lnTo>
                  <a:pt x="4945" y="1536"/>
                </a:lnTo>
                <a:lnTo>
                  <a:pt x="4945" y="2741"/>
                </a:lnTo>
                <a:cubicBezTo>
                  <a:pt x="4945" y="2789"/>
                  <a:pt x="4925" y="2834"/>
                  <a:pt x="4893" y="2866"/>
                </a:cubicBezTo>
                <a:cubicBezTo>
                  <a:pt x="4862" y="2898"/>
                  <a:pt x="4817" y="2917"/>
                  <a:pt x="4769" y="2917"/>
                </a:cubicBezTo>
                <a:lnTo>
                  <a:pt x="4348" y="2917"/>
                </a:lnTo>
                <a:lnTo>
                  <a:pt x="4348" y="3589"/>
                </a:lnTo>
                <a:lnTo>
                  <a:pt x="4348" y="3656"/>
                </a:lnTo>
                <a:lnTo>
                  <a:pt x="4348" y="3664"/>
                </a:lnTo>
                <a:lnTo>
                  <a:pt x="4339" y="3664"/>
                </a:lnTo>
                <a:lnTo>
                  <a:pt x="4273" y="3664"/>
                </a:lnTo>
                <a:lnTo>
                  <a:pt x="1668" y="3664"/>
                </a:lnTo>
                <a:lnTo>
                  <a:pt x="673" y="3664"/>
                </a:lnTo>
                <a:lnTo>
                  <a:pt x="606" y="3664"/>
                </a:lnTo>
                <a:lnTo>
                  <a:pt x="598" y="3664"/>
                </a:lnTo>
                <a:lnTo>
                  <a:pt x="598" y="3656"/>
                </a:lnTo>
                <a:lnTo>
                  <a:pt x="598" y="3589"/>
                </a:lnTo>
                <a:lnTo>
                  <a:pt x="598" y="2917"/>
                </a:lnTo>
                <a:lnTo>
                  <a:pt x="177" y="2917"/>
                </a:lnTo>
                <a:cubicBezTo>
                  <a:pt x="128" y="2917"/>
                  <a:pt x="84" y="2898"/>
                  <a:pt x="52" y="2866"/>
                </a:cubicBezTo>
                <a:cubicBezTo>
                  <a:pt x="20" y="2834"/>
                  <a:pt x="0" y="2789"/>
                  <a:pt x="0" y="2741"/>
                </a:cubicBezTo>
                <a:lnTo>
                  <a:pt x="0" y="1536"/>
                </a:lnTo>
                <a:lnTo>
                  <a:pt x="0" y="1527"/>
                </a:lnTo>
                <a:lnTo>
                  <a:pt x="9" y="1527"/>
                </a:lnTo>
                <a:lnTo>
                  <a:pt x="1337" y="1527"/>
                </a:lnTo>
                <a:lnTo>
                  <a:pt x="1346" y="1527"/>
                </a:lnTo>
                <a:lnTo>
                  <a:pt x="1346" y="1536"/>
                </a:lnTo>
                <a:lnTo>
                  <a:pt x="1346" y="2424"/>
                </a:lnTo>
                <a:lnTo>
                  <a:pt x="1346" y="2741"/>
                </a:lnTo>
                <a:cubicBezTo>
                  <a:pt x="1346" y="2789"/>
                  <a:pt x="1326" y="2834"/>
                  <a:pt x="1294" y="2866"/>
                </a:cubicBezTo>
                <a:cubicBezTo>
                  <a:pt x="1262" y="2898"/>
                  <a:pt x="1218" y="2917"/>
                  <a:pt x="1169" y="2917"/>
                </a:cubicBezTo>
                <a:lnTo>
                  <a:pt x="748" y="2917"/>
                </a:lnTo>
                <a:lnTo>
                  <a:pt x="748" y="3514"/>
                </a:lnTo>
                <a:lnTo>
                  <a:pt x="1668" y="3514"/>
                </a:lnTo>
                <a:lnTo>
                  <a:pt x="2398" y="3514"/>
                </a:lnTo>
                <a:lnTo>
                  <a:pt x="2398" y="2917"/>
                </a:lnTo>
                <a:lnTo>
                  <a:pt x="1977" y="2917"/>
                </a:lnTo>
                <a:cubicBezTo>
                  <a:pt x="1928" y="2917"/>
                  <a:pt x="1884" y="2898"/>
                  <a:pt x="1852" y="2866"/>
                </a:cubicBezTo>
                <a:cubicBezTo>
                  <a:pt x="1820" y="2834"/>
                  <a:pt x="1800" y="2789"/>
                  <a:pt x="1800" y="2741"/>
                </a:cubicBezTo>
                <a:lnTo>
                  <a:pt x="1800" y="2425"/>
                </a:lnTo>
                <a:lnTo>
                  <a:pt x="1800" y="1536"/>
                </a:lnTo>
                <a:lnTo>
                  <a:pt x="1800" y="1527"/>
                </a:lnTo>
                <a:lnTo>
                  <a:pt x="1809" y="1527"/>
                </a:lnTo>
                <a:lnTo>
                  <a:pt x="3137" y="1527"/>
                </a:lnTo>
                <a:lnTo>
                  <a:pt x="3146" y="1527"/>
                </a:lnTo>
                <a:lnTo>
                  <a:pt x="3146" y="1536"/>
                </a:lnTo>
                <a:lnTo>
                  <a:pt x="3146" y="2426"/>
                </a:lnTo>
                <a:lnTo>
                  <a:pt x="3146" y="2741"/>
                </a:lnTo>
                <a:cubicBezTo>
                  <a:pt x="3146" y="2789"/>
                  <a:pt x="3126" y="2834"/>
                  <a:pt x="3094" y="2866"/>
                </a:cubicBezTo>
                <a:cubicBezTo>
                  <a:pt x="3062" y="2898"/>
                  <a:pt x="3018" y="2917"/>
                  <a:pt x="2969" y="2917"/>
                </a:cubicBezTo>
                <a:lnTo>
                  <a:pt x="2548" y="2917"/>
                </a:lnTo>
                <a:close/>
                <a:moveTo>
                  <a:pt x="3777" y="0"/>
                </a:moveTo>
                <a:lnTo>
                  <a:pt x="4769" y="0"/>
                </a:lnTo>
                <a:cubicBezTo>
                  <a:pt x="4817" y="0"/>
                  <a:pt x="4862" y="19"/>
                  <a:pt x="4893" y="51"/>
                </a:cubicBezTo>
                <a:cubicBezTo>
                  <a:pt x="4925" y="83"/>
                  <a:pt x="4945" y="127"/>
                  <a:pt x="4945" y="176"/>
                </a:cubicBezTo>
                <a:lnTo>
                  <a:pt x="4945" y="511"/>
                </a:lnTo>
                <a:lnTo>
                  <a:pt x="4945" y="519"/>
                </a:lnTo>
                <a:lnTo>
                  <a:pt x="4937" y="519"/>
                </a:lnTo>
                <a:lnTo>
                  <a:pt x="3608" y="519"/>
                </a:lnTo>
                <a:lnTo>
                  <a:pt x="3600" y="519"/>
                </a:lnTo>
                <a:lnTo>
                  <a:pt x="3600" y="511"/>
                </a:lnTo>
                <a:lnTo>
                  <a:pt x="3600" y="176"/>
                </a:lnTo>
                <a:cubicBezTo>
                  <a:pt x="3600" y="127"/>
                  <a:pt x="3620" y="83"/>
                  <a:pt x="3652" y="51"/>
                </a:cubicBezTo>
                <a:cubicBezTo>
                  <a:pt x="3684" y="19"/>
                  <a:pt x="3728" y="0"/>
                  <a:pt x="3777" y="0"/>
                </a:cubicBezTo>
                <a:lnTo>
                  <a:pt x="3777" y="0"/>
                </a:lnTo>
                <a:close/>
              </a:path>
            </a:pathLst>
          </a:custGeom>
          <a:noFill/>
          <a:ln>
            <a:solidFill>
              <a:srgbClr val="FFE600"/>
            </a:solidFill>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nvGrpSpPr>
          <p:cNvPr id="135" name="Group 134">
            <a:extLst>
              <a:ext uri="{FF2B5EF4-FFF2-40B4-BE49-F238E27FC236}">
                <a16:creationId xmlns:a16="http://schemas.microsoft.com/office/drawing/2014/main" id="{AC80B7BC-5929-4007-A2A7-C1E18BD0ACB5}"/>
              </a:ext>
            </a:extLst>
          </p:cNvPr>
          <p:cNvGrpSpPr/>
          <p:nvPr/>
        </p:nvGrpSpPr>
        <p:grpSpPr>
          <a:xfrm>
            <a:off x="9076760" y="5059211"/>
            <a:ext cx="343983" cy="278593"/>
            <a:chOff x="4335007" y="4201877"/>
            <a:chExt cx="1764168" cy="1330910"/>
          </a:xfrm>
        </p:grpSpPr>
        <p:grpSp>
          <p:nvGrpSpPr>
            <p:cNvPr id="136" name="Agile_development" descr="{&quot;Key&quot;:&quot;POWER_USER_SHAPE_ICON&quot;,&quot;Value&quot;:&quot;POWER_USER_SHAPE_ICON_STYLE_1&quot;}">
              <a:extLst>
                <a:ext uri="{FF2B5EF4-FFF2-40B4-BE49-F238E27FC236}">
                  <a16:creationId xmlns:a16="http://schemas.microsoft.com/office/drawing/2014/main" id="{EA463282-B10E-409E-AFB9-C164CF37B79D}"/>
                </a:ext>
              </a:extLst>
            </p:cNvPr>
            <p:cNvGrpSpPr>
              <a:grpSpLocks noChangeAspect="1"/>
            </p:cNvGrpSpPr>
            <p:nvPr>
              <p:custDataLst>
                <p:tags r:id="rId5"/>
              </p:custDataLst>
            </p:nvPr>
          </p:nvGrpSpPr>
          <p:grpSpPr>
            <a:xfrm>
              <a:off x="4335007" y="4201877"/>
              <a:ext cx="1764168" cy="1330910"/>
              <a:chOff x="7643813" y="5260975"/>
              <a:chExt cx="1079500" cy="814388"/>
            </a:xfrm>
            <a:noFill/>
          </p:grpSpPr>
          <p:sp>
            <p:nvSpPr>
              <p:cNvPr id="138" name="Freeform 190">
                <a:extLst>
                  <a:ext uri="{FF2B5EF4-FFF2-40B4-BE49-F238E27FC236}">
                    <a16:creationId xmlns:a16="http://schemas.microsoft.com/office/drawing/2014/main" id="{E2DD7984-6282-4F03-83B3-83473DA7E8E5}"/>
                  </a:ext>
                </a:extLst>
              </p:cNvPr>
              <p:cNvSpPr>
                <a:spLocks/>
              </p:cNvSpPr>
              <p:nvPr/>
            </p:nvSpPr>
            <p:spPr bwMode="auto">
              <a:xfrm>
                <a:off x="8266113" y="5849938"/>
                <a:ext cx="457200" cy="225425"/>
              </a:xfrm>
              <a:custGeom>
                <a:avLst/>
                <a:gdLst>
                  <a:gd name="T0" fmla="*/ 437 w 759"/>
                  <a:gd name="T1" fmla="*/ 0 h 373"/>
                  <a:gd name="T2" fmla="*/ 437 w 759"/>
                  <a:gd name="T3" fmla="*/ 168 h 373"/>
                  <a:gd name="T4" fmla="*/ 431 w 759"/>
                  <a:gd name="T5" fmla="*/ 157 h 373"/>
                  <a:gd name="T6" fmla="*/ 403 w 759"/>
                  <a:gd name="T7" fmla="*/ 94 h 373"/>
                  <a:gd name="T8" fmla="*/ 252 w 759"/>
                  <a:gd name="T9" fmla="*/ 94 h 373"/>
                  <a:gd name="T10" fmla="*/ 0 w 759"/>
                  <a:gd name="T11" fmla="*/ 294 h 373"/>
                  <a:gd name="T12" fmla="*/ 434 w 759"/>
                  <a:gd name="T13" fmla="*/ 294 h 373"/>
                  <a:gd name="T14" fmla="*/ 436 w 759"/>
                  <a:gd name="T15" fmla="*/ 373 h 373"/>
                  <a:gd name="T16" fmla="*/ 759 w 759"/>
                  <a:gd name="T17" fmla="*/ 177 h 373"/>
                  <a:gd name="T18" fmla="*/ 437 w 759"/>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373">
                    <a:moveTo>
                      <a:pt x="437" y="0"/>
                    </a:moveTo>
                    <a:lnTo>
                      <a:pt x="437" y="168"/>
                    </a:lnTo>
                    <a:lnTo>
                      <a:pt x="431" y="157"/>
                    </a:lnTo>
                    <a:lnTo>
                      <a:pt x="403" y="94"/>
                    </a:lnTo>
                    <a:lnTo>
                      <a:pt x="252" y="94"/>
                    </a:lnTo>
                    <a:cubicBezTo>
                      <a:pt x="185" y="179"/>
                      <a:pt x="99" y="248"/>
                      <a:pt x="0" y="294"/>
                    </a:cubicBezTo>
                    <a:lnTo>
                      <a:pt x="434" y="294"/>
                    </a:lnTo>
                    <a:lnTo>
                      <a:pt x="436" y="373"/>
                    </a:lnTo>
                    <a:lnTo>
                      <a:pt x="759" y="177"/>
                    </a:lnTo>
                    <a:lnTo>
                      <a:pt x="437" y="0"/>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139" name="Freeform 191">
                <a:extLst>
                  <a:ext uri="{FF2B5EF4-FFF2-40B4-BE49-F238E27FC236}">
                    <a16:creationId xmlns:a16="http://schemas.microsoft.com/office/drawing/2014/main" id="{F9EA6F57-19D6-4816-B4D4-D2D1B6075453}"/>
                  </a:ext>
                </a:extLst>
              </p:cNvPr>
              <p:cNvSpPr>
                <a:spLocks/>
              </p:cNvSpPr>
              <p:nvPr/>
            </p:nvSpPr>
            <p:spPr bwMode="auto">
              <a:xfrm>
                <a:off x="7794625" y="5810250"/>
                <a:ext cx="139700" cy="57150"/>
              </a:xfrm>
              <a:custGeom>
                <a:avLst/>
                <a:gdLst>
                  <a:gd name="T0" fmla="*/ 115 w 232"/>
                  <a:gd name="T1" fmla="*/ 0 h 94"/>
                  <a:gd name="T2" fmla="*/ 0 w 232"/>
                  <a:gd name="T3" fmla="*/ 94 h 94"/>
                  <a:gd name="T4" fmla="*/ 232 w 232"/>
                  <a:gd name="T5" fmla="*/ 94 h 94"/>
                  <a:gd name="T6" fmla="*/ 115 w 232"/>
                  <a:gd name="T7" fmla="*/ 0 h 94"/>
                </a:gdLst>
                <a:ahLst/>
                <a:cxnLst>
                  <a:cxn ang="0">
                    <a:pos x="T0" y="T1"/>
                  </a:cxn>
                  <a:cxn ang="0">
                    <a:pos x="T2" y="T3"/>
                  </a:cxn>
                  <a:cxn ang="0">
                    <a:pos x="T4" y="T5"/>
                  </a:cxn>
                  <a:cxn ang="0">
                    <a:pos x="T6" y="T7"/>
                  </a:cxn>
                </a:cxnLst>
                <a:rect l="0" t="0" r="r" b="b"/>
                <a:pathLst>
                  <a:path w="232" h="94">
                    <a:moveTo>
                      <a:pt x="115" y="0"/>
                    </a:moveTo>
                    <a:lnTo>
                      <a:pt x="0" y="94"/>
                    </a:lnTo>
                    <a:lnTo>
                      <a:pt x="232" y="94"/>
                    </a:lnTo>
                    <a:cubicBezTo>
                      <a:pt x="185" y="68"/>
                      <a:pt x="144" y="37"/>
                      <a:pt x="115" y="0"/>
                    </a:cubicBez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140" name="Freeform 192">
                <a:extLst>
                  <a:ext uri="{FF2B5EF4-FFF2-40B4-BE49-F238E27FC236}">
                    <a16:creationId xmlns:a16="http://schemas.microsoft.com/office/drawing/2014/main" id="{C94DFD90-46D6-4F72-B143-C8B14AB1FFEB}"/>
                  </a:ext>
                </a:extLst>
              </p:cNvPr>
              <p:cNvSpPr>
                <a:spLocks/>
              </p:cNvSpPr>
              <p:nvPr/>
            </p:nvSpPr>
            <p:spPr bwMode="auto">
              <a:xfrm>
                <a:off x="7643813" y="5530850"/>
                <a:ext cx="862013" cy="496888"/>
              </a:xfrm>
              <a:custGeom>
                <a:avLst/>
                <a:gdLst>
                  <a:gd name="T0" fmla="*/ 1197 w 1430"/>
                  <a:gd name="T1" fmla="*/ 624 h 824"/>
                  <a:gd name="T2" fmla="*/ 1349 w 1430"/>
                  <a:gd name="T3" fmla="*/ 347 h 824"/>
                  <a:gd name="T4" fmla="*/ 1415 w 1430"/>
                  <a:gd name="T5" fmla="*/ 358 h 824"/>
                  <a:gd name="T6" fmla="*/ 1430 w 1430"/>
                  <a:gd name="T7" fmla="*/ 361 h 824"/>
                  <a:gd name="T8" fmla="*/ 1420 w 1430"/>
                  <a:gd name="T9" fmla="*/ 333 h 824"/>
                  <a:gd name="T10" fmla="*/ 1406 w 1430"/>
                  <a:gd name="T11" fmla="*/ 296 h 824"/>
                  <a:gd name="T12" fmla="*/ 1297 w 1430"/>
                  <a:gd name="T13" fmla="*/ 0 h 824"/>
                  <a:gd name="T14" fmla="*/ 1065 w 1430"/>
                  <a:gd name="T15" fmla="*/ 280 h 824"/>
                  <a:gd name="T16" fmla="*/ 1089 w 1430"/>
                  <a:gd name="T17" fmla="*/ 286 h 824"/>
                  <a:gd name="T18" fmla="*/ 1154 w 1430"/>
                  <a:gd name="T19" fmla="*/ 300 h 824"/>
                  <a:gd name="T20" fmla="*/ 1241 w 1430"/>
                  <a:gd name="T21" fmla="*/ 318 h 824"/>
                  <a:gd name="T22" fmla="*/ 1215 w 1430"/>
                  <a:gd name="T23" fmla="*/ 324 h 824"/>
                  <a:gd name="T24" fmla="*/ 1141 w 1430"/>
                  <a:gd name="T25" fmla="*/ 340 h 824"/>
                  <a:gd name="T26" fmla="*/ 734 w 1430"/>
                  <a:gd name="T27" fmla="*/ 624 h 824"/>
                  <a:gd name="T28" fmla="*/ 732 w 1430"/>
                  <a:gd name="T29" fmla="*/ 624 h 824"/>
                  <a:gd name="T30" fmla="*/ 240 w 1430"/>
                  <a:gd name="T31" fmla="*/ 624 h 824"/>
                  <a:gd name="T32" fmla="*/ 0 w 1430"/>
                  <a:gd name="T33" fmla="*/ 624 h 824"/>
                  <a:gd name="T34" fmla="*/ 0 w 1430"/>
                  <a:gd name="T35" fmla="*/ 824 h 824"/>
                  <a:gd name="T36" fmla="*/ 732 w 1430"/>
                  <a:gd name="T37" fmla="*/ 824 h 824"/>
                  <a:gd name="T38" fmla="*/ 734 w 1430"/>
                  <a:gd name="T39" fmla="*/ 824 h 824"/>
                  <a:gd name="T40" fmla="*/ 1197 w 1430"/>
                  <a:gd name="T41" fmla="*/ 6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0" h="824">
                    <a:moveTo>
                      <a:pt x="1197" y="624"/>
                    </a:moveTo>
                    <a:cubicBezTo>
                      <a:pt x="1268" y="548"/>
                      <a:pt x="1321" y="453"/>
                      <a:pt x="1349" y="347"/>
                    </a:cubicBezTo>
                    <a:lnTo>
                      <a:pt x="1415" y="358"/>
                    </a:lnTo>
                    <a:lnTo>
                      <a:pt x="1430" y="361"/>
                    </a:lnTo>
                    <a:lnTo>
                      <a:pt x="1420" y="333"/>
                    </a:lnTo>
                    <a:lnTo>
                      <a:pt x="1406" y="296"/>
                    </a:lnTo>
                    <a:lnTo>
                      <a:pt x="1297" y="0"/>
                    </a:lnTo>
                    <a:lnTo>
                      <a:pt x="1065" y="280"/>
                    </a:lnTo>
                    <a:lnTo>
                      <a:pt x="1089" y="286"/>
                    </a:lnTo>
                    <a:lnTo>
                      <a:pt x="1154" y="300"/>
                    </a:lnTo>
                    <a:lnTo>
                      <a:pt x="1241" y="318"/>
                    </a:lnTo>
                    <a:lnTo>
                      <a:pt x="1215" y="324"/>
                    </a:lnTo>
                    <a:lnTo>
                      <a:pt x="1141" y="340"/>
                    </a:lnTo>
                    <a:cubicBezTo>
                      <a:pt x="1079" y="508"/>
                      <a:pt x="920" y="623"/>
                      <a:pt x="734" y="624"/>
                    </a:cubicBezTo>
                    <a:cubicBezTo>
                      <a:pt x="733" y="624"/>
                      <a:pt x="733" y="624"/>
                      <a:pt x="732" y="624"/>
                    </a:cubicBezTo>
                    <a:lnTo>
                      <a:pt x="240" y="624"/>
                    </a:lnTo>
                    <a:lnTo>
                      <a:pt x="0" y="624"/>
                    </a:lnTo>
                    <a:lnTo>
                      <a:pt x="0" y="824"/>
                    </a:lnTo>
                    <a:lnTo>
                      <a:pt x="732" y="824"/>
                    </a:lnTo>
                    <a:cubicBezTo>
                      <a:pt x="733" y="824"/>
                      <a:pt x="734" y="824"/>
                      <a:pt x="734" y="824"/>
                    </a:cubicBezTo>
                    <a:cubicBezTo>
                      <a:pt x="916" y="823"/>
                      <a:pt x="1081" y="747"/>
                      <a:pt x="1197" y="624"/>
                    </a:cubicBez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141" name="Freeform 193">
                <a:extLst>
                  <a:ext uri="{FF2B5EF4-FFF2-40B4-BE49-F238E27FC236}">
                    <a16:creationId xmlns:a16="http://schemas.microsoft.com/office/drawing/2014/main" id="{64F002C8-DC21-46BE-A8E4-F6AF76EC7224}"/>
                  </a:ext>
                </a:extLst>
              </p:cNvPr>
              <p:cNvSpPr>
                <a:spLocks/>
              </p:cNvSpPr>
              <p:nvPr/>
            </p:nvSpPr>
            <p:spPr bwMode="auto">
              <a:xfrm>
                <a:off x="7651750" y="5260975"/>
                <a:ext cx="814388" cy="560388"/>
              </a:xfrm>
              <a:custGeom>
                <a:avLst/>
                <a:gdLst>
                  <a:gd name="T0" fmla="*/ 375 w 1353"/>
                  <a:gd name="T1" fmla="*/ 569 h 930"/>
                  <a:gd name="T2" fmla="*/ 287 w 1353"/>
                  <a:gd name="T3" fmla="*/ 584 h 930"/>
                  <a:gd name="T4" fmla="*/ 720 w 1353"/>
                  <a:gd name="T5" fmla="*/ 200 h 930"/>
                  <a:gd name="T6" fmla="*/ 1170 w 1353"/>
                  <a:gd name="T7" fmla="*/ 440 h 930"/>
                  <a:gd name="T8" fmla="*/ 1353 w 1353"/>
                  <a:gd name="T9" fmla="*/ 358 h 930"/>
                  <a:gd name="T10" fmla="*/ 720 w 1353"/>
                  <a:gd name="T11" fmla="*/ 0 h 930"/>
                  <a:gd name="T12" fmla="*/ 86 w 1353"/>
                  <a:gd name="T13" fmla="*/ 585 h 930"/>
                  <a:gd name="T14" fmla="*/ 170 w 1353"/>
                  <a:gd name="T15" fmla="*/ 604 h 930"/>
                  <a:gd name="T16" fmla="*/ 163 w 1353"/>
                  <a:gd name="T17" fmla="*/ 606 h 930"/>
                  <a:gd name="T18" fmla="*/ 84 w 1353"/>
                  <a:gd name="T19" fmla="*/ 622 h 930"/>
                  <a:gd name="T20" fmla="*/ 0 w 1353"/>
                  <a:gd name="T21" fmla="*/ 640 h 930"/>
                  <a:gd name="T22" fmla="*/ 242 w 1353"/>
                  <a:gd name="T23" fmla="*/ 930 h 930"/>
                  <a:gd name="T24" fmla="*/ 375 w 1353"/>
                  <a:gd name="T25" fmla="*/ 56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3" h="930">
                    <a:moveTo>
                      <a:pt x="375" y="569"/>
                    </a:moveTo>
                    <a:lnTo>
                      <a:pt x="287" y="584"/>
                    </a:lnTo>
                    <a:cubicBezTo>
                      <a:pt x="312" y="368"/>
                      <a:pt x="497" y="200"/>
                      <a:pt x="720" y="200"/>
                    </a:cubicBezTo>
                    <a:cubicBezTo>
                      <a:pt x="915" y="200"/>
                      <a:pt x="1109" y="303"/>
                      <a:pt x="1170" y="440"/>
                    </a:cubicBezTo>
                    <a:lnTo>
                      <a:pt x="1353" y="358"/>
                    </a:lnTo>
                    <a:cubicBezTo>
                      <a:pt x="1258" y="147"/>
                      <a:pt x="998" y="0"/>
                      <a:pt x="720" y="0"/>
                    </a:cubicBezTo>
                    <a:cubicBezTo>
                      <a:pt x="386" y="0"/>
                      <a:pt x="112" y="258"/>
                      <a:pt x="86" y="585"/>
                    </a:cubicBezTo>
                    <a:lnTo>
                      <a:pt x="170" y="604"/>
                    </a:lnTo>
                    <a:lnTo>
                      <a:pt x="163" y="606"/>
                    </a:lnTo>
                    <a:lnTo>
                      <a:pt x="84" y="622"/>
                    </a:lnTo>
                    <a:lnTo>
                      <a:pt x="0" y="640"/>
                    </a:lnTo>
                    <a:lnTo>
                      <a:pt x="242" y="930"/>
                    </a:lnTo>
                    <a:lnTo>
                      <a:pt x="375" y="569"/>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sp>
          <p:nvSpPr>
            <p:cNvPr id="137" name="Gear2" descr="{&quot;Key&quot;:&quot;POWER_USER_SHAPE_ICON&quot;,&quot;Value&quot;:&quot;POWER_USER_SHAPE_ICON_STYLE_1&quot;}">
              <a:extLst>
                <a:ext uri="{FF2B5EF4-FFF2-40B4-BE49-F238E27FC236}">
                  <a16:creationId xmlns:a16="http://schemas.microsoft.com/office/drawing/2014/main" id="{2FC754FB-9E22-4BDD-BF87-4683DEAB1B64}"/>
                </a:ext>
              </a:extLst>
            </p:cNvPr>
            <p:cNvSpPr>
              <a:spLocks noChangeAspect="1" noEditPoints="1"/>
            </p:cNvSpPr>
            <p:nvPr>
              <p:custDataLst>
                <p:tags r:id="rId6"/>
              </p:custDataLst>
            </p:nvPr>
          </p:nvSpPr>
          <p:spPr bwMode="auto">
            <a:xfrm>
              <a:off x="4810233" y="4543622"/>
              <a:ext cx="541765" cy="542925"/>
            </a:xfrm>
            <a:custGeom>
              <a:avLst/>
              <a:gdLst>
                <a:gd name="T0" fmla="*/ 500 w 1150"/>
                <a:gd name="T1" fmla="*/ 0 h 1150"/>
                <a:gd name="T2" fmla="*/ 475 w 1150"/>
                <a:gd name="T3" fmla="*/ 25 h 1150"/>
                <a:gd name="T4" fmla="*/ 475 w 1150"/>
                <a:gd name="T5" fmla="*/ 150 h 1150"/>
                <a:gd name="T6" fmla="*/ 345 w 1150"/>
                <a:gd name="T7" fmla="*/ 204 h 1150"/>
                <a:gd name="T8" fmla="*/ 257 w 1150"/>
                <a:gd name="T9" fmla="*/ 115 h 1150"/>
                <a:gd name="T10" fmla="*/ 221 w 1150"/>
                <a:gd name="T11" fmla="*/ 115 h 1150"/>
                <a:gd name="T12" fmla="*/ 115 w 1150"/>
                <a:gd name="T13" fmla="*/ 221 h 1150"/>
                <a:gd name="T14" fmla="*/ 115 w 1150"/>
                <a:gd name="T15" fmla="*/ 257 h 1150"/>
                <a:gd name="T16" fmla="*/ 203 w 1150"/>
                <a:gd name="T17" fmla="*/ 345 h 1150"/>
                <a:gd name="T18" fmla="*/ 150 w 1150"/>
                <a:gd name="T19" fmla="*/ 475 h 1150"/>
                <a:gd name="T20" fmla="*/ 25 w 1150"/>
                <a:gd name="T21" fmla="*/ 475 h 1150"/>
                <a:gd name="T22" fmla="*/ 0 w 1150"/>
                <a:gd name="T23" fmla="*/ 500 h 1150"/>
                <a:gd name="T24" fmla="*/ 0 w 1150"/>
                <a:gd name="T25" fmla="*/ 650 h 1150"/>
                <a:gd name="T26" fmla="*/ 25 w 1150"/>
                <a:gd name="T27" fmla="*/ 675 h 1150"/>
                <a:gd name="T28" fmla="*/ 150 w 1150"/>
                <a:gd name="T29" fmla="*/ 675 h 1150"/>
                <a:gd name="T30" fmla="*/ 204 w 1150"/>
                <a:gd name="T31" fmla="*/ 805 h 1150"/>
                <a:gd name="T32" fmla="*/ 115 w 1150"/>
                <a:gd name="T33" fmla="*/ 893 h 1150"/>
                <a:gd name="T34" fmla="*/ 115 w 1150"/>
                <a:gd name="T35" fmla="*/ 929 h 1150"/>
                <a:gd name="T36" fmla="*/ 221 w 1150"/>
                <a:gd name="T37" fmla="*/ 1035 h 1150"/>
                <a:gd name="T38" fmla="*/ 257 w 1150"/>
                <a:gd name="T39" fmla="*/ 1035 h 1150"/>
                <a:gd name="T40" fmla="*/ 345 w 1150"/>
                <a:gd name="T41" fmla="*/ 947 h 1150"/>
                <a:gd name="T42" fmla="*/ 475 w 1150"/>
                <a:gd name="T43" fmla="*/ 1000 h 1150"/>
                <a:gd name="T44" fmla="*/ 475 w 1150"/>
                <a:gd name="T45" fmla="*/ 1125 h 1150"/>
                <a:gd name="T46" fmla="*/ 500 w 1150"/>
                <a:gd name="T47" fmla="*/ 1150 h 1150"/>
                <a:gd name="T48" fmla="*/ 650 w 1150"/>
                <a:gd name="T49" fmla="*/ 1150 h 1150"/>
                <a:gd name="T50" fmla="*/ 675 w 1150"/>
                <a:gd name="T51" fmla="*/ 1125 h 1150"/>
                <a:gd name="T52" fmla="*/ 675 w 1150"/>
                <a:gd name="T53" fmla="*/ 1000 h 1150"/>
                <a:gd name="T54" fmla="*/ 805 w 1150"/>
                <a:gd name="T55" fmla="*/ 946 h 1150"/>
                <a:gd name="T56" fmla="*/ 893 w 1150"/>
                <a:gd name="T57" fmla="*/ 1035 h 1150"/>
                <a:gd name="T58" fmla="*/ 929 w 1150"/>
                <a:gd name="T59" fmla="*/ 1035 h 1150"/>
                <a:gd name="T60" fmla="*/ 1035 w 1150"/>
                <a:gd name="T61" fmla="*/ 929 h 1150"/>
                <a:gd name="T62" fmla="*/ 1035 w 1150"/>
                <a:gd name="T63" fmla="*/ 893 h 1150"/>
                <a:gd name="T64" fmla="*/ 947 w 1150"/>
                <a:gd name="T65" fmla="*/ 805 h 1150"/>
                <a:gd name="T66" fmla="*/ 1001 w 1150"/>
                <a:gd name="T67" fmla="*/ 675 h 1150"/>
                <a:gd name="T68" fmla="*/ 1125 w 1150"/>
                <a:gd name="T69" fmla="*/ 675 h 1150"/>
                <a:gd name="T70" fmla="*/ 1150 w 1150"/>
                <a:gd name="T71" fmla="*/ 650 h 1150"/>
                <a:gd name="T72" fmla="*/ 1150 w 1150"/>
                <a:gd name="T73" fmla="*/ 500 h 1150"/>
                <a:gd name="T74" fmla="*/ 1125 w 1150"/>
                <a:gd name="T75" fmla="*/ 475 h 1150"/>
                <a:gd name="T76" fmla="*/ 1001 w 1150"/>
                <a:gd name="T77" fmla="*/ 475 h 1150"/>
                <a:gd name="T78" fmla="*/ 947 w 1150"/>
                <a:gd name="T79" fmla="*/ 345 h 1150"/>
                <a:gd name="T80" fmla="*/ 1035 w 1150"/>
                <a:gd name="T81" fmla="*/ 257 h 1150"/>
                <a:gd name="T82" fmla="*/ 1035 w 1150"/>
                <a:gd name="T83" fmla="*/ 221 h 1150"/>
                <a:gd name="T84" fmla="*/ 929 w 1150"/>
                <a:gd name="T85" fmla="*/ 115 h 1150"/>
                <a:gd name="T86" fmla="*/ 893 w 1150"/>
                <a:gd name="T87" fmla="*/ 115 h 1150"/>
                <a:gd name="T88" fmla="*/ 805 w 1150"/>
                <a:gd name="T89" fmla="*/ 203 h 1150"/>
                <a:gd name="T90" fmla="*/ 675 w 1150"/>
                <a:gd name="T91" fmla="*/ 150 h 1150"/>
                <a:gd name="T92" fmla="*/ 675 w 1150"/>
                <a:gd name="T93" fmla="*/ 25 h 1150"/>
                <a:gd name="T94" fmla="*/ 650 w 1150"/>
                <a:gd name="T95" fmla="*/ 0 h 1150"/>
                <a:gd name="T96" fmla="*/ 500 w 1150"/>
                <a:gd name="T97" fmla="*/ 0 h 1150"/>
                <a:gd name="T98" fmla="*/ 577 w 1150"/>
                <a:gd name="T99" fmla="*/ 413 h 1150"/>
                <a:gd name="T100" fmla="*/ 690 w 1150"/>
                <a:gd name="T101" fmla="*/ 460 h 1150"/>
                <a:gd name="T102" fmla="*/ 690 w 1150"/>
                <a:gd name="T103" fmla="*/ 690 h 1150"/>
                <a:gd name="T104" fmla="*/ 460 w 1150"/>
                <a:gd name="T105" fmla="*/ 690 h 1150"/>
                <a:gd name="T106" fmla="*/ 460 w 1150"/>
                <a:gd name="T107" fmla="*/ 460 h 1150"/>
                <a:gd name="T108" fmla="*/ 577 w 1150"/>
                <a:gd name="T109" fmla="*/ 413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0" h="1150">
                  <a:moveTo>
                    <a:pt x="500" y="0"/>
                  </a:moveTo>
                  <a:cubicBezTo>
                    <a:pt x="486" y="0"/>
                    <a:pt x="475" y="11"/>
                    <a:pt x="475" y="25"/>
                  </a:cubicBezTo>
                  <a:lnTo>
                    <a:pt x="475" y="150"/>
                  </a:lnTo>
                  <a:cubicBezTo>
                    <a:pt x="429" y="160"/>
                    <a:pt x="385" y="179"/>
                    <a:pt x="345" y="204"/>
                  </a:cubicBezTo>
                  <a:lnTo>
                    <a:pt x="257" y="115"/>
                  </a:lnTo>
                  <a:cubicBezTo>
                    <a:pt x="247" y="106"/>
                    <a:pt x="231" y="106"/>
                    <a:pt x="221" y="115"/>
                  </a:cubicBezTo>
                  <a:lnTo>
                    <a:pt x="115" y="221"/>
                  </a:lnTo>
                  <a:cubicBezTo>
                    <a:pt x="106" y="231"/>
                    <a:pt x="106" y="247"/>
                    <a:pt x="115" y="257"/>
                  </a:cubicBezTo>
                  <a:lnTo>
                    <a:pt x="203" y="345"/>
                  </a:lnTo>
                  <a:cubicBezTo>
                    <a:pt x="179" y="385"/>
                    <a:pt x="160" y="429"/>
                    <a:pt x="150" y="475"/>
                  </a:cubicBezTo>
                  <a:lnTo>
                    <a:pt x="25" y="475"/>
                  </a:lnTo>
                  <a:cubicBezTo>
                    <a:pt x="11" y="475"/>
                    <a:pt x="0" y="486"/>
                    <a:pt x="0" y="500"/>
                  </a:cubicBezTo>
                  <a:lnTo>
                    <a:pt x="0" y="650"/>
                  </a:lnTo>
                  <a:cubicBezTo>
                    <a:pt x="0" y="664"/>
                    <a:pt x="11" y="675"/>
                    <a:pt x="25" y="675"/>
                  </a:cubicBezTo>
                  <a:lnTo>
                    <a:pt x="150" y="675"/>
                  </a:lnTo>
                  <a:cubicBezTo>
                    <a:pt x="160" y="721"/>
                    <a:pt x="179" y="765"/>
                    <a:pt x="204" y="805"/>
                  </a:cubicBezTo>
                  <a:lnTo>
                    <a:pt x="115" y="893"/>
                  </a:lnTo>
                  <a:cubicBezTo>
                    <a:pt x="106" y="903"/>
                    <a:pt x="106" y="919"/>
                    <a:pt x="115" y="929"/>
                  </a:cubicBezTo>
                  <a:lnTo>
                    <a:pt x="221" y="1035"/>
                  </a:lnTo>
                  <a:cubicBezTo>
                    <a:pt x="231" y="1044"/>
                    <a:pt x="247" y="1044"/>
                    <a:pt x="257" y="1035"/>
                  </a:cubicBezTo>
                  <a:lnTo>
                    <a:pt x="345" y="947"/>
                  </a:lnTo>
                  <a:cubicBezTo>
                    <a:pt x="385" y="971"/>
                    <a:pt x="429" y="990"/>
                    <a:pt x="475" y="1000"/>
                  </a:cubicBezTo>
                  <a:lnTo>
                    <a:pt x="475" y="1125"/>
                  </a:lnTo>
                  <a:cubicBezTo>
                    <a:pt x="475" y="1139"/>
                    <a:pt x="486" y="1150"/>
                    <a:pt x="500" y="1150"/>
                  </a:cubicBezTo>
                  <a:lnTo>
                    <a:pt x="650" y="1150"/>
                  </a:lnTo>
                  <a:cubicBezTo>
                    <a:pt x="664" y="1150"/>
                    <a:pt x="675" y="1139"/>
                    <a:pt x="675" y="1125"/>
                  </a:cubicBezTo>
                  <a:lnTo>
                    <a:pt x="675" y="1000"/>
                  </a:lnTo>
                  <a:cubicBezTo>
                    <a:pt x="721" y="990"/>
                    <a:pt x="765" y="971"/>
                    <a:pt x="805" y="946"/>
                  </a:cubicBezTo>
                  <a:lnTo>
                    <a:pt x="893" y="1035"/>
                  </a:lnTo>
                  <a:cubicBezTo>
                    <a:pt x="903" y="1044"/>
                    <a:pt x="919" y="1044"/>
                    <a:pt x="929" y="1035"/>
                  </a:cubicBezTo>
                  <a:lnTo>
                    <a:pt x="1035" y="929"/>
                  </a:lnTo>
                  <a:cubicBezTo>
                    <a:pt x="1044" y="919"/>
                    <a:pt x="1044" y="903"/>
                    <a:pt x="1035" y="893"/>
                  </a:cubicBezTo>
                  <a:lnTo>
                    <a:pt x="947" y="805"/>
                  </a:lnTo>
                  <a:cubicBezTo>
                    <a:pt x="971" y="765"/>
                    <a:pt x="990" y="721"/>
                    <a:pt x="1001" y="675"/>
                  </a:cubicBezTo>
                  <a:lnTo>
                    <a:pt x="1125" y="675"/>
                  </a:lnTo>
                  <a:cubicBezTo>
                    <a:pt x="1139" y="675"/>
                    <a:pt x="1150" y="664"/>
                    <a:pt x="1150" y="650"/>
                  </a:cubicBezTo>
                  <a:lnTo>
                    <a:pt x="1150" y="500"/>
                  </a:lnTo>
                  <a:cubicBezTo>
                    <a:pt x="1150" y="486"/>
                    <a:pt x="1139" y="475"/>
                    <a:pt x="1125" y="475"/>
                  </a:cubicBezTo>
                  <a:lnTo>
                    <a:pt x="1001" y="475"/>
                  </a:lnTo>
                  <a:cubicBezTo>
                    <a:pt x="990" y="429"/>
                    <a:pt x="971" y="385"/>
                    <a:pt x="947" y="345"/>
                  </a:cubicBezTo>
                  <a:lnTo>
                    <a:pt x="1035" y="257"/>
                  </a:lnTo>
                  <a:cubicBezTo>
                    <a:pt x="1044" y="247"/>
                    <a:pt x="1044" y="231"/>
                    <a:pt x="1035" y="221"/>
                  </a:cubicBezTo>
                  <a:lnTo>
                    <a:pt x="929" y="115"/>
                  </a:lnTo>
                  <a:cubicBezTo>
                    <a:pt x="919" y="106"/>
                    <a:pt x="903" y="106"/>
                    <a:pt x="893" y="115"/>
                  </a:cubicBezTo>
                  <a:lnTo>
                    <a:pt x="805" y="203"/>
                  </a:lnTo>
                  <a:cubicBezTo>
                    <a:pt x="765" y="179"/>
                    <a:pt x="721" y="160"/>
                    <a:pt x="675" y="150"/>
                  </a:cubicBezTo>
                  <a:lnTo>
                    <a:pt x="675" y="25"/>
                  </a:lnTo>
                  <a:cubicBezTo>
                    <a:pt x="675" y="11"/>
                    <a:pt x="664" y="0"/>
                    <a:pt x="650" y="0"/>
                  </a:cubicBezTo>
                  <a:lnTo>
                    <a:pt x="500" y="0"/>
                  </a:lnTo>
                  <a:moveTo>
                    <a:pt x="577" y="413"/>
                  </a:moveTo>
                  <a:cubicBezTo>
                    <a:pt x="620" y="413"/>
                    <a:pt x="660" y="430"/>
                    <a:pt x="690" y="460"/>
                  </a:cubicBezTo>
                  <a:cubicBezTo>
                    <a:pt x="753" y="524"/>
                    <a:pt x="753" y="626"/>
                    <a:pt x="690" y="690"/>
                  </a:cubicBezTo>
                  <a:cubicBezTo>
                    <a:pt x="626" y="753"/>
                    <a:pt x="524" y="753"/>
                    <a:pt x="460" y="690"/>
                  </a:cubicBezTo>
                  <a:cubicBezTo>
                    <a:pt x="397" y="626"/>
                    <a:pt x="397" y="524"/>
                    <a:pt x="460" y="460"/>
                  </a:cubicBezTo>
                  <a:cubicBezTo>
                    <a:pt x="491" y="429"/>
                    <a:pt x="533" y="412"/>
                    <a:pt x="577" y="413"/>
                  </a:cubicBezTo>
                </a:path>
              </a:pathLst>
            </a:custGeom>
            <a:noFill/>
            <a:ln w="0">
              <a:solidFill>
                <a:srgbClr val="FFE600"/>
              </a:solidFill>
              <a:prstDash val="solid"/>
              <a:round/>
              <a:headEnd/>
              <a:tailEnd/>
            </a:ln>
          </p:spPr>
          <p:txBody>
            <a:bodyPr vert="horz" wrap="square" lIns="80201" tIns="40100" rIns="80201" bIns="40100" numCol="1" anchor="t" anchorCtr="0" compatLnSpc="1">
              <a:prstTxWarp prst="textNoShape">
                <a:avLst/>
              </a:prstTxWarp>
            </a:bodyPr>
            <a:lstStyle/>
            <a:p>
              <a:pPr defTabSz="802020">
                <a:defRPr/>
              </a:pPr>
              <a:endParaRPr lang="en-US" sz="1579">
                <a:latin typeface="Calibri" panose="020F0502020204030204"/>
              </a:endParaRPr>
            </a:p>
          </p:txBody>
        </p:sp>
      </p:grpSp>
      <p:grpSp>
        <p:nvGrpSpPr>
          <p:cNvPr id="142" name="Tools4" descr="{&quot;Key&quot;:&quot;POWER_USER_SHAPE_ICON&quot;,&quot;Value&quot;:&quot;POWER_USER_SHAPE_ICON_STYLE_1&quot;}">
            <a:extLst>
              <a:ext uri="{FF2B5EF4-FFF2-40B4-BE49-F238E27FC236}">
                <a16:creationId xmlns:a16="http://schemas.microsoft.com/office/drawing/2014/main" id="{D6F88A46-19CD-497C-9686-5DCD9A4ACDEE}"/>
              </a:ext>
            </a:extLst>
          </p:cNvPr>
          <p:cNvGrpSpPr>
            <a:grpSpLocks noChangeAspect="1"/>
          </p:cNvGrpSpPr>
          <p:nvPr>
            <p:custDataLst>
              <p:tags r:id="rId4"/>
            </p:custDataLst>
          </p:nvPr>
        </p:nvGrpSpPr>
        <p:grpSpPr>
          <a:xfrm>
            <a:off x="5712698" y="5040250"/>
            <a:ext cx="284810" cy="156355"/>
            <a:chOff x="5743576" y="3068637"/>
            <a:chExt cx="717550" cy="769938"/>
          </a:xfrm>
          <a:noFill/>
        </p:grpSpPr>
        <p:sp>
          <p:nvSpPr>
            <p:cNvPr id="143" name="Freeform 34">
              <a:extLst>
                <a:ext uri="{FF2B5EF4-FFF2-40B4-BE49-F238E27FC236}">
                  <a16:creationId xmlns:a16="http://schemas.microsoft.com/office/drawing/2014/main" id="{58551A6C-3C93-4ACB-898E-2FA6D50A9A50}"/>
                </a:ext>
              </a:extLst>
            </p:cNvPr>
            <p:cNvSpPr>
              <a:spLocks/>
            </p:cNvSpPr>
            <p:nvPr/>
          </p:nvSpPr>
          <p:spPr bwMode="auto">
            <a:xfrm>
              <a:off x="6046788" y="3068637"/>
              <a:ext cx="84138" cy="74613"/>
            </a:xfrm>
            <a:custGeom>
              <a:avLst/>
              <a:gdLst>
                <a:gd name="T0" fmla="*/ 16 w 110"/>
                <a:gd name="T1" fmla="*/ 0 h 98"/>
                <a:gd name="T2" fmla="*/ 0 w 110"/>
                <a:gd name="T3" fmla="*/ 98 h 98"/>
                <a:gd name="T4" fmla="*/ 110 w 110"/>
                <a:gd name="T5" fmla="*/ 31 h 98"/>
                <a:gd name="T6" fmla="*/ 16 w 110"/>
                <a:gd name="T7" fmla="*/ 0 h 98"/>
              </a:gdLst>
              <a:ahLst/>
              <a:cxnLst>
                <a:cxn ang="0">
                  <a:pos x="T0" y="T1"/>
                </a:cxn>
                <a:cxn ang="0">
                  <a:pos x="T2" y="T3"/>
                </a:cxn>
                <a:cxn ang="0">
                  <a:pos x="T4" y="T5"/>
                </a:cxn>
                <a:cxn ang="0">
                  <a:pos x="T6" y="T7"/>
                </a:cxn>
              </a:cxnLst>
              <a:rect l="0" t="0" r="r" b="b"/>
              <a:pathLst>
                <a:path w="110" h="98">
                  <a:moveTo>
                    <a:pt x="16" y="0"/>
                  </a:moveTo>
                  <a:lnTo>
                    <a:pt x="0" y="98"/>
                  </a:lnTo>
                  <a:lnTo>
                    <a:pt x="110" y="31"/>
                  </a:lnTo>
                  <a:lnTo>
                    <a:pt x="16" y="0"/>
                  </a:lnTo>
                  <a:close/>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144" name="Freeform 36">
              <a:extLst>
                <a:ext uri="{FF2B5EF4-FFF2-40B4-BE49-F238E27FC236}">
                  <a16:creationId xmlns:a16="http://schemas.microsoft.com/office/drawing/2014/main" id="{3A6EE565-1178-4167-95C1-8D1D13623481}"/>
                </a:ext>
              </a:extLst>
            </p:cNvPr>
            <p:cNvSpPr>
              <a:spLocks/>
            </p:cNvSpPr>
            <p:nvPr/>
          </p:nvSpPr>
          <p:spPr bwMode="auto">
            <a:xfrm>
              <a:off x="6299201" y="3525838"/>
              <a:ext cx="161925" cy="144463"/>
            </a:xfrm>
            <a:custGeom>
              <a:avLst/>
              <a:gdLst>
                <a:gd name="T0" fmla="*/ 185 w 212"/>
                <a:gd name="T1" fmla="*/ 127 h 191"/>
                <a:gd name="T2" fmla="*/ 200 w 212"/>
                <a:gd name="T3" fmla="*/ 67 h 191"/>
                <a:gd name="T4" fmla="*/ 159 w 212"/>
                <a:gd name="T5" fmla="*/ 0 h 191"/>
                <a:gd name="T6" fmla="*/ 0 w 212"/>
                <a:gd name="T7" fmla="*/ 97 h 191"/>
                <a:gd name="T8" fmla="*/ 41 w 212"/>
                <a:gd name="T9" fmla="*/ 164 h 191"/>
                <a:gd name="T10" fmla="*/ 101 w 212"/>
                <a:gd name="T11" fmla="*/ 178 h 191"/>
                <a:gd name="T12" fmla="*/ 185 w 212"/>
                <a:gd name="T13" fmla="*/ 127 h 191"/>
              </a:gdLst>
              <a:ahLst/>
              <a:cxnLst>
                <a:cxn ang="0">
                  <a:pos x="T0" y="T1"/>
                </a:cxn>
                <a:cxn ang="0">
                  <a:pos x="T2" y="T3"/>
                </a:cxn>
                <a:cxn ang="0">
                  <a:pos x="T4" y="T5"/>
                </a:cxn>
                <a:cxn ang="0">
                  <a:pos x="T6" y="T7"/>
                </a:cxn>
                <a:cxn ang="0">
                  <a:pos x="T8" y="T9"/>
                </a:cxn>
                <a:cxn ang="0">
                  <a:pos x="T10" y="T11"/>
                </a:cxn>
                <a:cxn ang="0">
                  <a:pos x="T12" y="T13"/>
                </a:cxn>
              </a:cxnLst>
              <a:rect l="0" t="0" r="r" b="b"/>
              <a:pathLst>
                <a:path w="212" h="191">
                  <a:moveTo>
                    <a:pt x="185" y="127"/>
                  </a:moveTo>
                  <a:cubicBezTo>
                    <a:pt x="206" y="114"/>
                    <a:pt x="212" y="88"/>
                    <a:pt x="200" y="67"/>
                  </a:cubicBezTo>
                  <a:lnTo>
                    <a:pt x="159" y="0"/>
                  </a:lnTo>
                  <a:lnTo>
                    <a:pt x="0" y="97"/>
                  </a:lnTo>
                  <a:lnTo>
                    <a:pt x="41" y="164"/>
                  </a:lnTo>
                  <a:cubicBezTo>
                    <a:pt x="54" y="185"/>
                    <a:pt x="81" y="191"/>
                    <a:pt x="101" y="178"/>
                  </a:cubicBezTo>
                  <a:lnTo>
                    <a:pt x="185" y="127"/>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sp>
          <p:nvSpPr>
            <p:cNvPr id="145" name="Freeform 37">
              <a:extLst>
                <a:ext uri="{FF2B5EF4-FFF2-40B4-BE49-F238E27FC236}">
                  <a16:creationId xmlns:a16="http://schemas.microsoft.com/office/drawing/2014/main" id="{4D4235E2-F6AA-4004-8EB0-B14DCF7F813B}"/>
                </a:ext>
              </a:extLst>
            </p:cNvPr>
            <p:cNvSpPr>
              <a:spLocks noEditPoints="1"/>
            </p:cNvSpPr>
            <p:nvPr/>
          </p:nvSpPr>
          <p:spPr bwMode="auto">
            <a:xfrm>
              <a:off x="5743576" y="3248025"/>
              <a:ext cx="590550" cy="590550"/>
            </a:xfrm>
            <a:custGeom>
              <a:avLst/>
              <a:gdLst>
                <a:gd name="T0" fmla="*/ 598 w 775"/>
                <a:gd name="T1" fmla="*/ 716 h 775"/>
                <a:gd name="T2" fmla="*/ 60 w 775"/>
                <a:gd name="T3" fmla="*/ 716 h 775"/>
                <a:gd name="T4" fmla="*/ 60 w 775"/>
                <a:gd name="T5" fmla="*/ 178 h 775"/>
                <a:gd name="T6" fmla="*/ 598 w 775"/>
                <a:gd name="T7" fmla="*/ 716 h 775"/>
                <a:gd name="T8" fmla="*/ 51 w 775"/>
                <a:gd name="T9" fmla="*/ 11 h 775"/>
                <a:gd name="T10" fmla="*/ 19 w 775"/>
                <a:gd name="T11" fmla="*/ 5 h 775"/>
                <a:gd name="T12" fmla="*/ 0 w 775"/>
                <a:gd name="T13" fmla="*/ 32 h 775"/>
                <a:gd name="T14" fmla="*/ 0 w 775"/>
                <a:gd name="T15" fmla="*/ 745 h 775"/>
                <a:gd name="T16" fmla="*/ 30 w 775"/>
                <a:gd name="T17" fmla="*/ 775 h 775"/>
                <a:gd name="T18" fmla="*/ 743 w 775"/>
                <a:gd name="T19" fmla="*/ 775 h 775"/>
                <a:gd name="T20" fmla="*/ 771 w 775"/>
                <a:gd name="T21" fmla="*/ 757 h 775"/>
                <a:gd name="T22" fmla="*/ 764 w 775"/>
                <a:gd name="T23" fmla="*/ 724 h 775"/>
                <a:gd name="T24" fmla="*/ 682 w 775"/>
                <a:gd name="T25" fmla="*/ 643 h 775"/>
                <a:gd name="T26" fmla="*/ 660 w 775"/>
                <a:gd name="T27" fmla="*/ 665 h 775"/>
                <a:gd name="T28" fmla="*/ 618 w 775"/>
                <a:gd name="T29" fmla="*/ 623 h 775"/>
                <a:gd name="T30" fmla="*/ 640 w 775"/>
                <a:gd name="T31" fmla="*/ 601 h 775"/>
                <a:gd name="T32" fmla="*/ 556 w 775"/>
                <a:gd name="T33" fmla="*/ 516 h 775"/>
                <a:gd name="T34" fmla="*/ 533 w 775"/>
                <a:gd name="T35" fmla="*/ 539 h 775"/>
                <a:gd name="T36" fmla="*/ 491 w 775"/>
                <a:gd name="T37" fmla="*/ 497 h 775"/>
                <a:gd name="T38" fmla="*/ 514 w 775"/>
                <a:gd name="T39" fmla="*/ 474 h 775"/>
                <a:gd name="T40" fmla="*/ 430 w 775"/>
                <a:gd name="T41" fmla="*/ 390 h 775"/>
                <a:gd name="T42" fmla="*/ 407 w 775"/>
                <a:gd name="T43" fmla="*/ 412 h 775"/>
                <a:gd name="T44" fmla="*/ 365 w 775"/>
                <a:gd name="T45" fmla="*/ 370 h 775"/>
                <a:gd name="T46" fmla="*/ 388 w 775"/>
                <a:gd name="T47" fmla="*/ 348 h 775"/>
                <a:gd name="T48" fmla="*/ 303 w 775"/>
                <a:gd name="T49" fmla="*/ 263 h 775"/>
                <a:gd name="T50" fmla="*/ 280 w 775"/>
                <a:gd name="T51" fmla="*/ 286 h 775"/>
                <a:gd name="T52" fmla="*/ 238 w 775"/>
                <a:gd name="T53" fmla="*/ 244 h 775"/>
                <a:gd name="T54" fmla="*/ 261 w 775"/>
                <a:gd name="T55" fmla="*/ 221 h 775"/>
                <a:gd name="T56" fmla="*/ 177 w 775"/>
                <a:gd name="T57" fmla="*/ 137 h 775"/>
                <a:gd name="T58" fmla="*/ 154 w 775"/>
                <a:gd name="T59" fmla="*/ 159 h 775"/>
                <a:gd name="T60" fmla="*/ 112 w 775"/>
                <a:gd name="T61" fmla="*/ 117 h 775"/>
                <a:gd name="T62" fmla="*/ 135 w 775"/>
                <a:gd name="T63" fmla="*/ 95 h 775"/>
                <a:gd name="T64" fmla="*/ 51 w 775"/>
                <a:gd name="T65" fmla="*/ 11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5" h="775">
                  <a:moveTo>
                    <a:pt x="598" y="716"/>
                  </a:moveTo>
                  <a:lnTo>
                    <a:pt x="60" y="716"/>
                  </a:lnTo>
                  <a:lnTo>
                    <a:pt x="60" y="178"/>
                  </a:lnTo>
                  <a:lnTo>
                    <a:pt x="598" y="716"/>
                  </a:lnTo>
                  <a:close/>
                  <a:moveTo>
                    <a:pt x="51" y="11"/>
                  </a:moveTo>
                  <a:cubicBezTo>
                    <a:pt x="43" y="3"/>
                    <a:pt x="30" y="0"/>
                    <a:pt x="19" y="5"/>
                  </a:cubicBezTo>
                  <a:cubicBezTo>
                    <a:pt x="8" y="9"/>
                    <a:pt x="0" y="20"/>
                    <a:pt x="0" y="32"/>
                  </a:cubicBezTo>
                  <a:lnTo>
                    <a:pt x="0" y="745"/>
                  </a:lnTo>
                  <a:cubicBezTo>
                    <a:pt x="0" y="762"/>
                    <a:pt x="14" y="775"/>
                    <a:pt x="30" y="775"/>
                  </a:cubicBezTo>
                  <a:lnTo>
                    <a:pt x="743" y="775"/>
                  </a:lnTo>
                  <a:cubicBezTo>
                    <a:pt x="755" y="775"/>
                    <a:pt x="766" y="768"/>
                    <a:pt x="771" y="757"/>
                  </a:cubicBezTo>
                  <a:cubicBezTo>
                    <a:pt x="775" y="746"/>
                    <a:pt x="773" y="733"/>
                    <a:pt x="764" y="724"/>
                  </a:cubicBezTo>
                  <a:lnTo>
                    <a:pt x="682" y="643"/>
                  </a:lnTo>
                  <a:lnTo>
                    <a:pt x="660" y="665"/>
                  </a:lnTo>
                  <a:lnTo>
                    <a:pt x="618" y="623"/>
                  </a:lnTo>
                  <a:lnTo>
                    <a:pt x="640" y="601"/>
                  </a:lnTo>
                  <a:lnTo>
                    <a:pt x="556" y="516"/>
                  </a:lnTo>
                  <a:lnTo>
                    <a:pt x="533" y="539"/>
                  </a:lnTo>
                  <a:lnTo>
                    <a:pt x="491" y="497"/>
                  </a:lnTo>
                  <a:lnTo>
                    <a:pt x="514" y="474"/>
                  </a:lnTo>
                  <a:lnTo>
                    <a:pt x="430" y="390"/>
                  </a:lnTo>
                  <a:lnTo>
                    <a:pt x="407" y="412"/>
                  </a:lnTo>
                  <a:lnTo>
                    <a:pt x="365" y="370"/>
                  </a:lnTo>
                  <a:lnTo>
                    <a:pt x="388" y="348"/>
                  </a:lnTo>
                  <a:lnTo>
                    <a:pt x="303" y="263"/>
                  </a:lnTo>
                  <a:lnTo>
                    <a:pt x="280" y="286"/>
                  </a:lnTo>
                  <a:lnTo>
                    <a:pt x="238" y="244"/>
                  </a:lnTo>
                  <a:lnTo>
                    <a:pt x="261" y="221"/>
                  </a:lnTo>
                  <a:lnTo>
                    <a:pt x="177" y="137"/>
                  </a:lnTo>
                  <a:lnTo>
                    <a:pt x="154" y="159"/>
                  </a:lnTo>
                  <a:lnTo>
                    <a:pt x="112" y="117"/>
                  </a:lnTo>
                  <a:lnTo>
                    <a:pt x="135" y="95"/>
                  </a:lnTo>
                  <a:lnTo>
                    <a:pt x="51" y="11"/>
                  </a:lnTo>
                </a:path>
              </a:pathLst>
            </a:custGeom>
            <a:grpFill/>
            <a:ln w="9525">
              <a:solidFill>
                <a:srgbClr val="FFE600"/>
              </a:solidFill>
              <a:round/>
              <a:headEnd/>
              <a:tailEnd/>
            </a:ln>
          </p:spPr>
          <p:txBody>
            <a:bodyPr vert="horz" wrap="square" lIns="80201" tIns="40100" rIns="80201" bIns="40100" numCol="1" anchor="t" anchorCtr="0" compatLnSpc="1">
              <a:prstTxWarp prst="textNoShape">
                <a:avLst/>
              </a:prstTxWarp>
            </a:bodyPr>
            <a:lstStyle/>
            <a:p>
              <a:pPr defTabSz="802020">
                <a:defRPr/>
              </a:pPr>
              <a:endParaRPr lang="fr-FR" sz="1579">
                <a:latin typeface="Calibri" panose="020F0502020204030204"/>
              </a:endParaRPr>
            </a:p>
          </p:txBody>
        </p:sp>
      </p:grpSp>
      <p:sp>
        <p:nvSpPr>
          <p:cNvPr id="146" name="TextBox 145">
            <a:extLst>
              <a:ext uri="{FF2B5EF4-FFF2-40B4-BE49-F238E27FC236}">
                <a16:creationId xmlns:a16="http://schemas.microsoft.com/office/drawing/2014/main" id="{172216C3-E851-4DD5-B38F-0CE36DB77568}"/>
              </a:ext>
            </a:extLst>
          </p:cNvPr>
          <p:cNvSpPr txBox="1"/>
          <p:nvPr/>
        </p:nvSpPr>
        <p:spPr>
          <a:xfrm>
            <a:off x="5346961" y="5890055"/>
            <a:ext cx="474173"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On-call</a:t>
            </a:r>
            <a:endParaRPr lang="en-IE" sz="921" b="1" kern="0">
              <a:latin typeface="EYInterstate Light"/>
            </a:endParaRPr>
          </a:p>
        </p:txBody>
      </p:sp>
      <p:sp>
        <p:nvSpPr>
          <p:cNvPr id="147" name="TextBox 146">
            <a:extLst>
              <a:ext uri="{FF2B5EF4-FFF2-40B4-BE49-F238E27FC236}">
                <a16:creationId xmlns:a16="http://schemas.microsoft.com/office/drawing/2014/main" id="{AFF9279B-4B65-4077-9104-35403FEFE27B}"/>
              </a:ext>
            </a:extLst>
          </p:cNvPr>
          <p:cNvSpPr txBox="1"/>
          <p:nvPr/>
        </p:nvSpPr>
        <p:spPr>
          <a:xfrm>
            <a:off x="5586493" y="5238207"/>
            <a:ext cx="754101" cy="2711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Architecture</a:t>
            </a:r>
            <a:r>
              <a:rPr lang="en-IE" sz="789" b="1" kern="0">
                <a:latin typeface="EYInterstate Light"/>
              </a:rPr>
              <a:t> &amp; Design</a:t>
            </a:r>
          </a:p>
        </p:txBody>
      </p:sp>
      <p:sp>
        <p:nvSpPr>
          <p:cNvPr id="148" name="TextBox 147">
            <a:extLst>
              <a:ext uri="{FF2B5EF4-FFF2-40B4-BE49-F238E27FC236}">
                <a16:creationId xmlns:a16="http://schemas.microsoft.com/office/drawing/2014/main" id="{A5C27783-5854-47D8-A2D0-9DDFF1B8F4F8}"/>
              </a:ext>
            </a:extLst>
          </p:cNvPr>
          <p:cNvSpPr txBox="1"/>
          <p:nvPr/>
        </p:nvSpPr>
        <p:spPr>
          <a:xfrm>
            <a:off x="6680536" y="5236605"/>
            <a:ext cx="665615" cy="271164"/>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Monitoring</a:t>
            </a:r>
            <a:r>
              <a:rPr lang="en-IE" sz="789" b="1" kern="0">
                <a:latin typeface="EYInterstate Light"/>
              </a:rPr>
              <a:t> &amp; </a:t>
            </a:r>
            <a:br>
              <a:rPr lang="en-IE" sz="789" b="1" kern="0">
                <a:latin typeface="EYInterstate Light"/>
              </a:rPr>
            </a:br>
            <a:r>
              <a:rPr lang="en-IE" sz="789" b="1" kern="0">
                <a:latin typeface="EYInterstate Light"/>
              </a:rPr>
              <a:t>Alerting</a:t>
            </a:r>
          </a:p>
        </p:txBody>
      </p:sp>
      <p:sp>
        <p:nvSpPr>
          <p:cNvPr id="149" name="TextBox 148">
            <a:extLst>
              <a:ext uri="{FF2B5EF4-FFF2-40B4-BE49-F238E27FC236}">
                <a16:creationId xmlns:a16="http://schemas.microsoft.com/office/drawing/2014/main" id="{5137C42E-D5FE-4866-B9DE-0AE4126D87AD}"/>
              </a:ext>
            </a:extLst>
          </p:cNvPr>
          <p:cNvSpPr txBox="1"/>
          <p:nvPr/>
        </p:nvSpPr>
        <p:spPr>
          <a:xfrm>
            <a:off x="8857748" y="5357466"/>
            <a:ext cx="1081644"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DevOps for Platform</a:t>
            </a:r>
          </a:p>
        </p:txBody>
      </p:sp>
      <p:sp>
        <p:nvSpPr>
          <p:cNvPr id="150" name="TextBox 149">
            <a:extLst>
              <a:ext uri="{FF2B5EF4-FFF2-40B4-BE49-F238E27FC236}">
                <a16:creationId xmlns:a16="http://schemas.microsoft.com/office/drawing/2014/main" id="{5CDC5C01-9217-4430-841B-71FEB1F7C061}"/>
              </a:ext>
            </a:extLst>
          </p:cNvPr>
          <p:cNvSpPr txBox="1"/>
          <p:nvPr/>
        </p:nvSpPr>
        <p:spPr>
          <a:xfrm>
            <a:off x="7906868" y="5362234"/>
            <a:ext cx="652621"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Resiliency</a:t>
            </a:r>
          </a:p>
        </p:txBody>
      </p:sp>
      <p:sp>
        <p:nvSpPr>
          <p:cNvPr id="151" name="TextBox 150">
            <a:extLst>
              <a:ext uri="{FF2B5EF4-FFF2-40B4-BE49-F238E27FC236}">
                <a16:creationId xmlns:a16="http://schemas.microsoft.com/office/drawing/2014/main" id="{43D8E8AC-3792-483F-99CB-0064F93AD71B}"/>
              </a:ext>
            </a:extLst>
          </p:cNvPr>
          <p:cNvSpPr txBox="1"/>
          <p:nvPr/>
        </p:nvSpPr>
        <p:spPr>
          <a:xfrm>
            <a:off x="10157485" y="5354360"/>
            <a:ext cx="592855"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Availability</a:t>
            </a:r>
            <a:endParaRPr lang="en-IE" sz="789" b="1" kern="0">
              <a:latin typeface="EYInterstate Light"/>
            </a:endParaRPr>
          </a:p>
        </p:txBody>
      </p:sp>
      <p:pic>
        <p:nvPicPr>
          <p:cNvPr id="152" name="Picture 16" descr="Employee badge with solid fill">
            <a:extLst>
              <a:ext uri="{FF2B5EF4-FFF2-40B4-BE49-F238E27FC236}">
                <a16:creationId xmlns:a16="http://schemas.microsoft.com/office/drawing/2014/main" id="{F274FF37-22C1-4AC0-BF85-A00359B0C92C}"/>
              </a:ext>
            </a:extLst>
          </p:cNvPr>
          <p:cNvPicPr>
            <a:picLocks noChangeAspect="1" noChangeArrowheads="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bwMode="auto">
          <a:xfrm>
            <a:off x="6332947" y="5558190"/>
            <a:ext cx="343984" cy="34398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3" name="Picture 16" descr="Key with solid fill">
            <a:extLst>
              <a:ext uri="{FF2B5EF4-FFF2-40B4-BE49-F238E27FC236}">
                <a16:creationId xmlns:a16="http://schemas.microsoft.com/office/drawing/2014/main" id="{4391A2FE-5198-4256-82F7-D0E0636EE802}"/>
              </a:ext>
            </a:extLst>
          </p:cNvPr>
          <p:cNvPicPr>
            <a:picLocks noChangeAspect="1" noChangeArrowheads="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bwMode="auto">
          <a:xfrm>
            <a:off x="7328826" y="5575233"/>
            <a:ext cx="343984" cy="34398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4" name="Picture 16" descr="Pen outline">
            <a:extLst>
              <a:ext uri="{FF2B5EF4-FFF2-40B4-BE49-F238E27FC236}">
                <a16:creationId xmlns:a16="http://schemas.microsoft.com/office/drawing/2014/main" id="{64DE6845-F0F4-4C65-8522-53C538154E94}"/>
              </a:ext>
            </a:extLst>
          </p:cNvPr>
          <p:cNvPicPr>
            <a:picLocks noChangeAspect="1" noChangeArrowheads="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bwMode="auto">
          <a:xfrm>
            <a:off x="8324704" y="5594161"/>
            <a:ext cx="312713" cy="3127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5" name="Picture 187" descr="Coins outline">
            <a:extLst>
              <a:ext uri="{FF2B5EF4-FFF2-40B4-BE49-F238E27FC236}">
                <a16:creationId xmlns:a16="http://schemas.microsoft.com/office/drawing/2014/main" id="{C135A534-E838-4273-A329-A30173E9BAC3}"/>
              </a:ext>
            </a:extLst>
          </p:cNvPr>
          <p:cNvPicPr>
            <a:picLocks noChangeAspect="1" noChangeArrowheads="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bwMode="auto">
          <a:xfrm>
            <a:off x="10253311" y="5594161"/>
            <a:ext cx="312713" cy="312713"/>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a:extLst>
              <a:ext uri="{FF2B5EF4-FFF2-40B4-BE49-F238E27FC236}">
                <a16:creationId xmlns:a16="http://schemas.microsoft.com/office/drawing/2014/main" id="{405505DF-F21F-4541-879C-AADADBDF8636}"/>
              </a:ext>
            </a:extLst>
          </p:cNvPr>
          <p:cNvSpPr txBox="1"/>
          <p:nvPr/>
        </p:nvSpPr>
        <p:spPr>
          <a:xfrm>
            <a:off x="6411940" y="5895332"/>
            <a:ext cx="474173"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IAM</a:t>
            </a:r>
            <a:endParaRPr lang="en-IE" sz="921" b="1" kern="0">
              <a:latin typeface="EYInterstate Light"/>
            </a:endParaRPr>
          </a:p>
        </p:txBody>
      </p:sp>
      <p:sp>
        <p:nvSpPr>
          <p:cNvPr id="157" name="TextBox 156">
            <a:extLst>
              <a:ext uri="{FF2B5EF4-FFF2-40B4-BE49-F238E27FC236}">
                <a16:creationId xmlns:a16="http://schemas.microsoft.com/office/drawing/2014/main" id="{1F9E4E52-600C-4B9C-B3C5-FB3A1315B2E1}"/>
              </a:ext>
            </a:extLst>
          </p:cNvPr>
          <p:cNvSpPr txBox="1"/>
          <p:nvPr/>
        </p:nvSpPr>
        <p:spPr>
          <a:xfrm>
            <a:off x="7313683" y="5892894"/>
            <a:ext cx="474173"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Security</a:t>
            </a:r>
            <a:endParaRPr lang="en-IE" sz="921" b="1" kern="0">
              <a:latin typeface="EYInterstate Light"/>
            </a:endParaRPr>
          </a:p>
        </p:txBody>
      </p:sp>
      <p:sp>
        <p:nvSpPr>
          <p:cNvPr id="158" name="TextBox 157">
            <a:extLst>
              <a:ext uri="{FF2B5EF4-FFF2-40B4-BE49-F238E27FC236}">
                <a16:creationId xmlns:a16="http://schemas.microsoft.com/office/drawing/2014/main" id="{507AB802-25E0-48AE-937A-3A8123B4E3E0}"/>
              </a:ext>
            </a:extLst>
          </p:cNvPr>
          <p:cNvSpPr txBox="1"/>
          <p:nvPr/>
        </p:nvSpPr>
        <p:spPr>
          <a:xfrm>
            <a:off x="8230570" y="5898032"/>
            <a:ext cx="611506"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SLO Definition</a:t>
            </a:r>
            <a:endParaRPr lang="en-IE" sz="877" b="1" kern="0">
              <a:latin typeface="EYInterstate Light"/>
            </a:endParaRPr>
          </a:p>
        </p:txBody>
      </p:sp>
      <p:sp>
        <p:nvSpPr>
          <p:cNvPr id="159" name="TextBox 158">
            <a:extLst>
              <a:ext uri="{FF2B5EF4-FFF2-40B4-BE49-F238E27FC236}">
                <a16:creationId xmlns:a16="http://schemas.microsoft.com/office/drawing/2014/main" id="{65137EE3-EA8A-4B89-A449-D51542A27584}"/>
              </a:ext>
            </a:extLst>
          </p:cNvPr>
          <p:cNvSpPr txBox="1"/>
          <p:nvPr/>
        </p:nvSpPr>
        <p:spPr>
          <a:xfrm>
            <a:off x="9244241" y="5910809"/>
            <a:ext cx="495049"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IPC Mgmt. </a:t>
            </a:r>
            <a:endParaRPr lang="en-IE" sz="877" b="1" kern="0">
              <a:latin typeface="EYInterstate Light"/>
            </a:endParaRPr>
          </a:p>
        </p:txBody>
      </p:sp>
      <p:sp>
        <p:nvSpPr>
          <p:cNvPr id="160" name="TextBox 159">
            <a:extLst>
              <a:ext uri="{FF2B5EF4-FFF2-40B4-BE49-F238E27FC236}">
                <a16:creationId xmlns:a16="http://schemas.microsoft.com/office/drawing/2014/main" id="{0E97A107-3CF5-4499-ADB8-F6E0A83618CC}"/>
              </a:ext>
            </a:extLst>
          </p:cNvPr>
          <p:cNvSpPr txBox="1"/>
          <p:nvPr/>
        </p:nvSpPr>
        <p:spPr>
          <a:xfrm>
            <a:off x="10061909" y="5917320"/>
            <a:ext cx="822534" cy="127407"/>
          </a:xfrm>
          <a:prstGeom prst="rect">
            <a:avLst/>
          </a:prstGeom>
          <a:noFill/>
        </p:spPr>
        <p:txBody>
          <a:bodyPr wrap="square" lIns="0" tIns="0" rIns="0" bIns="0" rtlCol="0">
            <a:spAutoFit/>
          </a:bodyPr>
          <a:lstStyle/>
          <a:p>
            <a:pPr defTabSz="893918">
              <a:lnSpc>
                <a:spcPts val="1053"/>
              </a:lnSpc>
              <a:spcAft>
                <a:spcPts val="526"/>
              </a:spcAft>
              <a:buClr>
                <a:srgbClr val="2E2E38"/>
              </a:buClr>
              <a:buSzPct val="70000"/>
              <a:defRPr/>
            </a:pPr>
            <a:r>
              <a:rPr lang="en-IE" sz="702" b="1" kern="0">
                <a:latin typeface="EYInterstate Light"/>
              </a:rPr>
              <a:t>Cost Optimisation</a:t>
            </a:r>
            <a:endParaRPr lang="en-IE" sz="877" b="1" kern="0">
              <a:latin typeface="EYInterstate Light"/>
            </a:endParaRPr>
          </a:p>
        </p:txBody>
      </p:sp>
      <p:sp>
        <p:nvSpPr>
          <p:cNvPr id="161" name="Rectangle: Rounded Corners 160">
            <a:extLst>
              <a:ext uri="{FF2B5EF4-FFF2-40B4-BE49-F238E27FC236}">
                <a16:creationId xmlns:a16="http://schemas.microsoft.com/office/drawing/2014/main" id="{3BF8C0FF-9B7C-4842-9413-6B3534943609}"/>
              </a:ext>
            </a:extLst>
          </p:cNvPr>
          <p:cNvSpPr/>
          <p:nvPr/>
        </p:nvSpPr>
        <p:spPr>
          <a:xfrm>
            <a:off x="569055" y="1371580"/>
            <a:ext cx="10979150" cy="598587"/>
          </a:xfrm>
          <a:prstGeom prst="roundRect">
            <a:avLst>
              <a:gd name="adj" fmla="val 7018"/>
            </a:avLst>
          </a:prstGeom>
          <a:solidFill>
            <a:srgbClr val="2E2E38"/>
          </a:solidFill>
          <a:ln w="12700" cap="flat" cmpd="sng" algn="ctr">
            <a:solidFill>
              <a:schemeClr val="tx1">
                <a:lumMod val="60000"/>
                <a:lumOff val="40000"/>
              </a:schemeClr>
            </a:solidFill>
            <a:prstDash val="solid"/>
          </a:ln>
          <a:effectLst/>
        </p:spPr>
        <p:txBody>
          <a:bodyPr wrap="square" lIns="72000" tIns="72000" rIns="72000" bIns="72000" rtlCol="0" anchor="b" anchorCtr="0">
            <a:spAutoFit/>
          </a:bodyPr>
          <a:lstStyle/>
          <a:p>
            <a:pPr lvl="0"/>
            <a:r>
              <a:rPr lang="en-GB" sz="1400" kern="0">
                <a:solidFill>
                  <a:srgbClr val="FFFFFF"/>
                </a:solidFill>
              </a:rPr>
              <a:t>EY combines deep experience, leading talent and unparalleled technology with a </a:t>
            </a:r>
            <a:r>
              <a:rPr lang="en-GB" sz="1400" b="1" kern="0">
                <a:solidFill>
                  <a:schemeClr val="tx2"/>
                </a:solidFill>
                <a:latin typeface="EYInterstate" panose="02000503020000020004" pitchFamily="2" charset="0"/>
              </a:rPr>
              <a:t>global delivery model that supports your business wherever, whenever you are</a:t>
            </a:r>
            <a:r>
              <a:rPr lang="en-GB" sz="1400" kern="0">
                <a:solidFill>
                  <a:schemeClr val="tx2"/>
                </a:solidFill>
              </a:rPr>
              <a:t> </a:t>
            </a:r>
            <a:r>
              <a:rPr lang="en-GB" sz="1400" kern="0">
                <a:solidFill>
                  <a:srgbClr val="FFFFFF"/>
                </a:solidFill>
              </a:rPr>
              <a:t>– giving you the confidence and freedom to drive your business forward.</a:t>
            </a:r>
          </a:p>
        </p:txBody>
      </p:sp>
      <p:pic>
        <p:nvPicPr>
          <p:cNvPr id="2" name="Picture 1">
            <a:extLst>
              <a:ext uri="{FF2B5EF4-FFF2-40B4-BE49-F238E27FC236}">
                <a16:creationId xmlns:a16="http://schemas.microsoft.com/office/drawing/2014/main" id="{35FC9798-5C76-4E12-8F78-AF2B54EF35EB}"/>
              </a:ext>
            </a:extLst>
          </p:cNvPr>
          <p:cNvPicPr>
            <a:picLocks noChangeAspect="1"/>
          </p:cNvPicPr>
          <p:nvPr/>
        </p:nvPicPr>
        <p:blipFill>
          <a:blip r:embed="rId28"/>
          <a:stretch>
            <a:fillRect/>
          </a:stretch>
        </p:blipFill>
        <p:spPr>
          <a:xfrm>
            <a:off x="10358549" y="162480"/>
            <a:ext cx="1024125" cy="1024125"/>
          </a:xfrm>
          <a:prstGeom prst="rect">
            <a:avLst/>
          </a:prstGeom>
        </p:spPr>
      </p:pic>
    </p:spTree>
    <p:extLst>
      <p:ext uri="{BB962C8B-B14F-4D97-AF65-F5344CB8AC3E}">
        <p14:creationId xmlns:p14="http://schemas.microsoft.com/office/powerpoint/2010/main" val="13701276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E.2 – </a:t>
            </a:r>
            <a:r>
              <a:rPr lang="en-IE">
                <a:latin typeface="Calibri" panose="020F0502020204030204" pitchFamily="34" charset="0"/>
                <a:cs typeface="Calibri" panose="020F0502020204030204" pitchFamily="34" charset="0"/>
              </a:rPr>
              <a:t>Benefits of our Support Offering</a:t>
            </a:r>
          </a:p>
        </p:txBody>
      </p:sp>
      <p:pic>
        <p:nvPicPr>
          <p:cNvPr id="111" name="Picture 110">
            <a:extLst>
              <a:ext uri="{FF2B5EF4-FFF2-40B4-BE49-F238E27FC236}">
                <a16:creationId xmlns:a16="http://schemas.microsoft.com/office/drawing/2014/main" id="{28C244F5-FD94-40DC-A706-E634CEAF43C3}"/>
              </a:ext>
            </a:extLst>
          </p:cNvPr>
          <p:cNvPicPr>
            <a:picLocks noChangeAspect="1"/>
          </p:cNvPicPr>
          <p:nvPr/>
        </p:nvPicPr>
        <p:blipFill>
          <a:blip r:embed="rId3"/>
          <a:stretch>
            <a:fillRect/>
          </a:stretch>
        </p:blipFill>
        <p:spPr>
          <a:xfrm>
            <a:off x="10358549" y="162480"/>
            <a:ext cx="1024125" cy="1024125"/>
          </a:xfrm>
          <a:prstGeom prst="rect">
            <a:avLst/>
          </a:prstGeom>
        </p:spPr>
      </p:pic>
      <p:sp>
        <p:nvSpPr>
          <p:cNvPr id="5" name="Text Box 364">
            <a:extLst>
              <a:ext uri="{FF2B5EF4-FFF2-40B4-BE49-F238E27FC236}">
                <a16:creationId xmlns:a16="http://schemas.microsoft.com/office/drawing/2014/main" id="{C4C24851-0BFB-4EAC-9EFA-216B7E0A7C41}"/>
              </a:ext>
            </a:extLst>
          </p:cNvPr>
          <p:cNvSpPr txBox="1">
            <a:spLocks noChangeArrowheads="1"/>
          </p:cNvSpPr>
          <p:nvPr/>
        </p:nvSpPr>
        <p:spPr bwMode="auto">
          <a:xfrm>
            <a:off x="496571" y="1425529"/>
            <a:ext cx="5142230" cy="4616648"/>
          </a:xfrm>
          <a:prstGeom prst="rect">
            <a:avLst/>
          </a:prstGeom>
          <a:noFill/>
          <a:ln w="9525">
            <a:noFill/>
            <a:miter lim="800000"/>
            <a:headEnd/>
            <a:tailEnd/>
          </a:ln>
        </p:spPr>
        <p:txBody>
          <a:bodyPr rot="0" vert="horz" wrap="square" lIns="91440" tIns="45720" rIns="91440" bIns="45720" anchor="t" anchorCtr="0">
            <a:spAutoFit/>
          </a:bodyPr>
          <a:lstStyle/>
          <a:p>
            <a:pPr algn="just"/>
            <a:r>
              <a:rPr lang="en-AU" sz="1050" b="1">
                <a:solidFill>
                  <a:schemeClr val="bg2">
                    <a:lumMod val="65000"/>
                    <a:lumOff val="35000"/>
                  </a:schemeClr>
                </a:solidFill>
                <a:latin typeface="Calibri" panose="020F0502020204030204" pitchFamily="34" charset="0"/>
                <a:cs typeface="Calibri" panose="020F0502020204030204" pitchFamily="34" charset="0"/>
              </a:rPr>
              <a:t>Transparent, secure service across our support team</a:t>
            </a:r>
            <a:r>
              <a:rPr lang="en-AU" sz="1050">
                <a:solidFill>
                  <a:schemeClr val="bg2">
                    <a:lumMod val="65000"/>
                    <a:lumOff val="35000"/>
                  </a:schemeClr>
                </a:solidFill>
                <a:latin typeface="Calibri" panose="020F0502020204030204" pitchFamily="34" charset="0"/>
                <a:cs typeface="Calibri" panose="020F0502020204030204" pitchFamily="34" charset="0"/>
              </a:rPr>
              <a:t>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just"/>
            <a:r>
              <a:rPr lang="en-AU" sz="1050">
                <a:solidFill>
                  <a:schemeClr val="bg2">
                    <a:lumMod val="65000"/>
                    <a:lumOff val="35000"/>
                  </a:schemeClr>
                </a:solidFill>
                <a:latin typeface="Calibri" panose="020F0502020204030204" pitchFamily="34" charset="0"/>
                <a:cs typeface="Calibri" panose="020F0502020204030204" pitchFamily="34" charset="0"/>
              </a:rPr>
              <a:t>We offer target Service Level Agreements (SLAs) for response and resolution of incidents, providing our customers with peace of mind that their issues will be handled within appropriate timescales. </a:t>
            </a:r>
          </a:p>
          <a:p>
            <a:pPr algn="just"/>
            <a:r>
              <a:rPr lang="en-AU" sz="1050">
                <a:solidFill>
                  <a:schemeClr val="bg2">
                    <a:lumMod val="65000"/>
                    <a:lumOff val="35000"/>
                  </a:schemeClr>
                </a:solidFill>
                <a:latin typeface="Calibri" panose="020F0502020204030204" pitchFamily="34" charset="0"/>
                <a:cs typeface="Calibri" panose="020F0502020204030204" pitchFamily="34" charset="0"/>
              </a:rPr>
              <a:t>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just"/>
            <a:r>
              <a:rPr lang="en-AU" sz="1050" b="1">
                <a:solidFill>
                  <a:schemeClr val="bg2">
                    <a:lumMod val="65000"/>
                    <a:lumOff val="35000"/>
                  </a:schemeClr>
                </a:solidFill>
                <a:latin typeface="Calibri" panose="020F0502020204030204" pitchFamily="34" charset="0"/>
                <a:cs typeface="Calibri" panose="020F0502020204030204" pitchFamily="34" charset="0"/>
              </a:rPr>
              <a:t>Microsoft escalation path and roadmap awareness</a:t>
            </a:r>
            <a:endParaRPr lang="en-IE" sz="1050" b="1">
              <a:solidFill>
                <a:schemeClr val="bg2">
                  <a:lumMod val="65000"/>
                  <a:lumOff val="35000"/>
                </a:schemeClr>
              </a:solidFill>
              <a:latin typeface="Calibri" panose="020F0502020204030204" pitchFamily="34" charset="0"/>
              <a:cs typeface="Calibri" panose="020F0502020204030204" pitchFamily="34" charset="0"/>
            </a:endParaRPr>
          </a:p>
          <a:p>
            <a:pPr algn="just"/>
            <a:r>
              <a:rPr lang="en-AU" sz="1050">
                <a:solidFill>
                  <a:schemeClr val="bg2">
                    <a:lumMod val="65000"/>
                    <a:lumOff val="35000"/>
                  </a:schemeClr>
                </a:solidFill>
                <a:latin typeface="Calibri" panose="020F0502020204030204" pitchFamily="34" charset="0"/>
                <a:cs typeface="Calibri" panose="020F0502020204030204" pitchFamily="34" charset="0"/>
              </a:rPr>
              <a:t>Our strong relationship with Microsoft through our EY – Microsoft Alliance means that we can coordinate escalation with Microsoft on your behalf, where required. This helps us to collaborate with the right resources and enables us to reach an appropriate resolution.  </a:t>
            </a:r>
          </a:p>
          <a:p>
            <a:pPr algn="just"/>
            <a:endParaRPr lang="en-AU" sz="1050">
              <a:solidFill>
                <a:schemeClr val="bg2">
                  <a:lumMod val="65000"/>
                  <a:lumOff val="35000"/>
                </a:schemeClr>
              </a:solidFill>
              <a:latin typeface="Calibri" panose="020F0502020204030204" pitchFamily="34" charset="0"/>
              <a:cs typeface="Calibri" panose="020F0502020204030204" pitchFamily="34" charset="0"/>
            </a:endParaRPr>
          </a:p>
          <a:p>
            <a:pPr algn="just"/>
            <a:r>
              <a:rPr lang="en-IE" sz="1050" b="1">
                <a:solidFill>
                  <a:schemeClr val="bg2">
                    <a:lumMod val="65000"/>
                    <a:lumOff val="35000"/>
                  </a:schemeClr>
                </a:solidFill>
                <a:latin typeface="Calibri" panose="020F0502020204030204" pitchFamily="34" charset="0"/>
                <a:cs typeface="Calibri" panose="020F0502020204030204" pitchFamily="34" charset="0"/>
              </a:rPr>
              <a:t>Long-term customer relationships</a:t>
            </a:r>
          </a:p>
          <a:p>
            <a:pPr algn="just"/>
            <a:r>
              <a:rPr lang="en-IE" sz="1050">
                <a:solidFill>
                  <a:schemeClr val="bg2">
                    <a:lumMod val="65000"/>
                    <a:lumOff val="35000"/>
                  </a:schemeClr>
                </a:solidFill>
                <a:latin typeface="Calibri" panose="020F0502020204030204" pitchFamily="34" charset="0"/>
                <a:cs typeface="Calibri" panose="020F0502020204030204" pitchFamily="34" charset="0"/>
              </a:rPr>
              <a:t>St. James's Hospital will have an assigned Service Delivery Manager who will notify you of any Microsoft changes that may affect you, make recommendations for system improvements based on tickets raised, and act as a liaison between the support team and your Engagement Partner to ensure a high quality of service.</a:t>
            </a:r>
          </a:p>
          <a:p>
            <a:pPr algn="just"/>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l">
              <a:buClr>
                <a:schemeClr val="accent2"/>
              </a:buClr>
              <a:buSzPct val="70000"/>
            </a:pPr>
            <a:r>
              <a:rPr lang="en-IE" sz="1050" b="1">
                <a:solidFill>
                  <a:schemeClr val="bg2">
                    <a:lumMod val="65000"/>
                    <a:lumOff val="35000"/>
                  </a:schemeClr>
                </a:solidFill>
                <a:latin typeface="Calibri" panose="020F0502020204030204" pitchFamily="34" charset="0"/>
                <a:cs typeface="Calibri" panose="020F0502020204030204" pitchFamily="34" charset="0"/>
              </a:rPr>
              <a:t>Communication and Escalation</a:t>
            </a:r>
          </a:p>
          <a:p>
            <a:pPr algn="just">
              <a:buClr>
                <a:schemeClr val="accent2"/>
              </a:buClr>
              <a:buSzPct val="70000"/>
            </a:pPr>
            <a:r>
              <a:rPr lang="en-IE" sz="1050">
                <a:solidFill>
                  <a:schemeClr val="bg2">
                    <a:lumMod val="65000"/>
                    <a:lumOff val="35000"/>
                  </a:schemeClr>
                </a:solidFill>
                <a:latin typeface="Calibri" panose="020F0502020204030204" pitchFamily="34" charset="0"/>
                <a:cs typeface="Calibri" panose="020F0502020204030204" pitchFamily="34" charset="0"/>
              </a:rPr>
              <a:t>EY places great emphasis on communication and collaboration as key elements of successful incident management. We will establish a well-structured communication process, including dedicated points of contact and a clear escalation matrix. This will enable seamless coordination with your team, ensuring that incidents are promptly addressed and escalated to the appropriate stakeholders when necessary.</a:t>
            </a:r>
          </a:p>
          <a:p>
            <a:pPr algn="just">
              <a:buClr>
                <a:schemeClr val="accent2"/>
              </a:buClr>
              <a:buSzPct val="70000"/>
            </a:pP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l">
              <a:buClr>
                <a:schemeClr val="accent2"/>
              </a:buClr>
              <a:buSzPct val="70000"/>
            </a:pPr>
            <a:r>
              <a:rPr lang="en-IE" sz="1050" b="1">
                <a:solidFill>
                  <a:schemeClr val="bg2">
                    <a:lumMod val="65000"/>
                    <a:lumOff val="35000"/>
                  </a:schemeClr>
                </a:solidFill>
                <a:latin typeface="Calibri" panose="020F0502020204030204" pitchFamily="34" charset="0"/>
                <a:cs typeface="Calibri" panose="020F0502020204030204" pitchFamily="34" charset="0"/>
              </a:rPr>
              <a:t>EY Team Expertise</a:t>
            </a:r>
          </a:p>
          <a:p>
            <a:pPr algn="just">
              <a:buClr>
                <a:schemeClr val="accent2"/>
              </a:buClr>
              <a:buSzPct val="70000"/>
            </a:pPr>
            <a:r>
              <a:rPr lang="en-IE" sz="1050">
                <a:solidFill>
                  <a:schemeClr val="bg2">
                    <a:lumMod val="65000"/>
                    <a:lumOff val="35000"/>
                  </a:schemeClr>
                </a:solidFill>
                <a:latin typeface="Calibri" panose="020F0502020204030204" pitchFamily="34" charset="0"/>
                <a:cs typeface="Calibri" panose="020F0502020204030204" pitchFamily="34" charset="0"/>
              </a:rPr>
              <a:t>Our team consists of highly skilled professionals with extensive experience in incident management, IT infrastructure, and system administration. With our diverse expertise, we are confident in our ability to address a wide range of challenges and deliver reliable solutions in an efficient manner.</a:t>
            </a:r>
          </a:p>
        </p:txBody>
      </p:sp>
      <p:sp>
        <p:nvSpPr>
          <p:cNvPr id="7" name="TextBox 6">
            <a:extLst>
              <a:ext uri="{FF2B5EF4-FFF2-40B4-BE49-F238E27FC236}">
                <a16:creationId xmlns:a16="http://schemas.microsoft.com/office/drawing/2014/main" id="{75AE26E8-D7A0-4F25-953F-76C58086051B}"/>
              </a:ext>
            </a:extLst>
          </p:cNvPr>
          <p:cNvSpPr txBox="1"/>
          <p:nvPr/>
        </p:nvSpPr>
        <p:spPr>
          <a:xfrm>
            <a:off x="6096000" y="1425529"/>
            <a:ext cx="5705475" cy="4939814"/>
          </a:xfrm>
          <a:prstGeom prst="rect">
            <a:avLst/>
          </a:prstGeom>
          <a:noFill/>
          <a:ln w="9525">
            <a:noFill/>
            <a:miter lim="800000"/>
            <a:headEnd/>
            <a:tailEnd/>
          </a:ln>
        </p:spPr>
        <p:txBody>
          <a:bodyPr rot="0" vert="horz" wrap="square" lIns="91440" tIns="45720" rIns="91440" bIns="45720" anchor="t" anchorCtr="0">
            <a:spAutoFit/>
          </a:bodyPr>
          <a:lstStyle>
            <a:defPPr>
              <a:defRPr lang="en-US"/>
            </a:defPPr>
            <a:lvl1pPr algn="just">
              <a:defRPr sz="20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defRPr>
            </a:lvl1pPr>
          </a:lstStyle>
          <a:p>
            <a:r>
              <a:rPr lang="en-AU" sz="1050" b="1">
                <a:solidFill>
                  <a:schemeClr val="bg2">
                    <a:lumMod val="65000"/>
                    <a:lumOff val="35000"/>
                  </a:schemeClr>
                </a:solidFill>
                <a:latin typeface="Calibri" panose="020F0502020204030204" pitchFamily="34" charset="0"/>
                <a:cs typeface="Calibri" panose="020F0502020204030204" pitchFamily="34" charset="0"/>
              </a:rPr>
              <a:t>Consistency from project to support</a:t>
            </a:r>
            <a:endParaRPr lang="en-IE" sz="1050" b="1">
              <a:solidFill>
                <a:schemeClr val="bg2">
                  <a:lumMod val="65000"/>
                  <a:lumOff val="35000"/>
                </a:schemeClr>
              </a:solidFill>
              <a:latin typeface="Calibri" panose="020F0502020204030204" pitchFamily="34" charset="0"/>
              <a:cs typeface="Calibri" panose="020F0502020204030204" pitchFamily="34" charset="0"/>
            </a:endParaRPr>
          </a:p>
          <a:p>
            <a:r>
              <a:rPr lang="en-AU" sz="1050">
                <a:solidFill>
                  <a:schemeClr val="bg2">
                    <a:lumMod val="65000"/>
                    <a:lumOff val="35000"/>
                  </a:schemeClr>
                </a:solidFill>
                <a:latin typeface="Calibri" panose="020F0502020204030204" pitchFamily="34" charset="0"/>
                <a:cs typeface="Calibri" panose="020F0502020204030204" pitchFamily="34" charset="0"/>
              </a:rPr>
              <a:t>Our Managed Services team works closely with the rest of our Microsoft Services Group, giving them access to an extensive team of full-time technical staff. Working closely with consultants and project managers gives the team early awareness of our projects before each organisation transitions to a supported customer. It also means they can quickly speak to the individuals involved in delivering each project should they need further insight into the systems delivered.</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r>
              <a:rPr lang="en-AU" sz="1050">
                <a:solidFill>
                  <a:schemeClr val="bg2">
                    <a:lumMod val="65000"/>
                    <a:lumOff val="35000"/>
                  </a:schemeClr>
                </a:solidFill>
                <a:latin typeface="Calibri" panose="020F0502020204030204" pitchFamily="34" charset="0"/>
                <a:cs typeface="Calibri" panose="020F0502020204030204" pitchFamily="34" charset="0"/>
              </a:rPr>
              <a:t> </a:t>
            </a:r>
            <a:endParaRPr lang="en-IE" sz="1050">
              <a:solidFill>
                <a:schemeClr val="bg2">
                  <a:lumMod val="65000"/>
                  <a:lumOff val="35000"/>
                </a:schemeClr>
              </a:solidFill>
              <a:latin typeface="Calibri" panose="020F0502020204030204" pitchFamily="34" charset="0"/>
              <a:cs typeface="Calibri" panose="020F0502020204030204" pitchFamily="34" charset="0"/>
            </a:endParaRPr>
          </a:p>
          <a:p>
            <a:r>
              <a:rPr lang="en-AU" sz="1050" b="1">
                <a:solidFill>
                  <a:schemeClr val="bg2">
                    <a:lumMod val="65000"/>
                    <a:lumOff val="35000"/>
                  </a:schemeClr>
                </a:solidFill>
                <a:latin typeface="Calibri" panose="020F0502020204030204" pitchFamily="34" charset="0"/>
                <a:cs typeface="Calibri" panose="020F0502020204030204" pitchFamily="34" charset="0"/>
              </a:rPr>
              <a:t>Adherence to Microsoft guidelines and processes</a:t>
            </a:r>
            <a:endParaRPr lang="en-IE" sz="1050" b="1">
              <a:solidFill>
                <a:schemeClr val="bg2">
                  <a:lumMod val="65000"/>
                  <a:lumOff val="35000"/>
                </a:schemeClr>
              </a:solidFill>
              <a:latin typeface="Calibri" panose="020F0502020204030204" pitchFamily="34" charset="0"/>
              <a:cs typeface="Calibri" panose="020F0502020204030204" pitchFamily="34" charset="0"/>
            </a:endParaRPr>
          </a:p>
          <a:p>
            <a:r>
              <a:rPr lang="en-AU" sz="1050">
                <a:solidFill>
                  <a:schemeClr val="bg2">
                    <a:lumMod val="65000"/>
                    <a:lumOff val="35000"/>
                  </a:schemeClr>
                </a:solidFill>
                <a:latin typeface="Calibri" panose="020F0502020204030204" pitchFamily="34" charset="0"/>
                <a:cs typeface="Calibri" panose="020F0502020204030204" pitchFamily="34" charset="0"/>
              </a:rPr>
              <a:t>We embrace the standards of Information Technology Infrastructure Library (ITIL) and have incorporated ITIL-related guidance and processes within our team. We always recommend deploying support fixes following our governance process with stages of development, user acceptance testing, and then into production, driving a smooth deployment to your users.</a:t>
            </a:r>
          </a:p>
          <a:p>
            <a:pPr algn="just">
              <a:buClr>
                <a:schemeClr val="accent2"/>
              </a:buClr>
              <a:buSzPct val="70000"/>
            </a:pP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l">
              <a:buClr>
                <a:schemeClr val="accent2"/>
              </a:buClr>
              <a:buSzPct val="70000"/>
            </a:pPr>
            <a:r>
              <a:rPr lang="en-IE" sz="1050" b="1">
                <a:solidFill>
                  <a:schemeClr val="bg2">
                    <a:lumMod val="65000"/>
                    <a:lumOff val="35000"/>
                  </a:schemeClr>
                </a:solidFill>
                <a:latin typeface="Calibri" panose="020F0502020204030204" pitchFamily="34" charset="0"/>
                <a:cs typeface="Calibri" panose="020F0502020204030204" pitchFamily="34" charset="0"/>
              </a:rPr>
              <a:t>Continuous Improvement </a:t>
            </a:r>
          </a:p>
          <a:p>
            <a:pPr algn="just">
              <a:buClr>
                <a:schemeClr val="accent2"/>
              </a:buClr>
              <a:buSzPct val="70000"/>
            </a:pPr>
            <a:r>
              <a:rPr lang="en-IE" sz="1050">
                <a:solidFill>
                  <a:schemeClr val="bg2">
                    <a:lumMod val="65000"/>
                    <a:lumOff val="35000"/>
                  </a:schemeClr>
                </a:solidFill>
                <a:latin typeface="Calibri" panose="020F0502020204030204" pitchFamily="34" charset="0"/>
                <a:cs typeface="Calibri" panose="020F0502020204030204" pitchFamily="34" charset="0"/>
              </a:rPr>
              <a:t>At EY, we prioritize continuous improvement to enhance our services continually. We will conduct regular reviews of our incident management processes, response times, and event categorization methodology. This iterative approach allows us to identify areas for improvement and adapt our strategies to meet your evolving business needs effectively. The areas above and additional information, will all be detailed within a monthly report, produced and presented by the Service Delivery Manager.</a:t>
            </a:r>
          </a:p>
          <a:p>
            <a:pPr algn="just">
              <a:buClr>
                <a:schemeClr val="accent2"/>
              </a:buClr>
              <a:buSzPct val="70000"/>
            </a:pPr>
            <a:endParaRPr lang="en-IE" sz="1050">
              <a:solidFill>
                <a:schemeClr val="bg2">
                  <a:lumMod val="65000"/>
                  <a:lumOff val="35000"/>
                </a:schemeClr>
              </a:solidFill>
              <a:latin typeface="Calibri" panose="020F0502020204030204" pitchFamily="34" charset="0"/>
              <a:cs typeface="Calibri" panose="020F0502020204030204" pitchFamily="34" charset="0"/>
            </a:endParaRPr>
          </a:p>
          <a:p>
            <a:pPr algn="l">
              <a:buClr>
                <a:schemeClr val="accent2"/>
              </a:buClr>
              <a:buSzPct val="70000"/>
            </a:pPr>
            <a:r>
              <a:rPr lang="en-IE" sz="1050" b="1">
                <a:solidFill>
                  <a:schemeClr val="bg2">
                    <a:lumMod val="65000"/>
                    <a:lumOff val="35000"/>
                  </a:schemeClr>
                </a:solidFill>
                <a:latin typeface="Calibri" panose="020F0502020204030204" pitchFamily="34" charset="0"/>
                <a:cs typeface="Calibri" panose="020F0502020204030204" pitchFamily="34" charset="0"/>
              </a:rPr>
              <a:t>Flexibility and Collaboration</a:t>
            </a:r>
          </a:p>
          <a:p>
            <a:pPr>
              <a:buClr>
                <a:schemeClr val="accent2"/>
              </a:buClr>
              <a:buSzPct val="70000"/>
            </a:pPr>
            <a:r>
              <a:rPr lang="en-IE" sz="1050">
                <a:solidFill>
                  <a:schemeClr val="bg2">
                    <a:lumMod val="65000"/>
                    <a:lumOff val="35000"/>
                  </a:schemeClr>
                </a:solidFill>
                <a:latin typeface="Calibri" panose="020F0502020204030204" pitchFamily="34" charset="0"/>
                <a:cs typeface="Calibri" panose="020F0502020204030204" pitchFamily="34" charset="0"/>
              </a:rPr>
              <a:t>EY understands that each organization has unique requirements. As a result, we are committed to tailoring our services to align with your specific needs and objectives. Our team will work closely with your stakeholders to seamlessly integrate our incident management processes into your existing systems and workflows. Collaboration will also be present when we have Technical Support available during visits from the Irish National Accreditation Board or similar. EY will facilitate an independent security review (penetration testing), by a specialist company contracted by SJH and collaborate with them in the resolution of any security issues highlighted by them.</a:t>
            </a:r>
          </a:p>
        </p:txBody>
      </p:sp>
    </p:spTree>
    <p:extLst>
      <p:ext uri="{BB962C8B-B14F-4D97-AF65-F5344CB8AC3E}">
        <p14:creationId xmlns:p14="http://schemas.microsoft.com/office/powerpoint/2010/main" val="2149490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404136" y="1265205"/>
            <a:ext cx="5486399" cy="676788"/>
          </a:xfrm>
        </p:spPr>
        <p:txBody>
          <a:bodyPr/>
          <a:lstStyle/>
          <a:p>
            <a:r>
              <a:rPr lang="en-IE">
                <a:latin typeface="Calibri"/>
                <a:cs typeface="Calibri"/>
              </a:rPr>
              <a:t>Vendor Background</a:t>
            </a: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panose="020F0502020204030204" pitchFamily="34" charset="0"/>
                <a:cs typeface="Calibri" panose="020F0502020204030204" pitchFamily="34" charset="0"/>
              </a:rPr>
              <a:t>B.</a:t>
            </a:r>
            <a:endParaRPr lang="en-IE">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4653C93-EE7D-BEDF-D2B4-67B3FBB2F9ED}"/>
              </a:ext>
            </a:extLst>
          </p:cNvPr>
          <p:cNvSpPr txBox="1"/>
          <p:nvPr/>
        </p:nvSpPr>
        <p:spPr>
          <a:xfrm>
            <a:off x="609600" y="3713593"/>
            <a:ext cx="6096000" cy="646331"/>
          </a:xfrm>
          <a:prstGeom prst="rect">
            <a:avLst/>
          </a:prstGeom>
          <a:noFill/>
        </p:spPr>
        <p:txBody>
          <a:bodyPr wrap="square" lIns="91440" tIns="45720" rIns="91440" bIns="45720" anchor="t">
            <a:spAutoFit/>
          </a:bodyPr>
          <a:lstStyle/>
          <a:p>
            <a:pPr algn="l" rtl="0" fontAlgn="base"/>
            <a:r>
              <a:rPr lang="en-GB" sz="1800" b="0" i="0" u="none" strike="noStrike">
                <a:effectLst/>
                <a:latin typeface="Calibri"/>
                <a:cs typeface="Calibri"/>
              </a:rPr>
              <a:t>B.1 – Overview of EY</a:t>
            </a:r>
            <a:r>
              <a:rPr lang="en-US" sz="1800" b="0" i="0">
                <a:effectLst/>
                <a:latin typeface="Calibri"/>
                <a:cs typeface="Calibri"/>
              </a:rPr>
              <a:t>​</a:t>
            </a:r>
          </a:p>
          <a:p>
            <a:pPr algn="l" rtl="0" fontAlgn="base"/>
            <a:r>
              <a:rPr lang="en-IE" sz="1800" b="0" i="0" u="none" strike="noStrike">
                <a:effectLst/>
                <a:latin typeface="Calibri" panose="020F0502020204030204" pitchFamily="34" charset="0"/>
                <a:cs typeface="Calibri" panose="020F0502020204030204" pitchFamily="34" charset="0"/>
              </a:rPr>
              <a:t>B.2 – Introduction to our Microsoft Tech capabilities</a:t>
            </a:r>
            <a:r>
              <a:rPr lang="en-US" sz="1800" b="0" i="0">
                <a:effectLst/>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055100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492056-A46A-C98F-7C19-8A45ECCB4E81}"/>
              </a:ext>
            </a:extLst>
          </p:cNvPr>
          <p:cNvSpPr>
            <a:spLocks noGrp="1"/>
          </p:cNvSpPr>
          <p:nvPr>
            <p:ph idx="1"/>
          </p:nvPr>
        </p:nvSpPr>
        <p:spPr>
          <a:xfrm>
            <a:off x="609600" y="1453691"/>
            <a:ext cx="4613753" cy="4757038"/>
          </a:xfrm>
        </p:spPr>
        <p:txBody>
          <a:bodyPr/>
          <a:lstStyle/>
          <a:p>
            <a:pPr algn="just"/>
            <a:r>
              <a:rPr lang="en-IE">
                <a:solidFill>
                  <a:schemeClr val="bg2">
                    <a:lumMod val="65000"/>
                    <a:lumOff val="35000"/>
                  </a:schemeClr>
                </a:solidFill>
                <a:latin typeface="Calibri" panose="020F0502020204030204" pitchFamily="34" charset="0"/>
                <a:cs typeface="Calibri" panose="020F0502020204030204" pitchFamily="34" charset="0"/>
              </a:rPr>
              <a:t>EY recognizes the criticality of event categorization in ensuring effective incident management. To achieve this, we will define four distinct categories based on the requirements given in the tender document.</a:t>
            </a:r>
          </a:p>
          <a:p>
            <a:pPr marL="228600" indent="-228600">
              <a:buClr>
                <a:schemeClr val="bg1"/>
              </a:buClr>
              <a:buAutoNum type="arabicPeriod"/>
            </a:pPr>
            <a:r>
              <a:rPr lang="en-IE">
                <a:solidFill>
                  <a:schemeClr val="bg2">
                    <a:lumMod val="65000"/>
                    <a:lumOff val="35000"/>
                  </a:schemeClr>
                </a:solidFill>
                <a:latin typeface="Calibri" panose="020F0502020204030204" pitchFamily="34" charset="0"/>
                <a:cs typeface="Calibri" panose="020F0502020204030204" pitchFamily="34" charset="0"/>
              </a:rPr>
              <a:t>Critical Priority: Events classified as critical are of utmost significance, necessitating immediate attention due to their potential to cause substantial business impact or system disruption.</a:t>
            </a:r>
          </a:p>
          <a:p>
            <a:pPr marL="228600" indent="-228600">
              <a:buClr>
                <a:schemeClr val="bg1"/>
              </a:buClr>
              <a:buAutoNum type="arabicPeriod"/>
            </a:pPr>
            <a:r>
              <a:rPr lang="en-IE">
                <a:solidFill>
                  <a:schemeClr val="bg2">
                    <a:lumMod val="65000"/>
                    <a:lumOff val="35000"/>
                  </a:schemeClr>
                </a:solidFill>
                <a:latin typeface="Calibri" panose="020F0502020204030204" pitchFamily="34" charset="0"/>
                <a:cs typeface="Calibri" panose="020F0502020204030204" pitchFamily="34" charset="0"/>
              </a:rPr>
              <a:t>High Priority: Events that fit under this category have a big effect on operations and need to be dealt with quickly to prevent any further effects..</a:t>
            </a:r>
          </a:p>
          <a:p>
            <a:pPr marL="228600" indent="-228600">
              <a:buClr>
                <a:schemeClr val="bg1"/>
              </a:buClr>
              <a:buAutoNum type="arabicPeriod"/>
            </a:pPr>
            <a:r>
              <a:rPr lang="en-IE">
                <a:solidFill>
                  <a:schemeClr val="bg2">
                    <a:lumMod val="65000"/>
                    <a:lumOff val="35000"/>
                  </a:schemeClr>
                </a:solidFill>
                <a:latin typeface="Calibri" panose="020F0502020204030204" pitchFamily="34" charset="0"/>
                <a:cs typeface="Calibri" panose="020F0502020204030204" pitchFamily="34" charset="0"/>
              </a:rPr>
              <a:t>Medium Priority: Events with a medium priority may have some effect on operations, but they are not urgent. However, they will be attended to promptly and with devotion.</a:t>
            </a:r>
          </a:p>
          <a:p>
            <a:pPr marL="228600" indent="-228600">
              <a:buClr>
                <a:schemeClr val="bg1"/>
              </a:buClr>
              <a:buAutoNum type="arabicPeriod"/>
            </a:pPr>
            <a:r>
              <a:rPr lang="en-IE">
                <a:solidFill>
                  <a:schemeClr val="bg2">
                    <a:lumMod val="65000"/>
                    <a:lumOff val="35000"/>
                  </a:schemeClr>
                </a:solidFill>
                <a:latin typeface="Calibri" panose="020F0502020204030204" pitchFamily="34" charset="0"/>
                <a:cs typeface="Calibri" panose="020F0502020204030204" pitchFamily="34" charset="0"/>
              </a:rPr>
              <a:t>Low Priority: Events falling into this category are those with little or no effect on operations or those that can be fixed during ordinary maintenance procedures.</a:t>
            </a:r>
          </a:p>
          <a:p>
            <a:r>
              <a:rPr lang="en-IE">
                <a:solidFill>
                  <a:schemeClr val="bg2">
                    <a:lumMod val="65000"/>
                    <a:lumOff val="35000"/>
                  </a:schemeClr>
                </a:solidFill>
                <a:latin typeface="Calibri" panose="020F0502020204030204" pitchFamily="34" charset="0"/>
                <a:cs typeface="Calibri" panose="020F0502020204030204" pitchFamily="34" charset="0"/>
              </a:rPr>
              <a:t>Target Response Time:</a:t>
            </a:r>
          </a:p>
          <a:p>
            <a:pPr marL="228600" indent="-228600">
              <a:buFont typeface="Arial" panose="020B0604020202020204" pitchFamily="34" charset="0"/>
              <a:buChar char="•"/>
            </a:pPr>
            <a:r>
              <a:rPr lang="en-IE" b="0" i="0">
                <a:solidFill>
                  <a:schemeClr val="bg2">
                    <a:lumMod val="65000"/>
                    <a:lumOff val="35000"/>
                  </a:schemeClr>
                </a:solidFill>
                <a:effectLst/>
                <a:latin typeface="Calibri" panose="020F0502020204030204" pitchFamily="34" charset="0"/>
                <a:cs typeface="Calibri" panose="020F0502020204030204" pitchFamily="34" charset="0"/>
              </a:rPr>
              <a:t>Critical Priority: Within – 30 mins from the time of event identification.</a:t>
            </a:r>
            <a:r>
              <a:rPr lang="en-IE">
                <a:solidFill>
                  <a:schemeClr val="bg2">
                    <a:lumMod val="65000"/>
                    <a:lumOff val="35000"/>
                  </a:schemeClr>
                </a:solidFill>
                <a:latin typeface="Calibri" panose="020F0502020204030204" pitchFamily="34" charset="0"/>
                <a:cs typeface="Calibri" panose="020F0502020204030204" pitchFamily="34" charset="0"/>
              </a:rPr>
              <a:t> </a:t>
            </a:r>
          </a:p>
          <a:p>
            <a:pPr marL="228600" indent="-228600">
              <a:buFont typeface="Arial" panose="020B0604020202020204" pitchFamily="34" charset="0"/>
              <a:buChar char="•"/>
            </a:pPr>
            <a:r>
              <a:rPr lang="en-IE" b="0" i="0">
                <a:solidFill>
                  <a:schemeClr val="bg2">
                    <a:lumMod val="65000"/>
                    <a:lumOff val="35000"/>
                  </a:schemeClr>
                </a:solidFill>
                <a:effectLst/>
                <a:latin typeface="Calibri" panose="020F0502020204030204" pitchFamily="34" charset="0"/>
                <a:cs typeface="Calibri" panose="020F0502020204030204" pitchFamily="34" charset="0"/>
              </a:rPr>
              <a:t>High Priority: Within – 2 hours from the time of event identification.</a:t>
            </a:r>
            <a:r>
              <a:rPr lang="en-IE">
                <a:solidFill>
                  <a:schemeClr val="bg2">
                    <a:lumMod val="65000"/>
                    <a:lumOff val="35000"/>
                  </a:schemeClr>
                </a:solidFill>
                <a:latin typeface="Calibri" panose="020F0502020204030204" pitchFamily="34" charset="0"/>
                <a:cs typeface="Calibri" panose="020F0502020204030204" pitchFamily="34" charset="0"/>
              </a:rPr>
              <a:t> </a:t>
            </a:r>
            <a:endParaRPr lang="en-IE" b="0" i="0">
              <a:solidFill>
                <a:schemeClr val="bg2">
                  <a:lumMod val="65000"/>
                  <a:lumOff val="35000"/>
                </a:schemeClr>
              </a:solidFill>
              <a:effectLst/>
              <a:latin typeface="Calibri" panose="020F0502020204030204" pitchFamily="34" charset="0"/>
              <a:cs typeface="Calibri" panose="020F0502020204030204" pitchFamily="34" charset="0"/>
            </a:endParaRPr>
          </a:p>
          <a:p>
            <a:pPr marL="228600" indent="-228600">
              <a:buFont typeface="Arial" panose="020B0604020202020204" pitchFamily="34" charset="0"/>
              <a:buChar char="•"/>
            </a:pPr>
            <a:r>
              <a:rPr lang="en-IE" b="0" i="0">
                <a:solidFill>
                  <a:schemeClr val="bg2">
                    <a:lumMod val="65000"/>
                    <a:lumOff val="35000"/>
                  </a:schemeClr>
                </a:solidFill>
                <a:effectLst/>
                <a:latin typeface="Calibri" panose="020F0502020204030204" pitchFamily="34" charset="0"/>
                <a:cs typeface="Calibri" panose="020F0502020204030204" pitchFamily="34" charset="0"/>
              </a:rPr>
              <a:t>Medium Priority: Within – 6 hours from the time of event identification.</a:t>
            </a:r>
          </a:p>
          <a:p>
            <a:pPr marL="228600" indent="-228600">
              <a:buFont typeface="Arial" panose="020B0604020202020204" pitchFamily="34" charset="0"/>
              <a:buChar char="•"/>
            </a:pPr>
            <a:r>
              <a:rPr lang="en-IE" b="0" i="0">
                <a:solidFill>
                  <a:schemeClr val="bg2">
                    <a:lumMod val="65000"/>
                    <a:lumOff val="35000"/>
                  </a:schemeClr>
                </a:solidFill>
                <a:effectLst/>
                <a:latin typeface="Calibri" panose="020F0502020204030204" pitchFamily="34" charset="0"/>
                <a:cs typeface="Calibri" panose="020F0502020204030204" pitchFamily="34" charset="0"/>
              </a:rPr>
              <a:t>Low Priority: Within – 12 hours from the time of event identification.</a:t>
            </a:r>
          </a:p>
          <a:p>
            <a:pPr algn="just"/>
            <a:endParaRPr lang="en-IE">
              <a:solidFill>
                <a:schemeClr val="bg2">
                  <a:lumMod val="65000"/>
                  <a:lumOff val="35000"/>
                </a:schemeClr>
              </a:solidFill>
              <a:latin typeface="Calibri" panose="020F0502020204030204" pitchFamily="34" charset="0"/>
              <a:cs typeface="Calibri" panose="020F0502020204030204" pitchFamily="34" charset="0"/>
            </a:endParaRPr>
          </a:p>
          <a:p>
            <a:pPr algn="just"/>
            <a:r>
              <a:rPr lang="en-IE">
                <a:solidFill>
                  <a:schemeClr val="bg2">
                    <a:lumMod val="65000"/>
                    <a:lumOff val="35000"/>
                  </a:schemeClr>
                </a:solidFill>
                <a:latin typeface="Calibri" panose="020F0502020204030204" pitchFamily="34" charset="0"/>
                <a:cs typeface="Calibri" panose="020F0502020204030204" pitchFamily="34" charset="0"/>
              </a:rPr>
              <a:t>For example in a critical priority incident, an email goes to all key stakeholders, and the Managed Service team open a call with the key stakeholders and the call remains open until the issue is resolved. Managed Services team will include additional subject matter resources to the call for regular updates and any relevant input, while the issue is worked on in the background.</a:t>
            </a:r>
          </a:p>
          <a:p>
            <a:pPr algn="just"/>
            <a:r>
              <a:rPr lang="en-IE">
                <a:solidFill>
                  <a:schemeClr val="bg2">
                    <a:lumMod val="65000"/>
                    <a:lumOff val="35000"/>
                  </a:schemeClr>
                </a:solidFill>
                <a:latin typeface="Calibri" panose="020F0502020204030204" pitchFamily="34" charset="0"/>
                <a:cs typeface="Calibri" panose="020F0502020204030204" pitchFamily="34" charset="0"/>
              </a:rPr>
              <a:t>EY is committed to having clear lines of communication with all relevant parties and providing regular updates on the issue, findings/route cause, next actions, and ETA’s as to when the incident will be resolved.</a:t>
            </a:r>
          </a:p>
        </p:txBody>
      </p:sp>
      <p:sp>
        <p:nvSpPr>
          <p:cNvPr id="3" name="Text Placeholder 2">
            <a:extLst>
              <a:ext uri="{FF2B5EF4-FFF2-40B4-BE49-F238E27FC236}">
                <a16:creationId xmlns:a16="http://schemas.microsoft.com/office/drawing/2014/main" id="{A65D76A2-1687-09D7-94ED-DD5722302F9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E.3 - EY Managed Service Event Categorisation</a:t>
            </a:r>
          </a:p>
        </p:txBody>
      </p:sp>
      <p:sp>
        <p:nvSpPr>
          <p:cNvPr id="5" name="TextBox 4">
            <a:extLst>
              <a:ext uri="{FF2B5EF4-FFF2-40B4-BE49-F238E27FC236}">
                <a16:creationId xmlns:a16="http://schemas.microsoft.com/office/drawing/2014/main" id="{1962A7BA-9D82-EFAD-8C41-97885E03EC88}"/>
              </a:ext>
            </a:extLst>
          </p:cNvPr>
          <p:cNvSpPr txBox="1"/>
          <p:nvPr/>
        </p:nvSpPr>
        <p:spPr>
          <a:xfrm>
            <a:off x="5629276" y="1253275"/>
            <a:ext cx="7291851" cy="190821"/>
          </a:xfrm>
          <a:prstGeom prst="rect">
            <a:avLst/>
          </a:prstGeom>
          <a:noFill/>
        </p:spPr>
        <p:txBody>
          <a:bodyPr wrap="square" lIns="0" tIns="36576" rIns="0" bIns="0" rtlCol="0">
            <a:spAutoFit/>
          </a:bodyPr>
          <a:lstStyle/>
          <a:p>
            <a:pPr algn="l">
              <a:buClr>
                <a:schemeClr val="accent2"/>
              </a:buClr>
              <a:buSzPct val="70000"/>
            </a:pPr>
            <a:r>
              <a:rPr lang="en-IE" sz="1000" b="1">
                <a:solidFill>
                  <a:schemeClr val="bg1"/>
                </a:solidFill>
                <a:latin typeface="Calibri" panose="020F0502020204030204" pitchFamily="34" charset="0"/>
                <a:cs typeface="Calibri" panose="020F0502020204030204" pitchFamily="34" charset="0"/>
              </a:rPr>
              <a:t>Some examples of Event Categorisations:</a:t>
            </a:r>
            <a:endParaRPr lang="en-IE" sz="1200">
              <a:solidFill>
                <a:schemeClr val="bg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F5580BC5-771D-84EE-FFA7-579291BB65AB}"/>
              </a:ext>
            </a:extLst>
          </p:cNvPr>
          <p:cNvPicPr>
            <a:picLocks noChangeAspect="1"/>
          </p:cNvPicPr>
          <p:nvPr/>
        </p:nvPicPr>
        <p:blipFill>
          <a:blip r:embed="rId3"/>
          <a:stretch>
            <a:fillRect/>
          </a:stretch>
        </p:blipFill>
        <p:spPr>
          <a:xfrm>
            <a:off x="10358549" y="162480"/>
            <a:ext cx="1024125" cy="1024125"/>
          </a:xfrm>
          <a:prstGeom prst="rect">
            <a:avLst/>
          </a:prstGeom>
        </p:spPr>
      </p:pic>
      <p:graphicFrame>
        <p:nvGraphicFramePr>
          <p:cNvPr id="8" name="Table 7">
            <a:extLst>
              <a:ext uri="{FF2B5EF4-FFF2-40B4-BE49-F238E27FC236}">
                <a16:creationId xmlns:a16="http://schemas.microsoft.com/office/drawing/2014/main" id="{77162B5C-5A36-131F-94D3-BB8E149532FC}"/>
              </a:ext>
            </a:extLst>
          </p:cNvPr>
          <p:cNvGraphicFramePr>
            <a:graphicFrameLocks noGrp="1"/>
          </p:cNvGraphicFramePr>
          <p:nvPr>
            <p:extLst>
              <p:ext uri="{D42A27DB-BD31-4B8C-83A1-F6EECF244321}">
                <p14:modId xmlns:p14="http://schemas.microsoft.com/office/powerpoint/2010/main" val="3740507354"/>
              </p:ext>
            </p:extLst>
          </p:nvPr>
        </p:nvGraphicFramePr>
        <p:xfrm>
          <a:off x="5629277" y="1510766"/>
          <a:ext cx="6219824" cy="4704735"/>
        </p:xfrm>
        <a:graphic>
          <a:graphicData uri="http://schemas.openxmlformats.org/drawingml/2006/table">
            <a:tbl>
              <a:tblPr>
                <a:tableStyleId>{5DA37D80-6434-44D0-A028-1B22A696006F}</a:tableStyleId>
              </a:tblPr>
              <a:tblGrid>
                <a:gridCol w="502222">
                  <a:extLst>
                    <a:ext uri="{9D8B030D-6E8A-4147-A177-3AD203B41FA5}">
                      <a16:colId xmlns:a16="http://schemas.microsoft.com/office/drawing/2014/main" val="1716306783"/>
                    </a:ext>
                  </a:extLst>
                </a:gridCol>
                <a:gridCol w="932702">
                  <a:extLst>
                    <a:ext uri="{9D8B030D-6E8A-4147-A177-3AD203B41FA5}">
                      <a16:colId xmlns:a16="http://schemas.microsoft.com/office/drawing/2014/main" val="2808384120"/>
                    </a:ext>
                  </a:extLst>
                </a:gridCol>
                <a:gridCol w="4784900">
                  <a:extLst>
                    <a:ext uri="{9D8B030D-6E8A-4147-A177-3AD203B41FA5}">
                      <a16:colId xmlns:a16="http://schemas.microsoft.com/office/drawing/2014/main" val="1789991672"/>
                    </a:ext>
                  </a:extLst>
                </a:gridCol>
              </a:tblGrid>
              <a:tr h="403410">
                <a:tc>
                  <a:txBody>
                    <a:bodyPr/>
                    <a:lstStyle/>
                    <a:p>
                      <a:pPr algn="ctr" fontAlgn="ctr"/>
                      <a:r>
                        <a:rPr lang="en-IE" sz="800" b="1" u="none" strike="noStrike">
                          <a:solidFill>
                            <a:sysClr val="windowText" lastClr="000000"/>
                          </a:solidFill>
                          <a:effectLst/>
                        </a:rPr>
                        <a:t>Event category</a:t>
                      </a:r>
                      <a:endParaRPr lang="en-IE" sz="800" b="1" i="0" u="none" strike="noStrike">
                        <a:solidFill>
                          <a:sysClr val="windowText" lastClr="000000"/>
                        </a:solidFill>
                        <a:effectLst/>
                        <a:latin typeface="+mn-lt"/>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ctr"/>
                      <a:r>
                        <a:rPr lang="en-IE" sz="800" b="1" u="none" strike="noStrike">
                          <a:solidFill>
                            <a:sysClr val="windowText" lastClr="000000"/>
                          </a:solidFill>
                          <a:effectLst/>
                        </a:rPr>
                        <a:t>Resources</a:t>
                      </a:r>
                      <a:endParaRPr lang="en-IE" sz="800" b="1" i="0" u="none" strike="noStrike">
                        <a:solidFill>
                          <a:sysClr val="windowText" lastClr="000000"/>
                        </a:solidFill>
                        <a:effectLst/>
                        <a:latin typeface="+mn-lt"/>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ctr"/>
                      <a:r>
                        <a:rPr lang="en-IE" sz="800" b="1" u="none" strike="noStrike">
                          <a:solidFill>
                            <a:sysClr val="windowText" lastClr="000000"/>
                          </a:solidFill>
                          <a:effectLst/>
                        </a:rPr>
                        <a:t>Examples</a:t>
                      </a:r>
                      <a:endParaRPr lang="en-IE" sz="800" b="1" i="0" u="none" strike="noStrike">
                        <a:solidFill>
                          <a:sysClr val="windowText" lastClr="000000"/>
                        </a:solidFill>
                        <a:effectLst/>
                        <a:latin typeface="+mn-lt"/>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813954351"/>
                  </a:ext>
                </a:extLst>
              </a:tr>
              <a:tr h="346736">
                <a:tc rowSpan="5">
                  <a:txBody>
                    <a:bodyPr/>
                    <a:lstStyle/>
                    <a:p>
                      <a:pPr algn="ctr" fontAlgn="ctr"/>
                      <a:r>
                        <a:rPr lang="en-IE" sz="800" u="none" strike="noStrike">
                          <a:solidFill>
                            <a:sysClr val="windowText" lastClr="000000"/>
                          </a:solidFill>
                          <a:effectLst/>
                        </a:rPr>
                        <a:t>Critical Priority</a:t>
                      </a:r>
                    </a:p>
                    <a:p>
                      <a:pPr algn="ctr" fontAlgn="ctr"/>
                      <a:r>
                        <a:rPr lang="en-IE" sz="1799" b="0" kern="1200">
                          <a:solidFill>
                            <a:schemeClr val="dk1"/>
                          </a:solidFill>
                          <a:effectLst/>
                        </a:rPr>
                        <a:t>🔥 </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rowSpan="2">
                  <a:txBody>
                    <a:bodyPr/>
                    <a:lstStyle/>
                    <a:p>
                      <a:pPr algn="ctr" fontAlgn="ctr"/>
                      <a:r>
                        <a:rPr lang="en-IE" sz="800" u="none" strike="noStrike">
                          <a:solidFill>
                            <a:sysClr val="windowText" lastClr="000000"/>
                          </a:solidFill>
                          <a:effectLst/>
                        </a:rPr>
                        <a:t>Virtual Machines (VM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VM instance failure causing critical applications to go down.</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956878437"/>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Disk corruption leading to data los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51024362"/>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Databas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Complete outage of Azure SQL Database or Cosmos DB affecting critical data acces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387093125"/>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Corruption of critical data in databas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938879114"/>
                  </a:ext>
                </a:extLst>
              </a:tr>
              <a:tr h="270860">
                <a:tc vMerge="1">
                  <a:txBody>
                    <a:bodyPr/>
                    <a:lstStyle/>
                    <a:p>
                      <a:endParaRPr lang="en-IE"/>
                    </a:p>
                  </a:txBody>
                  <a:tcPr/>
                </a:tc>
                <a:tc>
                  <a:txBody>
                    <a:bodyPr/>
                    <a:lstStyle/>
                    <a:p>
                      <a:pPr algn="ctr" fontAlgn="ctr"/>
                      <a:r>
                        <a:rPr lang="en-IE" sz="800" u="none" strike="noStrike">
                          <a:solidFill>
                            <a:sysClr val="windowText" lastClr="000000"/>
                          </a:solidFill>
                          <a:effectLst/>
                        </a:rPr>
                        <a:t>Azure Networking</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Critical network infrastructure outage resulting in loss of connectivity to important services or data center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552839444"/>
                  </a:ext>
                </a:extLst>
              </a:tr>
              <a:tr h="346736">
                <a:tc rowSpan="6">
                  <a:txBody>
                    <a:bodyPr/>
                    <a:lstStyle/>
                    <a:p>
                      <a:pPr algn="ctr" fontAlgn="ctr"/>
                      <a:r>
                        <a:rPr lang="en-IE" sz="800" u="none" strike="noStrike">
                          <a:solidFill>
                            <a:sysClr val="windowText" lastClr="000000"/>
                          </a:solidFill>
                          <a:effectLst/>
                        </a:rPr>
                        <a:t>High Priority</a:t>
                      </a:r>
                    </a:p>
                    <a:p>
                      <a:pPr algn="ctr" fontAlgn="ctr"/>
                      <a:r>
                        <a:rPr lang="en-IE" sz="1799" b="0" kern="1200">
                          <a:solidFill>
                            <a:schemeClr val="dk1"/>
                          </a:solidFill>
                          <a:effectLst/>
                        </a:rPr>
                        <a:t>🔶 </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rowSpan="2">
                  <a:txBody>
                    <a:bodyPr/>
                    <a:lstStyle/>
                    <a:p>
                      <a:pPr algn="ctr" fontAlgn="ctr"/>
                      <a:r>
                        <a:rPr lang="en-IE" sz="800" u="none" strike="noStrike">
                          <a:solidFill>
                            <a:sysClr val="windowText" lastClr="000000"/>
                          </a:solidFill>
                          <a:effectLst/>
                        </a:rPr>
                        <a:t>Virtual Machines (VM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VM performance degradation affecting non-critical applications or servic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4105452837"/>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Disk space exhaustion leading to the inability to write new data.</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4253706154"/>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Databas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Partial unavailability of Azure SQL Database or Cosmos DB affecting specific non-critical data acces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964030244"/>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Performance slowdowns in databases impacting application response tim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806023890"/>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Storage Account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Performance issues affecting non-critical applications or servic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636178116"/>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Partial unavailability of storage accounts impacting non-essential data acces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66657558"/>
                  </a:ext>
                </a:extLst>
              </a:tr>
              <a:tr h="346736">
                <a:tc rowSpan="6">
                  <a:txBody>
                    <a:bodyPr/>
                    <a:lstStyle/>
                    <a:p>
                      <a:pPr algn="ctr" fontAlgn="ctr"/>
                      <a:r>
                        <a:rPr lang="en-IE" sz="800" u="none" strike="noStrike">
                          <a:solidFill>
                            <a:sysClr val="windowText" lastClr="000000"/>
                          </a:solidFill>
                          <a:effectLst/>
                        </a:rPr>
                        <a:t>Medium Priority</a:t>
                      </a:r>
                    </a:p>
                    <a:p>
                      <a:pPr algn="ctr" fontAlgn="ctr"/>
                      <a:r>
                        <a:rPr lang="en-IE" sz="1799" b="0" kern="1200">
                          <a:solidFill>
                            <a:schemeClr val="dk1"/>
                          </a:solidFill>
                          <a:effectLst/>
                        </a:rPr>
                        <a:t>🟡 </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rowSpan="2">
                  <a:txBody>
                    <a:bodyPr/>
                    <a:lstStyle/>
                    <a:p>
                      <a:pPr algn="ctr" fontAlgn="ctr"/>
                      <a:r>
                        <a:rPr lang="en-IE" sz="800" u="none" strike="noStrike">
                          <a:solidFill>
                            <a:sysClr val="windowText" lastClr="000000"/>
                          </a:solidFill>
                          <a:effectLst/>
                        </a:rPr>
                        <a:t>Virtual Machines (VM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Performance issues affecting non-time-sensitive application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063904610"/>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Non-critical VM reboots or instance failur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401163323"/>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Databas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Minor performance issues in non-critical databas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770639326"/>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Data replication delays for non-critical data.</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79114904"/>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Storage Account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Performance degradation of non-critical storage account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713258937"/>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Minor access issues for non-essential data</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4182573686"/>
                  </a:ext>
                </a:extLst>
              </a:tr>
              <a:tr h="298726">
                <a:tc rowSpan="5">
                  <a:txBody>
                    <a:bodyPr/>
                    <a:lstStyle/>
                    <a:p>
                      <a:pPr algn="ctr" fontAlgn="ctr"/>
                      <a:r>
                        <a:rPr lang="en-IE" sz="800" u="none" strike="noStrike">
                          <a:solidFill>
                            <a:sysClr val="windowText" lastClr="000000"/>
                          </a:solidFill>
                          <a:effectLst/>
                        </a:rPr>
                        <a:t>Low Priority</a:t>
                      </a:r>
                    </a:p>
                    <a:p>
                      <a:pPr algn="ctr" fontAlgn="ctr"/>
                      <a:r>
                        <a:rPr lang="en-IE" sz="1799" b="0" kern="1200">
                          <a:solidFill>
                            <a:schemeClr val="dk1"/>
                          </a:solidFill>
                          <a:effectLst/>
                        </a:rPr>
                        <a:t>🟢 </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rowSpan="2">
                  <a:txBody>
                    <a:bodyPr/>
                    <a:lstStyle/>
                    <a:p>
                      <a:pPr algn="ctr" fontAlgn="ctr"/>
                      <a:r>
                        <a:rPr lang="en-IE" sz="800" u="none" strike="noStrike">
                          <a:solidFill>
                            <a:sysClr val="windowText" lastClr="000000"/>
                          </a:solidFill>
                          <a:effectLst/>
                        </a:rPr>
                        <a:t>Virtual Machines (VM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Non-critical VM status or configuration chang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348396631"/>
                  </a:ext>
                </a:extLst>
              </a:tr>
              <a:tr h="154698">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Low impact on VM performance that does not affect critical application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956475440"/>
                  </a:ext>
                </a:extLst>
              </a:tr>
              <a:tr h="154698">
                <a:tc vMerge="1">
                  <a:txBody>
                    <a:bodyPr/>
                    <a:lstStyle/>
                    <a:p>
                      <a:endParaRPr lang="en-IE"/>
                    </a:p>
                  </a:txBody>
                  <a:tcPr/>
                </a:tc>
                <a:tc rowSpan="2">
                  <a:txBody>
                    <a:bodyPr/>
                    <a:lstStyle/>
                    <a:p>
                      <a:pPr algn="ctr" fontAlgn="ctr"/>
                      <a:r>
                        <a:rPr lang="en-IE" sz="800" u="none" strike="noStrike">
                          <a:solidFill>
                            <a:sysClr val="windowText" lastClr="000000"/>
                          </a:solidFill>
                          <a:effectLst/>
                        </a:rPr>
                        <a:t>Azure Active Directory (Azure AD)</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Non-critical changes to non-essential user accounts or attribute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697013238"/>
                  </a:ext>
                </a:extLst>
              </a:tr>
              <a:tr h="211590">
                <a:tc vMerge="1">
                  <a:txBody>
                    <a:bodyPr/>
                    <a:lstStyle/>
                    <a:p>
                      <a:endParaRPr lang="en-IE"/>
                    </a:p>
                  </a:txBody>
                  <a:tcPr/>
                </a:tc>
                <a:tc vMerge="1">
                  <a:txBody>
                    <a:bodyPr/>
                    <a:lstStyle/>
                    <a:p>
                      <a:endParaRPr lang="en-IE"/>
                    </a:p>
                  </a:txBody>
                  <a:tcPr/>
                </a:tc>
                <a:tc>
                  <a:txBody>
                    <a:bodyPr/>
                    <a:lstStyle/>
                    <a:p>
                      <a:pPr algn="ctr" fontAlgn="b"/>
                      <a:r>
                        <a:rPr lang="en-IE" sz="800" u="none" strike="noStrike">
                          <a:solidFill>
                            <a:sysClr val="windowText" lastClr="000000"/>
                          </a:solidFill>
                          <a:effectLst/>
                        </a:rPr>
                        <a:t>Informational synchronization logs.</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394941663"/>
                  </a:ext>
                </a:extLst>
              </a:tr>
              <a:tr h="154698">
                <a:tc vMerge="1">
                  <a:txBody>
                    <a:bodyPr/>
                    <a:lstStyle/>
                    <a:p>
                      <a:endParaRPr lang="en-IE"/>
                    </a:p>
                  </a:txBody>
                  <a:tcPr/>
                </a:tc>
                <a:tc>
                  <a:txBody>
                    <a:bodyPr/>
                    <a:lstStyle/>
                    <a:p>
                      <a:pPr algn="ctr" fontAlgn="ctr"/>
                      <a:r>
                        <a:rPr lang="en-IE" sz="800" u="none" strike="noStrike">
                          <a:solidFill>
                            <a:sysClr val="windowText" lastClr="000000"/>
                          </a:solidFill>
                          <a:effectLst/>
                        </a:rPr>
                        <a:t>Azure Key Vault</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fontAlgn="b"/>
                      <a:r>
                        <a:rPr lang="en-IE" sz="800" u="none" strike="noStrike">
                          <a:solidFill>
                            <a:sysClr val="windowText" lastClr="000000"/>
                          </a:solidFill>
                          <a:effectLst/>
                        </a:rPr>
                        <a:t>Minor access logs or informational key usage.</a:t>
                      </a:r>
                      <a:endParaRPr lang="en-IE" sz="800" b="0" i="0" u="none" strike="noStrike">
                        <a:solidFill>
                          <a:sysClr val="windowText" lastClr="000000"/>
                        </a:solidFill>
                        <a:effectLst/>
                        <a:latin typeface="EYInterstate Light" panose="02000506000000020004" pitchFamily="2" charset="0"/>
                      </a:endParaRPr>
                    </a:p>
                  </a:txBody>
                  <a:tcPr marL="5301" marR="5301" marT="53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792178342"/>
                  </a:ext>
                </a:extLst>
              </a:tr>
            </a:tbl>
          </a:graphicData>
        </a:graphic>
      </p:graphicFrame>
      <p:sp>
        <p:nvSpPr>
          <p:cNvPr id="9" name="TextBox 8">
            <a:extLst>
              <a:ext uri="{FF2B5EF4-FFF2-40B4-BE49-F238E27FC236}">
                <a16:creationId xmlns:a16="http://schemas.microsoft.com/office/drawing/2014/main" id="{5778A9EA-DED7-643D-DAF4-5B4D353EF821}"/>
              </a:ext>
            </a:extLst>
          </p:cNvPr>
          <p:cNvSpPr txBox="1"/>
          <p:nvPr/>
        </p:nvSpPr>
        <p:spPr>
          <a:xfrm>
            <a:off x="5562601" y="6321873"/>
            <a:ext cx="3952874" cy="141577"/>
          </a:xfrm>
          <a:prstGeom prst="rect">
            <a:avLst/>
          </a:prstGeom>
          <a:noFill/>
        </p:spPr>
        <p:txBody>
          <a:bodyPr wrap="square" lIns="0" tIns="36576" rIns="0" bIns="0" rtlCol="0">
            <a:spAutoFit/>
          </a:bodyPr>
          <a:lstStyle/>
          <a:p>
            <a:pPr algn="l">
              <a:lnSpc>
                <a:spcPct val="85000"/>
              </a:lnSpc>
              <a:spcAft>
                <a:spcPts val="600"/>
              </a:spcAft>
              <a:buClr>
                <a:schemeClr val="accent2"/>
              </a:buClr>
              <a:buSzPct val="70000"/>
            </a:pPr>
            <a:r>
              <a:rPr lang="en-IE" sz="800">
                <a:solidFill>
                  <a:schemeClr val="bg1"/>
                </a:solidFill>
              </a:rPr>
              <a:t>*Above outage examples are not limited and may vary depending on the situation</a:t>
            </a:r>
          </a:p>
        </p:txBody>
      </p:sp>
    </p:spTree>
    <p:extLst>
      <p:ext uri="{BB962C8B-B14F-4D97-AF65-F5344CB8AC3E}">
        <p14:creationId xmlns:p14="http://schemas.microsoft.com/office/powerpoint/2010/main" val="787045591"/>
      </p:ext>
    </p:extLst>
  </p:cSld>
  <p:clrMapOvr>
    <a:masterClrMapping/>
  </p:clrMapOvr>
  <p:extLst>
    <p:ext uri="{6950BFC3-D8DA-4A85-94F7-54DA5524770B}">
      <p188:commentRel xmlns:p188="http://schemas.microsoft.com/office/powerpoint/2018/8/main" r:id="rId2"/>
    </p:ext>
  </p:extLs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90D4127-E7DD-4EB3-9A32-4D39A09583E4}"/>
              </a:ext>
            </a:extLst>
          </p:cNvPr>
          <p:cNvSpPr>
            <a:spLocks/>
          </p:cNvSpPr>
          <p:nvPr/>
        </p:nvSpPr>
        <p:spPr>
          <a:xfrm>
            <a:off x="6149497" y="1741265"/>
            <a:ext cx="2652333" cy="453595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E.4 – </a:t>
            </a:r>
            <a:r>
              <a:rPr lang="en-IE">
                <a:latin typeface="Calibri" panose="020F0502020204030204" pitchFamily="34" charset="0"/>
                <a:cs typeface="Calibri" panose="020F0502020204030204" pitchFamily="34" charset="0"/>
              </a:rPr>
              <a:t>Support Levels Structure</a:t>
            </a:r>
          </a:p>
        </p:txBody>
      </p:sp>
      <p:pic>
        <p:nvPicPr>
          <p:cNvPr id="111" name="Picture 110">
            <a:extLst>
              <a:ext uri="{FF2B5EF4-FFF2-40B4-BE49-F238E27FC236}">
                <a16:creationId xmlns:a16="http://schemas.microsoft.com/office/drawing/2014/main" id="{28C244F5-FD94-40DC-A706-E634CEAF43C3}"/>
              </a:ext>
            </a:extLst>
          </p:cNvPr>
          <p:cNvPicPr>
            <a:picLocks noChangeAspect="1"/>
          </p:cNvPicPr>
          <p:nvPr/>
        </p:nvPicPr>
        <p:blipFill>
          <a:blip r:embed="rId3"/>
          <a:stretch>
            <a:fillRect/>
          </a:stretch>
        </p:blipFill>
        <p:spPr>
          <a:xfrm>
            <a:off x="10358549" y="162480"/>
            <a:ext cx="1024125" cy="1024125"/>
          </a:xfrm>
          <a:prstGeom prst="rect">
            <a:avLst/>
          </a:prstGeom>
        </p:spPr>
      </p:pic>
      <p:sp>
        <p:nvSpPr>
          <p:cNvPr id="42" name="Rectangle 41">
            <a:extLst>
              <a:ext uri="{FF2B5EF4-FFF2-40B4-BE49-F238E27FC236}">
                <a16:creationId xmlns:a16="http://schemas.microsoft.com/office/drawing/2014/main" id="{F03EB910-712A-4D82-980E-C34D5F5B8E18}"/>
              </a:ext>
            </a:extLst>
          </p:cNvPr>
          <p:cNvSpPr>
            <a:spLocks/>
          </p:cNvSpPr>
          <p:nvPr/>
        </p:nvSpPr>
        <p:spPr>
          <a:xfrm>
            <a:off x="577584" y="1325937"/>
            <a:ext cx="10648503" cy="433145"/>
          </a:xfrm>
          <a:prstGeom prst="rect">
            <a:avLst/>
          </a:prstGeom>
          <a:noFill/>
          <a:ln w="19050">
            <a:noFill/>
          </a:ln>
        </p:spPr>
        <p:txBody>
          <a:bodyPr wrap="square" lIns="71984" tIns="71984" rIns="71984" bIns="71984">
            <a:spAutoFit/>
          </a:bodyPr>
          <a:lstStyle/>
          <a:p>
            <a:pPr>
              <a:lnSpc>
                <a:spcPct val="85000"/>
              </a:lnSpc>
              <a:spcBef>
                <a:spcPts val="600"/>
              </a:spcBef>
              <a:spcAft>
                <a:spcPts val="600"/>
              </a:spcAft>
              <a:buClr>
                <a:srgbClr val="FFE600"/>
              </a:buClr>
              <a:buSzPct val="70000"/>
              <a:tabLst>
                <a:tab pos="228600" algn="l"/>
              </a:tabLst>
              <a:defRPr/>
            </a:pPr>
            <a:r>
              <a:rPr lang="en-NZ" sz="1100" kern="0">
                <a:solidFill>
                  <a:schemeClr val="bg1"/>
                </a:solidFill>
                <a:latin typeface="Calibri" panose="020F0502020204030204" pitchFamily="34" charset="0"/>
                <a:cs typeface="Calibri" panose="020F0502020204030204" pitchFamily="34" charset="0"/>
              </a:rPr>
              <a:t>EY Managed Service operates within a tiered support model, comprised of distinct tiers, or levels.  Below is a description of the support levels and examples of how they interact with each other through the typical support process:</a:t>
            </a:r>
          </a:p>
        </p:txBody>
      </p:sp>
      <p:sp>
        <p:nvSpPr>
          <p:cNvPr id="22" name="Rectangle 21">
            <a:extLst>
              <a:ext uri="{FF2B5EF4-FFF2-40B4-BE49-F238E27FC236}">
                <a16:creationId xmlns:a16="http://schemas.microsoft.com/office/drawing/2014/main" id="{CD980043-A890-4F09-B149-A4B343C89198}"/>
              </a:ext>
            </a:extLst>
          </p:cNvPr>
          <p:cNvSpPr>
            <a:spLocks/>
          </p:cNvSpPr>
          <p:nvPr/>
        </p:nvSpPr>
        <p:spPr>
          <a:xfrm>
            <a:off x="8903270" y="1735972"/>
            <a:ext cx="2659294" cy="4535957"/>
          </a:xfrm>
          <a:prstGeom prst="rect">
            <a:avLst/>
          </a:prstGeom>
          <a:solidFill>
            <a:srgbClr val="F6F6FA"/>
          </a:solidFill>
          <a:ln w="12700" cap="flat" cmpd="sng" algn="ctr">
            <a:solidFill>
              <a:srgbClr val="80808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A065609D-0D70-4A8D-BDB1-2E2386A84C44}"/>
              </a:ext>
            </a:extLst>
          </p:cNvPr>
          <p:cNvSpPr>
            <a:spLocks/>
          </p:cNvSpPr>
          <p:nvPr/>
        </p:nvSpPr>
        <p:spPr>
          <a:xfrm>
            <a:off x="640681" y="1735972"/>
            <a:ext cx="2659294" cy="4535957"/>
          </a:xfrm>
          <a:prstGeom prst="rect">
            <a:avLst/>
          </a:prstGeom>
          <a:solidFill>
            <a:schemeClr val="tx2"/>
          </a:solidFill>
          <a:ln w="12700" cap="flat" cmpd="sng" algn="ctr">
            <a:solidFill>
              <a:srgbClr val="74748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rgbClr val="646464"/>
              </a:solidFill>
              <a:latin typeface="Calibri" panose="020F05020202040302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DE23B106-3786-475F-857C-227BB56F82E7}"/>
              </a:ext>
            </a:extLst>
          </p:cNvPr>
          <p:cNvSpPr>
            <a:spLocks/>
          </p:cNvSpPr>
          <p:nvPr/>
        </p:nvSpPr>
        <p:spPr>
          <a:xfrm>
            <a:off x="3417924" y="1741265"/>
            <a:ext cx="2658547" cy="4535957"/>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latin typeface="Calibri" panose="020F0502020204030204" pitchFamily="34" charset="0"/>
              <a:cs typeface="Calibri" panose="020F0502020204030204" pitchFamily="34" charset="0"/>
            </a:endParaRPr>
          </a:p>
        </p:txBody>
      </p:sp>
      <p:sp>
        <p:nvSpPr>
          <p:cNvPr id="43" name="Rectangle 42">
            <a:extLst>
              <a:ext uri="{FF2B5EF4-FFF2-40B4-BE49-F238E27FC236}">
                <a16:creationId xmlns:a16="http://schemas.microsoft.com/office/drawing/2014/main" id="{FB83D1E7-DC34-4AC4-BCA8-C163C4B05037}"/>
              </a:ext>
            </a:extLst>
          </p:cNvPr>
          <p:cNvSpPr/>
          <p:nvPr/>
        </p:nvSpPr>
        <p:spPr>
          <a:xfrm>
            <a:off x="721685" y="1790071"/>
            <a:ext cx="2523171" cy="4085734"/>
          </a:xfrm>
          <a:prstGeom prst="rect">
            <a:avLst/>
          </a:prstGeom>
        </p:spPr>
        <p:txBody>
          <a:bodyPr wrap="square" lIns="0" tIns="0" rIns="0" bIns="0">
            <a:spAutoFit/>
          </a:bodyPr>
          <a:lstStyle/>
          <a:p>
            <a:pPr algn="just">
              <a:spcAft>
                <a:spcPts val="600"/>
              </a:spcAft>
              <a:buClr>
                <a:srgbClr val="FFE600"/>
              </a:buClr>
              <a:buSzPct val="70000"/>
              <a:defRPr/>
            </a:pPr>
            <a:r>
              <a:rPr lang="en-AU" sz="1050" b="1">
                <a:solidFill>
                  <a:srgbClr val="000000"/>
                </a:solidFill>
                <a:latin typeface="Calibri" panose="020F0502020204030204" pitchFamily="34" charset="0"/>
                <a:cs typeface="Calibri" panose="020F0502020204030204" pitchFamily="34" charset="0"/>
              </a:rPr>
              <a:t>Level 1 (EY Managed Service)</a:t>
            </a:r>
          </a:p>
          <a:p>
            <a:pPr algn="just">
              <a:spcAft>
                <a:spcPts val="600"/>
              </a:spcAft>
              <a:buClr>
                <a:srgbClr val="FFE600"/>
              </a:buClr>
              <a:buSzPct val="70000"/>
              <a:defRPr/>
            </a:pPr>
            <a:r>
              <a:rPr lang="en-AU" sz="1050">
                <a:solidFill>
                  <a:schemeClr val="bg1"/>
                </a:solidFill>
                <a:latin typeface="Calibri" panose="020F0502020204030204" pitchFamily="34" charset="0"/>
                <a:cs typeface="Calibri" panose="020F0502020204030204" pitchFamily="34" charset="0"/>
              </a:rPr>
              <a:t>Level 1 is the first line of support for St. James's Hospital. Level 1 support in this case will be a fully managed IT Service desk, manned Mon – Fri 9AM to 5PM. </a:t>
            </a:r>
          </a:p>
          <a:p>
            <a:pPr algn="just">
              <a:spcAft>
                <a:spcPts val="600"/>
              </a:spcAft>
              <a:buClr>
                <a:srgbClr val="FFE600"/>
              </a:buClr>
              <a:buSzPct val="70000"/>
              <a:defRPr/>
            </a:pPr>
            <a:r>
              <a:rPr lang="en-AU" sz="1050">
                <a:solidFill>
                  <a:schemeClr val="bg1"/>
                </a:solidFill>
                <a:latin typeface="Calibri" panose="020F0502020204030204" pitchFamily="34" charset="0"/>
                <a:cs typeface="Calibri" panose="020F0502020204030204" pitchFamily="34" charset="0"/>
              </a:rPr>
              <a:t>Typically, Level 1 solutions are in a FAQ or a knowledge base. When a Level 1 support employee is not able to resolve the issue, they classify the issue and raise it with Level 2 support. </a:t>
            </a:r>
          </a:p>
          <a:p>
            <a:pPr algn="just">
              <a:spcAft>
                <a:spcPts val="600"/>
              </a:spcAft>
              <a:buClr>
                <a:srgbClr val="FFE600"/>
              </a:buClr>
              <a:buSzPct val="70000"/>
              <a:defRPr/>
            </a:pPr>
            <a:r>
              <a:rPr lang="en-AU" sz="1050" b="1">
                <a:solidFill>
                  <a:schemeClr val="bg1"/>
                </a:solidFill>
                <a:latin typeface="Calibri" panose="020F0502020204030204" pitchFamily="34" charset="0"/>
                <a:cs typeface="Calibri" panose="020F0502020204030204" pitchFamily="34" charset="0"/>
              </a:rPr>
              <a:t>Key responsibilities include:</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First contact point for all customer related queries and issues</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Log internal tickets on behalf of end-users</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Collect and collate relevant issue information</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Communicate documented and established workaround to internal system users</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Identity and Access Management</a:t>
            </a:r>
          </a:p>
          <a:p>
            <a:pPr marL="171450" lvl="0" indent="-171450" algn="just">
              <a:spcAft>
                <a:spcPts val="600"/>
              </a:spcAft>
              <a:buClr>
                <a:schemeClr val="bg1"/>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Escalate to Level 2, when required</a:t>
            </a:r>
          </a:p>
        </p:txBody>
      </p:sp>
      <p:sp>
        <p:nvSpPr>
          <p:cNvPr id="44" name="Rectangle 43">
            <a:extLst>
              <a:ext uri="{FF2B5EF4-FFF2-40B4-BE49-F238E27FC236}">
                <a16:creationId xmlns:a16="http://schemas.microsoft.com/office/drawing/2014/main" id="{5869F941-731F-493E-AD26-F31C06DCD1E1}"/>
              </a:ext>
            </a:extLst>
          </p:cNvPr>
          <p:cNvSpPr/>
          <p:nvPr/>
        </p:nvSpPr>
        <p:spPr>
          <a:xfrm>
            <a:off x="6250937" y="1792460"/>
            <a:ext cx="2484607" cy="3370153"/>
          </a:xfrm>
          <a:prstGeom prst="rect">
            <a:avLst/>
          </a:prstGeom>
        </p:spPr>
        <p:txBody>
          <a:bodyPr wrap="square" lIns="0" tIns="0" rIns="0" bIns="0">
            <a:spAutoFit/>
          </a:bodyPr>
          <a:lstStyle/>
          <a:p>
            <a:pPr algn="just">
              <a:spcAft>
                <a:spcPts val="600"/>
              </a:spcAft>
              <a:buClr>
                <a:srgbClr val="FFE600"/>
              </a:buClr>
              <a:buSzPct val="70000"/>
              <a:defRPr/>
            </a:pPr>
            <a:r>
              <a:rPr lang="en-AU" sz="1100" b="1">
                <a:solidFill>
                  <a:srgbClr val="000000"/>
                </a:solidFill>
                <a:latin typeface="Calibri" panose="020F0502020204030204" pitchFamily="34" charset="0"/>
                <a:cs typeface="Calibri" panose="020F0502020204030204" pitchFamily="34" charset="0"/>
              </a:rPr>
              <a:t>Level 3 (EY Managed Service)</a:t>
            </a:r>
          </a:p>
          <a:p>
            <a:pPr algn="just">
              <a:spcAft>
                <a:spcPts val="600"/>
              </a:spcAft>
              <a:buClr>
                <a:srgbClr val="FFE600"/>
              </a:buClr>
              <a:buSzPct val="70000"/>
              <a:defRPr/>
            </a:pPr>
            <a:r>
              <a:rPr lang="en-AU" sz="1050">
                <a:solidFill>
                  <a:srgbClr val="000000"/>
                </a:solidFill>
                <a:latin typeface="Calibri" panose="020F0502020204030204" pitchFamily="34" charset="0"/>
                <a:cs typeface="Calibri" panose="020F0502020204030204" pitchFamily="34" charset="0"/>
              </a:rPr>
              <a:t>Internal escalation requires a person who has specialist solution skills over and above the work the support engineers do in Level 2.  </a:t>
            </a:r>
          </a:p>
          <a:p>
            <a:pPr algn="just">
              <a:spcAft>
                <a:spcPts val="600"/>
              </a:spcAft>
              <a:buClr>
                <a:srgbClr val="FFE600"/>
              </a:buClr>
              <a:buSzPct val="70000"/>
              <a:defRPr/>
            </a:pPr>
            <a:r>
              <a:rPr lang="en-AU" sz="1050">
                <a:solidFill>
                  <a:srgbClr val="000000"/>
                </a:solidFill>
                <a:latin typeface="Calibri" panose="020F0502020204030204" pitchFamily="34" charset="0"/>
                <a:cs typeface="Calibri" panose="020F0502020204030204" pitchFamily="34" charset="0"/>
              </a:rPr>
              <a:t>They deal with complex issues from configuration right through to development including thorough knowledge of connected systems. </a:t>
            </a:r>
          </a:p>
          <a:p>
            <a:pPr algn="just">
              <a:spcAft>
                <a:spcPts val="600"/>
              </a:spcAft>
              <a:buClr>
                <a:srgbClr val="FFE600"/>
              </a:buClr>
              <a:buSzPct val="70000"/>
              <a:defRPr/>
            </a:pPr>
            <a:r>
              <a:rPr lang="en-AU" sz="1050">
                <a:solidFill>
                  <a:srgbClr val="000000"/>
                </a:solidFill>
                <a:latin typeface="Calibri" panose="020F0502020204030204" pitchFamily="34" charset="0"/>
                <a:cs typeface="Calibri" panose="020F0502020204030204" pitchFamily="34" charset="0"/>
              </a:rPr>
              <a:t>To solve the problem, they will collect as much data as possible from the support staff at Levels 1 and 2. </a:t>
            </a:r>
          </a:p>
          <a:p>
            <a:pPr algn="just">
              <a:spcAft>
                <a:spcPts val="600"/>
              </a:spcAft>
              <a:buClr>
                <a:srgbClr val="FFE600"/>
              </a:buClr>
              <a:buSzPct val="70000"/>
              <a:defRPr/>
            </a:pPr>
            <a:r>
              <a:rPr lang="en-AU" sz="1050" b="1">
                <a:solidFill>
                  <a:srgbClr val="000000"/>
                </a:solidFill>
                <a:latin typeface="Calibri" panose="020F0502020204030204" pitchFamily="34" charset="0"/>
                <a:cs typeface="Calibri" panose="020F0502020204030204" pitchFamily="34" charset="0"/>
              </a:rPr>
              <a:t>Key responsibilities include:</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Investigation and resolution of raised tickets and noted bugs</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Communicate with customer as required</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Escalation to Level 4, when required</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Assist with Level 4 as necessary</a:t>
            </a:r>
          </a:p>
        </p:txBody>
      </p:sp>
      <p:sp>
        <p:nvSpPr>
          <p:cNvPr id="45" name="Rectangle 44">
            <a:extLst>
              <a:ext uri="{FF2B5EF4-FFF2-40B4-BE49-F238E27FC236}">
                <a16:creationId xmlns:a16="http://schemas.microsoft.com/office/drawing/2014/main" id="{1AA4DE9B-AD5D-447A-9BEB-AE2E3752C523}"/>
              </a:ext>
            </a:extLst>
          </p:cNvPr>
          <p:cNvSpPr/>
          <p:nvPr/>
        </p:nvSpPr>
        <p:spPr>
          <a:xfrm>
            <a:off x="3493315" y="1790071"/>
            <a:ext cx="2476086" cy="4008790"/>
          </a:xfrm>
          <a:prstGeom prst="rect">
            <a:avLst/>
          </a:prstGeom>
        </p:spPr>
        <p:txBody>
          <a:bodyPr wrap="square" lIns="0" tIns="0" rIns="0" bIns="0">
            <a:spAutoFit/>
          </a:bodyPr>
          <a:lstStyle/>
          <a:p>
            <a:pPr algn="just">
              <a:spcAft>
                <a:spcPts val="600"/>
              </a:spcAft>
              <a:buClr>
                <a:srgbClr val="FFE600"/>
              </a:buClr>
              <a:buSzPct val="70000"/>
              <a:defRPr/>
            </a:pPr>
            <a:r>
              <a:rPr lang="en-AU" sz="1050" b="1">
                <a:solidFill>
                  <a:srgbClr val="000000"/>
                </a:solidFill>
                <a:latin typeface="Calibri" panose="020F0502020204030204" pitchFamily="34" charset="0"/>
                <a:cs typeface="Calibri" panose="020F0502020204030204" pitchFamily="34" charset="0"/>
              </a:rPr>
              <a:t>Level 2 (EY Managed Service)</a:t>
            </a:r>
          </a:p>
          <a:p>
            <a:pPr algn="just">
              <a:spcAft>
                <a:spcPts val="600"/>
              </a:spcAft>
              <a:buClr>
                <a:srgbClr val="FFE600"/>
              </a:buClr>
              <a:buSzPct val="70000"/>
              <a:defRPr/>
            </a:pPr>
            <a:r>
              <a:rPr lang="en-AU" sz="1050">
                <a:solidFill>
                  <a:srgbClr val="000000"/>
                </a:solidFill>
                <a:latin typeface="Calibri" panose="020F0502020204030204" pitchFamily="34" charset="0"/>
                <a:cs typeface="Calibri" panose="020F0502020204030204" pitchFamily="34" charset="0"/>
              </a:rPr>
              <a:t>Level 2 support involves solution knowledge. The support engineer determines whether this issue is new or a pre-existing one. Advanced diagnostic tools may be used, and data analysis may be done at this point.</a:t>
            </a:r>
          </a:p>
          <a:p>
            <a:pPr algn="just">
              <a:spcAft>
                <a:spcPts val="600"/>
              </a:spcAft>
              <a:buClr>
                <a:srgbClr val="FFE600"/>
              </a:buClr>
              <a:buSzPct val="70000"/>
              <a:defRPr/>
            </a:pPr>
            <a:r>
              <a:rPr lang="en-AU" sz="1050">
                <a:solidFill>
                  <a:srgbClr val="000000"/>
                </a:solidFill>
                <a:latin typeface="Calibri" panose="020F0502020204030204" pitchFamily="34" charset="0"/>
                <a:cs typeface="Calibri" panose="020F0502020204030204" pitchFamily="34" charset="0"/>
              </a:rPr>
              <a:t>Fixes for logged tickets will be communicated back via the client’s internal service desk for end user issues or directly to IT resources for system related items.</a:t>
            </a:r>
          </a:p>
          <a:p>
            <a:pPr algn="just">
              <a:spcAft>
                <a:spcPts val="600"/>
              </a:spcAft>
              <a:buClr>
                <a:srgbClr val="FFE600"/>
              </a:buClr>
              <a:buSzPct val="70000"/>
              <a:defRPr/>
            </a:pPr>
            <a:r>
              <a:rPr lang="en-AU" sz="1050" b="1">
                <a:solidFill>
                  <a:srgbClr val="000000"/>
                </a:solidFill>
                <a:latin typeface="Calibri" panose="020F0502020204030204" pitchFamily="34" charset="0"/>
                <a:cs typeface="Calibri" panose="020F0502020204030204" pitchFamily="34" charset="0"/>
              </a:rPr>
              <a:t>Key responsibilities include:</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Investigation and resolution of raised tickets</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System Health and Performance</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BAU Operations and Systems Administration tasks for solution components as defined</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Internal escalation to EY technical consultants (if required)</a:t>
            </a:r>
          </a:p>
          <a:p>
            <a:pPr marL="171450" indent="-171450" algn="just">
              <a:spcAft>
                <a:spcPts val="600"/>
              </a:spcAft>
              <a:buClr>
                <a:srgbClr val="333333"/>
              </a:buClr>
              <a:buSzPct val="70000"/>
              <a:buFont typeface="Arial" panose="020B0604020202020204" pitchFamily="34" charset="0"/>
              <a:buChar char="►"/>
            </a:pPr>
            <a:r>
              <a:rPr lang="en-AU" sz="1050">
                <a:solidFill>
                  <a:srgbClr val="000000"/>
                </a:solidFill>
                <a:latin typeface="Calibri" panose="020F0502020204030204" pitchFamily="34" charset="0"/>
                <a:cs typeface="Calibri" panose="020F0502020204030204" pitchFamily="34" charset="0"/>
              </a:rPr>
              <a:t>Maintain knowledge base with known issues and fixes</a:t>
            </a:r>
          </a:p>
        </p:txBody>
      </p:sp>
      <p:sp>
        <p:nvSpPr>
          <p:cNvPr id="46" name="Rectangle 45">
            <a:extLst>
              <a:ext uri="{FF2B5EF4-FFF2-40B4-BE49-F238E27FC236}">
                <a16:creationId xmlns:a16="http://schemas.microsoft.com/office/drawing/2014/main" id="{FD6CB2A1-BBC2-423D-98C3-B84868E2258A}"/>
              </a:ext>
            </a:extLst>
          </p:cNvPr>
          <p:cNvSpPr/>
          <p:nvPr/>
        </p:nvSpPr>
        <p:spPr>
          <a:xfrm>
            <a:off x="8981927" y="1795119"/>
            <a:ext cx="2523212" cy="3931846"/>
          </a:xfrm>
          <a:prstGeom prst="rect">
            <a:avLst/>
          </a:prstGeom>
        </p:spPr>
        <p:txBody>
          <a:bodyPr wrap="square" lIns="0" tIns="0" rIns="0" bIns="0">
            <a:spAutoFit/>
          </a:bodyPr>
          <a:lstStyle/>
          <a:p>
            <a:pPr algn="just">
              <a:spcAft>
                <a:spcPts val="600"/>
              </a:spcAft>
              <a:buClr>
                <a:srgbClr val="FFE600"/>
              </a:buClr>
              <a:buSzPct val="70000"/>
              <a:defRPr/>
            </a:pPr>
            <a:r>
              <a:rPr lang="en-AU" sz="1100" b="1">
                <a:solidFill>
                  <a:schemeClr val="bg1"/>
                </a:solidFill>
                <a:latin typeface="Calibri" panose="020F0502020204030204" pitchFamily="34" charset="0"/>
                <a:cs typeface="Calibri" panose="020F0502020204030204" pitchFamily="34" charset="0"/>
              </a:rPr>
              <a:t>Level 4 (Microsoft)</a:t>
            </a:r>
          </a:p>
          <a:p>
            <a:pPr algn="just">
              <a:spcAft>
                <a:spcPts val="600"/>
              </a:spcAft>
              <a:buClr>
                <a:srgbClr val="FFE600"/>
              </a:buClr>
              <a:buSzPct val="70000"/>
              <a:defRPr/>
            </a:pPr>
            <a:r>
              <a:rPr lang="en-AU" sz="1050">
                <a:solidFill>
                  <a:schemeClr val="bg1"/>
                </a:solidFill>
                <a:latin typeface="Calibri" panose="020F0502020204030204" pitchFamily="34" charset="0"/>
                <a:cs typeface="Calibri" panose="020F0502020204030204" pitchFamily="34" charset="0"/>
              </a:rPr>
              <a:t>Level 4 support provides for delegation or referral of an unresolved Level 2/3 issue to Microsoft for further investigation and remediation. This service would be initiated on behalf of the client by the EY Managed Service Team.</a:t>
            </a:r>
          </a:p>
          <a:p>
            <a:pPr algn="just">
              <a:spcAft>
                <a:spcPts val="600"/>
              </a:spcAft>
              <a:buClr>
                <a:srgbClr val="FFE600"/>
              </a:buClr>
              <a:buSzPct val="70000"/>
              <a:defRPr/>
            </a:pPr>
            <a:r>
              <a:rPr lang="en-AU" sz="1050" b="1">
                <a:solidFill>
                  <a:schemeClr val="bg1"/>
                </a:solidFill>
                <a:latin typeface="Calibri" panose="020F0502020204030204" pitchFamily="34" charset="0"/>
                <a:cs typeface="Calibri" panose="020F0502020204030204" pitchFamily="34" charset="0"/>
              </a:rPr>
              <a:t>Key responsibilities for Level 2/3 (EY) Support include:</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Logging of tickets in the vendor support system</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Communication with the vendor support representative</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Communication medium between St James  Hospital and vendor</a:t>
            </a:r>
          </a:p>
          <a:p>
            <a:pPr algn="just">
              <a:spcAft>
                <a:spcPts val="600"/>
              </a:spcAft>
              <a:buClr>
                <a:srgbClr val="FFE600"/>
              </a:buClr>
              <a:buSzPct val="70000"/>
              <a:defRPr/>
            </a:pPr>
            <a:r>
              <a:rPr lang="en-AU" sz="1050" b="1">
                <a:solidFill>
                  <a:schemeClr val="bg1"/>
                </a:solidFill>
                <a:latin typeface="Calibri" panose="020F0502020204030204" pitchFamily="34" charset="0"/>
                <a:cs typeface="Calibri" panose="020F0502020204030204" pitchFamily="34" charset="0"/>
              </a:rPr>
              <a:t>Key responsibilities for product vendor include:</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Product issue and problem resolution</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Provision of software updates</a:t>
            </a:r>
          </a:p>
          <a:p>
            <a:pPr marL="171450" indent="-171450" algn="just">
              <a:spcAft>
                <a:spcPts val="600"/>
              </a:spcAft>
              <a:buClr>
                <a:srgbClr val="FFE600"/>
              </a:buClr>
              <a:buSzPct val="70000"/>
              <a:buFont typeface="Arial" panose="020B0604020202020204" pitchFamily="34" charset="0"/>
              <a:buChar char="►"/>
            </a:pPr>
            <a:r>
              <a:rPr lang="en-AU" sz="1050">
                <a:solidFill>
                  <a:schemeClr val="bg1"/>
                </a:solidFill>
                <a:latin typeface="Calibri" panose="020F0502020204030204" pitchFamily="34" charset="0"/>
                <a:cs typeface="Calibri" panose="020F0502020204030204" pitchFamily="34" charset="0"/>
              </a:rPr>
              <a:t>Ticket status updates</a:t>
            </a:r>
          </a:p>
        </p:txBody>
      </p:sp>
    </p:spTree>
    <p:extLst>
      <p:ext uri="{BB962C8B-B14F-4D97-AF65-F5344CB8AC3E}">
        <p14:creationId xmlns:p14="http://schemas.microsoft.com/office/powerpoint/2010/main" val="274058259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E.5 – </a:t>
            </a:r>
            <a:r>
              <a:rPr lang="en-IE">
                <a:latin typeface="Calibri" panose="020F0502020204030204" pitchFamily="34" charset="0"/>
                <a:cs typeface="Calibri" panose="020F0502020204030204" pitchFamily="34" charset="0"/>
              </a:rPr>
              <a:t>Support Operating Model</a:t>
            </a:r>
          </a:p>
        </p:txBody>
      </p:sp>
      <p:pic>
        <p:nvPicPr>
          <p:cNvPr id="111" name="Picture 110">
            <a:extLst>
              <a:ext uri="{FF2B5EF4-FFF2-40B4-BE49-F238E27FC236}">
                <a16:creationId xmlns:a16="http://schemas.microsoft.com/office/drawing/2014/main" id="{28C244F5-FD94-40DC-A706-E634CEAF43C3}"/>
              </a:ext>
            </a:extLst>
          </p:cNvPr>
          <p:cNvPicPr>
            <a:picLocks noChangeAspect="1"/>
          </p:cNvPicPr>
          <p:nvPr/>
        </p:nvPicPr>
        <p:blipFill>
          <a:blip r:embed="rId3"/>
          <a:stretch>
            <a:fillRect/>
          </a:stretch>
        </p:blipFill>
        <p:spPr>
          <a:xfrm>
            <a:off x="10358549" y="162480"/>
            <a:ext cx="1024125" cy="1024125"/>
          </a:xfrm>
          <a:prstGeom prst="rect">
            <a:avLst/>
          </a:prstGeom>
        </p:spPr>
      </p:pic>
      <p:grpSp>
        <p:nvGrpSpPr>
          <p:cNvPr id="10" name="Group 9">
            <a:extLst>
              <a:ext uri="{FF2B5EF4-FFF2-40B4-BE49-F238E27FC236}">
                <a16:creationId xmlns:a16="http://schemas.microsoft.com/office/drawing/2014/main" id="{74B6250D-7BB3-46F4-A7D2-0701E5930998}"/>
              </a:ext>
            </a:extLst>
          </p:cNvPr>
          <p:cNvGrpSpPr/>
          <p:nvPr/>
        </p:nvGrpSpPr>
        <p:grpSpPr>
          <a:xfrm>
            <a:off x="609600" y="3048952"/>
            <a:ext cx="1868288" cy="3076107"/>
            <a:chOff x="1970387" y="1897045"/>
            <a:chExt cx="1876625" cy="3730648"/>
          </a:xfrm>
        </p:grpSpPr>
        <p:sp>
          <p:nvSpPr>
            <p:cNvPr id="11" name="Rectangle 10">
              <a:extLst>
                <a:ext uri="{FF2B5EF4-FFF2-40B4-BE49-F238E27FC236}">
                  <a16:creationId xmlns:a16="http://schemas.microsoft.com/office/drawing/2014/main" id="{0BC82E45-E829-4E00-A892-8DEBD4426F77}"/>
                </a:ext>
              </a:extLst>
            </p:cNvPr>
            <p:cNvSpPr/>
            <p:nvPr/>
          </p:nvSpPr>
          <p:spPr>
            <a:xfrm>
              <a:off x="2998386" y="1897045"/>
              <a:ext cx="428578" cy="3730648"/>
            </a:xfrm>
            <a:prstGeom prst="rect">
              <a:avLst/>
            </a:prstGeom>
            <a:solidFill>
              <a:srgbClr val="000000">
                <a:lumMod val="95000"/>
                <a:lumOff val="5000"/>
              </a:srgbClr>
            </a:solidFill>
            <a:ln w="9525" cap="flat" cmpd="sng" algn="ctr">
              <a:solidFill>
                <a:srgbClr val="747480">
                  <a:lumMod val="50000"/>
                  <a:lumOff val="50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8" b="0"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rPr>
                <a:t>Knowledge Management</a:t>
              </a:r>
            </a:p>
          </p:txBody>
        </p:sp>
        <p:sp>
          <p:nvSpPr>
            <p:cNvPr id="12" name="Rectangle 11">
              <a:extLst>
                <a:ext uri="{FF2B5EF4-FFF2-40B4-BE49-F238E27FC236}">
                  <a16:creationId xmlns:a16="http://schemas.microsoft.com/office/drawing/2014/main" id="{3C4333B2-900B-4CAB-9F9C-E916E10F1777}"/>
                </a:ext>
              </a:extLst>
            </p:cNvPr>
            <p:cNvSpPr/>
            <p:nvPr/>
          </p:nvSpPr>
          <p:spPr>
            <a:xfrm>
              <a:off x="2377109" y="1897046"/>
              <a:ext cx="619818" cy="3730646"/>
            </a:xfrm>
            <a:prstGeom prst="rect">
              <a:avLst/>
            </a:prstGeom>
            <a:gradFill flip="none" rotWithShape="1">
              <a:gsLst>
                <a:gs pos="40000">
                  <a:srgbClr val="188CE5">
                    <a:lumMod val="5000"/>
                    <a:lumOff val="95000"/>
                    <a:alpha val="50000"/>
                  </a:srgbClr>
                </a:gs>
                <a:gs pos="3000">
                  <a:srgbClr val="188CE5">
                    <a:lumMod val="20000"/>
                    <a:lumOff val="80000"/>
                  </a:srgbClr>
                </a:gs>
              </a:gsLst>
              <a:lin ang="8100000" scaled="1"/>
              <a:tileRect/>
            </a:gradFill>
            <a:ln w="9525" cap="flat" cmpd="sng" algn="ctr">
              <a:solidFill>
                <a:srgbClr val="747480">
                  <a:lumMod val="50000"/>
                  <a:lumOff val="50000"/>
                </a:srgbClr>
              </a:solidFill>
              <a:prstDash val="solid"/>
            </a:ln>
            <a:effectLst/>
          </p:spPr>
          <p:txBody>
            <a:bodyPr rot="0" spcFirstLastPara="0" vertOverflow="overflow" horzOverflow="overflow" vert="vert270" wrap="square" lIns="91344" tIns="45672" rIns="91344" bIns="45672" numCol="1" spcCol="0" rtlCol="0" fromWordArt="0" anchor="t"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8" b="0" i="0" u="none" strike="noStrike" kern="0" cap="none" spc="0" normalizeH="0" baseline="0" noProof="0">
                <a:ln>
                  <a:noFill/>
                </a:ln>
                <a:solidFill>
                  <a:srgbClr val="188CE5"/>
                </a:solidFill>
                <a:effectLst/>
                <a:uLnTx/>
                <a:uFillTx/>
                <a:latin typeface="Calibri" panose="020F0502020204030204" pitchFamily="34" charset="0"/>
                <a:cs typeface="Calibri" panose="020F0502020204030204" pitchFamily="34" charset="0"/>
              </a:endParaRPr>
            </a:p>
          </p:txBody>
        </p:sp>
        <p:sp>
          <p:nvSpPr>
            <p:cNvPr id="13" name="Cylinder 12">
              <a:extLst>
                <a:ext uri="{FF2B5EF4-FFF2-40B4-BE49-F238E27FC236}">
                  <a16:creationId xmlns:a16="http://schemas.microsoft.com/office/drawing/2014/main" id="{C8341C26-AB2A-457C-AE5F-4E557C01F382}"/>
                </a:ext>
              </a:extLst>
            </p:cNvPr>
            <p:cNvSpPr/>
            <p:nvPr/>
          </p:nvSpPr>
          <p:spPr>
            <a:xfrm>
              <a:off x="2475965" y="4716412"/>
              <a:ext cx="406722" cy="807449"/>
            </a:xfrm>
            <a:prstGeom prst="can">
              <a:avLst/>
            </a:prstGeom>
            <a:gradFill flip="none" rotWithShape="1">
              <a:gsLst>
                <a:gs pos="40000">
                  <a:srgbClr val="FFFFFF"/>
                </a:gs>
                <a:gs pos="3000">
                  <a:srgbClr val="188CE5">
                    <a:lumMod val="20000"/>
                    <a:lumOff val="80000"/>
                    <a:alpha val="50000"/>
                  </a:srgbClr>
                </a:gs>
              </a:gsLst>
              <a:lin ang="18900000" scaled="1"/>
              <a:tileRect/>
            </a:gradFill>
            <a:ln w="9525" cap="flat" cmpd="sng" algn="ctr">
              <a:solidFill>
                <a:srgbClr val="747480">
                  <a:lumMod val="65000"/>
                  <a:lumOff val="35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etrics &amp; KPI</a:t>
              </a:r>
            </a:p>
          </p:txBody>
        </p:sp>
        <p:sp>
          <p:nvSpPr>
            <p:cNvPr id="14" name="Cylinder 13">
              <a:extLst>
                <a:ext uri="{FF2B5EF4-FFF2-40B4-BE49-F238E27FC236}">
                  <a16:creationId xmlns:a16="http://schemas.microsoft.com/office/drawing/2014/main" id="{714C823B-89DD-4197-A7EC-E89E6A1BAD15}"/>
                </a:ext>
              </a:extLst>
            </p:cNvPr>
            <p:cNvSpPr/>
            <p:nvPr/>
          </p:nvSpPr>
          <p:spPr>
            <a:xfrm>
              <a:off x="2470563" y="1897046"/>
              <a:ext cx="406722" cy="892972"/>
            </a:xfrm>
            <a:prstGeom prst="can">
              <a:avLst/>
            </a:prstGeom>
            <a:gradFill flip="none" rotWithShape="1">
              <a:gsLst>
                <a:gs pos="40000">
                  <a:srgbClr val="FFFFFF"/>
                </a:gs>
                <a:gs pos="3000">
                  <a:srgbClr val="188CE5">
                    <a:lumMod val="20000"/>
                    <a:lumOff val="80000"/>
                    <a:alpha val="50000"/>
                  </a:srgbClr>
                </a:gs>
              </a:gsLst>
              <a:lin ang="18900000" scaled="1"/>
              <a:tileRect/>
            </a:gradFill>
            <a:ln w="9525" cap="flat" cmpd="sng" algn="ctr">
              <a:solidFill>
                <a:srgbClr val="747480">
                  <a:lumMod val="65000"/>
                  <a:lumOff val="35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A</a:t>
              </a:r>
            </a:p>
          </p:txBody>
        </p:sp>
        <p:sp>
          <p:nvSpPr>
            <p:cNvPr id="15" name="Cylinder 14">
              <a:extLst>
                <a:ext uri="{FF2B5EF4-FFF2-40B4-BE49-F238E27FC236}">
                  <a16:creationId xmlns:a16="http://schemas.microsoft.com/office/drawing/2014/main" id="{95DD9F99-DCC2-4367-9103-4C3EB24CECF1}"/>
                </a:ext>
              </a:extLst>
            </p:cNvPr>
            <p:cNvSpPr/>
            <p:nvPr/>
          </p:nvSpPr>
          <p:spPr>
            <a:xfrm>
              <a:off x="2475130" y="2893850"/>
              <a:ext cx="406722" cy="807449"/>
            </a:xfrm>
            <a:prstGeom prst="can">
              <a:avLst/>
            </a:prstGeom>
            <a:gradFill flip="none" rotWithShape="1">
              <a:gsLst>
                <a:gs pos="40000">
                  <a:srgbClr val="FFFFFF"/>
                </a:gs>
                <a:gs pos="3000">
                  <a:srgbClr val="188CE5">
                    <a:lumMod val="20000"/>
                    <a:lumOff val="80000"/>
                    <a:alpha val="50000"/>
                  </a:srgbClr>
                </a:gs>
              </a:gsLst>
              <a:lin ang="18900000" scaled="1"/>
              <a:tileRect/>
            </a:gradFill>
            <a:ln w="9525" cap="flat" cmpd="sng" algn="ctr">
              <a:solidFill>
                <a:srgbClr val="747480">
                  <a:lumMod val="65000"/>
                  <a:lumOff val="35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ccount Team</a:t>
              </a:r>
            </a:p>
          </p:txBody>
        </p:sp>
        <p:sp>
          <p:nvSpPr>
            <p:cNvPr id="16" name="Cylinder 15">
              <a:extLst>
                <a:ext uri="{FF2B5EF4-FFF2-40B4-BE49-F238E27FC236}">
                  <a16:creationId xmlns:a16="http://schemas.microsoft.com/office/drawing/2014/main" id="{0B192C97-08AE-4377-84C0-7CA0D2CE95A9}"/>
                </a:ext>
              </a:extLst>
            </p:cNvPr>
            <p:cNvSpPr/>
            <p:nvPr/>
          </p:nvSpPr>
          <p:spPr>
            <a:xfrm>
              <a:off x="2474063" y="3805131"/>
              <a:ext cx="406722" cy="807449"/>
            </a:xfrm>
            <a:prstGeom prst="can">
              <a:avLst/>
            </a:prstGeom>
            <a:gradFill flip="none" rotWithShape="1">
              <a:gsLst>
                <a:gs pos="40000">
                  <a:srgbClr val="FFFFFF"/>
                </a:gs>
                <a:gs pos="3000">
                  <a:srgbClr val="188CE5">
                    <a:lumMod val="20000"/>
                    <a:lumOff val="80000"/>
                    <a:alpha val="50000"/>
                  </a:srgbClr>
                </a:gs>
              </a:gsLst>
              <a:lin ang="18900000" scaled="1"/>
              <a:tileRect/>
            </a:gradFill>
            <a:ln w="9525" cap="flat" cmpd="sng" algn="ctr">
              <a:solidFill>
                <a:srgbClr val="747480">
                  <a:lumMod val="65000"/>
                  <a:lumOff val="35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rocess</a:t>
              </a:r>
            </a:p>
          </p:txBody>
        </p:sp>
        <p:sp>
          <p:nvSpPr>
            <p:cNvPr id="17" name="Rectangle 16">
              <a:extLst>
                <a:ext uri="{FF2B5EF4-FFF2-40B4-BE49-F238E27FC236}">
                  <a16:creationId xmlns:a16="http://schemas.microsoft.com/office/drawing/2014/main" id="{539CCD4B-FDF0-4E8A-BC93-E887C64CC584}"/>
                </a:ext>
              </a:extLst>
            </p:cNvPr>
            <p:cNvSpPr/>
            <p:nvPr/>
          </p:nvSpPr>
          <p:spPr>
            <a:xfrm>
              <a:off x="1970387" y="1897045"/>
              <a:ext cx="406722" cy="3730648"/>
            </a:xfrm>
            <a:prstGeom prst="rect">
              <a:avLst/>
            </a:prstGeom>
            <a:solidFill>
              <a:srgbClr val="000000">
                <a:lumMod val="95000"/>
                <a:lumOff val="5000"/>
              </a:srgbClr>
            </a:solidFill>
            <a:ln w="9525" cap="flat" cmpd="sng" algn="ctr">
              <a:solidFill>
                <a:srgbClr val="747480">
                  <a:lumMod val="50000"/>
                  <a:lumOff val="50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098"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rPr>
                <a:t>Service Management &amp; Account Management</a:t>
              </a:r>
            </a:p>
          </p:txBody>
        </p:sp>
        <p:sp>
          <p:nvSpPr>
            <p:cNvPr id="18" name="Rectangle 17">
              <a:extLst>
                <a:ext uri="{FF2B5EF4-FFF2-40B4-BE49-F238E27FC236}">
                  <a16:creationId xmlns:a16="http://schemas.microsoft.com/office/drawing/2014/main" id="{A7E20EE4-A4E2-44E4-B95F-8D93A3DD8B84}"/>
                </a:ext>
              </a:extLst>
            </p:cNvPr>
            <p:cNvSpPr/>
            <p:nvPr/>
          </p:nvSpPr>
          <p:spPr>
            <a:xfrm>
              <a:off x="3428423" y="4716412"/>
              <a:ext cx="418589" cy="911281"/>
            </a:xfrm>
            <a:prstGeom prst="rect">
              <a:avLst/>
            </a:prstGeom>
            <a:noFill/>
            <a:ln w="9525" cap="flat" cmpd="sng" algn="ctr">
              <a:solidFill>
                <a:srgbClr val="FFE600"/>
              </a:solidFill>
              <a:prstDash val="solid"/>
            </a:ln>
            <a:effectLst/>
          </p:spPr>
          <p:txBody>
            <a:bodyPr vert="vert270"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8"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Level 4</a:t>
              </a:r>
            </a:p>
          </p:txBody>
        </p:sp>
        <p:sp>
          <p:nvSpPr>
            <p:cNvPr id="19" name="Rectangle 18">
              <a:extLst>
                <a:ext uri="{FF2B5EF4-FFF2-40B4-BE49-F238E27FC236}">
                  <a16:creationId xmlns:a16="http://schemas.microsoft.com/office/drawing/2014/main" id="{4978DDE7-F04A-4DF0-94B1-76195439056C}"/>
                </a:ext>
              </a:extLst>
            </p:cNvPr>
            <p:cNvSpPr/>
            <p:nvPr/>
          </p:nvSpPr>
          <p:spPr>
            <a:xfrm>
              <a:off x="3428423" y="2818875"/>
              <a:ext cx="417132" cy="1894484"/>
            </a:xfrm>
            <a:prstGeom prst="rect">
              <a:avLst/>
            </a:prstGeom>
            <a:noFill/>
            <a:ln w="9525" cap="flat" cmpd="sng" algn="ctr">
              <a:solidFill>
                <a:srgbClr val="FFE600"/>
              </a:solidFill>
              <a:prstDash val="solid"/>
            </a:ln>
            <a:effectLst/>
          </p:spPr>
          <p:txBody>
            <a:bodyPr vert="vert270"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8"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Level 2/3</a:t>
              </a:r>
            </a:p>
          </p:txBody>
        </p:sp>
        <p:sp>
          <p:nvSpPr>
            <p:cNvPr id="20" name="Rectangle 19">
              <a:extLst>
                <a:ext uri="{FF2B5EF4-FFF2-40B4-BE49-F238E27FC236}">
                  <a16:creationId xmlns:a16="http://schemas.microsoft.com/office/drawing/2014/main" id="{B93FC825-2246-48DB-BAA8-BC2921F5DC7E}"/>
                </a:ext>
              </a:extLst>
            </p:cNvPr>
            <p:cNvSpPr/>
            <p:nvPr/>
          </p:nvSpPr>
          <p:spPr>
            <a:xfrm>
              <a:off x="3428423" y="1897045"/>
              <a:ext cx="418589" cy="921830"/>
            </a:xfrm>
            <a:prstGeom prst="rect">
              <a:avLst/>
            </a:prstGeom>
            <a:noFill/>
            <a:ln w="9525" cap="flat" cmpd="sng" algn="ctr">
              <a:solidFill>
                <a:srgbClr val="FFE600"/>
              </a:solidFill>
              <a:prstDash val="solid"/>
            </a:ln>
            <a:effectLst/>
          </p:spPr>
          <p:txBody>
            <a:bodyPr vert="vert270"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8"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Level 1</a:t>
              </a:r>
            </a:p>
          </p:txBody>
        </p:sp>
      </p:grpSp>
      <p:sp>
        <p:nvSpPr>
          <p:cNvPr id="21" name="Rectangle 20">
            <a:extLst>
              <a:ext uri="{FF2B5EF4-FFF2-40B4-BE49-F238E27FC236}">
                <a16:creationId xmlns:a16="http://schemas.microsoft.com/office/drawing/2014/main" id="{F37278CB-57F7-4D91-873B-9D3B36E68089}"/>
              </a:ext>
            </a:extLst>
          </p:cNvPr>
          <p:cNvSpPr/>
          <p:nvPr/>
        </p:nvSpPr>
        <p:spPr>
          <a:xfrm>
            <a:off x="2476439" y="3048952"/>
            <a:ext cx="9023362" cy="760095"/>
          </a:xfrm>
          <a:prstGeom prst="rect">
            <a:avLst/>
          </a:prstGeom>
          <a:noFill/>
          <a:ln w="12700" cap="sq" cmpd="sng" algn="ctr">
            <a:solidFill>
              <a:srgbClr val="FFE600"/>
            </a:solidFill>
            <a:prstDash val="solid"/>
            <a:miter lim="800000"/>
          </a:ln>
          <a:effectLst/>
        </p:spPr>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271463" marR="0" lvl="0" indent="-271463" defTabSz="913241" eaLnBrk="1" fontAlgn="base" latinLnBrk="0" hangingPunct="1">
              <a:lnSpc>
                <a:spcPct val="100000"/>
              </a:lnSpc>
              <a:spcBef>
                <a:spcPts val="0"/>
              </a:spcBef>
              <a:spcAft>
                <a:spcPts val="600"/>
              </a:spcAft>
              <a:buClr>
                <a:srgbClr val="FFE600"/>
              </a:buClr>
              <a:buSzPct val="80000"/>
              <a:buFont typeface="Arial" charset="0"/>
              <a:buChar char="►"/>
              <a:tabLst/>
              <a:defRPr/>
            </a:pPr>
            <a:endParaRPr kumimoji="0" lang="en-IE" sz="1400" b="0" i="0" u="none" strike="noStrike" kern="0" cap="none" spc="0" normalizeH="0" baseline="0" noProof="1">
              <a:ln>
                <a:noFill/>
              </a:ln>
              <a:solidFill>
                <a:srgbClr val="FFFFFF"/>
              </a:solidFill>
              <a:effectLst/>
              <a:uLnTx/>
              <a:uFillTx/>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E438FD06-457F-42A6-A657-234D55AFF8D8}"/>
              </a:ext>
            </a:extLst>
          </p:cNvPr>
          <p:cNvSpPr/>
          <p:nvPr/>
        </p:nvSpPr>
        <p:spPr>
          <a:xfrm>
            <a:off x="2476439" y="5371145"/>
            <a:ext cx="9023362" cy="753914"/>
          </a:xfrm>
          <a:prstGeom prst="rect">
            <a:avLst/>
          </a:prstGeom>
          <a:noFill/>
          <a:ln w="12700" cap="sq" cmpd="sng" algn="ctr">
            <a:solidFill>
              <a:srgbClr val="FFE600"/>
            </a:solidFill>
            <a:prstDash val="solid"/>
            <a:miter lim="800000"/>
          </a:ln>
          <a:effectLst/>
        </p:spPr>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271463" marR="0" lvl="0" indent="-271463" defTabSz="913241" eaLnBrk="1" fontAlgn="base" latinLnBrk="0" hangingPunct="1">
              <a:lnSpc>
                <a:spcPct val="100000"/>
              </a:lnSpc>
              <a:spcBef>
                <a:spcPts val="0"/>
              </a:spcBef>
              <a:spcAft>
                <a:spcPts val="600"/>
              </a:spcAft>
              <a:buClr>
                <a:srgbClr val="FFE600"/>
              </a:buClr>
              <a:buSzPct val="80000"/>
              <a:buFont typeface="Arial" charset="0"/>
              <a:buChar char="►"/>
              <a:tabLst/>
              <a:defRPr/>
            </a:pPr>
            <a:endParaRPr kumimoji="0" lang="en-IE" sz="1400" b="0" i="0" u="none" strike="noStrike" kern="0" cap="none" spc="0" normalizeH="0" baseline="0" noProof="1">
              <a:ln>
                <a:noFill/>
              </a:ln>
              <a:solidFill>
                <a:srgbClr val="FFFFFF"/>
              </a:solidFill>
              <a:effectLst/>
              <a:uLnTx/>
              <a:uFillTx/>
              <a:latin typeface="Calibri" panose="020F0502020204030204" pitchFamily="34" charset="0"/>
              <a:cs typeface="Calibri" panose="020F0502020204030204" pitchFamily="34" charset="0"/>
            </a:endParaRPr>
          </a:p>
        </p:txBody>
      </p:sp>
      <p:cxnSp>
        <p:nvCxnSpPr>
          <p:cNvPr id="26" name="Straight Arrow Connector 25">
            <a:extLst>
              <a:ext uri="{FF2B5EF4-FFF2-40B4-BE49-F238E27FC236}">
                <a16:creationId xmlns:a16="http://schemas.microsoft.com/office/drawing/2014/main" id="{4EF4A77B-B51D-46E3-832C-98E2B3DE43D7}"/>
              </a:ext>
            </a:extLst>
          </p:cNvPr>
          <p:cNvCxnSpPr>
            <a:cxnSpLocks/>
            <a:endCxn id="45" idx="0"/>
          </p:cNvCxnSpPr>
          <p:nvPr/>
        </p:nvCxnSpPr>
        <p:spPr>
          <a:xfrm flipH="1">
            <a:off x="3321987" y="2542136"/>
            <a:ext cx="11727" cy="699370"/>
          </a:xfrm>
          <a:prstGeom prst="straightConnector1">
            <a:avLst/>
          </a:prstGeom>
          <a:noFill/>
          <a:ln w="6350" cap="sq" cmpd="sng" algn="ctr">
            <a:solidFill>
              <a:schemeClr val="bg1"/>
            </a:solidFill>
            <a:prstDash val="sysDash"/>
            <a:miter lim="800000"/>
            <a:headEnd type="none" w="med" len="med"/>
            <a:tailEnd type="triangle"/>
          </a:ln>
          <a:effectLst/>
        </p:spPr>
      </p:cxnSp>
      <p:sp>
        <p:nvSpPr>
          <p:cNvPr id="27" name="Rectangle 26">
            <a:extLst>
              <a:ext uri="{FF2B5EF4-FFF2-40B4-BE49-F238E27FC236}">
                <a16:creationId xmlns:a16="http://schemas.microsoft.com/office/drawing/2014/main" id="{621A73AB-F559-4367-A4AB-5678F597AB08}"/>
              </a:ext>
            </a:extLst>
          </p:cNvPr>
          <p:cNvSpPr/>
          <p:nvPr/>
        </p:nvSpPr>
        <p:spPr>
          <a:xfrm>
            <a:off x="5857528" y="3880238"/>
            <a:ext cx="5076980" cy="697197"/>
          </a:xfrm>
          <a:prstGeom prst="rect">
            <a:avLst/>
          </a:prstGeom>
          <a:noFill/>
          <a:ln w="12700" cap="sq" cmpd="sng" algn="ctr">
            <a:solidFill>
              <a:schemeClr val="bg1"/>
            </a:solidFill>
            <a:prstDash val="solid"/>
            <a:miter lim="800000"/>
          </a:ln>
          <a:effectLst/>
        </p:spPr>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900" b="0" i="0" u="none" strike="noStrike" kern="0" cap="none" spc="0" normalizeH="0" baseline="0" noProof="1">
                <a:ln>
                  <a:noFill/>
                </a:ln>
                <a:solidFill>
                  <a:schemeClr val="bg1"/>
                </a:solidFill>
                <a:effectLst/>
                <a:uLnTx/>
                <a:uFillTx/>
                <a:latin typeface="Calibri" panose="020F0502020204030204" pitchFamily="34" charset="0"/>
                <a:cs typeface="Calibri" panose="020F0502020204030204" pitchFamily="34" charset="0"/>
              </a:rPr>
              <a:t>Application Monitoring and Support Management</a:t>
            </a:r>
          </a:p>
        </p:txBody>
      </p:sp>
      <p:sp>
        <p:nvSpPr>
          <p:cNvPr id="28" name="Rectangle 27">
            <a:extLst>
              <a:ext uri="{FF2B5EF4-FFF2-40B4-BE49-F238E27FC236}">
                <a16:creationId xmlns:a16="http://schemas.microsoft.com/office/drawing/2014/main" id="{6DA17E0E-2D06-41F2-B7C7-5C2A02D50E3D}"/>
              </a:ext>
            </a:extLst>
          </p:cNvPr>
          <p:cNvSpPr/>
          <p:nvPr/>
        </p:nvSpPr>
        <p:spPr>
          <a:xfrm>
            <a:off x="6210886" y="4159593"/>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lang="en-IE" sz="800" kern="0" noProof="1">
                <a:solidFill>
                  <a:srgbClr val="000000"/>
                </a:solidFill>
                <a:latin typeface="Calibri" panose="020F0502020204030204" pitchFamily="34" charset="0"/>
                <a:cs typeface="Calibri" panose="020F0502020204030204" pitchFamily="34" charset="0"/>
              </a:rPr>
              <a:t>Azure Platform</a:t>
            </a:r>
          </a:p>
        </p:txBody>
      </p:sp>
      <p:sp>
        <p:nvSpPr>
          <p:cNvPr id="29" name="Rectangle 28">
            <a:extLst>
              <a:ext uri="{FF2B5EF4-FFF2-40B4-BE49-F238E27FC236}">
                <a16:creationId xmlns:a16="http://schemas.microsoft.com/office/drawing/2014/main" id="{D6779230-42AA-49E7-AE80-E353C486AD85}"/>
              </a:ext>
            </a:extLst>
          </p:cNvPr>
          <p:cNvSpPr/>
          <p:nvPr/>
        </p:nvSpPr>
        <p:spPr>
          <a:xfrm>
            <a:off x="7843633" y="4159593"/>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Application insights of storage services</a:t>
            </a:r>
          </a:p>
        </p:txBody>
      </p:sp>
      <p:sp>
        <p:nvSpPr>
          <p:cNvPr id="30" name="Rectangle 29">
            <a:extLst>
              <a:ext uri="{FF2B5EF4-FFF2-40B4-BE49-F238E27FC236}">
                <a16:creationId xmlns:a16="http://schemas.microsoft.com/office/drawing/2014/main" id="{95E58021-50C8-4B43-A618-FFCDC8582E7B}"/>
              </a:ext>
            </a:extLst>
          </p:cNvPr>
          <p:cNvSpPr/>
          <p:nvPr/>
        </p:nvSpPr>
        <p:spPr>
          <a:xfrm>
            <a:off x="9476379" y="4159593"/>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Logs of cloud storage services</a:t>
            </a:r>
          </a:p>
        </p:txBody>
      </p:sp>
      <p:sp>
        <p:nvSpPr>
          <p:cNvPr id="31" name="Rectangle 30">
            <a:extLst>
              <a:ext uri="{FF2B5EF4-FFF2-40B4-BE49-F238E27FC236}">
                <a16:creationId xmlns:a16="http://schemas.microsoft.com/office/drawing/2014/main" id="{DA2847EA-2C87-44E5-A8FF-D62C571B385A}"/>
              </a:ext>
            </a:extLst>
          </p:cNvPr>
          <p:cNvSpPr/>
          <p:nvPr/>
        </p:nvSpPr>
        <p:spPr>
          <a:xfrm>
            <a:off x="11499800" y="3043063"/>
            <a:ext cx="316635" cy="3081995"/>
          </a:xfrm>
          <a:prstGeom prst="rect">
            <a:avLst/>
          </a:prstGeom>
          <a:solidFill>
            <a:srgbClr val="000000">
              <a:lumMod val="95000"/>
              <a:lumOff val="5000"/>
            </a:srgbClr>
          </a:solidFill>
          <a:ln w="9525" cap="flat" cmpd="sng" algn="ctr">
            <a:solidFill>
              <a:srgbClr val="747480">
                <a:lumMod val="50000"/>
                <a:lumOff val="50000"/>
              </a:srgbClr>
            </a:solidFill>
            <a:prstDash val="solid"/>
          </a:ln>
          <a:effectLst/>
        </p:spPr>
        <p:txBody>
          <a:bodyPr rot="0" spcFirstLastPara="0" vertOverflow="overflow" horzOverflow="overflow" vert="vert270" wrap="square" lIns="91344" tIns="45672" rIns="91344" bIns="45672"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098"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rPr>
              <a:t>EY Support Model</a:t>
            </a:r>
          </a:p>
        </p:txBody>
      </p:sp>
      <p:sp>
        <p:nvSpPr>
          <p:cNvPr id="32" name="Rectangle 31">
            <a:extLst>
              <a:ext uri="{FF2B5EF4-FFF2-40B4-BE49-F238E27FC236}">
                <a16:creationId xmlns:a16="http://schemas.microsoft.com/office/drawing/2014/main" id="{20ABEB4E-7F65-4109-8E1C-2DCDF6DBD38E}"/>
              </a:ext>
            </a:extLst>
          </p:cNvPr>
          <p:cNvSpPr/>
          <p:nvPr/>
        </p:nvSpPr>
        <p:spPr>
          <a:xfrm>
            <a:off x="5857528" y="4638500"/>
            <a:ext cx="5076980" cy="697197"/>
          </a:xfrm>
          <a:prstGeom prst="rect">
            <a:avLst/>
          </a:prstGeom>
          <a:noFill/>
          <a:ln w="12700" cap="sq" cmpd="sng" algn="ctr">
            <a:solidFill>
              <a:schemeClr val="bg1"/>
            </a:solidFill>
            <a:prstDash val="solid"/>
            <a:miter lim="800000"/>
          </a:ln>
          <a:effectLst/>
        </p:spPr>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900" b="0" i="0" u="none" strike="noStrike" kern="0" cap="none" spc="0" normalizeH="0" baseline="0" noProof="1">
                <a:ln>
                  <a:noFill/>
                </a:ln>
                <a:solidFill>
                  <a:schemeClr val="bg1"/>
                </a:solidFill>
                <a:effectLst/>
                <a:uLnTx/>
                <a:uFillTx/>
                <a:latin typeface="Calibri" panose="020F0502020204030204" pitchFamily="34" charset="0"/>
                <a:cs typeface="Calibri" panose="020F0502020204030204" pitchFamily="34" charset="0"/>
              </a:rPr>
              <a:t>Application Support and Defect Fixes</a:t>
            </a:r>
          </a:p>
        </p:txBody>
      </p:sp>
      <p:sp>
        <p:nvSpPr>
          <p:cNvPr id="33" name="Rectangle 32">
            <a:extLst>
              <a:ext uri="{FF2B5EF4-FFF2-40B4-BE49-F238E27FC236}">
                <a16:creationId xmlns:a16="http://schemas.microsoft.com/office/drawing/2014/main" id="{65F9D3B9-D6E1-4DF9-9664-3F9328EF2029}"/>
              </a:ext>
            </a:extLst>
          </p:cNvPr>
          <p:cNvSpPr/>
          <p:nvPr/>
        </p:nvSpPr>
        <p:spPr>
          <a:xfrm>
            <a:off x="6210886" y="4916311"/>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lang="en-IE" sz="800" kern="0" noProof="1">
                <a:solidFill>
                  <a:srgbClr val="000000"/>
                </a:solidFill>
                <a:latin typeface="Calibri" panose="020F0502020204030204" pitchFamily="34" charset="0"/>
                <a:cs typeface="Calibri" panose="020F0502020204030204" pitchFamily="34" charset="0"/>
              </a:rPr>
              <a:t>Azure Platform</a:t>
            </a:r>
          </a:p>
        </p:txBody>
      </p:sp>
      <p:sp>
        <p:nvSpPr>
          <p:cNvPr id="34" name="Rectangle 33">
            <a:extLst>
              <a:ext uri="{FF2B5EF4-FFF2-40B4-BE49-F238E27FC236}">
                <a16:creationId xmlns:a16="http://schemas.microsoft.com/office/drawing/2014/main" id="{5511173C-4A43-41FA-A867-390BD5042D0F}"/>
              </a:ext>
            </a:extLst>
          </p:cNvPr>
          <p:cNvSpPr/>
          <p:nvPr/>
        </p:nvSpPr>
        <p:spPr>
          <a:xfrm>
            <a:off x="7843633" y="4916311"/>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Cloud storage services</a:t>
            </a:r>
          </a:p>
        </p:txBody>
      </p:sp>
      <p:sp>
        <p:nvSpPr>
          <p:cNvPr id="35" name="Rectangle 34">
            <a:extLst>
              <a:ext uri="{FF2B5EF4-FFF2-40B4-BE49-F238E27FC236}">
                <a16:creationId xmlns:a16="http://schemas.microsoft.com/office/drawing/2014/main" id="{8824E339-0BC4-438A-8A58-A393A40919C4}"/>
              </a:ext>
            </a:extLst>
          </p:cNvPr>
          <p:cNvSpPr/>
          <p:nvPr/>
        </p:nvSpPr>
        <p:spPr>
          <a:xfrm>
            <a:off x="9476379" y="4916311"/>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lang="en-IE" sz="800" kern="0" noProof="1">
                <a:solidFill>
                  <a:srgbClr val="000000"/>
                </a:solidFill>
                <a:latin typeface="Calibri" panose="020F0502020204030204" pitchFamily="34" charset="0"/>
                <a:cs typeface="Calibri" panose="020F0502020204030204" pitchFamily="34" charset="0"/>
              </a:rPr>
              <a:t>Related resources of cloud storage services</a:t>
            </a:r>
            <a:endPar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05A27321-6665-4F93-BB0F-78799C85093F}"/>
              </a:ext>
            </a:extLst>
          </p:cNvPr>
          <p:cNvSpPr/>
          <p:nvPr/>
        </p:nvSpPr>
        <p:spPr>
          <a:xfrm>
            <a:off x="5851366" y="5538213"/>
            <a:ext cx="5089304" cy="467354"/>
          </a:xfrm>
          <a:prstGeom prst="rect">
            <a:avLst/>
          </a:prstGeom>
          <a:solidFill>
            <a:srgbClr val="000000">
              <a:lumMod val="50000"/>
              <a:lumOff val="50000"/>
            </a:srgbClr>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900" b="0" i="0" u="none" strike="noStrike" kern="0" cap="none" spc="0" normalizeH="0" baseline="0" noProof="1">
                <a:ln>
                  <a:noFill/>
                </a:ln>
                <a:solidFill>
                  <a:srgbClr val="FFFFFF"/>
                </a:solidFill>
                <a:effectLst/>
                <a:uLnTx/>
                <a:uFillTx/>
                <a:latin typeface="Calibri" panose="020F0502020204030204" pitchFamily="34" charset="0"/>
                <a:cs typeface="Calibri" panose="020F0502020204030204" pitchFamily="34" charset="0"/>
              </a:rPr>
              <a:t>              EY Development Team </a:t>
            </a:r>
            <a:r>
              <a:rPr lang="en-IE" sz="900" kern="0" noProof="1">
                <a:solidFill>
                  <a:srgbClr val="FFFFFF"/>
                </a:solidFill>
                <a:latin typeface="Calibri" panose="020F0502020204030204" pitchFamily="34" charset="0"/>
                <a:cs typeface="Calibri" panose="020F0502020204030204" pitchFamily="34" charset="0"/>
              </a:rPr>
              <a:t>  (Not included in Managed Service Offering)</a:t>
            </a:r>
            <a:endParaRPr kumimoji="0" lang="en-IE" sz="900" b="0" i="0" u="none" strike="noStrike" kern="0" cap="none" spc="0" normalizeH="0" baseline="0" noProof="1">
              <a:ln>
                <a:noFill/>
              </a:ln>
              <a:solidFill>
                <a:srgbClr val="FFFFFF"/>
              </a:solidFill>
              <a:effectLst/>
              <a:uLnTx/>
              <a:uFillTx/>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7C95207B-C7B6-477A-BFD4-3E09F4AEDDA2}"/>
              </a:ext>
            </a:extLst>
          </p:cNvPr>
          <p:cNvSpPr/>
          <p:nvPr/>
        </p:nvSpPr>
        <p:spPr>
          <a:xfrm>
            <a:off x="2765525" y="4363149"/>
            <a:ext cx="1112476" cy="414865"/>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EY Managed Service</a:t>
            </a:r>
          </a:p>
        </p:txBody>
      </p:sp>
      <p:sp>
        <p:nvSpPr>
          <p:cNvPr id="45" name="Rectangle 44">
            <a:extLst>
              <a:ext uri="{FF2B5EF4-FFF2-40B4-BE49-F238E27FC236}">
                <a16:creationId xmlns:a16="http://schemas.microsoft.com/office/drawing/2014/main" id="{3A1B096A-7B9F-44B0-9E05-754789A4D1BE}"/>
              </a:ext>
            </a:extLst>
          </p:cNvPr>
          <p:cNvSpPr/>
          <p:nvPr/>
        </p:nvSpPr>
        <p:spPr>
          <a:xfrm>
            <a:off x="2765749" y="3241506"/>
            <a:ext cx="1112476" cy="44085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lang="en-IE" sz="800" kern="0" noProof="1">
                <a:solidFill>
                  <a:srgbClr val="000000"/>
                </a:solidFill>
                <a:latin typeface="Calibri" panose="020F0502020204030204" pitchFamily="34" charset="0"/>
                <a:cs typeface="Calibri" panose="020F0502020204030204" pitchFamily="34" charset="0"/>
              </a:rPr>
              <a:t>EY Managed Service - </a:t>
            </a: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IT Service Desk</a:t>
            </a:r>
          </a:p>
        </p:txBody>
      </p:sp>
      <p:sp>
        <p:nvSpPr>
          <p:cNvPr id="46" name="Rectangle 45">
            <a:extLst>
              <a:ext uri="{FF2B5EF4-FFF2-40B4-BE49-F238E27FC236}">
                <a16:creationId xmlns:a16="http://schemas.microsoft.com/office/drawing/2014/main" id="{8D9A2DB4-38EF-4DD0-82CC-AD875AED1296}"/>
              </a:ext>
            </a:extLst>
          </p:cNvPr>
          <p:cNvSpPr/>
          <p:nvPr/>
        </p:nvSpPr>
        <p:spPr>
          <a:xfrm>
            <a:off x="2765749" y="5590702"/>
            <a:ext cx="1112476" cy="414865"/>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Vendors           (Microsoft)</a:t>
            </a:r>
          </a:p>
        </p:txBody>
      </p:sp>
      <p:cxnSp>
        <p:nvCxnSpPr>
          <p:cNvPr id="47" name="Connector: Elbow 46">
            <a:extLst>
              <a:ext uri="{FF2B5EF4-FFF2-40B4-BE49-F238E27FC236}">
                <a16:creationId xmlns:a16="http://schemas.microsoft.com/office/drawing/2014/main" id="{B33EAFDB-D63A-4B70-AE3F-C96C331F7A1C}"/>
              </a:ext>
            </a:extLst>
          </p:cNvPr>
          <p:cNvCxnSpPr>
            <a:cxnSpLocks/>
            <a:stCxn id="45" idx="2"/>
            <a:endCxn id="44" idx="0"/>
          </p:cNvCxnSpPr>
          <p:nvPr/>
        </p:nvCxnSpPr>
        <p:spPr>
          <a:xfrm rot="5400000">
            <a:off x="2981483" y="4022644"/>
            <a:ext cx="680785" cy="224"/>
          </a:xfrm>
          <a:prstGeom prst="bentConnector3">
            <a:avLst>
              <a:gd name="adj1" fmla="val 50000"/>
            </a:avLst>
          </a:prstGeom>
          <a:noFill/>
          <a:ln w="6350" cap="sq" cmpd="sng" algn="ctr">
            <a:solidFill>
              <a:schemeClr val="bg1"/>
            </a:solidFill>
            <a:prstDash val="sysDash"/>
            <a:miter lim="800000"/>
            <a:headEnd type="none" w="med" len="med"/>
            <a:tailEnd type="triangle"/>
          </a:ln>
          <a:effectLst/>
        </p:spPr>
      </p:cxnSp>
      <p:cxnSp>
        <p:nvCxnSpPr>
          <p:cNvPr id="48" name="Connector: Elbow 47">
            <a:extLst>
              <a:ext uri="{FF2B5EF4-FFF2-40B4-BE49-F238E27FC236}">
                <a16:creationId xmlns:a16="http://schemas.microsoft.com/office/drawing/2014/main" id="{3264F67C-EC35-40FC-A635-51DF069A4F72}"/>
              </a:ext>
            </a:extLst>
          </p:cNvPr>
          <p:cNvCxnSpPr>
            <a:cxnSpLocks/>
            <a:stCxn id="44" idx="2"/>
            <a:endCxn id="46" idx="0"/>
          </p:cNvCxnSpPr>
          <p:nvPr/>
        </p:nvCxnSpPr>
        <p:spPr>
          <a:xfrm rot="16200000" flipH="1">
            <a:off x="2915531" y="5184246"/>
            <a:ext cx="812688" cy="224"/>
          </a:xfrm>
          <a:prstGeom prst="bentConnector3">
            <a:avLst>
              <a:gd name="adj1" fmla="val 50000"/>
            </a:avLst>
          </a:prstGeom>
          <a:noFill/>
          <a:ln w="6350" cap="sq" cmpd="sng" algn="ctr">
            <a:solidFill>
              <a:schemeClr val="bg1"/>
            </a:solidFill>
            <a:prstDash val="sysDash"/>
            <a:miter lim="800000"/>
            <a:headEnd type="none" w="med" len="med"/>
            <a:tailEnd type="triangle"/>
          </a:ln>
          <a:effectLst/>
        </p:spPr>
      </p:cxnSp>
      <p:sp>
        <p:nvSpPr>
          <p:cNvPr id="53" name="Rectangle 52">
            <a:extLst>
              <a:ext uri="{FF2B5EF4-FFF2-40B4-BE49-F238E27FC236}">
                <a16:creationId xmlns:a16="http://schemas.microsoft.com/office/drawing/2014/main" id="{5F1F8446-B065-4B5D-BD65-F1F87050B0A8}"/>
              </a:ext>
            </a:extLst>
          </p:cNvPr>
          <p:cNvSpPr/>
          <p:nvPr/>
        </p:nvSpPr>
        <p:spPr>
          <a:xfrm>
            <a:off x="5841297" y="3110323"/>
            <a:ext cx="5076980" cy="640454"/>
          </a:xfrm>
          <a:prstGeom prst="rect">
            <a:avLst/>
          </a:prstGeom>
          <a:noFill/>
          <a:ln w="3175" cap="sq" cmpd="sng" algn="ctr">
            <a:solidFill>
              <a:schemeClr val="bg1"/>
            </a:solidFill>
            <a:prstDash val="solid"/>
            <a:miter lim="800000"/>
          </a:ln>
          <a:effectLst/>
        </p:spPr>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900" b="0" i="0" u="none" strike="noStrike" kern="0" cap="none" spc="0" normalizeH="0" baseline="0" noProof="1">
                <a:ln>
                  <a:noFill/>
                </a:ln>
                <a:solidFill>
                  <a:schemeClr val="bg1"/>
                </a:solidFill>
                <a:effectLst/>
                <a:uLnTx/>
                <a:uFillTx/>
                <a:latin typeface="Calibri" panose="020F0502020204030204" pitchFamily="34" charset="0"/>
                <a:cs typeface="Calibri" panose="020F0502020204030204" pitchFamily="34" charset="0"/>
              </a:rPr>
              <a:t>Business Tickets Triaging, First Line Incident Management</a:t>
            </a:r>
          </a:p>
        </p:txBody>
      </p:sp>
      <p:sp>
        <p:nvSpPr>
          <p:cNvPr id="54" name="Rectangle 53">
            <a:extLst>
              <a:ext uri="{FF2B5EF4-FFF2-40B4-BE49-F238E27FC236}">
                <a16:creationId xmlns:a16="http://schemas.microsoft.com/office/drawing/2014/main" id="{E7DEAC8C-D9CE-4ACC-8AB0-E06D5C0E9E3B}"/>
              </a:ext>
            </a:extLst>
          </p:cNvPr>
          <p:cNvSpPr/>
          <p:nvPr/>
        </p:nvSpPr>
        <p:spPr>
          <a:xfrm>
            <a:off x="6210886" y="3343274"/>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User Management</a:t>
            </a:r>
          </a:p>
        </p:txBody>
      </p:sp>
      <p:sp>
        <p:nvSpPr>
          <p:cNvPr id="55" name="Rectangle 54">
            <a:extLst>
              <a:ext uri="{FF2B5EF4-FFF2-40B4-BE49-F238E27FC236}">
                <a16:creationId xmlns:a16="http://schemas.microsoft.com/office/drawing/2014/main" id="{ACBF0789-82D3-482E-B8C4-0BDF659428BD}"/>
              </a:ext>
            </a:extLst>
          </p:cNvPr>
          <p:cNvSpPr/>
          <p:nvPr/>
        </p:nvSpPr>
        <p:spPr>
          <a:xfrm>
            <a:off x="7858671" y="3336011"/>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First Point of Contact</a:t>
            </a:r>
          </a:p>
        </p:txBody>
      </p:sp>
      <p:sp>
        <p:nvSpPr>
          <p:cNvPr id="56" name="Rectangle 55">
            <a:extLst>
              <a:ext uri="{FF2B5EF4-FFF2-40B4-BE49-F238E27FC236}">
                <a16:creationId xmlns:a16="http://schemas.microsoft.com/office/drawing/2014/main" id="{61941CBE-280C-4385-B64E-216C5443808B}"/>
              </a:ext>
            </a:extLst>
          </p:cNvPr>
          <p:cNvSpPr/>
          <p:nvPr/>
        </p:nvSpPr>
        <p:spPr>
          <a:xfrm>
            <a:off x="9459492" y="3345112"/>
            <a:ext cx="1112476" cy="33908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General Solution </a:t>
            </a:r>
            <a:r>
              <a:rPr lang="en-IE" sz="800" kern="0" noProof="1">
                <a:solidFill>
                  <a:srgbClr val="000000"/>
                </a:solidFill>
                <a:latin typeface="Calibri" panose="020F0502020204030204" pitchFamily="34" charset="0"/>
                <a:cs typeface="Calibri" panose="020F0502020204030204" pitchFamily="34" charset="0"/>
              </a:rPr>
              <a:t>Questions</a:t>
            </a: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 &amp; Answers</a:t>
            </a:r>
          </a:p>
        </p:txBody>
      </p:sp>
      <p:cxnSp>
        <p:nvCxnSpPr>
          <p:cNvPr id="57" name="Connector: Elbow 56">
            <a:extLst>
              <a:ext uri="{FF2B5EF4-FFF2-40B4-BE49-F238E27FC236}">
                <a16:creationId xmlns:a16="http://schemas.microsoft.com/office/drawing/2014/main" id="{E8719E6F-BD75-4D4E-8C49-C31BFCFBC6DE}"/>
              </a:ext>
            </a:extLst>
          </p:cNvPr>
          <p:cNvCxnSpPr>
            <a:cxnSpLocks/>
            <a:stCxn id="44" idx="3"/>
          </p:cNvCxnSpPr>
          <p:nvPr/>
        </p:nvCxnSpPr>
        <p:spPr>
          <a:xfrm flipV="1">
            <a:off x="3878001" y="4570581"/>
            <a:ext cx="269298" cy="1"/>
          </a:xfrm>
          <a:prstGeom prst="bentConnector3">
            <a:avLst>
              <a:gd name="adj1" fmla="val 50000"/>
            </a:avLst>
          </a:prstGeom>
          <a:noFill/>
          <a:ln w="6350" cap="sq" cmpd="sng" algn="ctr">
            <a:solidFill>
              <a:srgbClr val="FFFFFF"/>
            </a:solidFill>
            <a:prstDash val="sysDash"/>
            <a:miter lim="800000"/>
            <a:headEnd type="triangle" w="med" len="med"/>
            <a:tailEnd type="triangle" w="med" len="med"/>
          </a:ln>
          <a:effectLst/>
        </p:spPr>
      </p:cxnSp>
      <p:pic>
        <p:nvPicPr>
          <p:cNvPr id="61" name="Graphic 60" descr="Internet with solid fill">
            <a:extLst>
              <a:ext uri="{FF2B5EF4-FFF2-40B4-BE49-F238E27FC236}">
                <a16:creationId xmlns:a16="http://schemas.microsoft.com/office/drawing/2014/main" id="{77A9ABC8-70F1-4F57-A2F3-CE9A746E8B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1996" y="2722632"/>
            <a:ext cx="332925" cy="332925"/>
          </a:xfrm>
          <a:prstGeom prst="rect">
            <a:avLst/>
          </a:prstGeom>
        </p:spPr>
      </p:pic>
      <p:pic>
        <p:nvPicPr>
          <p:cNvPr id="62" name="Graphic 61" descr="Speaker phone with solid fill">
            <a:extLst>
              <a:ext uri="{FF2B5EF4-FFF2-40B4-BE49-F238E27FC236}">
                <a16:creationId xmlns:a16="http://schemas.microsoft.com/office/drawing/2014/main" id="{EBE26ECE-0782-44B1-A399-1F44595168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50273" y="2724716"/>
            <a:ext cx="328756" cy="328756"/>
          </a:xfrm>
          <a:prstGeom prst="rect">
            <a:avLst/>
          </a:prstGeom>
        </p:spPr>
      </p:pic>
      <p:grpSp>
        <p:nvGrpSpPr>
          <p:cNvPr id="63" name="Group 62">
            <a:extLst>
              <a:ext uri="{FF2B5EF4-FFF2-40B4-BE49-F238E27FC236}">
                <a16:creationId xmlns:a16="http://schemas.microsoft.com/office/drawing/2014/main" id="{BE3892D1-0F62-4D62-8B7E-24160CCD0E53}"/>
              </a:ext>
            </a:extLst>
          </p:cNvPr>
          <p:cNvGrpSpPr/>
          <p:nvPr/>
        </p:nvGrpSpPr>
        <p:grpSpPr>
          <a:xfrm>
            <a:off x="3078458" y="2031624"/>
            <a:ext cx="510512" cy="510512"/>
            <a:chOff x="647079" y="1186889"/>
            <a:chExt cx="510512" cy="510512"/>
          </a:xfrm>
        </p:grpSpPr>
        <p:sp>
          <p:nvSpPr>
            <p:cNvPr id="64" name="Oval 63">
              <a:extLst>
                <a:ext uri="{FF2B5EF4-FFF2-40B4-BE49-F238E27FC236}">
                  <a16:creationId xmlns:a16="http://schemas.microsoft.com/office/drawing/2014/main" id="{39CA8185-5415-44F2-A206-1F81EBBA6241}"/>
                </a:ext>
              </a:extLst>
            </p:cNvPr>
            <p:cNvSpPr/>
            <p:nvPr/>
          </p:nvSpPr>
          <p:spPr>
            <a:xfrm>
              <a:off x="647079" y="1186889"/>
              <a:ext cx="510512" cy="510512"/>
            </a:xfrm>
            <a:prstGeom prst="ellipse">
              <a:avLst/>
            </a:prstGeom>
            <a:solidFill>
              <a:schemeClr val="tx1"/>
            </a:solidFill>
            <a:ln w="25400" cap="flat" cmpd="sng" algn="ctr">
              <a:solidFill>
                <a:schemeClr val="accent3">
                  <a:lumMod val="50000"/>
                </a:schemeClr>
              </a:solidFill>
              <a:prstDash val="solid"/>
            </a:ln>
            <a:effectLst/>
          </p:spPr>
          <p:txBody>
            <a:bodyPr tIns="9141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65" name="Rectangle 64">
              <a:extLst>
                <a:ext uri="{FF2B5EF4-FFF2-40B4-BE49-F238E27FC236}">
                  <a16:creationId xmlns:a16="http://schemas.microsoft.com/office/drawing/2014/main" id="{066F1366-4A6B-467C-A98B-1479E8A39D81}"/>
                </a:ext>
              </a:extLst>
            </p:cNvPr>
            <p:cNvSpPr/>
            <p:nvPr/>
          </p:nvSpPr>
          <p:spPr>
            <a:xfrm>
              <a:off x="781055" y="1474629"/>
              <a:ext cx="82087" cy="12205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grpSp>
          <p:nvGrpSpPr>
            <p:cNvPr id="66" name="Group 65">
              <a:extLst>
                <a:ext uri="{FF2B5EF4-FFF2-40B4-BE49-F238E27FC236}">
                  <a16:creationId xmlns:a16="http://schemas.microsoft.com/office/drawing/2014/main" id="{FA027CF6-6BE1-42C6-B719-D5E12B8E5B6C}"/>
                </a:ext>
              </a:extLst>
            </p:cNvPr>
            <p:cNvGrpSpPr/>
            <p:nvPr/>
          </p:nvGrpSpPr>
          <p:grpSpPr>
            <a:xfrm>
              <a:off x="753864" y="1283302"/>
              <a:ext cx="299067" cy="313377"/>
              <a:chOff x="2126878" y="1244665"/>
              <a:chExt cx="764578" cy="801160"/>
            </a:xfrm>
          </p:grpSpPr>
          <p:sp>
            <p:nvSpPr>
              <p:cNvPr id="67" name="Freeform 5">
                <a:extLst>
                  <a:ext uri="{FF2B5EF4-FFF2-40B4-BE49-F238E27FC236}">
                    <a16:creationId xmlns:a16="http://schemas.microsoft.com/office/drawing/2014/main" id="{81845C1C-CFEA-466F-8B16-44C3FCC714E2}"/>
                  </a:ext>
                </a:extLst>
              </p:cNvPr>
              <p:cNvSpPr>
                <a:spLocks/>
              </p:cNvSpPr>
              <p:nvPr/>
            </p:nvSpPr>
            <p:spPr bwMode="auto">
              <a:xfrm>
                <a:off x="2126878" y="1475135"/>
                <a:ext cx="354853" cy="321927"/>
              </a:xfrm>
              <a:custGeom>
                <a:avLst/>
                <a:gdLst>
                  <a:gd name="T0" fmla="*/ 64 w 80"/>
                  <a:gd name="T1" fmla="*/ 72 h 72"/>
                  <a:gd name="T2" fmla="*/ 80 w 80"/>
                  <a:gd name="T3" fmla="*/ 56 h 72"/>
                  <a:gd name="T4" fmla="*/ 80 w 80"/>
                  <a:gd name="T5" fmla="*/ 20 h 72"/>
                  <a:gd name="T6" fmla="*/ 40 w 80"/>
                  <a:gd name="T7" fmla="*/ 0 h 72"/>
                  <a:gd name="T8" fmla="*/ 0 w 80"/>
                  <a:gd name="T9" fmla="*/ 20 h 72"/>
                  <a:gd name="T10" fmla="*/ 0 w 80"/>
                  <a:gd name="T11" fmla="*/ 56 h 72"/>
                  <a:gd name="T12" fmla="*/ 16 w 80"/>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80" h="72">
                    <a:moveTo>
                      <a:pt x="64" y="72"/>
                    </a:moveTo>
                    <a:cubicBezTo>
                      <a:pt x="73" y="72"/>
                      <a:pt x="80" y="64"/>
                      <a:pt x="80" y="56"/>
                    </a:cubicBezTo>
                    <a:cubicBezTo>
                      <a:pt x="80" y="20"/>
                      <a:pt x="80" y="20"/>
                      <a:pt x="80" y="20"/>
                    </a:cubicBezTo>
                    <a:cubicBezTo>
                      <a:pt x="80" y="7"/>
                      <a:pt x="54" y="0"/>
                      <a:pt x="40" y="0"/>
                    </a:cubicBezTo>
                    <a:cubicBezTo>
                      <a:pt x="26" y="0"/>
                      <a:pt x="0" y="7"/>
                      <a:pt x="0" y="20"/>
                    </a:cubicBezTo>
                    <a:cubicBezTo>
                      <a:pt x="0" y="56"/>
                      <a:pt x="0" y="56"/>
                      <a:pt x="0" y="56"/>
                    </a:cubicBezTo>
                    <a:cubicBezTo>
                      <a:pt x="0" y="64"/>
                      <a:pt x="7" y="72"/>
                      <a:pt x="16" y="72"/>
                    </a:cubicBezTo>
                  </a:path>
                </a:pathLst>
              </a:custGeom>
              <a:solidFill>
                <a:schemeClr val="tx2"/>
              </a:solid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 name="Freeform 6">
                <a:extLst>
                  <a:ext uri="{FF2B5EF4-FFF2-40B4-BE49-F238E27FC236}">
                    <a16:creationId xmlns:a16="http://schemas.microsoft.com/office/drawing/2014/main" id="{432C6971-EB20-491F-862B-387B4EF61545}"/>
                  </a:ext>
                </a:extLst>
              </p:cNvPr>
              <p:cNvSpPr>
                <a:spLocks/>
              </p:cNvSpPr>
              <p:nvPr/>
            </p:nvSpPr>
            <p:spPr bwMode="auto">
              <a:xfrm>
                <a:off x="2481730" y="1475135"/>
                <a:ext cx="197546" cy="321927"/>
              </a:xfrm>
              <a:custGeom>
                <a:avLst/>
                <a:gdLst>
                  <a:gd name="T0" fmla="*/ 28 w 44"/>
                  <a:gd name="T1" fmla="*/ 72 h 72"/>
                  <a:gd name="T2" fmla="*/ 44 w 44"/>
                  <a:gd name="T3" fmla="*/ 60 h 72"/>
                  <a:gd name="T4" fmla="*/ 44 w 44"/>
                  <a:gd name="T5" fmla="*/ 20 h 72"/>
                  <a:gd name="T6" fmla="*/ 8 w 44"/>
                  <a:gd name="T7" fmla="*/ 0 h 72"/>
                  <a:gd name="T8" fmla="*/ 0 w 44"/>
                  <a:gd name="T9" fmla="*/ 0 h 72"/>
                </a:gdLst>
                <a:ahLst/>
                <a:cxnLst>
                  <a:cxn ang="0">
                    <a:pos x="T0" y="T1"/>
                  </a:cxn>
                  <a:cxn ang="0">
                    <a:pos x="T2" y="T3"/>
                  </a:cxn>
                  <a:cxn ang="0">
                    <a:pos x="T4" y="T5"/>
                  </a:cxn>
                  <a:cxn ang="0">
                    <a:pos x="T6" y="T7"/>
                  </a:cxn>
                  <a:cxn ang="0">
                    <a:pos x="T8" y="T9"/>
                  </a:cxn>
                </a:cxnLst>
                <a:rect l="0" t="0" r="r" b="b"/>
                <a:pathLst>
                  <a:path w="44" h="72">
                    <a:moveTo>
                      <a:pt x="28" y="72"/>
                    </a:moveTo>
                    <a:cubicBezTo>
                      <a:pt x="36" y="72"/>
                      <a:pt x="44" y="68"/>
                      <a:pt x="44" y="60"/>
                    </a:cubicBezTo>
                    <a:cubicBezTo>
                      <a:pt x="44" y="20"/>
                      <a:pt x="44" y="20"/>
                      <a:pt x="44" y="20"/>
                    </a:cubicBezTo>
                    <a:cubicBezTo>
                      <a:pt x="44" y="7"/>
                      <a:pt x="21" y="0"/>
                      <a:pt x="8" y="0"/>
                    </a:cubicBezTo>
                    <a:cubicBezTo>
                      <a:pt x="7" y="0"/>
                      <a:pt x="0" y="0"/>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 name="Freeform 7">
                <a:extLst>
                  <a:ext uri="{FF2B5EF4-FFF2-40B4-BE49-F238E27FC236}">
                    <a16:creationId xmlns:a16="http://schemas.microsoft.com/office/drawing/2014/main" id="{8DA5BA21-6CA4-4769-99B5-538573AAD437}"/>
                  </a:ext>
                </a:extLst>
              </p:cNvPr>
              <p:cNvSpPr>
                <a:spLocks/>
              </p:cNvSpPr>
              <p:nvPr/>
            </p:nvSpPr>
            <p:spPr bwMode="auto">
              <a:xfrm>
                <a:off x="2232968" y="1244665"/>
                <a:ext cx="142673" cy="179256"/>
              </a:xfrm>
              <a:custGeom>
                <a:avLst/>
                <a:gdLst>
                  <a:gd name="T0" fmla="*/ 16 w 32"/>
                  <a:gd name="T1" fmla="*/ 40 h 40"/>
                  <a:gd name="T2" fmla="*/ 32 w 32"/>
                  <a:gd name="T3" fmla="*/ 24 h 40"/>
                  <a:gd name="T4" fmla="*/ 32 w 32"/>
                  <a:gd name="T5" fmla="*/ 16 h 40"/>
                  <a:gd name="T6" fmla="*/ 16 w 32"/>
                  <a:gd name="T7" fmla="*/ 0 h 40"/>
                  <a:gd name="T8" fmla="*/ 0 w 32"/>
                  <a:gd name="T9" fmla="*/ 16 h 40"/>
                  <a:gd name="T10" fmla="*/ 0 w 32"/>
                  <a:gd name="T11" fmla="*/ 24 h 40"/>
                  <a:gd name="T12" fmla="*/ 16 w 3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16" y="40"/>
                    </a:moveTo>
                    <a:cubicBezTo>
                      <a:pt x="25" y="40"/>
                      <a:pt x="32" y="33"/>
                      <a:pt x="32" y="24"/>
                    </a:cubicBezTo>
                    <a:cubicBezTo>
                      <a:pt x="32" y="16"/>
                      <a:pt x="32" y="16"/>
                      <a:pt x="32" y="16"/>
                    </a:cubicBezTo>
                    <a:cubicBezTo>
                      <a:pt x="32" y="7"/>
                      <a:pt x="25" y="0"/>
                      <a:pt x="16" y="0"/>
                    </a:cubicBezTo>
                    <a:cubicBezTo>
                      <a:pt x="7" y="0"/>
                      <a:pt x="0" y="7"/>
                      <a:pt x="0" y="16"/>
                    </a:cubicBezTo>
                    <a:cubicBezTo>
                      <a:pt x="0" y="24"/>
                      <a:pt x="0" y="24"/>
                      <a:pt x="0" y="24"/>
                    </a:cubicBezTo>
                    <a:cubicBezTo>
                      <a:pt x="0" y="33"/>
                      <a:pt x="7" y="40"/>
                      <a:pt x="16" y="40"/>
                    </a:cubicBezTo>
                    <a:close/>
                  </a:path>
                </a:pathLst>
              </a:custGeom>
              <a:solidFill>
                <a:schemeClr val="tx2"/>
              </a:solid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 name="Line 8">
                <a:extLst>
                  <a:ext uri="{FF2B5EF4-FFF2-40B4-BE49-F238E27FC236}">
                    <a16:creationId xmlns:a16="http://schemas.microsoft.com/office/drawing/2014/main" id="{A80E1239-204F-4672-A893-96B9372FCAC7}"/>
                  </a:ext>
                </a:extLst>
              </p:cNvPr>
              <p:cNvSpPr>
                <a:spLocks noChangeShapeType="1"/>
              </p:cNvSpPr>
              <p:nvPr/>
            </p:nvSpPr>
            <p:spPr bwMode="auto">
              <a:xfrm flipV="1">
                <a:off x="2606111" y="1599515"/>
                <a:ext cx="0" cy="446308"/>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 name="Line 9">
                <a:extLst>
                  <a:ext uri="{FF2B5EF4-FFF2-40B4-BE49-F238E27FC236}">
                    <a16:creationId xmlns:a16="http://schemas.microsoft.com/office/drawing/2014/main" id="{722FAEB0-B8BF-4E14-87B0-8E9619024647}"/>
                  </a:ext>
                </a:extLst>
              </p:cNvPr>
              <p:cNvSpPr>
                <a:spLocks noChangeShapeType="1"/>
              </p:cNvSpPr>
              <p:nvPr/>
            </p:nvSpPr>
            <p:spPr bwMode="auto">
              <a:xfrm flipV="1">
                <a:off x="2412222" y="1599515"/>
                <a:ext cx="0" cy="446308"/>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 name="Line 10">
                <a:extLst>
                  <a:ext uri="{FF2B5EF4-FFF2-40B4-BE49-F238E27FC236}">
                    <a16:creationId xmlns:a16="http://schemas.microsoft.com/office/drawing/2014/main" id="{C97FAB8A-3E4D-42A1-AD2F-E849E0E14F7C}"/>
                  </a:ext>
                </a:extLst>
              </p:cNvPr>
              <p:cNvSpPr>
                <a:spLocks noChangeShapeType="1"/>
              </p:cNvSpPr>
              <p:nvPr/>
            </p:nvSpPr>
            <p:spPr bwMode="auto">
              <a:xfrm>
                <a:off x="2196386" y="1599515"/>
                <a:ext cx="0" cy="446308"/>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 name="Line 11">
                <a:extLst>
                  <a:ext uri="{FF2B5EF4-FFF2-40B4-BE49-F238E27FC236}">
                    <a16:creationId xmlns:a16="http://schemas.microsoft.com/office/drawing/2014/main" id="{928880A4-C4B5-43C7-89DA-057CE2724521}"/>
                  </a:ext>
                </a:extLst>
              </p:cNvPr>
              <p:cNvSpPr>
                <a:spLocks noChangeShapeType="1"/>
              </p:cNvSpPr>
              <p:nvPr/>
            </p:nvSpPr>
            <p:spPr bwMode="auto">
              <a:xfrm>
                <a:off x="2302474" y="1778771"/>
                <a:ext cx="0" cy="267054"/>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 name="Freeform 12">
                <a:extLst>
                  <a:ext uri="{FF2B5EF4-FFF2-40B4-BE49-F238E27FC236}">
                    <a16:creationId xmlns:a16="http://schemas.microsoft.com/office/drawing/2014/main" id="{04C4A731-F75A-4DD8-B19D-5F59129A34F6}"/>
                  </a:ext>
                </a:extLst>
              </p:cNvPr>
              <p:cNvSpPr>
                <a:spLocks/>
              </p:cNvSpPr>
              <p:nvPr/>
            </p:nvSpPr>
            <p:spPr bwMode="auto">
              <a:xfrm>
                <a:off x="2445148" y="1244665"/>
                <a:ext cx="142673" cy="179256"/>
              </a:xfrm>
              <a:custGeom>
                <a:avLst/>
                <a:gdLst>
                  <a:gd name="T0" fmla="*/ 16 w 32"/>
                  <a:gd name="T1" fmla="*/ 40 h 40"/>
                  <a:gd name="T2" fmla="*/ 32 w 32"/>
                  <a:gd name="T3" fmla="*/ 24 h 40"/>
                  <a:gd name="T4" fmla="*/ 32 w 32"/>
                  <a:gd name="T5" fmla="*/ 16 h 40"/>
                  <a:gd name="T6" fmla="*/ 16 w 32"/>
                  <a:gd name="T7" fmla="*/ 0 h 40"/>
                  <a:gd name="T8" fmla="*/ 0 w 32"/>
                  <a:gd name="T9" fmla="*/ 16 h 40"/>
                  <a:gd name="T10" fmla="*/ 0 w 32"/>
                  <a:gd name="T11" fmla="*/ 24 h 40"/>
                  <a:gd name="T12" fmla="*/ 16 w 3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16" y="40"/>
                    </a:moveTo>
                    <a:cubicBezTo>
                      <a:pt x="25" y="40"/>
                      <a:pt x="32" y="33"/>
                      <a:pt x="32" y="24"/>
                    </a:cubicBezTo>
                    <a:cubicBezTo>
                      <a:pt x="32" y="16"/>
                      <a:pt x="32" y="16"/>
                      <a:pt x="32" y="16"/>
                    </a:cubicBezTo>
                    <a:cubicBezTo>
                      <a:pt x="32" y="7"/>
                      <a:pt x="25" y="0"/>
                      <a:pt x="16" y="0"/>
                    </a:cubicBezTo>
                    <a:cubicBezTo>
                      <a:pt x="7" y="0"/>
                      <a:pt x="0" y="7"/>
                      <a:pt x="0" y="16"/>
                    </a:cubicBezTo>
                    <a:cubicBezTo>
                      <a:pt x="0" y="24"/>
                      <a:pt x="0" y="24"/>
                      <a:pt x="0" y="24"/>
                    </a:cubicBezTo>
                    <a:cubicBezTo>
                      <a:pt x="0" y="33"/>
                      <a:pt x="7" y="40"/>
                      <a:pt x="16" y="40"/>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 name="Freeform 13">
                <a:extLst>
                  <a:ext uri="{FF2B5EF4-FFF2-40B4-BE49-F238E27FC236}">
                    <a16:creationId xmlns:a16="http://schemas.microsoft.com/office/drawing/2014/main" id="{D52B166F-3485-4AEC-A086-38221F3B234F}"/>
                  </a:ext>
                </a:extLst>
              </p:cNvPr>
              <p:cNvSpPr>
                <a:spLocks/>
              </p:cNvSpPr>
              <p:nvPr/>
            </p:nvSpPr>
            <p:spPr bwMode="auto">
              <a:xfrm>
                <a:off x="2697567" y="1475135"/>
                <a:ext cx="193889" cy="321927"/>
              </a:xfrm>
              <a:custGeom>
                <a:avLst/>
                <a:gdLst>
                  <a:gd name="T0" fmla="*/ 28 w 44"/>
                  <a:gd name="T1" fmla="*/ 72 h 72"/>
                  <a:gd name="T2" fmla="*/ 44 w 44"/>
                  <a:gd name="T3" fmla="*/ 60 h 72"/>
                  <a:gd name="T4" fmla="*/ 44 w 44"/>
                  <a:gd name="T5" fmla="*/ 20 h 72"/>
                  <a:gd name="T6" fmla="*/ 8 w 44"/>
                  <a:gd name="T7" fmla="*/ 0 h 72"/>
                  <a:gd name="T8" fmla="*/ 0 w 44"/>
                  <a:gd name="T9" fmla="*/ 0 h 72"/>
                </a:gdLst>
                <a:ahLst/>
                <a:cxnLst>
                  <a:cxn ang="0">
                    <a:pos x="T0" y="T1"/>
                  </a:cxn>
                  <a:cxn ang="0">
                    <a:pos x="T2" y="T3"/>
                  </a:cxn>
                  <a:cxn ang="0">
                    <a:pos x="T4" y="T5"/>
                  </a:cxn>
                  <a:cxn ang="0">
                    <a:pos x="T6" y="T7"/>
                  </a:cxn>
                  <a:cxn ang="0">
                    <a:pos x="T8" y="T9"/>
                  </a:cxn>
                </a:cxnLst>
                <a:rect l="0" t="0" r="r" b="b"/>
                <a:pathLst>
                  <a:path w="44" h="72">
                    <a:moveTo>
                      <a:pt x="28" y="72"/>
                    </a:moveTo>
                    <a:cubicBezTo>
                      <a:pt x="36" y="72"/>
                      <a:pt x="44" y="68"/>
                      <a:pt x="44" y="60"/>
                    </a:cubicBezTo>
                    <a:cubicBezTo>
                      <a:pt x="44" y="20"/>
                      <a:pt x="44" y="20"/>
                      <a:pt x="44" y="20"/>
                    </a:cubicBezTo>
                    <a:cubicBezTo>
                      <a:pt x="44" y="7"/>
                      <a:pt x="21" y="0"/>
                      <a:pt x="8" y="0"/>
                    </a:cubicBezTo>
                    <a:cubicBezTo>
                      <a:pt x="7" y="0"/>
                      <a:pt x="0" y="0"/>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 name="Line 14">
                <a:extLst>
                  <a:ext uri="{FF2B5EF4-FFF2-40B4-BE49-F238E27FC236}">
                    <a16:creationId xmlns:a16="http://schemas.microsoft.com/office/drawing/2014/main" id="{6C73F25A-D720-4B19-AD5F-EC09560943B3}"/>
                  </a:ext>
                </a:extLst>
              </p:cNvPr>
              <p:cNvSpPr>
                <a:spLocks noChangeShapeType="1"/>
              </p:cNvSpPr>
              <p:nvPr/>
            </p:nvSpPr>
            <p:spPr bwMode="auto">
              <a:xfrm flipV="1">
                <a:off x="2821947" y="1599515"/>
                <a:ext cx="0" cy="446308"/>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 name="Freeform 15">
                <a:extLst>
                  <a:ext uri="{FF2B5EF4-FFF2-40B4-BE49-F238E27FC236}">
                    <a16:creationId xmlns:a16="http://schemas.microsoft.com/office/drawing/2014/main" id="{FE59B419-399C-4754-AEA4-60DF4F546C3D}"/>
                  </a:ext>
                </a:extLst>
              </p:cNvPr>
              <p:cNvSpPr>
                <a:spLocks/>
              </p:cNvSpPr>
              <p:nvPr/>
            </p:nvSpPr>
            <p:spPr bwMode="auto">
              <a:xfrm>
                <a:off x="2660984" y="1244665"/>
                <a:ext cx="142673" cy="179256"/>
              </a:xfrm>
              <a:custGeom>
                <a:avLst/>
                <a:gdLst>
                  <a:gd name="T0" fmla="*/ 16 w 32"/>
                  <a:gd name="T1" fmla="*/ 40 h 40"/>
                  <a:gd name="T2" fmla="*/ 32 w 32"/>
                  <a:gd name="T3" fmla="*/ 24 h 40"/>
                  <a:gd name="T4" fmla="*/ 32 w 32"/>
                  <a:gd name="T5" fmla="*/ 16 h 40"/>
                  <a:gd name="T6" fmla="*/ 16 w 32"/>
                  <a:gd name="T7" fmla="*/ 0 h 40"/>
                  <a:gd name="T8" fmla="*/ 0 w 32"/>
                  <a:gd name="T9" fmla="*/ 16 h 40"/>
                  <a:gd name="T10" fmla="*/ 0 w 32"/>
                  <a:gd name="T11" fmla="*/ 24 h 40"/>
                  <a:gd name="T12" fmla="*/ 16 w 3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16" y="40"/>
                    </a:moveTo>
                    <a:cubicBezTo>
                      <a:pt x="25" y="40"/>
                      <a:pt x="32" y="33"/>
                      <a:pt x="32" y="24"/>
                    </a:cubicBezTo>
                    <a:cubicBezTo>
                      <a:pt x="32" y="16"/>
                      <a:pt x="32" y="16"/>
                      <a:pt x="32" y="16"/>
                    </a:cubicBezTo>
                    <a:cubicBezTo>
                      <a:pt x="32" y="7"/>
                      <a:pt x="25" y="0"/>
                      <a:pt x="16" y="0"/>
                    </a:cubicBezTo>
                    <a:cubicBezTo>
                      <a:pt x="7" y="0"/>
                      <a:pt x="0" y="7"/>
                      <a:pt x="0" y="16"/>
                    </a:cubicBezTo>
                    <a:cubicBezTo>
                      <a:pt x="0" y="24"/>
                      <a:pt x="0" y="24"/>
                      <a:pt x="0" y="24"/>
                    </a:cubicBezTo>
                    <a:cubicBezTo>
                      <a:pt x="0" y="33"/>
                      <a:pt x="7" y="40"/>
                      <a:pt x="16" y="40"/>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grpSp>
      </p:grpSp>
      <p:sp>
        <p:nvSpPr>
          <p:cNvPr id="78" name="Rectangle 77">
            <a:extLst>
              <a:ext uri="{FF2B5EF4-FFF2-40B4-BE49-F238E27FC236}">
                <a16:creationId xmlns:a16="http://schemas.microsoft.com/office/drawing/2014/main" id="{2D9B43E4-0534-4167-829A-CE4A9E7182E5}"/>
              </a:ext>
            </a:extLst>
          </p:cNvPr>
          <p:cNvSpPr/>
          <p:nvPr/>
        </p:nvSpPr>
        <p:spPr>
          <a:xfrm>
            <a:off x="4274997" y="4363615"/>
            <a:ext cx="1112476" cy="414398"/>
          </a:xfrm>
          <a:prstGeom prst="rect">
            <a:avLst/>
          </a:prstGeom>
          <a:solidFill>
            <a:srgbClr val="FFE600"/>
          </a:solidFill>
          <a:ln w="12700" cap="sq" cmpd="sng" algn="ctr">
            <a:noFill/>
            <a:prstDash val="solid"/>
            <a:miter lim="800000"/>
          </a:ln>
          <a:effectLst/>
        </p:spPr>
        <p:txBody>
          <a:bodyPr rot="0" spcFirstLastPara="0" vertOverflow="overflow" horzOverflow="overflow" vert="horz" wrap="square" lIns="61200" tIns="61200" rIns="61200" bIns="61200" numCol="1" spcCol="0" rtlCol="0" fromWordArt="0" anchor="ctr" anchorCtr="0" forceAA="0" compatLnSpc="1">
            <a:prstTxWarp prst="textNoShape">
              <a:avLst/>
            </a:prstTxWarp>
            <a:noAutofit/>
          </a:bodyPr>
          <a:lstStyle/>
          <a:p>
            <a:pPr marL="0" marR="0" lvl="0" indent="0" algn="ctr" defTabSz="913241" eaLnBrk="1" fontAlgn="base" latinLnBrk="0" hangingPunct="1">
              <a:lnSpc>
                <a:spcPct val="100000"/>
              </a:lnSpc>
              <a:spcBef>
                <a:spcPts val="0"/>
              </a:spcBef>
              <a:spcAft>
                <a:spcPts val="600"/>
              </a:spcAft>
              <a:buClr>
                <a:srgbClr val="FFE600"/>
              </a:buClr>
              <a:buSzPct val="80000"/>
              <a:buFontTx/>
              <a:buNone/>
              <a:tabLst/>
              <a:defRPr/>
            </a:pPr>
            <a:r>
              <a:rPr kumimoji="0" lang="en-IE" sz="800" b="0" i="0" u="none" strike="noStrike" kern="0" cap="none" spc="0" normalizeH="0" baseline="0" noProof="1">
                <a:ln>
                  <a:noFill/>
                </a:ln>
                <a:solidFill>
                  <a:srgbClr val="000000"/>
                </a:solidFill>
                <a:effectLst/>
                <a:uLnTx/>
                <a:uFillTx/>
                <a:latin typeface="Calibri" panose="020F0502020204030204" pitchFamily="34" charset="0"/>
                <a:cs typeface="Calibri" panose="020F0502020204030204" pitchFamily="34" charset="0"/>
              </a:rPr>
              <a:t>Internal Escalation (EY SMR)</a:t>
            </a:r>
          </a:p>
        </p:txBody>
      </p:sp>
      <p:cxnSp>
        <p:nvCxnSpPr>
          <p:cNvPr id="79" name="Connector: Elbow 78">
            <a:extLst>
              <a:ext uri="{FF2B5EF4-FFF2-40B4-BE49-F238E27FC236}">
                <a16:creationId xmlns:a16="http://schemas.microsoft.com/office/drawing/2014/main" id="{88CA0923-EE03-4BCB-98B3-5E78E08A2AD8}"/>
              </a:ext>
            </a:extLst>
          </p:cNvPr>
          <p:cNvCxnSpPr>
            <a:cxnSpLocks/>
            <a:stCxn id="44" idx="3"/>
            <a:endCxn id="78" idx="1"/>
          </p:cNvCxnSpPr>
          <p:nvPr/>
        </p:nvCxnSpPr>
        <p:spPr>
          <a:xfrm>
            <a:off x="3878001" y="4570582"/>
            <a:ext cx="396996" cy="232"/>
          </a:xfrm>
          <a:prstGeom prst="bentConnector3">
            <a:avLst>
              <a:gd name="adj1" fmla="val 50000"/>
            </a:avLst>
          </a:prstGeom>
          <a:noFill/>
          <a:ln w="6350" cap="sq" cmpd="sng" algn="ctr">
            <a:solidFill>
              <a:schemeClr val="bg1"/>
            </a:solidFill>
            <a:prstDash val="sysDash"/>
            <a:miter lim="800000"/>
            <a:headEnd type="none" w="med" len="med"/>
            <a:tailEnd type="triangle"/>
          </a:ln>
          <a:effectLst/>
        </p:spPr>
      </p:cxnSp>
      <p:sp>
        <p:nvSpPr>
          <p:cNvPr id="60" name="TextBox 2">
            <a:extLst>
              <a:ext uri="{FF2B5EF4-FFF2-40B4-BE49-F238E27FC236}">
                <a16:creationId xmlns:a16="http://schemas.microsoft.com/office/drawing/2014/main" id="{85C595CB-B3CF-4012-97C8-BDD8873FA274}"/>
              </a:ext>
            </a:extLst>
          </p:cNvPr>
          <p:cNvSpPr txBox="1"/>
          <p:nvPr/>
        </p:nvSpPr>
        <p:spPr>
          <a:xfrm>
            <a:off x="5082491" y="1393227"/>
            <a:ext cx="6733944" cy="1421975"/>
          </a:xfrm>
          <a:prstGeom prst="rect">
            <a:avLst/>
          </a:prstGeom>
          <a:noFill/>
          <a:ln w="12700" cap="sq">
            <a:solidFill>
              <a:schemeClr val="bg1"/>
            </a:solidFill>
            <a:miter lim="800000"/>
          </a:ln>
        </p:spPr>
        <p:txBody>
          <a:bodyPr wrap="square" lIns="61168" tIns="36557"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6235" marR="0" lvl="0" indent="-356235"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GB"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n onshore dedicated support team within Ireland; with named personnel familiar and known to St. James's Hospital.</a:t>
            </a:r>
          </a:p>
          <a:p>
            <a:pPr marL="356235" marR="0" lvl="0" indent="-356235"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GB"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Daily Support coverage on a dedicated hotline/helpdesk manned from 9 AM to 5 PM </a:t>
            </a:r>
            <a:r>
              <a:rPr lang="en-GB" sz="1050" kern="0">
                <a:solidFill>
                  <a:schemeClr val="bg2">
                    <a:lumMod val="65000"/>
                    <a:lumOff val="35000"/>
                  </a:schemeClr>
                </a:solidFill>
                <a:latin typeface="Calibri" panose="020F0502020204030204" pitchFamily="34" charset="0"/>
                <a:cs typeface="Calibri" panose="020F0502020204030204" pitchFamily="34" charset="0"/>
              </a:rPr>
              <a:t>(Ireland Time) </a:t>
            </a:r>
            <a:r>
              <a:rPr kumimoji="0" lang="en-GB" sz="105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Monday to Friday</a:t>
            </a:r>
          </a:p>
          <a:p>
            <a:pPr marL="356235" marR="0" lvl="0" indent="-356235"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GB" sz="1050" b="0" i="0" u="none" strike="noStrike" kern="120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We </a:t>
            </a:r>
            <a:r>
              <a:rPr lang="en-GB" sz="1050">
                <a:solidFill>
                  <a:schemeClr val="bg2">
                    <a:lumMod val="65000"/>
                    <a:lumOff val="35000"/>
                  </a:schemeClr>
                </a:solidFill>
                <a:latin typeface="Calibri" panose="020F0502020204030204" pitchFamily="34" charset="0"/>
                <a:cs typeface="Calibri" panose="020F0502020204030204" pitchFamily="34" charset="0"/>
              </a:rPr>
              <a:t>are happy to facilitate </a:t>
            </a:r>
            <a:r>
              <a:rPr kumimoji="0" lang="en-GB" sz="1050" b="0" i="0" u="none" strike="noStrike" kern="120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ncidents, Problems, and Change Management through your ITSM Tools and Processes.</a:t>
            </a:r>
            <a:endParaRPr lang="en-GB" sz="1050" b="0" i="0" u="none" strike="noStrike" kern="120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a:p>
            <a:pPr marL="356235" marR="0" lvl="0" indent="-356235"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GB" sz="1050" b="0" i="0" u="none" strike="noStrike" kern="120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EY Service Delivery Manager.</a:t>
            </a:r>
          </a:p>
          <a:p>
            <a:pPr marL="356235" marR="0" lvl="0" indent="-356235"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lang="en-GB" sz="1050">
                <a:solidFill>
                  <a:schemeClr val="bg2">
                    <a:lumMod val="65000"/>
                    <a:lumOff val="35000"/>
                  </a:schemeClr>
                </a:solidFill>
                <a:latin typeface="Calibri" panose="020F0502020204030204" pitchFamily="34" charset="0"/>
                <a:cs typeface="Calibri" panose="020F0502020204030204" pitchFamily="34" charset="0"/>
              </a:rPr>
              <a:t>Essential maintenance for the Cloud Storage Technology solution across Production and Non-Production environments</a:t>
            </a:r>
          </a:p>
          <a:p>
            <a:pPr marL="356235" marR="0" lvl="0" indent="-35623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GB" sz="1100" b="0" i="0" u="none" strike="noStrike" kern="120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16007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a:xfrm>
            <a:off x="609600" y="618696"/>
            <a:ext cx="10974388" cy="523983"/>
          </a:xfrm>
        </p:spPr>
        <p:txBody>
          <a:bodyPr/>
          <a:lstStyle/>
          <a:p>
            <a:r>
              <a:rPr lang="en-IN">
                <a:latin typeface="Calibri" panose="020F0502020204030204" pitchFamily="34" charset="0"/>
                <a:cs typeface="Calibri" panose="020F0502020204030204" pitchFamily="34" charset="0"/>
              </a:rPr>
              <a:t>E.6 – </a:t>
            </a:r>
            <a:r>
              <a:rPr lang="en-IE">
                <a:latin typeface="Calibri" panose="020F0502020204030204" pitchFamily="34" charset="0"/>
                <a:cs typeface="Calibri" panose="020F0502020204030204" pitchFamily="34" charset="0"/>
              </a:rPr>
              <a:t>EY Managed Service – Transition Quality</a:t>
            </a:r>
          </a:p>
        </p:txBody>
      </p:sp>
      <p:sp>
        <p:nvSpPr>
          <p:cNvPr id="111" name="Content Placeholder 1">
            <a:extLst>
              <a:ext uri="{FF2B5EF4-FFF2-40B4-BE49-F238E27FC236}">
                <a16:creationId xmlns:a16="http://schemas.microsoft.com/office/drawing/2014/main" id="{5DDDBC40-9B8E-4D6C-AD2B-E197B2F5FFB4}"/>
              </a:ext>
            </a:extLst>
          </p:cNvPr>
          <p:cNvSpPr>
            <a:spLocks noGrp="1"/>
          </p:cNvSpPr>
          <p:nvPr>
            <p:ph idx="1"/>
          </p:nvPr>
        </p:nvSpPr>
        <p:spPr>
          <a:xfrm>
            <a:off x="609600" y="1290890"/>
            <a:ext cx="10974284" cy="4608000"/>
          </a:xfrm>
        </p:spPr>
        <p:txBody>
          <a:bodyPr/>
          <a:lstStyle/>
          <a:p>
            <a:r>
              <a:rPr lang="en-IE" sz="1100">
                <a:latin typeface="Calibri" panose="020F0502020204030204" pitchFamily="34" charset="0"/>
                <a:cs typeface="Calibri" panose="020F0502020204030204" pitchFamily="34" charset="0"/>
              </a:rPr>
              <a:t>EY’s five-stage approach to equipping our EY Managed Service team is closely managed, with exit criteria defined at each stage to drive quality across the process </a:t>
            </a:r>
          </a:p>
          <a:p>
            <a:endParaRPr lang="en-IE" sz="1100">
              <a:latin typeface="Calibri" panose="020F0502020204030204" pitchFamily="34" charset="0"/>
              <a:cs typeface="Calibri" panose="020F0502020204030204" pitchFamily="34" charset="0"/>
            </a:endParaRPr>
          </a:p>
        </p:txBody>
      </p:sp>
      <p:sp>
        <p:nvSpPr>
          <p:cNvPr id="112" name="Rectangle 2">
            <a:extLst>
              <a:ext uri="{FF2B5EF4-FFF2-40B4-BE49-F238E27FC236}">
                <a16:creationId xmlns:a16="http://schemas.microsoft.com/office/drawing/2014/main" id="{B317464D-D903-4435-BF9C-CE1964C93647}"/>
              </a:ext>
            </a:extLst>
          </p:cNvPr>
          <p:cNvSpPr>
            <a:spLocks noChangeArrowheads="1"/>
          </p:cNvSpPr>
          <p:nvPr/>
        </p:nvSpPr>
        <p:spPr bwMode="auto">
          <a:xfrm>
            <a:off x="1202176" y="1600558"/>
            <a:ext cx="10589774" cy="4591170"/>
          </a:xfrm>
          <a:prstGeom prst="rect">
            <a:avLst/>
          </a:prstGeom>
          <a:solidFill>
            <a:srgbClr val="C4C4CD"/>
          </a:solidFill>
          <a:ln w="9525">
            <a:noFill/>
            <a:miter lim="800000"/>
            <a:headEnd/>
            <a:tailEnd/>
          </a:ln>
        </p:spPr>
        <p:txBody>
          <a:bodyPr wrap="none" lIns="114941" tIns="57471" rIns="114941" bIns="57471" anchor="ctr"/>
          <a:lstStyle/>
          <a:p>
            <a:pPr marL="0" marR="0" lvl="0" indent="0" algn="ctr" defTabSz="1007852" rtl="0" eaLnBrk="1" fontAlgn="auto" latinLnBrk="0" hangingPunct="1">
              <a:lnSpc>
                <a:spcPct val="100000"/>
              </a:lnSpc>
              <a:spcBef>
                <a:spcPts val="0"/>
              </a:spcBef>
              <a:spcAft>
                <a:spcPts val="0"/>
              </a:spcAft>
              <a:buClrTx/>
              <a:buSzTx/>
              <a:buFontTx/>
              <a:buNone/>
              <a:tabLst/>
              <a:defRPr/>
            </a:pPr>
            <a:endParaRPr kumimoji="0" lang="en-GB"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13" name="Line 26">
            <a:extLst>
              <a:ext uri="{FF2B5EF4-FFF2-40B4-BE49-F238E27FC236}">
                <a16:creationId xmlns:a16="http://schemas.microsoft.com/office/drawing/2014/main" id="{98424209-E8DE-4336-A6AC-6BF5F815331F}"/>
              </a:ext>
            </a:extLst>
          </p:cNvPr>
          <p:cNvSpPr>
            <a:spLocks noChangeAspect="1" noChangeShapeType="1"/>
          </p:cNvSpPr>
          <p:nvPr/>
        </p:nvSpPr>
        <p:spPr bwMode="auto">
          <a:xfrm>
            <a:off x="3290950" y="1776341"/>
            <a:ext cx="0" cy="4239692"/>
          </a:xfrm>
          <a:prstGeom prst="line">
            <a:avLst/>
          </a:prstGeom>
          <a:noFill/>
          <a:ln w="9525">
            <a:solidFill>
              <a:srgbClr val="646464"/>
            </a:solidFill>
            <a:prstDash val="dash"/>
            <a:round/>
            <a:headEnd/>
            <a:tailEnd/>
          </a:ln>
        </p:spPr>
        <p:txBody>
          <a:bodyPr lIns="114941" tIns="57471" rIns="114941" bIns="57471"/>
          <a:lstStyle/>
          <a:p>
            <a:pPr marL="0" marR="0" lvl="0" indent="0" algn="l" defTabSz="1007852" rtl="0" eaLnBrk="1" fontAlgn="auto" latinLnBrk="0" hangingPunct="1">
              <a:lnSpc>
                <a:spcPct val="100000"/>
              </a:lnSpc>
              <a:spcBef>
                <a:spcPts val="0"/>
              </a:spcBef>
              <a:spcAft>
                <a:spcPts val="0"/>
              </a:spcAft>
              <a:buClrTx/>
              <a:buSzTx/>
              <a:buFontTx/>
              <a:buNone/>
              <a:tabLst/>
              <a:defRPr/>
            </a:pPr>
            <a:endPar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14" name="Rectangle 113">
            <a:extLst>
              <a:ext uri="{FF2B5EF4-FFF2-40B4-BE49-F238E27FC236}">
                <a16:creationId xmlns:a16="http://schemas.microsoft.com/office/drawing/2014/main" id="{F96894A2-1E69-4325-9D2E-EFFF65C19CF9}"/>
              </a:ext>
            </a:extLst>
          </p:cNvPr>
          <p:cNvSpPr>
            <a:spLocks noChangeAspect="1" noChangeArrowheads="1"/>
          </p:cNvSpPr>
          <p:nvPr/>
        </p:nvSpPr>
        <p:spPr bwMode="auto">
          <a:xfrm>
            <a:off x="1550461" y="1672056"/>
            <a:ext cx="1368134" cy="182277"/>
          </a:xfrm>
          <a:prstGeom prst="rect">
            <a:avLst/>
          </a:prstGeom>
          <a:noFill/>
          <a:ln w="9525">
            <a:noFill/>
            <a:miter lim="800000"/>
            <a:headEnd/>
            <a:tailEnd/>
          </a:ln>
        </p:spPr>
        <p:txBody>
          <a:bodyPr lIns="0" tIns="0" rIns="0" bIns="0">
            <a:no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sz="1102"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lanning</a:t>
            </a:r>
          </a:p>
        </p:txBody>
      </p:sp>
      <p:sp>
        <p:nvSpPr>
          <p:cNvPr id="115" name="Rectangle 114">
            <a:extLst>
              <a:ext uri="{FF2B5EF4-FFF2-40B4-BE49-F238E27FC236}">
                <a16:creationId xmlns:a16="http://schemas.microsoft.com/office/drawing/2014/main" id="{B5E73087-9C98-4678-8DCA-E0E10835647A}"/>
              </a:ext>
            </a:extLst>
          </p:cNvPr>
          <p:cNvSpPr>
            <a:spLocks noChangeAspect="1" noChangeArrowheads="1"/>
          </p:cNvSpPr>
          <p:nvPr/>
        </p:nvSpPr>
        <p:spPr bwMode="auto">
          <a:xfrm>
            <a:off x="10049480" y="1672056"/>
            <a:ext cx="1532919" cy="169598"/>
          </a:xfrm>
          <a:prstGeom prst="rect">
            <a:avLst/>
          </a:prstGeom>
          <a:noFill/>
          <a:ln w="9525">
            <a:noFill/>
            <a:miter lim="800000"/>
            <a:headEnd/>
            <a:tailEnd/>
          </a:ln>
        </p:spPr>
        <p:txBody>
          <a:bodyPr wrap="square" lIns="0" tIns="0" rIns="0" bIns="0">
            <a:sp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sz="1102"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teady state</a:t>
            </a:r>
          </a:p>
        </p:txBody>
      </p:sp>
      <p:sp>
        <p:nvSpPr>
          <p:cNvPr id="116" name="Rectangle 115">
            <a:extLst>
              <a:ext uri="{FF2B5EF4-FFF2-40B4-BE49-F238E27FC236}">
                <a16:creationId xmlns:a16="http://schemas.microsoft.com/office/drawing/2014/main" id="{30E115A0-EF3A-4ECE-81DC-09C0DC2CC94D}"/>
              </a:ext>
            </a:extLst>
          </p:cNvPr>
          <p:cNvSpPr>
            <a:spLocks noChangeAspect="1" noChangeArrowheads="1"/>
          </p:cNvSpPr>
          <p:nvPr/>
        </p:nvSpPr>
        <p:spPr bwMode="auto">
          <a:xfrm>
            <a:off x="5902878" y="1672056"/>
            <a:ext cx="1878414" cy="316487"/>
          </a:xfrm>
          <a:prstGeom prst="rect">
            <a:avLst/>
          </a:prstGeom>
          <a:noFill/>
          <a:ln w="9525">
            <a:noFill/>
            <a:miter lim="800000"/>
            <a:headEnd/>
            <a:tailEnd/>
          </a:ln>
        </p:spPr>
        <p:txBody>
          <a:bodyPr wrap="square" lIns="0" tIns="0" rIns="0" bIns="0">
            <a:noAutofit/>
          </a:bodyPr>
          <a:lstStyle/>
          <a:p>
            <a:pPr marL="0" marR="0" lvl="0" indent="0" algn="ctr" defTabSz="1007852" rtl="0" eaLnBrk="1" fontAlgn="auto" latinLnBrk="0" hangingPunct="1">
              <a:lnSpc>
                <a:spcPct val="90000"/>
              </a:lnSpc>
              <a:spcBef>
                <a:spcPts val="0"/>
              </a:spcBef>
              <a:spcAft>
                <a:spcPts val="0"/>
              </a:spcAft>
              <a:buClrTx/>
              <a:buSzTx/>
              <a:buFontTx/>
              <a:buNone/>
              <a:tabLst/>
              <a:defRPr/>
            </a:pPr>
            <a:r>
              <a:rPr kumimoji="0" lang="en-AU" sz="1102"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Job Shadow</a:t>
            </a:r>
          </a:p>
        </p:txBody>
      </p:sp>
      <p:sp>
        <p:nvSpPr>
          <p:cNvPr id="117" name="Rectangle 116">
            <a:extLst>
              <a:ext uri="{FF2B5EF4-FFF2-40B4-BE49-F238E27FC236}">
                <a16:creationId xmlns:a16="http://schemas.microsoft.com/office/drawing/2014/main" id="{08D771D4-C251-44CB-AA43-88557D98CA48}"/>
              </a:ext>
            </a:extLst>
          </p:cNvPr>
          <p:cNvSpPr>
            <a:spLocks noChangeAspect="1" noChangeArrowheads="1"/>
          </p:cNvSpPr>
          <p:nvPr/>
        </p:nvSpPr>
        <p:spPr bwMode="auto">
          <a:xfrm>
            <a:off x="3133418" y="1672056"/>
            <a:ext cx="2821318" cy="182277"/>
          </a:xfrm>
          <a:prstGeom prst="rect">
            <a:avLst/>
          </a:prstGeom>
          <a:noFill/>
          <a:ln w="9525">
            <a:noFill/>
            <a:miter lim="800000"/>
            <a:headEnd/>
            <a:tailEnd/>
          </a:ln>
        </p:spPr>
        <p:txBody>
          <a:bodyPr lIns="0" tIns="0" rIns="0" bIns="0">
            <a:no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sz="1102"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Knowledge transfer</a:t>
            </a:r>
          </a:p>
        </p:txBody>
      </p:sp>
      <p:sp>
        <p:nvSpPr>
          <p:cNvPr id="118" name="Line 27">
            <a:extLst>
              <a:ext uri="{FF2B5EF4-FFF2-40B4-BE49-F238E27FC236}">
                <a16:creationId xmlns:a16="http://schemas.microsoft.com/office/drawing/2014/main" id="{10928C69-FA62-4ECA-849F-CCDBE0153AB9}"/>
              </a:ext>
            </a:extLst>
          </p:cNvPr>
          <p:cNvSpPr>
            <a:spLocks noChangeAspect="1" noChangeShapeType="1"/>
          </p:cNvSpPr>
          <p:nvPr/>
        </p:nvSpPr>
        <p:spPr bwMode="auto">
          <a:xfrm>
            <a:off x="5776122" y="1776341"/>
            <a:ext cx="0" cy="4239692"/>
          </a:xfrm>
          <a:prstGeom prst="line">
            <a:avLst/>
          </a:prstGeom>
          <a:noFill/>
          <a:ln w="9525">
            <a:solidFill>
              <a:srgbClr val="646464"/>
            </a:solidFill>
            <a:prstDash val="dash"/>
            <a:round/>
            <a:headEnd/>
            <a:tailEnd/>
          </a:ln>
        </p:spPr>
        <p:txBody>
          <a:bodyPr lIns="114941" tIns="57471" rIns="114941" bIns="57471"/>
          <a:lstStyle/>
          <a:p>
            <a:pPr marL="0" marR="0" lvl="0" indent="0" algn="l" defTabSz="1007852" rtl="0" eaLnBrk="1" fontAlgn="auto" latinLnBrk="0" hangingPunct="1">
              <a:lnSpc>
                <a:spcPct val="100000"/>
              </a:lnSpc>
              <a:spcBef>
                <a:spcPts val="0"/>
              </a:spcBef>
              <a:spcAft>
                <a:spcPts val="0"/>
              </a:spcAft>
              <a:buClrTx/>
              <a:buSzTx/>
              <a:buFontTx/>
              <a:buNone/>
              <a:tabLst/>
              <a:defRPr/>
            </a:pPr>
            <a:endPar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19" name="Line 31">
            <a:extLst>
              <a:ext uri="{FF2B5EF4-FFF2-40B4-BE49-F238E27FC236}">
                <a16:creationId xmlns:a16="http://schemas.microsoft.com/office/drawing/2014/main" id="{44D53EC4-EA07-406D-8AE9-39E6E3F741EC}"/>
              </a:ext>
            </a:extLst>
          </p:cNvPr>
          <p:cNvSpPr>
            <a:spLocks noChangeAspect="1" noChangeShapeType="1"/>
          </p:cNvSpPr>
          <p:nvPr/>
        </p:nvSpPr>
        <p:spPr bwMode="auto">
          <a:xfrm>
            <a:off x="10026816" y="1776341"/>
            <a:ext cx="0" cy="4239692"/>
          </a:xfrm>
          <a:prstGeom prst="line">
            <a:avLst/>
          </a:prstGeom>
          <a:noFill/>
          <a:ln w="9525">
            <a:solidFill>
              <a:srgbClr val="646464"/>
            </a:solidFill>
            <a:prstDash val="dash"/>
            <a:round/>
            <a:headEnd/>
            <a:tailEnd/>
          </a:ln>
        </p:spPr>
        <p:txBody>
          <a:bodyPr lIns="114941" tIns="57471" rIns="114941" bIns="57471"/>
          <a:lstStyle/>
          <a:p>
            <a:pPr marL="0" marR="0" lvl="0" indent="0" algn="l" defTabSz="1007852" rtl="0" eaLnBrk="1" fontAlgn="auto" latinLnBrk="0" hangingPunct="1">
              <a:lnSpc>
                <a:spcPct val="100000"/>
              </a:lnSpc>
              <a:spcBef>
                <a:spcPts val="0"/>
              </a:spcBef>
              <a:spcAft>
                <a:spcPts val="0"/>
              </a:spcAft>
              <a:buClrTx/>
              <a:buSzTx/>
              <a:buFontTx/>
              <a:buNone/>
              <a:tabLst/>
              <a:defRPr/>
            </a:pPr>
            <a:endPar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20" name="Line 35">
            <a:extLst>
              <a:ext uri="{FF2B5EF4-FFF2-40B4-BE49-F238E27FC236}">
                <a16:creationId xmlns:a16="http://schemas.microsoft.com/office/drawing/2014/main" id="{7636FBD1-134C-48C1-934C-DD3AD45C04EE}"/>
              </a:ext>
            </a:extLst>
          </p:cNvPr>
          <p:cNvSpPr>
            <a:spLocks noChangeAspect="1" noChangeShapeType="1"/>
          </p:cNvSpPr>
          <p:nvPr/>
        </p:nvSpPr>
        <p:spPr bwMode="auto">
          <a:xfrm>
            <a:off x="7856071" y="1776341"/>
            <a:ext cx="0" cy="4239692"/>
          </a:xfrm>
          <a:prstGeom prst="line">
            <a:avLst/>
          </a:prstGeom>
          <a:noFill/>
          <a:ln w="9525">
            <a:solidFill>
              <a:srgbClr val="646464"/>
            </a:solidFill>
            <a:prstDash val="dash"/>
            <a:round/>
            <a:headEnd/>
            <a:tailEnd/>
          </a:ln>
        </p:spPr>
        <p:txBody>
          <a:bodyPr lIns="114941" tIns="57471" rIns="114941" bIns="57471"/>
          <a:lstStyle/>
          <a:p>
            <a:pPr marL="0" marR="0" lvl="0" indent="0" algn="l" defTabSz="1007852" rtl="0" eaLnBrk="1" fontAlgn="auto" latinLnBrk="0" hangingPunct="1">
              <a:lnSpc>
                <a:spcPct val="100000"/>
              </a:lnSpc>
              <a:spcBef>
                <a:spcPts val="0"/>
              </a:spcBef>
              <a:spcAft>
                <a:spcPts val="0"/>
              </a:spcAft>
              <a:buClrTx/>
              <a:buSzTx/>
              <a:buFontTx/>
              <a:buNone/>
              <a:tabLst/>
              <a:defRPr/>
            </a:pPr>
            <a:endPar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21" name="Text Box 37">
            <a:extLst>
              <a:ext uri="{FF2B5EF4-FFF2-40B4-BE49-F238E27FC236}">
                <a16:creationId xmlns:a16="http://schemas.microsoft.com/office/drawing/2014/main" id="{8A54A23C-6EAE-4B7B-8160-DD8856D5F382}"/>
              </a:ext>
            </a:extLst>
          </p:cNvPr>
          <p:cNvSpPr txBox="1">
            <a:spLocks noChangeAspect="1" noChangeArrowheads="1"/>
          </p:cNvSpPr>
          <p:nvPr/>
        </p:nvSpPr>
        <p:spPr bwMode="auto">
          <a:xfrm>
            <a:off x="1301148" y="1920347"/>
            <a:ext cx="1890000" cy="2034020"/>
          </a:xfrm>
          <a:prstGeom prst="rect">
            <a:avLst/>
          </a:prstGeom>
          <a:solidFill>
            <a:schemeClr val="tx1"/>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AU"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cope Validation</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AU"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Governance Set up &amp; tool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dentify detailed transition requirement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Perform gap assessment</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err="1">
                <a:ln>
                  <a:noFill/>
                </a:ln>
                <a:solidFill>
                  <a:schemeClr val="bg2">
                    <a:lumMod val="65000"/>
                    <a:lumOff val="35000"/>
                  </a:schemeClr>
                </a:solidFill>
                <a:effectLst/>
                <a:uLnTx/>
                <a:uFillTx/>
                <a:latin typeface="Calibri" panose="020F0502020204030204" pitchFamily="34" charset="0"/>
                <a:cs typeface="Calibri" panose="020F0502020204030204" pitchFamily="34" charset="0"/>
              </a:rPr>
              <a:t>Finalise</a:t>
            </a: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 transition checklist</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Develop Detailed Transition Management Plan</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taff ramp-up, recruitment</a:t>
            </a:r>
            <a:endParaRPr kumimoji="0" lang="en-AU"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p:txBody>
      </p:sp>
      <p:sp>
        <p:nvSpPr>
          <p:cNvPr id="122" name="Text Box 38">
            <a:extLst>
              <a:ext uri="{FF2B5EF4-FFF2-40B4-BE49-F238E27FC236}">
                <a16:creationId xmlns:a16="http://schemas.microsoft.com/office/drawing/2014/main" id="{710E8CDF-D624-4E80-AE64-0EB3AE0E63BF}"/>
              </a:ext>
            </a:extLst>
          </p:cNvPr>
          <p:cNvSpPr txBox="1">
            <a:spLocks noChangeAspect="1" noChangeArrowheads="1"/>
          </p:cNvSpPr>
          <p:nvPr/>
        </p:nvSpPr>
        <p:spPr bwMode="auto">
          <a:xfrm>
            <a:off x="3386318" y="1921346"/>
            <a:ext cx="2286000" cy="2030059"/>
          </a:xfrm>
          <a:prstGeom prst="rect">
            <a:avLst/>
          </a:prstGeom>
          <a:solidFill>
            <a:schemeClr val="tx1"/>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elf learning through pre-read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Formal training</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Process walkthrough</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rtefacts walkthrough</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Key frameworks and principle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Key SMRs from EY &amp; </a:t>
            </a:r>
            <a:r>
              <a:rPr lang="en-GB" sz="1000" kern="0">
                <a:solidFill>
                  <a:schemeClr val="bg2">
                    <a:lumMod val="65000"/>
                    <a:lumOff val="35000"/>
                  </a:schemeClr>
                </a:solidFill>
                <a:latin typeface="Calibri" panose="020F0502020204030204" pitchFamily="34" charset="0"/>
                <a:cs typeface="Calibri" panose="020F0502020204030204" pitchFamily="34" charset="0"/>
              </a:rPr>
              <a:t>St. James's Hospital</a:t>
            </a:r>
            <a:endPar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endParaRP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Collation of document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dentify KT gap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GB" sz="1000"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a:p>
            <a:pPr marL="321487" marR="0" lvl="0" indent="-171450" algn="l" defTabSz="1007852"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US" sz="1000" b="0"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123" name="Text Box 39">
            <a:extLst>
              <a:ext uri="{FF2B5EF4-FFF2-40B4-BE49-F238E27FC236}">
                <a16:creationId xmlns:a16="http://schemas.microsoft.com/office/drawing/2014/main" id="{EF06EB81-097E-498D-B849-9A23108EC3F4}"/>
              </a:ext>
            </a:extLst>
          </p:cNvPr>
          <p:cNvSpPr txBox="1">
            <a:spLocks noChangeAspect="1" noChangeArrowheads="1"/>
          </p:cNvSpPr>
          <p:nvPr/>
        </p:nvSpPr>
        <p:spPr bwMode="auto">
          <a:xfrm>
            <a:off x="5869498" y="1921346"/>
            <a:ext cx="1926000" cy="2032765"/>
          </a:xfrm>
          <a:prstGeom prst="rect">
            <a:avLst/>
          </a:prstGeom>
          <a:solidFill>
            <a:schemeClr val="tx1"/>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Transfer of access and infrastructure support</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Knowledge transfer through:</a:t>
            </a:r>
          </a:p>
          <a:p>
            <a:pPr marL="361950" marR="0" lvl="2" indent="-180975"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hadow support</a:t>
            </a:r>
          </a:p>
          <a:p>
            <a:pPr marL="361950" marR="0" lvl="2" indent="-180975"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nterfacing with other teams &amp; stakeholders</a:t>
            </a:r>
          </a:p>
          <a:p>
            <a:pPr marL="361950" marR="0" lvl="2" indent="-180975"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Mock drills and failures</a:t>
            </a:r>
          </a:p>
          <a:p>
            <a:pPr marL="361950" marR="0" lvl="2" indent="-180975"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ssisting in Reporting &amp; Tracking</a:t>
            </a:r>
          </a:p>
        </p:txBody>
      </p:sp>
      <p:sp>
        <p:nvSpPr>
          <p:cNvPr id="124" name="Text Box 40">
            <a:extLst>
              <a:ext uri="{FF2B5EF4-FFF2-40B4-BE49-F238E27FC236}">
                <a16:creationId xmlns:a16="http://schemas.microsoft.com/office/drawing/2014/main" id="{F82A8C0A-79D5-41ED-AF57-0A4D155DCD11}"/>
              </a:ext>
            </a:extLst>
          </p:cNvPr>
          <p:cNvSpPr txBox="1">
            <a:spLocks noChangeAspect="1" noChangeArrowheads="1"/>
          </p:cNvSpPr>
          <p:nvPr/>
        </p:nvSpPr>
        <p:spPr bwMode="auto">
          <a:xfrm>
            <a:off x="7923863" y="1921349"/>
            <a:ext cx="2033702" cy="2016000"/>
          </a:xfrm>
          <a:prstGeom prst="rect">
            <a:avLst/>
          </a:prstGeom>
          <a:solidFill>
            <a:schemeClr val="tx1"/>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Observation and evaluation of the designated resource on:</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Client facing support task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Leading operational activities </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nterfacing with other teams &amp; stakeholder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Managing tasks solely</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GB"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ssisting on high complexity changes &amp; high severity tasks</a:t>
            </a:r>
          </a:p>
        </p:txBody>
      </p:sp>
      <p:sp>
        <p:nvSpPr>
          <p:cNvPr id="125" name="Text Box 45">
            <a:extLst>
              <a:ext uri="{FF2B5EF4-FFF2-40B4-BE49-F238E27FC236}">
                <a16:creationId xmlns:a16="http://schemas.microsoft.com/office/drawing/2014/main" id="{3B611589-8F72-469A-BF72-74CEDC5415A8}"/>
              </a:ext>
            </a:extLst>
          </p:cNvPr>
          <p:cNvSpPr txBox="1">
            <a:spLocks noChangeAspect="1" noChangeArrowheads="1"/>
          </p:cNvSpPr>
          <p:nvPr/>
        </p:nvSpPr>
        <p:spPr bwMode="auto">
          <a:xfrm>
            <a:off x="10097927" y="1921346"/>
            <a:ext cx="1560737" cy="3575883"/>
          </a:xfrm>
          <a:prstGeom prst="rect">
            <a:avLst/>
          </a:prstGeom>
          <a:solidFill>
            <a:schemeClr val="tx1"/>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pproval to proceed, Go/No-Go</a:t>
            </a:r>
          </a:p>
          <a:p>
            <a:pPr marL="171450" marR="0" lvl="2" indent="-171450" algn="l" defTabSz="1019125" rtl="0" eaLnBrk="1" fontAlgn="auto" latinLnBrk="0" hangingPunct="1">
              <a:spcBef>
                <a:spcPts val="0"/>
              </a:spcBef>
              <a:spcAft>
                <a:spcPts val="500"/>
              </a:spcAft>
              <a:buClr>
                <a:schemeClr val="bg1"/>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Execute Cut-Over of all role responsibilities</a:t>
            </a:r>
          </a:p>
          <a:p>
            <a:pPr marL="171450" marR="0" lvl="2" indent="-171450" algn="l" defTabSz="1019125" rtl="0" eaLnBrk="1" fontAlgn="auto" latinLnBrk="0" hangingPunct="1">
              <a:spcBef>
                <a:spcPts val="0"/>
              </a:spcBef>
              <a:spcAft>
                <a:spcPts val="500"/>
              </a:spcAft>
              <a:buClr>
                <a:schemeClr val="bg1"/>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EY Managed Service Commence</a:t>
            </a:r>
          </a:p>
          <a:p>
            <a:pPr marL="171450" marR="0" lvl="2" indent="-171450" algn="l" defTabSz="1019125" rtl="0" eaLnBrk="1" fontAlgn="auto" latinLnBrk="0" hangingPunct="1">
              <a:spcBef>
                <a:spcPts val="0"/>
              </a:spcBef>
              <a:spcAft>
                <a:spcPts val="500"/>
              </a:spcAft>
              <a:buClr>
                <a:schemeClr val="bg1"/>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Service Management Meetings</a:t>
            </a:r>
          </a:p>
        </p:txBody>
      </p:sp>
      <p:sp>
        <p:nvSpPr>
          <p:cNvPr id="126" name="Text Box 61">
            <a:extLst>
              <a:ext uri="{FF2B5EF4-FFF2-40B4-BE49-F238E27FC236}">
                <a16:creationId xmlns:a16="http://schemas.microsoft.com/office/drawing/2014/main" id="{A11D53FF-5003-48B1-A460-EF3B621904ED}"/>
              </a:ext>
            </a:extLst>
          </p:cNvPr>
          <p:cNvSpPr txBox="1">
            <a:spLocks noChangeArrowheads="1"/>
          </p:cNvSpPr>
          <p:nvPr/>
        </p:nvSpPr>
        <p:spPr bwMode="auto">
          <a:xfrm>
            <a:off x="8265486" y="5819100"/>
            <a:ext cx="1350039" cy="255267"/>
          </a:xfrm>
          <a:prstGeom prst="rect">
            <a:avLst/>
          </a:prstGeom>
          <a:noFill/>
          <a:ln w="9525">
            <a:noFill/>
            <a:miter lim="800000"/>
            <a:headEnd/>
            <a:tailEnd/>
          </a:ln>
        </p:spPr>
        <p:txBody>
          <a:bodyPr lIns="51581" tIns="51581" rIns="51581" bIns="51581" anchor="ctr">
            <a:noAutofit/>
          </a:bodyPr>
          <a:lstStyle/>
          <a:p>
            <a:pPr marL="0" marR="0" lvl="0" indent="0" algn="ctr" defTabSz="1007852" rtl="0" eaLnBrk="1" fontAlgn="auto" latinLnBrk="0" hangingPunct="1">
              <a:lnSpc>
                <a:spcPct val="100000"/>
              </a:lnSpc>
              <a:spcBef>
                <a:spcPct val="50000"/>
              </a:spcBef>
              <a:spcAft>
                <a:spcPts val="0"/>
              </a:spcAft>
              <a:buClrTx/>
              <a:buSzTx/>
              <a:buFontTx/>
              <a:buNone/>
              <a:tabLst/>
              <a:defRPr/>
            </a:pP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Transition</a:t>
            </a:r>
            <a:b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b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igned off</a:t>
            </a:r>
            <a:endParaRPr kumimoji="0" lang="en-GB"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27" name="Text Box 53">
            <a:extLst>
              <a:ext uri="{FF2B5EF4-FFF2-40B4-BE49-F238E27FC236}">
                <a16:creationId xmlns:a16="http://schemas.microsoft.com/office/drawing/2014/main" id="{B9BDCA0F-8BE4-4117-9272-DA9712FD5DB7}"/>
              </a:ext>
            </a:extLst>
          </p:cNvPr>
          <p:cNvSpPr txBox="1">
            <a:spLocks noChangeArrowheads="1"/>
          </p:cNvSpPr>
          <p:nvPr/>
        </p:nvSpPr>
        <p:spPr bwMode="auto">
          <a:xfrm>
            <a:off x="1303157" y="5721191"/>
            <a:ext cx="1661173" cy="390534"/>
          </a:xfrm>
          <a:prstGeom prst="rect">
            <a:avLst/>
          </a:prstGeom>
          <a:noFill/>
          <a:ln w="9525">
            <a:noFill/>
            <a:miter lim="800000"/>
            <a:headEnd/>
            <a:tailEnd/>
          </a:ln>
        </p:spPr>
        <p:txBody>
          <a:bodyPr wrap="square" lIns="51581" tIns="51581" rIns="51581" bIns="51581" anchor="ctr">
            <a:noAutofit/>
          </a:bodyPr>
          <a:lstStyle/>
          <a:p>
            <a:pPr marL="0" marR="0" lvl="0" indent="0" algn="ctr" defTabSz="1007852" rtl="0" eaLnBrk="1" fontAlgn="auto" latinLnBrk="0" hangingPunct="1">
              <a:lnSpc>
                <a:spcPct val="100000"/>
              </a:lnSpc>
              <a:spcBef>
                <a:spcPct val="50000"/>
              </a:spcBef>
              <a:spcAft>
                <a:spcPts val="0"/>
              </a:spcAft>
              <a:buClrTx/>
              <a:buSzTx/>
              <a:buFontTx/>
              <a:buNone/>
              <a:tabLst/>
              <a:defRPr/>
            </a:pP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Approved transition plan</a:t>
            </a:r>
            <a:r>
              <a:rPr kumimoji="0" lang="en-GB"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 &amp; schedule; resource mapping</a:t>
            </a:r>
          </a:p>
        </p:txBody>
      </p:sp>
      <p:sp>
        <p:nvSpPr>
          <p:cNvPr id="128" name="Text Box 55">
            <a:extLst>
              <a:ext uri="{FF2B5EF4-FFF2-40B4-BE49-F238E27FC236}">
                <a16:creationId xmlns:a16="http://schemas.microsoft.com/office/drawing/2014/main" id="{B92F68CF-8312-4AA6-A006-4289A07DC4C6}"/>
              </a:ext>
            </a:extLst>
          </p:cNvPr>
          <p:cNvSpPr txBox="1">
            <a:spLocks noChangeArrowheads="1"/>
          </p:cNvSpPr>
          <p:nvPr/>
        </p:nvSpPr>
        <p:spPr bwMode="auto">
          <a:xfrm>
            <a:off x="3654402" y="5725059"/>
            <a:ext cx="1806970" cy="390534"/>
          </a:xfrm>
          <a:prstGeom prst="rect">
            <a:avLst/>
          </a:prstGeom>
          <a:noFill/>
          <a:ln w="9525">
            <a:noFill/>
            <a:miter lim="800000"/>
            <a:headEnd/>
            <a:tailEnd/>
          </a:ln>
        </p:spPr>
        <p:txBody>
          <a:bodyPr wrap="square" lIns="51581" tIns="51581" rIns="51581" bIns="51581" anchor="ctr">
            <a:noAutofit/>
          </a:bodyPr>
          <a:lstStyle/>
          <a:p>
            <a:pPr marL="0" marR="0" lvl="0" indent="0" algn="ctr" defTabSz="1007852" rtl="0" eaLnBrk="1" fontAlgn="auto" latinLnBrk="0" hangingPunct="1">
              <a:lnSpc>
                <a:spcPct val="100000"/>
              </a:lnSpc>
              <a:spcBef>
                <a:spcPct val="50000"/>
              </a:spcBef>
              <a:spcAft>
                <a:spcPts val="0"/>
              </a:spcAft>
              <a:buClrTx/>
              <a:buSzTx/>
              <a:buFontTx/>
              <a:buNone/>
              <a:tabLst/>
              <a:defRPr/>
            </a:pP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omplete documentation </a:t>
            </a:r>
            <a:b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b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f processes, &amp; artefacts</a:t>
            </a:r>
          </a:p>
        </p:txBody>
      </p:sp>
      <p:sp>
        <p:nvSpPr>
          <p:cNvPr id="129" name="Text Box 60">
            <a:extLst>
              <a:ext uri="{FF2B5EF4-FFF2-40B4-BE49-F238E27FC236}">
                <a16:creationId xmlns:a16="http://schemas.microsoft.com/office/drawing/2014/main" id="{E18FAE32-37EA-4CD7-BCD6-769F8902D886}"/>
              </a:ext>
            </a:extLst>
          </p:cNvPr>
          <p:cNvSpPr txBox="1">
            <a:spLocks noChangeArrowheads="1"/>
          </p:cNvSpPr>
          <p:nvPr/>
        </p:nvSpPr>
        <p:spPr bwMode="auto">
          <a:xfrm>
            <a:off x="6019261" y="5739767"/>
            <a:ext cx="1584946" cy="390534"/>
          </a:xfrm>
          <a:prstGeom prst="rect">
            <a:avLst/>
          </a:prstGeom>
          <a:noFill/>
          <a:ln w="9525">
            <a:noFill/>
            <a:miter lim="800000"/>
            <a:headEnd/>
            <a:tailEnd/>
          </a:ln>
        </p:spPr>
        <p:txBody>
          <a:bodyPr wrap="square" lIns="51581" tIns="51581" rIns="51581" bIns="51581" anchor="ctr">
            <a:noAutofit/>
          </a:bodyPr>
          <a:lstStyle/>
          <a:p>
            <a:pPr marL="0" marR="0" lvl="0" indent="0" algn="ctr" defTabSz="1007852" rtl="0" eaLnBrk="1" fontAlgn="auto" latinLnBrk="0" hangingPunct="1">
              <a:lnSpc>
                <a:spcPct val="100000"/>
              </a:lnSpc>
              <a:spcBef>
                <a:spcPct val="50000"/>
              </a:spcBef>
              <a:spcAft>
                <a:spcPts val="0"/>
              </a:spcAft>
              <a:buClrTx/>
              <a:buSzTx/>
              <a:buFontTx/>
              <a:buNone/>
              <a:tabLst/>
              <a:defRPr/>
            </a:pPr>
            <a:r>
              <a:rPr kumimoji="0" lang="en-US" sz="1102"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Knowledge training completed &amp; signed off</a:t>
            </a:r>
          </a:p>
        </p:txBody>
      </p:sp>
      <p:sp>
        <p:nvSpPr>
          <p:cNvPr id="161" name="Rectangle 160">
            <a:extLst>
              <a:ext uri="{FF2B5EF4-FFF2-40B4-BE49-F238E27FC236}">
                <a16:creationId xmlns:a16="http://schemas.microsoft.com/office/drawing/2014/main" id="{6CB23770-02CE-4048-B278-E359E423560C}"/>
              </a:ext>
            </a:extLst>
          </p:cNvPr>
          <p:cNvSpPr/>
          <p:nvPr/>
        </p:nvSpPr>
        <p:spPr bwMode="auto">
          <a:xfrm>
            <a:off x="3057705" y="5823263"/>
            <a:ext cx="479954" cy="307038"/>
          </a:xfrm>
          <a:prstGeom prst="rect">
            <a:avLst/>
          </a:prstGeom>
          <a:solidFill>
            <a:srgbClr val="2E2E38"/>
          </a:solidFill>
          <a:ln w="3810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Gate1</a:t>
            </a:r>
          </a:p>
        </p:txBody>
      </p:sp>
      <p:sp>
        <p:nvSpPr>
          <p:cNvPr id="162" name="Rectangle 161">
            <a:extLst>
              <a:ext uri="{FF2B5EF4-FFF2-40B4-BE49-F238E27FC236}">
                <a16:creationId xmlns:a16="http://schemas.microsoft.com/office/drawing/2014/main" id="{7632D687-90B5-4932-B438-52EEB3F123EC}"/>
              </a:ext>
            </a:extLst>
          </p:cNvPr>
          <p:cNvSpPr/>
          <p:nvPr/>
        </p:nvSpPr>
        <p:spPr bwMode="auto">
          <a:xfrm>
            <a:off x="5526448" y="5823263"/>
            <a:ext cx="479954" cy="307038"/>
          </a:xfrm>
          <a:prstGeom prst="rect">
            <a:avLst/>
          </a:prstGeom>
          <a:solidFill>
            <a:srgbClr val="2E2E38"/>
          </a:solidFill>
          <a:ln w="3810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Gate2</a:t>
            </a:r>
          </a:p>
        </p:txBody>
      </p:sp>
      <p:sp>
        <p:nvSpPr>
          <p:cNvPr id="163" name="Rectangle 162">
            <a:extLst>
              <a:ext uri="{FF2B5EF4-FFF2-40B4-BE49-F238E27FC236}">
                <a16:creationId xmlns:a16="http://schemas.microsoft.com/office/drawing/2014/main" id="{AC297E4D-8DB6-47E8-8F6E-4301F6447D8C}"/>
              </a:ext>
            </a:extLst>
          </p:cNvPr>
          <p:cNvSpPr/>
          <p:nvPr/>
        </p:nvSpPr>
        <p:spPr bwMode="auto">
          <a:xfrm>
            <a:off x="9821838" y="5823263"/>
            <a:ext cx="479954" cy="307038"/>
          </a:xfrm>
          <a:prstGeom prst="rect">
            <a:avLst/>
          </a:prstGeom>
          <a:solidFill>
            <a:srgbClr val="2E2E38"/>
          </a:solidFill>
          <a:ln w="3810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Gate4</a:t>
            </a:r>
          </a:p>
        </p:txBody>
      </p:sp>
      <p:sp>
        <p:nvSpPr>
          <p:cNvPr id="164" name="Rectangle 163">
            <a:extLst>
              <a:ext uri="{FF2B5EF4-FFF2-40B4-BE49-F238E27FC236}">
                <a16:creationId xmlns:a16="http://schemas.microsoft.com/office/drawing/2014/main" id="{E6199B97-D8BB-418C-A6CF-282B262AD3FE}"/>
              </a:ext>
            </a:extLst>
          </p:cNvPr>
          <p:cNvSpPr/>
          <p:nvPr/>
        </p:nvSpPr>
        <p:spPr bwMode="auto">
          <a:xfrm>
            <a:off x="7628902" y="5823263"/>
            <a:ext cx="479954" cy="307038"/>
          </a:xfrm>
          <a:prstGeom prst="rect">
            <a:avLst/>
          </a:prstGeom>
          <a:solidFill>
            <a:srgbClr val="2E2E38"/>
          </a:solidFill>
          <a:ln w="3810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Gate3</a:t>
            </a:r>
          </a:p>
        </p:txBody>
      </p:sp>
      <p:sp>
        <p:nvSpPr>
          <p:cNvPr id="165" name="Rectangle 164">
            <a:extLst>
              <a:ext uri="{FF2B5EF4-FFF2-40B4-BE49-F238E27FC236}">
                <a16:creationId xmlns:a16="http://schemas.microsoft.com/office/drawing/2014/main" id="{DF2454B5-02D3-4993-B6A7-155AD02AA897}"/>
              </a:ext>
            </a:extLst>
          </p:cNvPr>
          <p:cNvSpPr/>
          <p:nvPr/>
        </p:nvSpPr>
        <p:spPr bwMode="auto">
          <a:xfrm>
            <a:off x="2881065" y="5585641"/>
            <a:ext cx="862527" cy="180000"/>
          </a:xfrm>
          <a:prstGeom prst="rect">
            <a:avLst/>
          </a:prstGeom>
          <a:solidFill>
            <a:schemeClr val="tx2"/>
          </a:solidFill>
          <a:ln w="1905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heckpoint</a:t>
            </a:r>
          </a:p>
        </p:txBody>
      </p:sp>
      <p:sp>
        <p:nvSpPr>
          <p:cNvPr id="166" name="Rectangle 165">
            <a:extLst>
              <a:ext uri="{FF2B5EF4-FFF2-40B4-BE49-F238E27FC236}">
                <a16:creationId xmlns:a16="http://schemas.microsoft.com/office/drawing/2014/main" id="{43ED7D1E-592F-4DBB-ABF7-2E5202F2E626}"/>
              </a:ext>
            </a:extLst>
          </p:cNvPr>
          <p:cNvSpPr/>
          <p:nvPr/>
        </p:nvSpPr>
        <p:spPr bwMode="auto">
          <a:xfrm>
            <a:off x="5349809" y="5585641"/>
            <a:ext cx="862527" cy="180000"/>
          </a:xfrm>
          <a:prstGeom prst="rect">
            <a:avLst/>
          </a:prstGeom>
          <a:solidFill>
            <a:schemeClr val="tx2"/>
          </a:solidFill>
          <a:ln w="1905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heckpoint</a:t>
            </a:r>
          </a:p>
        </p:txBody>
      </p:sp>
      <p:sp>
        <p:nvSpPr>
          <p:cNvPr id="167" name="Rectangle 166">
            <a:extLst>
              <a:ext uri="{FF2B5EF4-FFF2-40B4-BE49-F238E27FC236}">
                <a16:creationId xmlns:a16="http://schemas.microsoft.com/office/drawing/2014/main" id="{97A2F5EE-5F36-4B93-88A6-344F12BD0C3E}"/>
              </a:ext>
            </a:extLst>
          </p:cNvPr>
          <p:cNvSpPr/>
          <p:nvPr/>
        </p:nvSpPr>
        <p:spPr bwMode="auto">
          <a:xfrm>
            <a:off x="9637347" y="5585641"/>
            <a:ext cx="862527" cy="180000"/>
          </a:xfrm>
          <a:prstGeom prst="rect">
            <a:avLst/>
          </a:prstGeom>
          <a:solidFill>
            <a:schemeClr val="tx2"/>
          </a:solidFill>
          <a:ln w="1905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heckpoint</a:t>
            </a:r>
          </a:p>
        </p:txBody>
      </p:sp>
      <p:sp>
        <p:nvSpPr>
          <p:cNvPr id="168" name="Rectangle 167">
            <a:extLst>
              <a:ext uri="{FF2B5EF4-FFF2-40B4-BE49-F238E27FC236}">
                <a16:creationId xmlns:a16="http://schemas.microsoft.com/office/drawing/2014/main" id="{DD8AE104-7662-487E-AC58-554F8D3A6442}"/>
              </a:ext>
            </a:extLst>
          </p:cNvPr>
          <p:cNvSpPr/>
          <p:nvPr/>
        </p:nvSpPr>
        <p:spPr bwMode="auto">
          <a:xfrm>
            <a:off x="7452262" y="5585641"/>
            <a:ext cx="862527" cy="180000"/>
          </a:xfrm>
          <a:prstGeom prst="rect">
            <a:avLst/>
          </a:prstGeom>
          <a:solidFill>
            <a:schemeClr val="tx2"/>
          </a:solidFill>
          <a:ln w="19050" cap="flat" cmpd="sng" algn="ctr">
            <a:noFill/>
            <a:prstDash val="solid"/>
            <a:round/>
            <a:headEnd type="none" w="med" len="med"/>
            <a:tailEnd type="none" w="med" len="med"/>
          </a:ln>
          <a:effectLst/>
        </p:spPr>
        <p:txBody>
          <a:bodyPr vert="horz" wrap="square" lIns="51581" tIns="51581" rIns="51581" bIns="51581" numCol="1" rtlCol="0" anchor="ctr" anchorCtr="0" compatLnSpc="1">
            <a:prstTxWarp prst="textNoShape">
              <a:avLst/>
            </a:prstTxWarp>
            <a:noAutofit/>
          </a:bodyPr>
          <a:lstStyle/>
          <a:p>
            <a:pPr marL="0" marR="0" lvl="0" indent="0" algn="ctr" defTabSz="114945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heckpoint</a:t>
            </a:r>
          </a:p>
        </p:txBody>
      </p:sp>
      <p:sp>
        <p:nvSpPr>
          <p:cNvPr id="169" name="Text Box 37">
            <a:extLst>
              <a:ext uri="{FF2B5EF4-FFF2-40B4-BE49-F238E27FC236}">
                <a16:creationId xmlns:a16="http://schemas.microsoft.com/office/drawing/2014/main" id="{F12A2F92-C24F-4533-A230-E3C054073DB6}"/>
              </a:ext>
            </a:extLst>
          </p:cNvPr>
          <p:cNvSpPr txBox="1">
            <a:spLocks noChangeAspect="1" noChangeArrowheads="1"/>
          </p:cNvSpPr>
          <p:nvPr/>
        </p:nvSpPr>
        <p:spPr bwMode="auto">
          <a:xfrm>
            <a:off x="1303157" y="4005359"/>
            <a:ext cx="1891225" cy="1495084"/>
          </a:xfrm>
          <a:prstGeom prst="rect">
            <a:avLst/>
          </a:prstGeom>
          <a:solidFill>
            <a:srgbClr val="FFFFFF"/>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dentify risks from projects critical resource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Review in-flight activities and other dependencies</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pplications potentially being sunset</a:t>
            </a:r>
          </a:p>
          <a:p>
            <a:pPr marL="171450" marR="0" lvl="0" indent="-171450" algn="l" defTabSz="1007852"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IN" sz="10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0" name="Text Box 38">
            <a:extLst>
              <a:ext uri="{FF2B5EF4-FFF2-40B4-BE49-F238E27FC236}">
                <a16:creationId xmlns:a16="http://schemas.microsoft.com/office/drawing/2014/main" id="{BF398F96-B980-4757-BD8E-55AA665DB949}"/>
              </a:ext>
            </a:extLst>
          </p:cNvPr>
          <p:cNvSpPr txBox="1">
            <a:spLocks noChangeAspect="1" noChangeArrowheads="1"/>
          </p:cNvSpPr>
          <p:nvPr/>
        </p:nvSpPr>
        <p:spPr bwMode="auto">
          <a:xfrm>
            <a:off x="3386318" y="4005360"/>
            <a:ext cx="2286000" cy="1489893"/>
          </a:xfrm>
          <a:prstGeom prst="rect">
            <a:avLst/>
          </a:prstGeom>
          <a:solidFill>
            <a:srgbClr val="FFFFFF"/>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Document KT gaps and plan for addressing them</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Gaps in existing documentation</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Requirement of additional KT time for any specific area</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Dependencies on non-KT activities </a:t>
            </a:r>
          </a:p>
          <a:p>
            <a:pPr marL="171450" marR="0" lvl="0" indent="-171450" algn="l" defTabSz="1007852"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US" sz="10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1" name="Text Box 39">
            <a:extLst>
              <a:ext uri="{FF2B5EF4-FFF2-40B4-BE49-F238E27FC236}">
                <a16:creationId xmlns:a16="http://schemas.microsoft.com/office/drawing/2014/main" id="{9E367438-4779-4104-AEE9-80B3397C0E63}"/>
              </a:ext>
            </a:extLst>
          </p:cNvPr>
          <p:cNvSpPr txBox="1">
            <a:spLocks noChangeAspect="1" noChangeArrowheads="1"/>
          </p:cNvSpPr>
          <p:nvPr/>
        </p:nvSpPr>
        <p:spPr bwMode="auto">
          <a:xfrm>
            <a:off x="5869498" y="4005357"/>
            <a:ext cx="1926000" cy="1491880"/>
          </a:xfrm>
          <a:prstGeom prst="rect">
            <a:avLst/>
          </a:prstGeom>
          <a:solidFill>
            <a:srgbClr val="FFFFFF"/>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US"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dentify any KT gaps and plan for addressing the same</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Agree out of scope activities, if any, and finalise approach for the same</a:t>
            </a:r>
          </a:p>
          <a:p>
            <a:pPr marL="171450" marR="0" lvl="0" indent="-171450" algn="l" defTabSz="1007852"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IN" sz="10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marL="171450" marR="0" lvl="0" indent="-171450" algn="l" defTabSz="1007852"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endParaRPr kumimoji="0" lang="en-IN" sz="10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72" name="Text Box 40">
            <a:extLst>
              <a:ext uri="{FF2B5EF4-FFF2-40B4-BE49-F238E27FC236}">
                <a16:creationId xmlns:a16="http://schemas.microsoft.com/office/drawing/2014/main" id="{47C0A683-7EE4-4829-8F05-C17DAB038589}"/>
              </a:ext>
            </a:extLst>
          </p:cNvPr>
          <p:cNvSpPr txBox="1">
            <a:spLocks noChangeAspect="1" noChangeArrowheads="1"/>
          </p:cNvSpPr>
          <p:nvPr/>
        </p:nvSpPr>
        <p:spPr bwMode="auto">
          <a:xfrm>
            <a:off x="7923863" y="4005256"/>
            <a:ext cx="2034000" cy="1471332"/>
          </a:xfrm>
          <a:prstGeom prst="rect">
            <a:avLst/>
          </a:prstGeom>
          <a:solidFill>
            <a:srgbClr val="FFFFFF"/>
          </a:solidFill>
          <a:ln w="9525">
            <a:noFill/>
            <a:miter lim="800000"/>
            <a:headEnd/>
            <a:tailEnd/>
          </a:ln>
        </p:spPr>
        <p:txBody>
          <a:bodyPr wrap="square" lIns="51581" tIns="51581" rIns="51581" bIns="51581">
            <a:noAutofit/>
          </a:bodyPr>
          <a:lstStyle/>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Identify pending KT tasks, if any, and complete the same</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Fine tune operating model and service mgmt. framework</a:t>
            </a:r>
          </a:p>
          <a:p>
            <a:pPr marL="171450" marR="0" lvl="2" indent="-171450" algn="l" defTabSz="1019125" rtl="0" eaLnBrk="1" fontAlgn="auto" latinLnBrk="0" hangingPunct="1">
              <a:spcBef>
                <a:spcPts val="0"/>
              </a:spcBef>
              <a:spcAft>
                <a:spcPts val="500"/>
              </a:spcAft>
              <a:buClr>
                <a:schemeClr val="bg1">
                  <a:lumMod val="50000"/>
                </a:schemeClr>
              </a:buClr>
              <a:buSzPct val="70000"/>
              <a:buFont typeface="Arial" panose="020B0604020202020204" pitchFamily="34" charset="0"/>
              <a:buChar char="►"/>
              <a:tabLst/>
              <a:defRPr/>
            </a:pPr>
            <a:r>
              <a:rPr kumimoji="0" lang="en-IN" sz="1000" b="0" i="0" u="none" strike="noStrike" kern="0" cap="none" spc="0" normalizeH="0" baseline="0" noProof="0">
                <a:ln>
                  <a:noFill/>
                </a:ln>
                <a:solidFill>
                  <a:schemeClr val="bg2">
                    <a:lumMod val="65000"/>
                    <a:lumOff val="35000"/>
                  </a:schemeClr>
                </a:solidFill>
                <a:effectLst/>
                <a:uLnTx/>
                <a:uFillTx/>
                <a:latin typeface="Calibri" panose="020F0502020204030204" pitchFamily="34" charset="0"/>
                <a:cs typeface="Calibri" panose="020F0502020204030204" pitchFamily="34" charset="0"/>
              </a:rPr>
              <a:t>Evaluate gaps, if any, for transition completion</a:t>
            </a:r>
          </a:p>
        </p:txBody>
      </p:sp>
      <p:sp>
        <p:nvSpPr>
          <p:cNvPr id="173" name="Rectangle 172">
            <a:extLst>
              <a:ext uri="{FF2B5EF4-FFF2-40B4-BE49-F238E27FC236}">
                <a16:creationId xmlns:a16="http://schemas.microsoft.com/office/drawing/2014/main" id="{30FCCAD5-928A-4FA9-BD5C-0B5C6C548439}"/>
              </a:ext>
            </a:extLst>
          </p:cNvPr>
          <p:cNvSpPr>
            <a:spLocks noChangeAspect="1" noChangeArrowheads="1"/>
          </p:cNvSpPr>
          <p:nvPr/>
        </p:nvSpPr>
        <p:spPr bwMode="auto">
          <a:xfrm>
            <a:off x="7931381" y="1672056"/>
            <a:ext cx="2021671" cy="316487"/>
          </a:xfrm>
          <a:prstGeom prst="rect">
            <a:avLst/>
          </a:prstGeom>
          <a:noFill/>
          <a:ln w="9525">
            <a:noFill/>
            <a:miter lim="800000"/>
            <a:headEnd/>
            <a:tailEnd/>
          </a:ln>
        </p:spPr>
        <p:txBody>
          <a:bodyPr wrap="square" lIns="0" tIns="0" rIns="0" bIns="0">
            <a:noAutofit/>
          </a:bodyPr>
          <a:lstStyle/>
          <a:p>
            <a:pPr marL="0" marR="0" lvl="0" indent="0" algn="ctr" defTabSz="1007852" rtl="0" eaLnBrk="1" fontAlgn="auto" latinLnBrk="0" hangingPunct="1">
              <a:lnSpc>
                <a:spcPct val="90000"/>
              </a:lnSpc>
              <a:spcBef>
                <a:spcPts val="0"/>
              </a:spcBef>
              <a:spcAft>
                <a:spcPts val="0"/>
              </a:spcAft>
              <a:buClrTx/>
              <a:buSzTx/>
              <a:buFontTx/>
              <a:buNone/>
              <a:tabLst/>
              <a:defRPr/>
            </a:pPr>
            <a:r>
              <a:rPr kumimoji="0" lang="en-AU" sz="1102"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Reverse Job Shadow </a:t>
            </a:r>
          </a:p>
        </p:txBody>
      </p:sp>
      <p:sp>
        <p:nvSpPr>
          <p:cNvPr id="174" name="Rectangle 173">
            <a:extLst>
              <a:ext uri="{FF2B5EF4-FFF2-40B4-BE49-F238E27FC236}">
                <a16:creationId xmlns:a16="http://schemas.microsoft.com/office/drawing/2014/main" id="{23B9D44F-EFE6-4A39-8166-9A0603414C4A}"/>
              </a:ext>
            </a:extLst>
          </p:cNvPr>
          <p:cNvSpPr/>
          <p:nvPr/>
        </p:nvSpPr>
        <p:spPr>
          <a:xfrm>
            <a:off x="608115" y="1920349"/>
            <a:ext cx="485214" cy="2055561"/>
          </a:xfrm>
          <a:prstGeom prst="rect">
            <a:avLst/>
          </a:prstGeom>
          <a:solidFill>
            <a:schemeClr val="bg1"/>
          </a:solidFill>
          <a:ln w="9525" cap="flat" cmpd="sng" algn="ctr">
            <a:noFill/>
            <a:prstDash val="solid"/>
          </a:ln>
          <a:effectLst/>
        </p:spPr>
        <p:txBody>
          <a:bodyPr lIns="39678" rIns="39678" rtlCol="0" anchor="ctr"/>
          <a:lstStyle/>
          <a:p>
            <a:pPr marL="0" marR="0" lvl="0" indent="0" algn="ctr" defTabSz="1007852" rtl="0" eaLnBrk="1" fontAlgn="auto" latinLnBrk="0" hangingPunct="1">
              <a:lnSpc>
                <a:spcPct val="100000"/>
              </a:lnSpc>
              <a:spcBef>
                <a:spcPts val="0"/>
              </a:spcBef>
              <a:spcAft>
                <a:spcPts val="0"/>
              </a:spcAft>
              <a:buClrTx/>
              <a:buSzTx/>
              <a:buFontTx/>
              <a:buNone/>
              <a:tabLst/>
              <a:defRPr/>
            </a:pPr>
            <a:endParaRPr kumimoji="0" lang="en-IN" sz="1050" b="1" i="0" u="none" strike="noStrike" kern="0" cap="none" spc="0" normalizeH="0" baseline="0" noProof="0">
              <a:ln>
                <a:noFill/>
              </a:ln>
              <a:effectLst/>
              <a:uLnTx/>
              <a:uFillTx/>
              <a:latin typeface="Calibri" panose="020F0502020204030204" pitchFamily="34" charset="0"/>
              <a:cs typeface="Calibri" panose="020F0502020204030204" pitchFamily="34" charset="0"/>
              <a:sym typeface="Arial"/>
            </a:endParaRPr>
          </a:p>
        </p:txBody>
      </p:sp>
      <p:sp>
        <p:nvSpPr>
          <p:cNvPr id="175" name="Rectangle 174">
            <a:extLst>
              <a:ext uri="{FF2B5EF4-FFF2-40B4-BE49-F238E27FC236}">
                <a16:creationId xmlns:a16="http://schemas.microsoft.com/office/drawing/2014/main" id="{B8897ED1-71E9-4B57-888A-4FFEC1510170}"/>
              </a:ext>
            </a:extLst>
          </p:cNvPr>
          <p:cNvSpPr/>
          <p:nvPr/>
        </p:nvSpPr>
        <p:spPr>
          <a:xfrm>
            <a:off x="608115" y="5633268"/>
            <a:ext cx="485214" cy="558459"/>
          </a:xfrm>
          <a:prstGeom prst="rect">
            <a:avLst/>
          </a:prstGeom>
          <a:solidFill>
            <a:schemeClr val="bg1"/>
          </a:solidFill>
          <a:ln w="9525" cap="flat" cmpd="sng" algn="ctr">
            <a:noFill/>
            <a:prstDash val="solid"/>
          </a:ln>
          <a:effectLst/>
        </p:spPr>
        <p:txBody>
          <a:bodyPr rtlCol="0" anchor="ct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Calibri" panose="020F0502020204030204" pitchFamily="34" charset="0"/>
                <a:cs typeface="Calibri" panose="020F0502020204030204" pitchFamily="34" charset="0"/>
                <a:sym typeface="Arial"/>
              </a:rPr>
              <a:t>Exit</a:t>
            </a:r>
            <a:endParaRPr kumimoji="0" lang="en-IN" sz="1100" b="1" i="0" u="none" strike="noStrike" kern="0" cap="none" spc="0" normalizeH="0" baseline="0" noProof="0">
              <a:ln>
                <a:noFill/>
              </a:ln>
              <a:effectLst/>
              <a:uLnTx/>
              <a:uFillTx/>
              <a:latin typeface="Calibri" panose="020F0502020204030204" pitchFamily="34" charset="0"/>
              <a:cs typeface="Calibri" panose="020F0502020204030204" pitchFamily="34" charset="0"/>
              <a:sym typeface="Arial"/>
            </a:endParaRPr>
          </a:p>
        </p:txBody>
      </p:sp>
      <p:sp>
        <p:nvSpPr>
          <p:cNvPr id="176" name="Rectangle 175">
            <a:extLst>
              <a:ext uri="{FF2B5EF4-FFF2-40B4-BE49-F238E27FC236}">
                <a16:creationId xmlns:a16="http://schemas.microsoft.com/office/drawing/2014/main" id="{5A7E9314-544B-4125-8DA3-9D313B0162B3}"/>
              </a:ext>
            </a:extLst>
          </p:cNvPr>
          <p:cNvSpPr/>
          <p:nvPr/>
        </p:nvSpPr>
        <p:spPr>
          <a:xfrm>
            <a:off x="608115" y="1610811"/>
            <a:ext cx="485214" cy="238751"/>
          </a:xfrm>
          <a:prstGeom prst="rect">
            <a:avLst/>
          </a:prstGeom>
          <a:solidFill>
            <a:schemeClr val="bg1"/>
          </a:solidFill>
          <a:ln w="9525" cap="flat" cmpd="sng" algn="ctr">
            <a:solidFill>
              <a:srgbClr val="000000"/>
            </a:solidFill>
            <a:prstDash val="solid"/>
          </a:ln>
          <a:effectLst/>
        </p:spPr>
        <p:txBody>
          <a:bodyPr rtlCol="0" anchor="ctr"/>
          <a:lstStyle/>
          <a:p>
            <a:pPr marL="0" marR="0" lvl="0" indent="0" algn="ctr" defTabSz="1007852" rtl="0" eaLnBrk="1" fontAlgn="auto" latinLnBrk="0" hangingPunct="1">
              <a:lnSpc>
                <a:spcPts val="1543"/>
              </a:lnSpc>
              <a:spcBef>
                <a:spcPts val="0"/>
              </a:spcBef>
              <a:spcAft>
                <a:spcPts val="0"/>
              </a:spcAft>
              <a:buClrTx/>
              <a:buSzTx/>
              <a:buFontTx/>
              <a:buNone/>
              <a:tabLst/>
              <a:defRPr/>
            </a:pPr>
            <a:endParaRPr kumimoji="0" lang="en-IN" sz="700" b="1" i="0" u="none" strike="noStrike" kern="0" cap="none" spc="0" normalizeH="0" baseline="0" noProof="0">
              <a:ln>
                <a:noFill/>
              </a:ln>
              <a:effectLst/>
              <a:uLnTx/>
              <a:uFillTx/>
              <a:latin typeface="Calibri" panose="020F0502020204030204" pitchFamily="34" charset="0"/>
              <a:cs typeface="Calibri" panose="020F0502020204030204" pitchFamily="34" charset="0"/>
              <a:sym typeface="Arial"/>
            </a:endParaRPr>
          </a:p>
        </p:txBody>
      </p:sp>
      <p:sp>
        <p:nvSpPr>
          <p:cNvPr id="177" name="Rectangle 176">
            <a:extLst>
              <a:ext uri="{FF2B5EF4-FFF2-40B4-BE49-F238E27FC236}">
                <a16:creationId xmlns:a16="http://schemas.microsoft.com/office/drawing/2014/main" id="{9B6DB94E-3BB2-49EC-8810-0E79DADB6CB1}"/>
              </a:ext>
            </a:extLst>
          </p:cNvPr>
          <p:cNvSpPr/>
          <p:nvPr/>
        </p:nvSpPr>
        <p:spPr>
          <a:xfrm>
            <a:off x="608115" y="4005256"/>
            <a:ext cx="485214" cy="1505118"/>
          </a:xfrm>
          <a:prstGeom prst="rect">
            <a:avLst/>
          </a:prstGeom>
          <a:solidFill>
            <a:schemeClr val="bg1"/>
          </a:solidFill>
          <a:ln w="9525" cap="flat" cmpd="sng" algn="ctr">
            <a:noFill/>
            <a:prstDash val="solid"/>
          </a:ln>
          <a:effectLst/>
        </p:spPr>
        <p:txBody>
          <a:bodyPr lIns="79356" rtlCol="0" anchor="ctr"/>
          <a:lstStyle/>
          <a:p>
            <a:pPr marL="0" marR="0" lvl="0" indent="0" algn="ctr" defTabSz="1007852"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effectLst/>
              <a:uLnTx/>
              <a:uFillTx/>
              <a:latin typeface="Calibri" panose="020F0502020204030204" pitchFamily="34" charset="0"/>
              <a:cs typeface="Calibri" panose="020F0502020204030204" pitchFamily="34" charset="0"/>
              <a:sym typeface="Arial"/>
            </a:endParaRPr>
          </a:p>
        </p:txBody>
      </p:sp>
      <p:sp>
        <p:nvSpPr>
          <p:cNvPr id="178" name="Rectangle 177">
            <a:extLst>
              <a:ext uri="{FF2B5EF4-FFF2-40B4-BE49-F238E27FC236}">
                <a16:creationId xmlns:a16="http://schemas.microsoft.com/office/drawing/2014/main" id="{FEA92D4C-3F5E-45E0-9EC3-AA56AF6B6FA1}"/>
              </a:ext>
            </a:extLst>
          </p:cNvPr>
          <p:cNvSpPr>
            <a:spLocks noChangeAspect="1" noChangeArrowheads="1"/>
          </p:cNvSpPr>
          <p:nvPr/>
        </p:nvSpPr>
        <p:spPr bwMode="auto">
          <a:xfrm>
            <a:off x="608115" y="1644855"/>
            <a:ext cx="490827" cy="182277"/>
          </a:xfrm>
          <a:prstGeom prst="rect">
            <a:avLst/>
          </a:prstGeom>
          <a:noFill/>
          <a:ln w="9525">
            <a:noFill/>
            <a:miter lim="800000"/>
            <a:headEnd/>
            <a:tailEnd/>
          </a:ln>
        </p:spPr>
        <p:txBody>
          <a:bodyPr lIns="0" tIns="0" rIns="0" bIns="0">
            <a:no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sz="1102" b="1" i="0" u="none" strike="noStrike" kern="0" cap="none" spc="0" normalizeH="0" baseline="0" noProof="0">
                <a:ln>
                  <a:noFill/>
                </a:ln>
                <a:effectLst/>
                <a:uLnTx/>
                <a:uFillTx/>
                <a:latin typeface="Calibri" panose="020F0502020204030204" pitchFamily="34" charset="0"/>
                <a:cs typeface="Calibri" panose="020F0502020204030204" pitchFamily="34" charset="0"/>
              </a:rPr>
              <a:t>Phase</a:t>
            </a:r>
          </a:p>
        </p:txBody>
      </p:sp>
      <p:sp>
        <p:nvSpPr>
          <p:cNvPr id="179" name="Rectangle 178">
            <a:extLst>
              <a:ext uri="{FF2B5EF4-FFF2-40B4-BE49-F238E27FC236}">
                <a16:creationId xmlns:a16="http://schemas.microsoft.com/office/drawing/2014/main" id="{3BE45AE7-E670-4418-A2A1-23F989D3E283}"/>
              </a:ext>
            </a:extLst>
          </p:cNvPr>
          <p:cNvSpPr>
            <a:spLocks noChangeAspect="1" noChangeArrowheads="1"/>
          </p:cNvSpPr>
          <p:nvPr/>
        </p:nvSpPr>
        <p:spPr bwMode="auto">
          <a:xfrm rot="16200000">
            <a:off x="-56931" y="2728094"/>
            <a:ext cx="1796214" cy="394786"/>
          </a:xfrm>
          <a:prstGeom prst="rect">
            <a:avLst/>
          </a:prstGeom>
          <a:noFill/>
          <a:ln w="9525">
            <a:noFill/>
            <a:miter lim="800000"/>
            <a:headEnd/>
            <a:tailEnd/>
          </a:ln>
        </p:spPr>
        <p:txBody>
          <a:bodyPr lIns="0" tIns="0" rIns="0" bIns="0" anchor="ctr">
            <a:no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b="1" i="0" u="none" strike="noStrike" kern="0" cap="none" spc="0" normalizeH="0" baseline="0" noProof="0">
                <a:ln>
                  <a:noFill/>
                </a:ln>
                <a:effectLst/>
                <a:uLnTx/>
                <a:uFillTx/>
                <a:latin typeface="Calibri" panose="020F0502020204030204" pitchFamily="34" charset="0"/>
                <a:cs typeface="Calibri" panose="020F0502020204030204" pitchFamily="34" charset="0"/>
              </a:rPr>
              <a:t>Approach</a:t>
            </a:r>
          </a:p>
        </p:txBody>
      </p:sp>
      <p:sp>
        <p:nvSpPr>
          <p:cNvPr id="180" name="Rectangle 179">
            <a:extLst>
              <a:ext uri="{FF2B5EF4-FFF2-40B4-BE49-F238E27FC236}">
                <a16:creationId xmlns:a16="http://schemas.microsoft.com/office/drawing/2014/main" id="{24A1D7EF-707E-4110-BFE8-2673753701C4}"/>
              </a:ext>
            </a:extLst>
          </p:cNvPr>
          <p:cNvSpPr>
            <a:spLocks noChangeAspect="1" noChangeArrowheads="1"/>
          </p:cNvSpPr>
          <p:nvPr/>
        </p:nvSpPr>
        <p:spPr bwMode="auto">
          <a:xfrm rot="16200000">
            <a:off x="58959" y="4556929"/>
            <a:ext cx="1505118" cy="394786"/>
          </a:xfrm>
          <a:prstGeom prst="rect">
            <a:avLst/>
          </a:prstGeom>
          <a:noFill/>
          <a:ln w="9525">
            <a:noFill/>
            <a:miter lim="800000"/>
            <a:headEnd/>
            <a:tailEnd/>
          </a:ln>
        </p:spPr>
        <p:txBody>
          <a:bodyPr lIns="0" tIns="0" rIns="0" bIns="0" anchor="ctr">
            <a:noAutofit/>
          </a:bodyPr>
          <a:lstStyle/>
          <a:p>
            <a:pPr marL="0" marR="0" lvl="0" indent="0" algn="ctr" defTabSz="1007852" rtl="0" eaLnBrk="1" fontAlgn="auto" latinLnBrk="0" hangingPunct="1">
              <a:lnSpc>
                <a:spcPct val="100000"/>
              </a:lnSpc>
              <a:spcBef>
                <a:spcPts val="0"/>
              </a:spcBef>
              <a:spcAft>
                <a:spcPts val="0"/>
              </a:spcAft>
              <a:buClrTx/>
              <a:buSzTx/>
              <a:buFontTx/>
              <a:buNone/>
              <a:tabLst/>
              <a:defRPr/>
            </a:pPr>
            <a:r>
              <a:rPr kumimoji="0" lang="en-AU" b="1" i="0" u="none" strike="noStrike" kern="0" cap="none" spc="0" normalizeH="0" baseline="0" noProof="0">
                <a:ln>
                  <a:noFill/>
                </a:ln>
                <a:effectLst/>
                <a:uLnTx/>
                <a:uFillTx/>
                <a:latin typeface="Calibri" panose="020F0502020204030204" pitchFamily="34" charset="0"/>
                <a:cs typeface="Calibri" panose="020F0502020204030204" pitchFamily="34" charset="0"/>
              </a:rPr>
              <a:t>Focus</a:t>
            </a:r>
          </a:p>
        </p:txBody>
      </p:sp>
      <p:pic>
        <p:nvPicPr>
          <p:cNvPr id="181" name="Picture 180">
            <a:extLst>
              <a:ext uri="{FF2B5EF4-FFF2-40B4-BE49-F238E27FC236}">
                <a16:creationId xmlns:a16="http://schemas.microsoft.com/office/drawing/2014/main" id="{7986EFCA-527C-4F09-9ED0-523024822146}"/>
              </a:ext>
            </a:extLst>
          </p:cNvPr>
          <p:cNvPicPr>
            <a:picLocks noChangeAspect="1"/>
          </p:cNvPicPr>
          <p:nvPr/>
        </p:nvPicPr>
        <p:blipFill>
          <a:blip r:embed="rId3"/>
          <a:stretch>
            <a:fillRect/>
          </a:stretch>
        </p:blipFill>
        <p:spPr>
          <a:xfrm>
            <a:off x="10358549" y="162480"/>
            <a:ext cx="1024125" cy="1024125"/>
          </a:xfrm>
          <a:prstGeom prst="rect">
            <a:avLst/>
          </a:prstGeom>
        </p:spPr>
      </p:pic>
    </p:spTree>
    <p:extLst>
      <p:ext uri="{BB962C8B-B14F-4D97-AF65-F5344CB8AC3E}">
        <p14:creationId xmlns:p14="http://schemas.microsoft.com/office/powerpoint/2010/main" val="3117678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E.7 – </a:t>
            </a:r>
            <a:r>
              <a:rPr lang="en-IE">
                <a:latin typeface="Calibri" panose="020F0502020204030204" pitchFamily="34" charset="0"/>
                <a:cs typeface="Calibri" panose="020F0502020204030204" pitchFamily="34" charset="0"/>
              </a:rPr>
              <a:t>Performance Reporting</a:t>
            </a:r>
          </a:p>
        </p:txBody>
      </p:sp>
      <p:pic>
        <p:nvPicPr>
          <p:cNvPr id="111" name="Picture 110">
            <a:extLst>
              <a:ext uri="{FF2B5EF4-FFF2-40B4-BE49-F238E27FC236}">
                <a16:creationId xmlns:a16="http://schemas.microsoft.com/office/drawing/2014/main" id="{28C244F5-FD94-40DC-A706-E634CEAF43C3}"/>
              </a:ext>
            </a:extLst>
          </p:cNvPr>
          <p:cNvPicPr>
            <a:picLocks noChangeAspect="1"/>
          </p:cNvPicPr>
          <p:nvPr/>
        </p:nvPicPr>
        <p:blipFill>
          <a:blip r:embed="rId3"/>
          <a:stretch>
            <a:fillRect/>
          </a:stretch>
        </p:blipFill>
        <p:spPr>
          <a:xfrm>
            <a:off x="10358549" y="162480"/>
            <a:ext cx="1024125" cy="1024125"/>
          </a:xfrm>
          <a:prstGeom prst="rect">
            <a:avLst/>
          </a:prstGeom>
        </p:spPr>
      </p:pic>
      <p:sp>
        <p:nvSpPr>
          <p:cNvPr id="42" name="Rectangle 41">
            <a:extLst>
              <a:ext uri="{FF2B5EF4-FFF2-40B4-BE49-F238E27FC236}">
                <a16:creationId xmlns:a16="http://schemas.microsoft.com/office/drawing/2014/main" id="{F03EB910-712A-4D82-980E-C34D5F5B8E18}"/>
              </a:ext>
            </a:extLst>
          </p:cNvPr>
          <p:cNvSpPr>
            <a:spLocks/>
          </p:cNvSpPr>
          <p:nvPr/>
        </p:nvSpPr>
        <p:spPr>
          <a:xfrm>
            <a:off x="577584" y="1325937"/>
            <a:ext cx="10648503" cy="302340"/>
          </a:xfrm>
          <a:prstGeom prst="rect">
            <a:avLst/>
          </a:prstGeom>
          <a:noFill/>
          <a:ln w="19050">
            <a:noFill/>
          </a:ln>
        </p:spPr>
        <p:txBody>
          <a:bodyPr wrap="square" lIns="71984" tIns="71984" rIns="71984" bIns="71984">
            <a:spAutoFit/>
          </a:bodyPr>
          <a:lstStyle/>
          <a:p>
            <a:pPr>
              <a:lnSpc>
                <a:spcPct val="85000"/>
              </a:lnSpc>
              <a:spcBef>
                <a:spcPts val="600"/>
              </a:spcBef>
              <a:spcAft>
                <a:spcPts val="600"/>
              </a:spcAft>
              <a:buClr>
                <a:srgbClr val="FFE600"/>
              </a:buClr>
              <a:buSzPct val="70000"/>
              <a:tabLst>
                <a:tab pos="228600" algn="l"/>
              </a:tabLst>
              <a:defRPr/>
            </a:pPr>
            <a:r>
              <a:rPr lang="en-IE" sz="1200" kern="0">
                <a:solidFill>
                  <a:schemeClr val="bg1"/>
                </a:solidFill>
                <a:latin typeface="Calibri" panose="020F0502020204030204" pitchFamily="34" charset="0"/>
                <a:cs typeface="Calibri" panose="020F0502020204030204" pitchFamily="34" charset="0"/>
              </a:rPr>
              <a:t>As part of our Service Management activities, your Service Delivery Manager will produce a recurring report which will include:</a:t>
            </a:r>
          </a:p>
        </p:txBody>
      </p:sp>
      <p:grpSp>
        <p:nvGrpSpPr>
          <p:cNvPr id="86" name="Group 85">
            <a:extLst>
              <a:ext uri="{FF2B5EF4-FFF2-40B4-BE49-F238E27FC236}">
                <a16:creationId xmlns:a16="http://schemas.microsoft.com/office/drawing/2014/main" id="{26352A1F-9830-46FA-90C6-34058BFE186F}"/>
              </a:ext>
            </a:extLst>
          </p:cNvPr>
          <p:cNvGrpSpPr/>
          <p:nvPr/>
        </p:nvGrpSpPr>
        <p:grpSpPr>
          <a:xfrm>
            <a:off x="609600" y="1785243"/>
            <a:ext cx="6822146" cy="670369"/>
            <a:chOff x="640390" y="1581030"/>
            <a:chExt cx="6822146" cy="670369"/>
          </a:xfrm>
        </p:grpSpPr>
        <p:sp>
          <p:nvSpPr>
            <p:cNvPr id="87" name="TextBox 86">
              <a:extLst>
                <a:ext uri="{FF2B5EF4-FFF2-40B4-BE49-F238E27FC236}">
                  <a16:creationId xmlns:a16="http://schemas.microsoft.com/office/drawing/2014/main" id="{3694DB1E-4D24-401C-8D56-35B7557B8528}"/>
                </a:ext>
              </a:extLst>
            </p:cNvPr>
            <p:cNvSpPr txBox="1"/>
            <p:nvPr/>
          </p:nvSpPr>
          <p:spPr>
            <a:xfrm>
              <a:off x="1361884" y="1777716"/>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Ticket Summary</a:t>
              </a:r>
            </a:p>
          </p:txBody>
        </p:sp>
        <p:sp>
          <p:nvSpPr>
            <p:cNvPr id="88" name="Hexagon 87">
              <a:extLst>
                <a:ext uri="{FF2B5EF4-FFF2-40B4-BE49-F238E27FC236}">
                  <a16:creationId xmlns:a16="http://schemas.microsoft.com/office/drawing/2014/main" id="{D32B65ED-F0E7-44FC-B4AF-9DC0277E3424}"/>
                </a:ext>
              </a:extLst>
            </p:cNvPr>
            <p:cNvSpPr>
              <a:spLocks/>
            </p:cNvSpPr>
            <p:nvPr/>
          </p:nvSpPr>
          <p:spPr>
            <a:xfrm rot="5400000">
              <a:off x="609918" y="1611502"/>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1</a:t>
              </a:r>
            </a:p>
          </p:txBody>
        </p:sp>
      </p:grpSp>
      <p:grpSp>
        <p:nvGrpSpPr>
          <p:cNvPr id="89" name="Group 88">
            <a:extLst>
              <a:ext uri="{FF2B5EF4-FFF2-40B4-BE49-F238E27FC236}">
                <a16:creationId xmlns:a16="http://schemas.microsoft.com/office/drawing/2014/main" id="{215B06D9-5CAF-4704-8B10-F713DD105A81}"/>
              </a:ext>
            </a:extLst>
          </p:cNvPr>
          <p:cNvGrpSpPr/>
          <p:nvPr/>
        </p:nvGrpSpPr>
        <p:grpSpPr>
          <a:xfrm>
            <a:off x="1006062" y="2350834"/>
            <a:ext cx="6903171" cy="670369"/>
            <a:chOff x="1036852" y="2119089"/>
            <a:chExt cx="6903171" cy="670369"/>
          </a:xfrm>
        </p:grpSpPr>
        <p:sp>
          <p:nvSpPr>
            <p:cNvPr id="90" name="TextBox 89">
              <a:extLst>
                <a:ext uri="{FF2B5EF4-FFF2-40B4-BE49-F238E27FC236}">
                  <a16:creationId xmlns:a16="http://schemas.microsoft.com/office/drawing/2014/main" id="{9BB89EFA-5542-4730-9C50-1E143CFB4B87}"/>
                </a:ext>
              </a:extLst>
            </p:cNvPr>
            <p:cNvSpPr txBox="1"/>
            <p:nvPr/>
          </p:nvSpPr>
          <p:spPr>
            <a:xfrm>
              <a:off x="1839371" y="2315775"/>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Incidents, Platform Availability &amp; Problems</a:t>
              </a:r>
            </a:p>
          </p:txBody>
        </p:sp>
        <p:sp>
          <p:nvSpPr>
            <p:cNvPr id="91" name="Hexagon 90">
              <a:extLst>
                <a:ext uri="{FF2B5EF4-FFF2-40B4-BE49-F238E27FC236}">
                  <a16:creationId xmlns:a16="http://schemas.microsoft.com/office/drawing/2014/main" id="{03637461-7F41-4ACB-A8C5-88382FA894DE}"/>
                </a:ext>
              </a:extLst>
            </p:cNvPr>
            <p:cNvSpPr>
              <a:spLocks/>
            </p:cNvSpPr>
            <p:nvPr/>
          </p:nvSpPr>
          <p:spPr>
            <a:xfrm rot="5400000">
              <a:off x="1006380" y="2149561"/>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2</a:t>
              </a:r>
            </a:p>
          </p:txBody>
        </p:sp>
      </p:grpSp>
      <p:grpSp>
        <p:nvGrpSpPr>
          <p:cNvPr id="92" name="Group 91">
            <a:extLst>
              <a:ext uri="{FF2B5EF4-FFF2-40B4-BE49-F238E27FC236}">
                <a16:creationId xmlns:a16="http://schemas.microsoft.com/office/drawing/2014/main" id="{3C4FFF0E-1886-43FB-95DB-42AAEB3961C9}"/>
              </a:ext>
            </a:extLst>
          </p:cNvPr>
          <p:cNvGrpSpPr/>
          <p:nvPr/>
        </p:nvGrpSpPr>
        <p:grpSpPr>
          <a:xfrm>
            <a:off x="609600" y="2916425"/>
            <a:ext cx="6822146" cy="670369"/>
            <a:chOff x="640390" y="2657149"/>
            <a:chExt cx="6822146" cy="670369"/>
          </a:xfrm>
        </p:grpSpPr>
        <p:sp>
          <p:nvSpPr>
            <p:cNvPr id="93" name="TextBox 92">
              <a:extLst>
                <a:ext uri="{FF2B5EF4-FFF2-40B4-BE49-F238E27FC236}">
                  <a16:creationId xmlns:a16="http://schemas.microsoft.com/office/drawing/2014/main" id="{4DDC62CC-D5B4-4F6B-884F-22DCCE9E0FB3}"/>
                </a:ext>
              </a:extLst>
            </p:cNvPr>
            <p:cNvSpPr txBox="1"/>
            <p:nvPr/>
          </p:nvSpPr>
          <p:spPr>
            <a:xfrm>
              <a:off x="1361884" y="2853835"/>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Platform changes including security updates and maintenance activities</a:t>
              </a:r>
            </a:p>
          </p:txBody>
        </p:sp>
        <p:sp>
          <p:nvSpPr>
            <p:cNvPr id="94" name="Hexagon 93">
              <a:extLst>
                <a:ext uri="{FF2B5EF4-FFF2-40B4-BE49-F238E27FC236}">
                  <a16:creationId xmlns:a16="http://schemas.microsoft.com/office/drawing/2014/main" id="{DE02CB78-948C-411B-8F1B-09491576E180}"/>
                </a:ext>
              </a:extLst>
            </p:cNvPr>
            <p:cNvSpPr>
              <a:spLocks/>
            </p:cNvSpPr>
            <p:nvPr/>
          </p:nvSpPr>
          <p:spPr>
            <a:xfrm rot="5400000">
              <a:off x="609918" y="2687621"/>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3</a:t>
              </a:r>
            </a:p>
          </p:txBody>
        </p:sp>
      </p:grpSp>
      <p:grpSp>
        <p:nvGrpSpPr>
          <p:cNvPr id="95" name="Group 94">
            <a:extLst>
              <a:ext uri="{FF2B5EF4-FFF2-40B4-BE49-F238E27FC236}">
                <a16:creationId xmlns:a16="http://schemas.microsoft.com/office/drawing/2014/main" id="{C07E5554-CCDD-4299-9C35-5327E71CFDD3}"/>
              </a:ext>
            </a:extLst>
          </p:cNvPr>
          <p:cNvGrpSpPr/>
          <p:nvPr/>
        </p:nvGrpSpPr>
        <p:grpSpPr>
          <a:xfrm>
            <a:off x="1006062" y="3482016"/>
            <a:ext cx="6903171" cy="670369"/>
            <a:chOff x="1036852" y="3189133"/>
            <a:chExt cx="6903171" cy="670369"/>
          </a:xfrm>
        </p:grpSpPr>
        <p:sp>
          <p:nvSpPr>
            <p:cNvPr id="96" name="TextBox 95">
              <a:extLst>
                <a:ext uri="{FF2B5EF4-FFF2-40B4-BE49-F238E27FC236}">
                  <a16:creationId xmlns:a16="http://schemas.microsoft.com/office/drawing/2014/main" id="{6A0C67A2-2418-4E09-A03A-47BF93C86CB6}"/>
                </a:ext>
              </a:extLst>
            </p:cNvPr>
            <p:cNvSpPr txBox="1"/>
            <p:nvPr/>
          </p:nvSpPr>
          <p:spPr>
            <a:xfrm>
              <a:off x="1839371" y="3385819"/>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Submitted Service Requests</a:t>
              </a:r>
            </a:p>
          </p:txBody>
        </p:sp>
        <p:sp>
          <p:nvSpPr>
            <p:cNvPr id="97" name="Hexagon 96">
              <a:extLst>
                <a:ext uri="{FF2B5EF4-FFF2-40B4-BE49-F238E27FC236}">
                  <a16:creationId xmlns:a16="http://schemas.microsoft.com/office/drawing/2014/main" id="{924BE018-1D89-450E-A233-BD1DBBD16469}"/>
                </a:ext>
              </a:extLst>
            </p:cNvPr>
            <p:cNvSpPr>
              <a:spLocks/>
            </p:cNvSpPr>
            <p:nvPr/>
          </p:nvSpPr>
          <p:spPr>
            <a:xfrm rot="5400000">
              <a:off x="1006380" y="3219605"/>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4</a:t>
              </a:r>
            </a:p>
          </p:txBody>
        </p:sp>
      </p:grpSp>
      <p:grpSp>
        <p:nvGrpSpPr>
          <p:cNvPr id="98" name="Group 97">
            <a:extLst>
              <a:ext uri="{FF2B5EF4-FFF2-40B4-BE49-F238E27FC236}">
                <a16:creationId xmlns:a16="http://schemas.microsoft.com/office/drawing/2014/main" id="{8077ADD8-DDA4-4C59-A2D9-54CBBB416335}"/>
              </a:ext>
            </a:extLst>
          </p:cNvPr>
          <p:cNvGrpSpPr/>
          <p:nvPr/>
        </p:nvGrpSpPr>
        <p:grpSpPr>
          <a:xfrm>
            <a:off x="609600" y="4047607"/>
            <a:ext cx="6822146" cy="670369"/>
            <a:chOff x="640390" y="3733267"/>
            <a:chExt cx="6822146" cy="670369"/>
          </a:xfrm>
        </p:grpSpPr>
        <p:sp>
          <p:nvSpPr>
            <p:cNvPr id="99" name="TextBox 98">
              <a:extLst>
                <a:ext uri="{FF2B5EF4-FFF2-40B4-BE49-F238E27FC236}">
                  <a16:creationId xmlns:a16="http://schemas.microsoft.com/office/drawing/2014/main" id="{789319A9-7E4F-4FE4-8125-591D358CB57B}"/>
                </a:ext>
              </a:extLst>
            </p:cNvPr>
            <p:cNvSpPr txBox="1"/>
            <p:nvPr/>
          </p:nvSpPr>
          <p:spPr>
            <a:xfrm>
              <a:off x="1361884" y="3929953"/>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Active and Backlog Incidents</a:t>
              </a:r>
            </a:p>
          </p:txBody>
        </p:sp>
        <p:sp>
          <p:nvSpPr>
            <p:cNvPr id="100" name="Hexagon 99">
              <a:extLst>
                <a:ext uri="{FF2B5EF4-FFF2-40B4-BE49-F238E27FC236}">
                  <a16:creationId xmlns:a16="http://schemas.microsoft.com/office/drawing/2014/main" id="{4FC3E723-2345-431C-88EE-95D1407EA8C8}"/>
                </a:ext>
              </a:extLst>
            </p:cNvPr>
            <p:cNvSpPr>
              <a:spLocks/>
            </p:cNvSpPr>
            <p:nvPr/>
          </p:nvSpPr>
          <p:spPr>
            <a:xfrm rot="5400000">
              <a:off x="609918" y="3763739"/>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5</a:t>
              </a:r>
            </a:p>
          </p:txBody>
        </p:sp>
      </p:grpSp>
      <p:grpSp>
        <p:nvGrpSpPr>
          <p:cNvPr id="101" name="Group 100">
            <a:extLst>
              <a:ext uri="{FF2B5EF4-FFF2-40B4-BE49-F238E27FC236}">
                <a16:creationId xmlns:a16="http://schemas.microsoft.com/office/drawing/2014/main" id="{8D7BFD3D-EED3-48A6-9873-57B46275397C}"/>
              </a:ext>
            </a:extLst>
          </p:cNvPr>
          <p:cNvGrpSpPr/>
          <p:nvPr/>
        </p:nvGrpSpPr>
        <p:grpSpPr>
          <a:xfrm>
            <a:off x="1006062" y="4613198"/>
            <a:ext cx="6903171" cy="670369"/>
            <a:chOff x="1036852" y="4271326"/>
            <a:chExt cx="6903171" cy="670369"/>
          </a:xfrm>
        </p:grpSpPr>
        <p:sp>
          <p:nvSpPr>
            <p:cNvPr id="102" name="TextBox 101">
              <a:extLst>
                <a:ext uri="{FF2B5EF4-FFF2-40B4-BE49-F238E27FC236}">
                  <a16:creationId xmlns:a16="http://schemas.microsoft.com/office/drawing/2014/main" id="{8B857003-57BC-4C26-A0EC-C5FD35774643}"/>
                </a:ext>
              </a:extLst>
            </p:cNvPr>
            <p:cNvSpPr txBox="1"/>
            <p:nvPr/>
          </p:nvSpPr>
          <p:spPr>
            <a:xfrm>
              <a:off x="1839371" y="4468012"/>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Production Platform Performance	</a:t>
              </a:r>
            </a:p>
          </p:txBody>
        </p:sp>
        <p:sp>
          <p:nvSpPr>
            <p:cNvPr id="103" name="Hexagon 102">
              <a:extLst>
                <a:ext uri="{FF2B5EF4-FFF2-40B4-BE49-F238E27FC236}">
                  <a16:creationId xmlns:a16="http://schemas.microsoft.com/office/drawing/2014/main" id="{D430D7B6-2219-4CA0-8D93-0D4328A5B7E3}"/>
                </a:ext>
              </a:extLst>
            </p:cNvPr>
            <p:cNvSpPr>
              <a:spLocks/>
            </p:cNvSpPr>
            <p:nvPr/>
          </p:nvSpPr>
          <p:spPr>
            <a:xfrm rot="5400000">
              <a:off x="1006380" y="4301798"/>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6</a:t>
              </a:r>
            </a:p>
          </p:txBody>
        </p:sp>
      </p:grpSp>
      <p:grpSp>
        <p:nvGrpSpPr>
          <p:cNvPr id="104" name="Group 103">
            <a:extLst>
              <a:ext uri="{FF2B5EF4-FFF2-40B4-BE49-F238E27FC236}">
                <a16:creationId xmlns:a16="http://schemas.microsoft.com/office/drawing/2014/main" id="{92236326-7CA9-4ED0-BE64-FBD29919F735}"/>
              </a:ext>
            </a:extLst>
          </p:cNvPr>
          <p:cNvGrpSpPr/>
          <p:nvPr/>
        </p:nvGrpSpPr>
        <p:grpSpPr>
          <a:xfrm>
            <a:off x="609600" y="5178785"/>
            <a:ext cx="6822146" cy="670369"/>
            <a:chOff x="640390" y="4809387"/>
            <a:chExt cx="6822146" cy="670369"/>
          </a:xfrm>
        </p:grpSpPr>
        <p:sp>
          <p:nvSpPr>
            <p:cNvPr id="105" name="TextBox 104">
              <a:extLst>
                <a:ext uri="{FF2B5EF4-FFF2-40B4-BE49-F238E27FC236}">
                  <a16:creationId xmlns:a16="http://schemas.microsoft.com/office/drawing/2014/main" id="{B21D0E01-E1DC-4D37-9804-F4E598A9D92E}"/>
                </a:ext>
              </a:extLst>
            </p:cNvPr>
            <p:cNvSpPr txBox="1"/>
            <p:nvPr/>
          </p:nvSpPr>
          <p:spPr>
            <a:xfrm>
              <a:off x="1361884" y="5006073"/>
              <a:ext cx="6100652" cy="276999"/>
            </a:xfrm>
            <a:prstGeom prst="rect">
              <a:avLst/>
            </a:prstGeom>
            <a:noFill/>
          </p:spPr>
          <p:txBody>
            <a:bodyPr wrap="square">
              <a:spAutoFit/>
            </a:bodyPr>
            <a:lstStyle/>
            <a:p>
              <a:r>
                <a:rPr lang="en-AU" sz="1200">
                  <a:solidFill>
                    <a:schemeClr val="bg1"/>
                  </a:solidFill>
                  <a:latin typeface="Calibri" panose="020F0502020204030204" pitchFamily="34" charset="0"/>
                  <a:cs typeface="Calibri" panose="020F0502020204030204" pitchFamily="34" charset="0"/>
                </a:rPr>
                <a:t>Maintenance recommendations (if applicable)</a:t>
              </a:r>
            </a:p>
          </p:txBody>
        </p:sp>
        <p:sp>
          <p:nvSpPr>
            <p:cNvPr id="106" name="Hexagon 105">
              <a:extLst>
                <a:ext uri="{FF2B5EF4-FFF2-40B4-BE49-F238E27FC236}">
                  <a16:creationId xmlns:a16="http://schemas.microsoft.com/office/drawing/2014/main" id="{0CCEF4C3-3409-4517-A327-224BF2998F99}"/>
                </a:ext>
              </a:extLst>
            </p:cNvPr>
            <p:cNvSpPr>
              <a:spLocks/>
            </p:cNvSpPr>
            <p:nvPr/>
          </p:nvSpPr>
          <p:spPr>
            <a:xfrm rot="5400000">
              <a:off x="609918" y="4839859"/>
              <a:ext cx="670369" cy="609426"/>
            </a:xfrm>
            <a:prstGeom prst="hexagon">
              <a:avLst/>
            </a:prstGeom>
            <a:solidFill>
              <a:srgbClr val="74748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AU" sz="1200" b="1">
                  <a:solidFill>
                    <a:schemeClr val="tx1"/>
                  </a:solidFill>
                  <a:latin typeface="Calibri" panose="020F0502020204030204" pitchFamily="34" charset="0"/>
                  <a:cs typeface="Calibri" panose="020F0502020204030204" pitchFamily="34" charset="0"/>
                </a:rPr>
                <a:t>7</a:t>
              </a:r>
            </a:p>
          </p:txBody>
        </p:sp>
      </p:grpSp>
      <p:grpSp>
        <p:nvGrpSpPr>
          <p:cNvPr id="110" name="Group 109">
            <a:extLst>
              <a:ext uri="{FF2B5EF4-FFF2-40B4-BE49-F238E27FC236}">
                <a16:creationId xmlns:a16="http://schemas.microsoft.com/office/drawing/2014/main" id="{AF5B9EF0-A5CE-4E35-97B1-1224097D13A1}"/>
              </a:ext>
            </a:extLst>
          </p:cNvPr>
          <p:cNvGrpSpPr/>
          <p:nvPr/>
        </p:nvGrpSpPr>
        <p:grpSpPr>
          <a:xfrm>
            <a:off x="1699687" y="2403223"/>
            <a:ext cx="4792554" cy="3445932"/>
            <a:chOff x="1730476" y="2296616"/>
            <a:chExt cx="5732059" cy="3445932"/>
          </a:xfrm>
        </p:grpSpPr>
        <p:cxnSp>
          <p:nvCxnSpPr>
            <p:cNvPr id="112" name="Straight Connector 111">
              <a:extLst>
                <a:ext uri="{FF2B5EF4-FFF2-40B4-BE49-F238E27FC236}">
                  <a16:creationId xmlns:a16="http://schemas.microsoft.com/office/drawing/2014/main" id="{2A77F5B8-3C39-4472-910D-C2869776A3F9}"/>
                </a:ext>
              </a:extLst>
            </p:cNvPr>
            <p:cNvCxnSpPr>
              <a:cxnSpLocks/>
            </p:cNvCxnSpPr>
            <p:nvPr/>
          </p:nvCxnSpPr>
          <p:spPr>
            <a:xfrm>
              <a:off x="1730476" y="2296616"/>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C1E091A-CDBD-4AC6-A114-946BDEB59AE3}"/>
                </a:ext>
              </a:extLst>
            </p:cNvPr>
            <p:cNvCxnSpPr>
              <a:cxnSpLocks/>
            </p:cNvCxnSpPr>
            <p:nvPr/>
          </p:nvCxnSpPr>
          <p:spPr>
            <a:xfrm>
              <a:off x="1730476" y="2862207"/>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B8D1BBF-55D2-4793-8031-A3DB177F7865}"/>
                </a:ext>
              </a:extLst>
            </p:cNvPr>
            <p:cNvCxnSpPr>
              <a:cxnSpLocks/>
            </p:cNvCxnSpPr>
            <p:nvPr/>
          </p:nvCxnSpPr>
          <p:spPr>
            <a:xfrm>
              <a:off x="1730476" y="3427798"/>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ACAF749D-B429-4061-AEF6-002F640E778D}"/>
                </a:ext>
              </a:extLst>
            </p:cNvPr>
            <p:cNvCxnSpPr>
              <a:cxnSpLocks/>
            </p:cNvCxnSpPr>
            <p:nvPr/>
          </p:nvCxnSpPr>
          <p:spPr>
            <a:xfrm>
              <a:off x="1730476" y="3993389"/>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27F6C47-0679-4BC5-99F2-5DCE1A9E4262}"/>
                </a:ext>
              </a:extLst>
            </p:cNvPr>
            <p:cNvCxnSpPr>
              <a:cxnSpLocks/>
            </p:cNvCxnSpPr>
            <p:nvPr/>
          </p:nvCxnSpPr>
          <p:spPr>
            <a:xfrm>
              <a:off x="1730476" y="4558980"/>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D7B7FE1-60A1-441F-8FC1-225F079243A7}"/>
                </a:ext>
              </a:extLst>
            </p:cNvPr>
            <p:cNvCxnSpPr>
              <a:cxnSpLocks/>
            </p:cNvCxnSpPr>
            <p:nvPr/>
          </p:nvCxnSpPr>
          <p:spPr>
            <a:xfrm>
              <a:off x="1730476" y="5124571"/>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399339E-2B8E-48F9-B1F7-0A90F8D30E74}"/>
                </a:ext>
              </a:extLst>
            </p:cNvPr>
            <p:cNvCxnSpPr>
              <a:cxnSpLocks/>
            </p:cNvCxnSpPr>
            <p:nvPr/>
          </p:nvCxnSpPr>
          <p:spPr>
            <a:xfrm>
              <a:off x="1730476" y="5742548"/>
              <a:ext cx="5732059" cy="0"/>
            </a:xfrm>
            <a:prstGeom prst="line">
              <a:avLst/>
            </a:prstGeom>
            <a:ln w="6350"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E968DFF2-ACB2-4A53-9A6F-14B497B7F726}"/>
              </a:ext>
            </a:extLst>
          </p:cNvPr>
          <p:cNvGrpSpPr/>
          <p:nvPr/>
        </p:nvGrpSpPr>
        <p:grpSpPr>
          <a:xfrm>
            <a:off x="7748420" y="2003382"/>
            <a:ext cx="2887707" cy="4122606"/>
            <a:chOff x="7748420" y="2003382"/>
            <a:chExt cx="2887707" cy="4122606"/>
          </a:xfrm>
        </p:grpSpPr>
        <p:pic>
          <p:nvPicPr>
            <p:cNvPr id="119" name="Picture 118" descr="A picture containing flower&#10;&#10;Description automatically generated">
              <a:extLst>
                <a:ext uri="{FF2B5EF4-FFF2-40B4-BE49-F238E27FC236}">
                  <a16:creationId xmlns:a16="http://schemas.microsoft.com/office/drawing/2014/main" id="{20200937-FEE2-43FA-814D-F5DAFE0F61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8420" y="2003382"/>
              <a:ext cx="2887707" cy="4122606"/>
            </a:xfrm>
            <a:prstGeom prst="rect">
              <a:avLst/>
            </a:prstGeom>
            <a:ln w="9525" cap="flat" cmpd="sng" algn="ctr">
              <a:solidFill>
                <a:srgbClr val="C4C4CD"/>
              </a:solidFill>
              <a:prstDash val="solid"/>
              <a:round/>
              <a:headEnd type="none" w="med" len="med"/>
              <a:tailEnd type="none" w="med" len="med"/>
            </a:ln>
            <a:effectLst/>
          </p:spPr>
        </p:pic>
        <p:sp>
          <p:nvSpPr>
            <p:cNvPr id="2" name="TextBox 1">
              <a:extLst>
                <a:ext uri="{FF2B5EF4-FFF2-40B4-BE49-F238E27FC236}">
                  <a16:creationId xmlns:a16="http://schemas.microsoft.com/office/drawing/2014/main" id="{51D2C762-5A0B-48A9-BC9F-55AC7C592728}"/>
                </a:ext>
              </a:extLst>
            </p:cNvPr>
            <p:cNvSpPr txBox="1"/>
            <p:nvPr/>
          </p:nvSpPr>
          <p:spPr>
            <a:xfrm>
              <a:off x="8410576" y="2464692"/>
              <a:ext cx="849592" cy="505588"/>
            </a:xfrm>
            <a:prstGeom prst="rect">
              <a:avLst/>
            </a:prstGeom>
            <a:solidFill>
              <a:schemeClr val="tx1"/>
            </a:solidFill>
          </p:spPr>
          <p:txBody>
            <a:bodyPr wrap="none" lIns="0" tIns="36576" rIns="0" bIns="0" rtlCol="0">
              <a:spAutoFit/>
            </a:bodyPr>
            <a:lstStyle/>
            <a:p>
              <a:pPr algn="l">
                <a:lnSpc>
                  <a:spcPct val="85000"/>
                </a:lnSpc>
                <a:spcAft>
                  <a:spcPts val="600"/>
                </a:spcAft>
                <a:buClr>
                  <a:schemeClr val="accent2"/>
                </a:buClr>
                <a:buSzPct val="70000"/>
              </a:pPr>
              <a:r>
                <a:rPr lang="en-IE" sz="1000" b="1">
                  <a:solidFill>
                    <a:schemeClr val="bg1"/>
                  </a:solidFill>
                  <a:latin typeface="Calibri" panose="020F0502020204030204" pitchFamily="34" charset="0"/>
                  <a:cs typeface="Calibri" panose="020F0502020204030204" pitchFamily="34" charset="0"/>
                </a:rPr>
                <a:t>Monthly Report</a:t>
              </a:r>
            </a:p>
            <a:p>
              <a:pPr algn="l">
                <a:lnSpc>
                  <a:spcPct val="85000"/>
                </a:lnSpc>
                <a:spcAft>
                  <a:spcPts val="600"/>
                </a:spcAft>
                <a:buClr>
                  <a:schemeClr val="accent2"/>
                </a:buClr>
                <a:buSzPct val="70000"/>
              </a:pPr>
              <a:r>
                <a:rPr lang="en-IE" sz="700" b="1">
                  <a:solidFill>
                    <a:schemeClr val="bg1"/>
                  </a:solidFill>
                  <a:latin typeface="Calibri" panose="020F0502020204030204" pitchFamily="34" charset="0"/>
                  <a:cs typeface="Calibri" panose="020F0502020204030204" pitchFamily="34" charset="0"/>
                </a:rPr>
                <a:t>Client X</a:t>
              </a:r>
            </a:p>
            <a:p>
              <a:pPr algn="l">
                <a:lnSpc>
                  <a:spcPct val="85000"/>
                </a:lnSpc>
                <a:spcAft>
                  <a:spcPts val="600"/>
                </a:spcAft>
                <a:buClr>
                  <a:schemeClr val="accent2"/>
                </a:buClr>
                <a:buSzPct val="70000"/>
              </a:pPr>
              <a:r>
                <a:rPr lang="en-IE" sz="700" b="1">
                  <a:solidFill>
                    <a:schemeClr val="bg1"/>
                  </a:solidFill>
                  <a:latin typeface="Calibri" panose="020F0502020204030204" pitchFamily="34" charset="0"/>
                  <a:cs typeface="Calibri" panose="020F0502020204030204" pitchFamily="34" charset="0"/>
                </a:rPr>
                <a:t>April 2023</a:t>
              </a:r>
            </a:p>
          </p:txBody>
        </p:sp>
      </p:grpSp>
    </p:spTree>
    <p:extLst>
      <p:ext uri="{BB962C8B-B14F-4D97-AF65-F5344CB8AC3E}">
        <p14:creationId xmlns:p14="http://schemas.microsoft.com/office/powerpoint/2010/main" val="12242515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12" name="Content Placeholder 3">
            <a:extLst>
              <a:ext uri="{FF2B5EF4-FFF2-40B4-BE49-F238E27FC236}">
                <a16:creationId xmlns:a16="http://schemas.microsoft.com/office/drawing/2014/main" id="{F6E8B279-1398-B4F2-2F45-A63F0E17D8AD}"/>
              </a:ext>
            </a:extLst>
          </p:cNvPr>
          <p:cNvSpPr>
            <a:spLocks noGrp="1"/>
          </p:cNvSpPr>
          <p:nvPr>
            <p:ph idx="1"/>
          </p:nvPr>
        </p:nvSpPr>
        <p:spPr>
          <a:xfrm>
            <a:off x="1493179" y="1265205"/>
            <a:ext cx="5486399" cy="676788"/>
          </a:xfrm>
        </p:spPr>
        <p:txBody>
          <a:bodyPr/>
          <a:lstStyle/>
          <a:p>
            <a:r>
              <a:rPr lang="en-IE">
                <a:latin typeface="Calibri"/>
                <a:cs typeface="Calibri"/>
              </a:rPr>
              <a:t>Assumptions</a:t>
            </a:r>
            <a:endParaRPr lang="en-US"/>
          </a:p>
        </p:txBody>
      </p:sp>
      <p:sp>
        <p:nvSpPr>
          <p:cNvPr id="13" name="Text Placeholder 4">
            <a:extLst>
              <a:ext uri="{FF2B5EF4-FFF2-40B4-BE49-F238E27FC236}">
                <a16:creationId xmlns:a16="http://schemas.microsoft.com/office/drawing/2014/main" id="{520F0468-A3AA-F93D-4825-530FAB52C9CB}"/>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G.</a:t>
            </a:r>
            <a:endParaRPr lang="en-IE">
              <a:solidFill>
                <a:srgbClr val="F6DF0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57847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G.1 – Our Detailed Assumptions</a:t>
            </a:r>
          </a:p>
        </p:txBody>
      </p:sp>
      <p:graphicFrame>
        <p:nvGraphicFramePr>
          <p:cNvPr id="10" name="Table 9">
            <a:extLst>
              <a:ext uri="{FF2B5EF4-FFF2-40B4-BE49-F238E27FC236}">
                <a16:creationId xmlns:a16="http://schemas.microsoft.com/office/drawing/2014/main" id="{DEF1C875-55F5-40A5-AF79-1EF6B560E6B8}"/>
              </a:ext>
            </a:extLst>
          </p:cNvPr>
          <p:cNvGraphicFramePr>
            <a:graphicFrameLocks noGrp="1"/>
          </p:cNvGraphicFramePr>
          <p:nvPr>
            <p:extLst>
              <p:ext uri="{D42A27DB-BD31-4B8C-83A1-F6EECF244321}">
                <p14:modId xmlns:p14="http://schemas.microsoft.com/office/powerpoint/2010/main" val="2822130456"/>
              </p:ext>
            </p:extLst>
          </p:nvPr>
        </p:nvGraphicFramePr>
        <p:xfrm>
          <a:off x="609600" y="1706880"/>
          <a:ext cx="10974387" cy="3444240"/>
        </p:xfrm>
        <a:graphic>
          <a:graphicData uri="http://schemas.openxmlformats.org/drawingml/2006/table">
            <a:tbl>
              <a:tblPr firstRow="1" firstCol="1" bandRow="1"/>
              <a:tblGrid>
                <a:gridCol w="863082">
                  <a:extLst>
                    <a:ext uri="{9D8B030D-6E8A-4147-A177-3AD203B41FA5}">
                      <a16:colId xmlns:a16="http://schemas.microsoft.com/office/drawing/2014/main" val="20000"/>
                    </a:ext>
                  </a:extLst>
                </a:gridCol>
                <a:gridCol w="10111305">
                  <a:extLst>
                    <a:ext uri="{9D8B030D-6E8A-4147-A177-3AD203B41FA5}">
                      <a16:colId xmlns:a16="http://schemas.microsoft.com/office/drawing/2014/main" val="20001"/>
                    </a:ext>
                  </a:extLst>
                </a:gridCol>
              </a:tblGrid>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Ref</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r>
                        <a:rPr lang="en-IE" sz="1400">
                          <a:solidFill>
                            <a:schemeClr val="tx1"/>
                          </a:solidFill>
                          <a:latin typeface="Calibri" panose="020F0502020204030204" pitchFamily="34" charset="0"/>
                          <a:cs typeface="Calibri" panose="020F0502020204030204" pitchFamily="34" charset="0"/>
                        </a:rPr>
                        <a:t>Descrip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indent="0" algn="just" rtl="0" eaLnBrk="1" latinLnBrk="0" hangingPunct="1">
                        <a:buFont typeface="Arial" panose="020B0604020202020204" pitchFamily="34" charset="0"/>
                        <a:buNone/>
                      </a:pP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We assume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a start date once contracts are signed of w/c 01</a:t>
                      </a:r>
                      <a:r>
                        <a:rPr lang="en-US" sz="1000" kern="1200" baseline="30000">
                          <a:solidFill>
                            <a:schemeClr val="bg2">
                              <a:lumMod val="65000"/>
                              <a:lumOff val="35000"/>
                            </a:schemeClr>
                          </a:solidFill>
                          <a:latin typeface="Calibri" panose="020F0502020204030204" pitchFamily="34" charset="0"/>
                          <a:ea typeface="+mn-ea"/>
                          <a:cs typeface="Calibri" panose="020F0502020204030204" pitchFamily="34" charset="0"/>
                        </a:rPr>
                        <a:t>st</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  September 2023. We anticipate a lead time of 1 week</a:t>
                      </a:r>
                      <a:r>
                        <a:rPr lang="en-US" sz="1000" kern="1200" baseline="0">
                          <a:solidFill>
                            <a:schemeClr val="bg2">
                              <a:lumMod val="65000"/>
                              <a:lumOff val="35000"/>
                            </a:schemeClr>
                          </a:solidFill>
                          <a:latin typeface="Calibri" panose="020F0502020204030204" pitchFamily="34" charset="0"/>
                          <a:ea typeface="+mn-ea"/>
                          <a:cs typeface="Calibri" panose="020F0502020204030204" pitchFamily="34" charset="0"/>
                        </a:rPr>
                        <a:t> for all EY resources once start date is confirmed.</a:t>
                      </a:r>
                      <a:endParaRPr lang="en-US" sz="1000" kern="1200">
                        <a:solidFill>
                          <a:schemeClr val="bg2">
                            <a:lumMod val="65000"/>
                            <a:lumOff val="35000"/>
                          </a:schemeClr>
                        </a:solidFill>
                        <a:highlight>
                          <a:srgbClr val="FFFF00"/>
                        </a:highlight>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1"/>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The scope of the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project </a:t>
                      </a: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will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not change/increase from current requirements as set out in the RFP.</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2"/>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Further clarifications and business process diagrams will be initially provided from Saint James Hospita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3"/>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kern="1200" noProof="0">
                          <a:solidFill>
                            <a:schemeClr val="bg2">
                              <a:lumMod val="65000"/>
                              <a:lumOff val="35000"/>
                            </a:schemeClr>
                          </a:solidFill>
                          <a:latin typeface="Calibri" panose="020F0502020204030204" pitchFamily="34" charset="0"/>
                          <a:ea typeface="+mn-ea"/>
                          <a:cs typeface="Calibri" panose="020F0502020204030204" pitchFamily="34" charset="0"/>
                        </a:rPr>
                        <a:t>Timely</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 availability of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Saint James Hospital </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regional process Lead, subject matter expert </a:t>
                      </a:r>
                      <a:r>
                        <a:rPr lang="en-GB" sz="1000" kern="1200" noProof="0">
                          <a:solidFill>
                            <a:schemeClr val="bg2">
                              <a:lumMod val="65000"/>
                              <a:lumOff val="35000"/>
                            </a:schemeClr>
                          </a:solidFill>
                          <a:latin typeface="Calibri" panose="020F0502020204030204" pitchFamily="34" charset="0"/>
                          <a:ea typeface="+mn-ea"/>
                          <a:cs typeface="Calibri" panose="020F0502020204030204" pitchFamily="34" charset="0"/>
                        </a:rPr>
                        <a:t>and s</a:t>
                      </a:r>
                      <a:r>
                        <a:rPr lang="en-GB" sz="1000" kern="1200" err="1">
                          <a:solidFill>
                            <a:schemeClr val="bg2">
                              <a:lumMod val="65000"/>
                              <a:lumOff val="35000"/>
                            </a:schemeClr>
                          </a:solidFill>
                          <a:latin typeface="Calibri" panose="020F0502020204030204" pitchFamily="34" charset="0"/>
                          <a:ea typeface="+mn-ea"/>
                          <a:cs typeface="Calibri" panose="020F0502020204030204" pitchFamily="34" charset="0"/>
                        </a:rPr>
                        <a:t>uper</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 user resources as described in the RFP in each impacted reg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4"/>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 typeface="Arial" panose="020B0604020202020204" pitchFamily="34" charset="0"/>
                        <a:buNone/>
                      </a:pP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St. James's Hospital</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 Project Governance resources will be made available as described in the RFP.</a:t>
                      </a:r>
                      <a:endPar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5"/>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6</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 typeface="Arial" panose="020B0604020202020204" pitchFamily="34" charset="0"/>
                        <a:buNone/>
                      </a:pPr>
                      <a:r>
                        <a:rPr lang="en-GB" sz="1000" kern="1200" noProof="0">
                          <a:solidFill>
                            <a:schemeClr val="bg2">
                              <a:lumMod val="65000"/>
                              <a:lumOff val="35000"/>
                            </a:schemeClr>
                          </a:solidFill>
                          <a:latin typeface="Calibri" panose="020F0502020204030204" pitchFamily="34" charset="0"/>
                          <a:ea typeface="+mn-ea"/>
                          <a:cs typeface="Calibri" panose="020F0502020204030204" pitchFamily="34" charset="0"/>
                        </a:rPr>
                        <a:t>We have assumed that Business Change (including Engagement and Readiness) will be a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St. James's Hospital</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 </a:t>
                      </a:r>
                      <a:r>
                        <a:rPr lang="en-GB" sz="1000" kern="1200" noProof="0">
                          <a:solidFill>
                            <a:schemeClr val="bg2">
                              <a:lumMod val="65000"/>
                              <a:lumOff val="35000"/>
                            </a:schemeClr>
                          </a:solidFill>
                          <a:latin typeface="Calibri" panose="020F0502020204030204" pitchFamily="34" charset="0"/>
                          <a:ea typeface="+mn-ea"/>
                          <a:cs typeface="Calibri" panose="020F0502020204030204" pitchFamily="34" charset="0"/>
                        </a:rPr>
                        <a:t>led </a:t>
                      </a:r>
                      <a:r>
                        <a:rPr lang="en-GB" sz="1000" kern="1200">
                          <a:solidFill>
                            <a:schemeClr val="bg2">
                              <a:lumMod val="65000"/>
                              <a:lumOff val="35000"/>
                            </a:schemeClr>
                          </a:solidFill>
                          <a:latin typeface="Calibri" panose="020F0502020204030204" pitchFamily="34" charset="0"/>
                          <a:ea typeface="+mn-ea"/>
                          <a:cs typeface="Calibri" panose="020F0502020204030204" pitchFamily="34" charset="0"/>
                        </a:rPr>
                        <a:t>and </a:t>
                      </a:r>
                      <a:r>
                        <a:rPr lang="en-GB" sz="1000" kern="1200" noProof="0">
                          <a:solidFill>
                            <a:schemeClr val="bg2">
                              <a:lumMod val="65000"/>
                              <a:lumOff val="35000"/>
                            </a:schemeClr>
                          </a:solidFill>
                          <a:latin typeface="Calibri" panose="020F0502020204030204" pitchFamily="34" charset="0"/>
                          <a:ea typeface="+mn-ea"/>
                          <a:cs typeface="Calibri" panose="020F0502020204030204" pitchFamily="34" charset="0"/>
                        </a:rPr>
                        <a:t>delivered activity supported by one Business Change EY FTE.</a:t>
                      </a:r>
                      <a:endParaRPr lang="en-US"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7"/>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7</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We assume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Saint James Hospital </a:t>
                      </a: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have agreed data owners that are accountable for data quality and will perform the required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pre-migration </a:t>
                      </a: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cleansing activities .</a:t>
                      </a: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8"/>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The EY data migration lead will provide the framework and approach for migrating data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and will implement</a:t>
                      </a:r>
                      <a:r>
                        <a:rPr lang="en-US" sz="1000" kern="1200" noProof="0">
                          <a:solidFill>
                            <a:schemeClr val="bg2">
                              <a:lumMod val="65000"/>
                              <a:lumOff val="35000"/>
                            </a:schemeClr>
                          </a:solidFill>
                          <a:latin typeface="Calibri" panose="020F0502020204030204" pitchFamily="34" charset="0"/>
                          <a:ea typeface="+mn-ea"/>
                          <a:cs typeface="Calibri" panose="020F0502020204030204" pitchFamily="34" charset="0"/>
                        </a:rPr>
                        <a:t> the </a:t>
                      </a: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data migration.</a:t>
                      </a: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9"/>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IE" sz="1000" kern="1200">
                          <a:solidFill>
                            <a:schemeClr val="bg2">
                              <a:lumMod val="65000"/>
                              <a:lumOff val="35000"/>
                            </a:schemeClr>
                          </a:solidFill>
                          <a:latin typeface="Calibri" panose="020F0502020204030204" pitchFamily="34" charset="0"/>
                          <a:ea typeface="+mn-ea"/>
                          <a:cs typeface="Calibri" panose="020F0502020204030204" pitchFamily="34" charset="0"/>
                        </a:rPr>
                        <a:t>The volume of data to be migrated to the new solution will be agreed during the Analysis</a:t>
                      </a:r>
                      <a:r>
                        <a:rPr lang="en-IE" sz="1000" kern="1200" baseline="0">
                          <a:solidFill>
                            <a:schemeClr val="bg2">
                              <a:lumMod val="65000"/>
                              <a:lumOff val="35000"/>
                            </a:schemeClr>
                          </a:solidFill>
                          <a:latin typeface="Calibri" panose="020F0502020204030204" pitchFamily="34" charset="0"/>
                          <a:ea typeface="+mn-ea"/>
                          <a:cs typeface="Calibri" panose="020F0502020204030204" pitchFamily="34" charset="0"/>
                        </a:rPr>
                        <a:t> and </a:t>
                      </a:r>
                      <a:r>
                        <a:rPr lang="en-IE" sz="1000" kern="1200">
                          <a:solidFill>
                            <a:schemeClr val="bg2">
                              <a:lumMod val="65000"/>
                              <a:lumOff val="35000"/>
                            </a:schemeClr>
                          </a:solidFill>
                          <a:latin typeface="Calibri" panose="020F0502020204030204" pitchFamily="34" charset="0"/>
                          <a:ea typeface="+mn-ea"/>
                          <a:cs typeface="Calibri" panose="020F0502020204030204" pitchFamily="34" charset="0"/>
                        </a:rPr>
                        <a:t>Design phas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Tx/>
                        <a:buNone/>
                      </a:pPr>
                      <a:r>
                        <a:rPr lang="en-US" sz="1000" kern="1200">
                          <a:solidFill>
                            <a:schemeClr val="bg2">
                              <a:lumMod val="65000"/>
                              <a:lumOff val="35000"/>
                            </a:schemeClr>
                          </a:solidFill>
                          <a:latin typeface="Calibri" panose="020F0502020204030204" pitchFamily="34" charset="0"/>
                          <a:ea typeface="+mn-ea"/>
                          <a:cs typeface="Calibri" panose="020F0502020204030204" pitchFamily="34" charset="0"/>
                        </a:rPr>
                        <a:t>St. James's Hospital</a:t>
                      </a:r>
                      <a:r>
                        <a:rPr lang="en-IE" sz="1000">
                          <a:solidFill>
                            <a:schemeClr val="bg2">
                              <a:lumMod val="65000"/>
                              <a:lumOff val="35000"/>
                            </a:schemeClr>
                          </a:solidFill>
                          <a:latin typeface="Calibri" panose="020F0502020204030204" pitchFamily="34" charset="0"/>
                          <a:cs typeface="Calibri" panose="020F0502020204030204" pitchFamily="34" charset="0"/>
                        </a:rPr>
                        <a:t> will be responsible for the provision of clean data from source systems and will provide any enrichment required for entry into</a:t>
                      </a:r>
                      <a:r>
                        <a:rPr lang="en-IE" sz="1000" baseline="0">
                          <a:solidFill>
                            <a:schemeClr val="bg2">
                              <a:lumMod val="65000"/>
                              <a:lumOff val="35000"/>
                            </a:schemeClr>
                          </a:solidFill>
                          <a:latin typeface="Calibri" panose="020F0502020204030204" pitchFamily="34" charset="0"/>
                          <a:cs typeface="Calibri" panose="020F0502020204030204" pitchFamily="34" charset="0"/>
                        </a:rPr>
                        <a:t> the proposed </a:t>
                      </a:r>
                      <a:r>
                        <a:rPr lang="en-IE" sz="1000">
                          <a:solidFill>
                            <a:schemeClr val="bg2">
                              <a:lumMod val="65000"/>
                              <a:lumOff val="35000"/>
                            </a:schemeClr>
                          </a:solidFill>
                          <a:latin typeface="Calibri" panose="020F0502020204030204" pitchFamily="34" charset="0"/>
                          <a:cs typeface="Calibri" panose="020F0502020204030204" pitchFamily="34" charset="0"/>
                        </a:rPr>
                        <a:t>solutions data storage locations, for example, SQL databases and file stores</a:t>
                      </a:r>
                      <a:r>
                        <a:rPr lang="en-IE" sz="1000" baseline="0">
                          <a:solidFill>
                            <a:schemeClr val="bg2">
                              <a:lumMod val="65000"/>
                              <a:lumOff val="35000"/>
                            </a:schemeClr>
                          </a:solidFill>
                          <a:latin typeface="Calibri" panose="020F0502020204030204" pitchFamily="34" charset="0"/>
                          <a:cs typeface="Calibri" panose="020F0502020204030204" pitchFamily="34" charset="0"/>
                        </a:rPr>
                        <a:t>.</a:t>
                      </a: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5972298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G.1 – Our Detailed Assumptions</a:t>
            </a:r>
          </a:p>
        </p:txBody>
      </p:sp>
      <p:graphicFrame>
        <p:nvGraphicFramePr>
          <p:cNvPr id="10" name="Table 9">
            <a:extLst>
              <a:ext uri="{FF2B5EF4-FFF2-40B4-BE49-F238E27FC236}">
                <a16:creationId xmlns:a16="http://schemas.microsoft.com/office/drawing/2014/main" id="{DEF1C875-55F5-40A5-AF79-1EF6B560E6B8}"/>
              </a:ext>
            </a:extLst>
          </p:cNvPr>
          <p:cNvGraphicFramePr>
            <a:graphicFrameLocks noGrp="1"/>
          </p:cNvGraphicFramePr>
          <p:nvPr>
            <p:extLst>
              <p:ext uri="{D42A27DB-BD31-4B8C-83A1-F6EECF244321}">
                <p14:modId xmlns:p14="http://schemas.microsoft.com/office/powerpoint/2010/main" val="1038703555"/>
              </p:ext>
            </p:extLst>
          </p:nvPr>
        </p:nvGraphicFramePr>
        <p:xfrm>
          <a:off x="609600" y="1578143"/>
          <a:ext cx="10974388" cy="4145280"/>
        </p:xfrm>
        <a:graphic>
          <a:graphicData uri="http://schemas.openxmlformats.org/drawingml/2006/table">
            <a:tbl>
              <a:tblPr firstRow="1" firstCol="1" bandRow="1"/>
              <a:tblGrid>
                <a:gridCol w="863082">
                  <a:extLst>
                    <a:ext uri="{9D8B030D-6E8A-4147-A177-3AD203B41FA5}">
                      <a16:colId xmlns:a16="http://schemas.microsoft.com/office/drawing/2014/main" val="20000"/>
                    </a:ext>
                  </a:extLst>
                </a:gridCol>
                <a:gridCol w="10111306">
                  <a:extLst>
                    <a:ext uri="{9D8B030D-6E8A-4147-A177-3AD203B41FA5}">
                      <a16:colId xmlns:a16="http://schemas.microsoft.com/office/drawing/2014/main" val="20001"/>
                    </a:ext>
                  </a:extLst>
                </a:gridCol>
              </a:tblGrid>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Ref</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r>
                        <a:rPr lang="en-IE" sz="1400">
                          <a:solidFill>
                            <a:schemeClr val="tx1"/>
                          </a:solidFill>
                          <a:latin typeface="Calibri"/>
                          <a:cs typeface="Calibri"/>
                        </a:rPr>
                        <a:t>Description</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Tx/>
                        <a:buNone/>
                      </a:pPr>
                      <a:r>
                        <a:rPr lang="en-US" sz="1000" kern="1200">
                          <a:solidFill>
                            <a:schemeClr val="bg2">
                              <a:lumMod val="65000"/>
                              <a:lumOff val="35000"/>
                            </a:schemeClr>
                          </a:solidFill>
                          <a:latin typeface="Calibri"/>
                          <a:ea typeface="+mn-ea"/>
                          <a:cs typeface="Calibri"/>
                        </a:rPr>
                        <a:t>St. James's Hospital</a:t>
                      </a:r>
                      <a:r>
                        <a:rPr lang="en-IE" sz="1000" kern="1200">
                          <a:solidFill>
                            <a:schemeClr val="bg2">
                              <a:lumMod val="65000"/>
                              <a:lumOff val="35000"/>
                            </a:schemeClr>
                          </a:solidFill>
                          <a:latin typeface="Calibri"/>
                          <a:ea typeface="+mn-ea"/>
                          <a:cs typeface="Calibri"/>
                        </a:rPr>
                        <a:t> will identify and migrate any risk to data flows in the current system(s) which may be caused by introducing new data storage location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1"/>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US" sz="1000" kern="1200" noProof="0">
                          <a:solidFill>
                            <a:schemeClr val="bg2">
                              <a:lumMod val="65000"/>
                              <a:lumOff val="35000"/>
                            </a:schemeClr>
                          </a:solidFill>
                          <a:latin typeface="Calibri"/>
                          <a:ea typeface="+mn-ea"/>
                          <a:cs typeface="Calibri"/>
                        </a:rPr>
                        <a:t>A Train-the-Trainer approach will be adopted to equip </a:t>
                      </a:r>
                      <a:r>
                        <a:rPr lang="en-US" sz="1000" kern="1200">
                          <a:solidFill>
                            <a:schemeClr val="bg2">
                              <a:lumMod val="65000"/>
                              <a:lumOff val="35000"/>
                            </a:schemeClr>
                          </a:solidFill>
                          <a:latin typeface="Calibri"/>
                          <a:ea typeface="+mn-ea"/>
                          <a:cs typeface="Calibri"/>
                        </a:rPr>
                        <a:t>Saint James Hospital </a:t>
                      </a:r>
                      <a:r>
                        <a:rPr lang="en-US" sz="1000" kern="1200" noProof="0">
                          <a:solidFill>
                            <a:schemeClr val="bg2">
                              <a:lumMod val="65000"/>
                              <a:lumOff val="35000"/>
                            </a:schemeClr>
                          </a:solidFill>
                          <a:latin typeface="Calibri"/>
                          <a:ea typeface="+mn-ea"/>
                          <a:cs typeface="Calibri"/>
                        </a:rPr>
                        <a:t>and </a:t>
                      </a:r>
                      <a:r>
                        <a:rPr lang="en-US" sz="1000" kern="1200">
                          <a:solidFill>
                            <a:schemeClr val="bg2">
                              <a:lumMod val="65000"/>
                              <a:lumOff val="35000"/>
                            </a:schemeClr>
                          </a:solidFill>
                          <a:latin typeface="Calibri"/>
                          <a:ea typeface="+mn-ea"/>
                          <a:cs typeface="Calibri"/>
                        </a:rPr>
                        <a:t>core project resources </a:t>
                      </a:r>
                      <a:r>
                        <a:rPr lang="en-US" sz="1000" kern="1200" noProof="0">
                          <a:solidFill>
                            <a:schemeClr val="bg2">
                              <a:lumMod val="65000"/>
                              <a:lumOff val="35000"/>
                            </a:schemeClr>
                          </a:solidFill>
                          <a:latin typeface="Calibri"/>
                          <a:ea typeface="+mn-ea"/>
                          <a:cs typeface="Calibri"/>
                        </a:rPr>
                        <a:t>to deliver end-user training.</a:t>
                      </a:r>
                      <a:endParaRPr lang="en-IE" sz="1000" kern="1200">
                        <a:solidFill>
                          <a:schemeClr val="bg2">
                            <a:lumMod val="65000"/>
                            <a:lumOff val="35000"/>
                          </a:schemeClr>
                        </a:solidFill>
                        <a:latin typeface="Calibri"/>
                        <a:ea typeface="+mn-ea"/>
                        <a:cs typeface="Calibri"/>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2"/>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US" sz="1000" kern="1200">
                          <a:solidFill>
                            <a:schemeClr val="bg2">
                              <a:lumMod val="65000"/>
                              <a:lumOff val="35000"/>
                            </a:schemeClr>
                          </a:solidFill>
                          <a:latin typeface="Calibri"/>
                          <a:ea typeface="+mn-ea"/>
                          <a:cs typeface="Calibri"/>
                        </a:rPr>
                        <a:t>We assume a ‘phased’ rollout </a:t>
                      </a:r>
                      <a:r>
                        <a:rPr lang="en-US" sz="1000" kern="1200" noProof="0">
                          <a:solidFill>
                            <a:schemeClr val="bg2">
                              <a:lumMod val="65000"/>
                              <a:lumOff val="35000"/>
                            </a:schemeClr>
                          </a:solidFill>
                          <a:latin typeface="Calibri"/>
                          <a:ea typeface="+mn-ea"/>
                          <a:cs typeface="Calibri"/>
                        </a:rPr>
                        <a:t>and </a:t>
                      </a:r>
                      <a:r>
                        <a:rPr lang="en-US" sz="1000" kern="1200">
                          <a:solidFill>
                            <a:schemeClr val="bg2">
                              <a:lumMod val="65000"/>
                              <a:lumOff val="35000"/>
                            </a:schemeClr>
                          </a:solidFill>
                          <a:latin typeface="Calibri"/>
                          <a:ea typeface="+mn-ea"/>
                          <a:cs typeface="Calibri"/>
                        </a:rPr>
                        <a:t>deployment approach across all outlined regions.</a:t>
                      </a:r>
                      <a:endParaRPr lang="en-IE" sz="1000" kern="1200">
                        <a:solidFill>
                          <a:schemeClr val="bg2">
                            <a:lumMod val="65000"/>
                            <a:lumOff val="35000"/>
                          </a:schemeClr>
                        </a:solidFill>
                        <a:latin typeface="Calibri"/>
                        <a:ea typeface="+mn-ea"/>
                        <a:cs typeface="Calibri"/>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3"/>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r>
                        <a:rPr lang="en-GB" sz="1000" kern="1200" noProof="0">
                          <a:solidFill>
                            <a:schemeClr val="bg2">
                              <a:lumMod val="65000"/>
                              <a:lumOff val="35000"/>
                            </a:schemeClr>
                          </a:solidFill>
                          <a:latin typeface="Calibri"/>
                          <a:ea typeface="+mn-ea"/>
                          <a:cs typeface="Calibri"/>
                        </a:rPr>
                        <a:t>Proposed solution </a:t>
                      </a:r>
                      <a:r>
                        <a:rPr lang="en-US" sz="1000" kern="1200" noProof="0">
                          <a:solidFill>
                            <a:schemeClr val="bg2">
                              <a:lumMod val="65000"/>
                              <a:lumOff val="35000"/>
                            </a:schemeClr>
                          </a:solidFill>
                          <a:latin typeface="Calibri"/>
                          <a:ea typeface="+mn-ea"/>
                          <a:cs typeface="Calibri"/>
                        </a:rPr>
                        <a:t>Deployment Roadmap will be provided during the Foundations phase to avoid any conflicts in deployment planning.</a:t>
                      </a:r>
                      <a:endParaRPr lang="en-IE" sz="1000" kern="1200">
                        <a:solidFill>
                          <a:schemeClr val="bg2">
                            <a:lumMod val="65000"/>
                            <a:lumOff val="35000"/>
                          </a:schemeClr>
                        </a:solidFill>
                        <a:latin typeface="Calibri"/>
                        <a:ea typeface="+mn-ea"/>
                        <a:cs typeface="Calibri"/>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4"/>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algn="just"/>
                      <a:r>
                        <a:rPr lang="en-US" sz="1000" kern="1200">
                          <a:solidFill>
                            <a:schemeClr val="bg2">
                              <a:lumMod val="65000"/>
                              <a:lumOff val="35000"/>
                            </a:schemeClr>
                          </a:solidFill>
                          <a:latin typeface="Calibri"/>
                          <a:ea typeface="+mn-ea"/>
                          <a:cs typeface="Calibri"/>
                        </a:rPr>
                        <a:t>St. James's Hospital</a:t>
                      </a:r>
                      <a:r>
                        <a:rPr lang="en-IE" sz="1000" kern="1200">
                          <a:solidFill>
                            <a:schemeClr val="bg2">
                              <a:lumMod val="65000"/>
                              <a:lumOff val="35000"/>
                            </a:schemeClr>
                          </a:solidFill>
                          <a:latin typeface="Calibri"/>
                          <a:ea typeface="+mn-ea"/>
                          <a:cs typeface="Calibri"/>
                        </a:rPr>
                        <a:t> will ensure the necessary technology infrastructure is available when required.</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5"/>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6</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algn="just"/>
                      <a:r>
                        <a:rPr lang="en-IE" sz="1000" kern="1200">
                          <a:solidFill>
                            <a:schemeClr val="bg2">
                              <a:lumMod val="65000"/>
                              <a:lumOff val="35000"/>
                            </a:schemeClr>
                          </a:solidFill>
                          <a:latin typeface="Calibri"/>
                          <a:ea typeface="+mn-ea"/>
                          <a:cs typeface="Calibri"/>
                        </a:rPr>
                        <a:t>Access to client resources, systems, relevant documentation in a timely manner is fundamental to the success of the implementation.</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7"/>
                  </a:ext>
                </a:extLst>
              </a:tr>
              <a:tr h="303994">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b="1" kern="1200">
                          <a:solidFill>
                            <a:schemeClr val="tx1"/>
                          </a:solidFill>
                          <a:latin typeface="Calibri"/>
                          <a:ea typeface="+mn-ea"/>
                          <a:cs typeface="Calibri"/>
                        </a:rPr>
                        <a:t>17</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algn="just"/>
                      <a:r>
                        <a:rPr lang="en-IE" sz="1000" kern="1200">
                          <a:solidFill>
                            <a:schemeClr val="bg2">
                              <a:lumMod val="65000"/>
                              <a:lumOff val="35000"/>
                            </a:schemeClr>
                          </a:solidFill>
                          <a:latin typeface="Calibri"/>
                          <a:ea typeface="+mn-ea"/>
                          <a:cs typeface="Calibri"/>
                        </a:rPr>
                        <a:t>Regular update/release windows during test phases to be agreed during Foundation phas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8"/>
                  </a:ext>
                </a:extLst>
              </a:tr>
              <a:tr h="303994">
                <a:tc>
                  <a:txBody>
                    <a:bodyPr/>
                    <a:lstStyle/>
                    <a:p>
                      <a:pPr algn="ctr"/>
                      <a:r>
                        <a:rPr lang="en-IE" sz="1400" b="1" kern="1200">
                          <a:solidFill>
                            <a:schemeClr val="tx1"/>
                          </a:solidFill>
                          <a:latin typeface="Calibri"/>
                          <a:ea typeface="+mn-ea"/>
                          <a:cs typeface="Calibri"/>
                        </a:rPr>
                        <a:t>18</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pPr marL="0" marR="0" lvl="0" indent="0" algn="just" defTabSz="801619" rtl="0" eaLnBrk="1" fontAlgn="auto" latinLnBrk="0" hangingPunct="1">
                        <a:lnSpc>
                          <a:spcPct val="100000"/>
                        </a:lnSpc>
                        <a:spcBef>
                          <a:spcPts val="0"/>
                        </a:spcBef>
                        <a:spcAft>
                          <a:spcPts val="0"/>
                        </a:spcAft>
                        <a:buClrTx/>
                        <a:buSzTx/>
                        <a:buFontTx/>
                        <a:buNone/>
                        <a:tabLst/>
                        <a:defRPr/>
                      </a:pPr>
                      <a:r>
                        <a:rPr lang="en-IE" sz="1000" kern="1200">
                          <a:solidFill>
                            <a:schemeClr val="bg2">
                              <a:lumMod val="65000"/>
                              <a:lumOff val="35000"/>
                            </a:schemeClr>
                          </a:solidFill>
                          <a:latin typeface="Calibri"/>
                          <a:ea typeface="+mn-ea"/>
                          <a:cs typeface="Calibri"/>
                        </a:rPr>
                        <a:t>Business sign off will be made in a timely manner with a clear escalation path defined during the Foundation phase of the project.</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0"/>
                  </a:ext>
                </a:extLst>
              </a:tr>
              <a:tr h="303994">
                <a:tc>
                  <a:txBody>
                    <a:bodyPr/>
                    <a:lstStyle/>
                    <a:p>
                      <a:pPr algn="ctr"/>
                      <a:r>
                        <a:rPr lang="en-GB" sz="1400" b="1" kern="1200">
                          <a:solidFill>
                            <a:schemeClr val="tx1"/>
                          </a:solidFill>
                          <a:latin typeface="Calibri"/>
                          <a:ea typeface="+mn-ea"/>
                          <a:cs typeface="Calibri"/>
                        </a:rPr>
                        <a:t>1</a:t>
                      </a:r>
                      <a:r>
                        <a:rPr lang="en-IE" sz="1400" b="1" kern="1200">
                          <a:solidFill>
                            <a:schemeClr val="tx1"/>
                          </a:solidFill>
                          <a:latin typeface="Calibri"/>
                          <a:ea typeface="+mn-ea"/>
                          <a:cs typeface="Calibri"/>
                        </a:rPr>
                        <a:t>9</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rtl="0" eaLnBrk="1" fontAlgn="auto" latinLnBrk="0" hangingPunct="1">
                        <a:lnSpc>
                          <a:spcPct val="100000"/>
                        </a:lnSpc>
                        <a:spcBef>
                          <a:spcPts val="0"/>
                        </a:spcBef>
                        <a:spcAft>
                          <a:spcPts val="0"/>
                        </a:spcAft>
                        <a:buClrTx/>
                        <a:buSzTx/>
                        <a:buFontTx/>
                        <a:buNone/>
                      </a:pPr>
                      <a:r>
                        <a:rPr lang="en-IE" sz="1000" kern="1200">
                          <a:solidFill>
                            <a:schemeClr val="bg2">
                              <a:lumMod val="65000"/>
                              <a:lumOff val="35000"/>
                            </a:schemeClr>
                          </a:solidFill>
                          <a:latin typeface="Calibri"/>
                          <a:ea typeface="+mn-ea"/>
                          <a:cs typeface="Calibri"/>
                        </a:rPr>
                        <a:t>Development of training materials will be the responsibility of EY with support as required from </a:t>
                      </a:r>
                      <a:r>
                        <a:rPr lang="en-US" sz="1000" kern="1200">
                          <a:solidFill>
                            <a:schemeClr val="bg2">
                              <a:lumMod val="65000"/>
                              <a:lumOff val="35000"/>
                            </a:schemeClr>
                          </a:solidFill>
                          <a:latin typeface="Calibri"/>
                          <a:ea typeface="+mn-ea"/>
                          <a:cs typeface="Calibri"/>
                        </a:rPr>
                        <a:t>St. James's Hospital.</a:t>
                      </a:r>
                      <a:endParaRPr lang="en-IE" sz="1000" kern="1200">
                        <a:solidFill>
                          <a:schemeClr val="bg2">
                            <a:lumMod val="65000"/>
                            <a:lumOff val="35000"/>
                          </a:schemeClr>
                        </a:solidFill>
                        <a:latin typeface="Calibri"/>
                        <a:ea typeface="+mn-ea"/>
                        <a:cs typeface="Calibri"/>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2"/>
                  </a:ext>
                </a:extLst>
              </a:tr>
              <a:tr h="303994">
                <a:tc>
                  <a:txBody>
                    <a:bodyPr/>
                    <a:lstStyle/>
                    <a:p>
                      <a:pPr algn="ctr"/>
                      <a:r>
                        <a:rPr lang="en-IE" sz="1400" b="1" kern="1200">
                          <a:solidFill>
                            <a:schemeClr val="tx1"/>
                          </a:solidFill>
                          <a:latin typeface="Calibri"/>
                          <a:ea typeface="+mn-ea"/>
                          <a:cs typeface="Calibri"/>
                        </a:rPr>
                        <a:t>2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rtl="0" eaLnBrk="1" fontAlgn="auto" latinLnBrk="0" hangingPunct="1">
                        <a:lnSpc>
                          <a:spcPct val="100000"/>
                        </a:lnSpc>
                        <a:spcBef>
                          <a:spcPts val="0"/>
                        </a:spcBef>
                        <a:spcAft>
                          <a:spcPts val="0"/>
                        </a:spcAft>
                        <a:buClrTx/>
                        <a:buSzTx/>
                        <a:buFontTx/>
                        <a:buNone/>
                      </a:pPr>
                      <a:r>
                        <a:rPr lang="en-IE" sz="1000" kern="1200">
                          <a:solidFill>
                            <a:schemeClr val="bg2">
                              <a:lumMod val="65000"/>
                              <a:lumOff val="35000"/>
                            </a:schemeClr>
                          </a:solidFill>
                          <a:latin typeface="Calibri"/>
                          <a:ea typeface="+mn-ea"/>
                          <a:cs typeface="Calibri"/>
                        </a:rPr>
                        <a:t>Changes to the </a:t>
                      </a:r>
                      <a:r>
                        <a:rPr lang="en-US" sz="1000" kern="1200">
                          <a:solidFill>
                            <a:schemeClr val="bg2">
                              <a:lumMod val="65000"/>
                              <a:lumOff val="35000"/>
                            </a:schemeClr>
                          </a:solidFill>
                          <a:latin typeface="Calibri"/>
                          <a:ea typeface="+mn-ea"/>
                          <a:cs typeface="Calibri"/>
                        </a:rPr>
                        <a:t>St. James's Hospital</a:t>
                      </a:r>
                      <a:r>
                        <a:rPr lang="en-IE" sz="1000" kern="1200">
                          <a:solidFill>
                            <a:schemeClr val="bg2">
                              <a:lumMod val="65000"/>
                              <a:lumOff val="35000"/>
                            </a:schemeClr>
                          </a:solidFill>
                          <a:latin typeface="Calibri"/>
                          <a:ea typeface="+mn-ea"/>
                          <a:cs typeface="Calibri"/>
                        </a:rPr>
                        <a:t> resourcing model will be agreed through the project governance structures.</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2007193314"/>
                  </a:ext>
                </a:extLst>
              </a:tr>
              <a:tr h="395192">
                <a:tc>
                  <a:txBody>
                    <a:bodyPr/>
                    <a:lstStyle/>
                    <a:p>
                      <a:pPr algn="ctr"/>
                      <a:r>
                        <a:rPr lang="en-IE" sz="1400" b="1" kern="1200">
                          <a:solidFill>
                            <a:schemeClr val="tx1"/>
                          </a:solidFill>
                          <a:latin typeface="Calibri"/>
                          <a:ea typeface="+mn-ea"/>
                          <a:cs typeface="Calibri"/>
                        </a:rPr>
                        <a:t>21</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801619" rtl="0" eaLnBrk="1" fontAlgn="auto" latinLnBrk="0" hangingPunct="1">
                        <a:lnSpc>
                          <a:spcPct val="100000"/>
                        </a:lnSpc>
                        <a:spcBef>
                          <a:spcPts val="0"/>
                        </a:spcBef>
                        <a:spcAft>
                          <a:spcPts val="0"/>
                        </a:spcAft>
                        <a:buClrTx/>
                        <a:buSzTx/>
                        <a:buFontTx/>
                        <a:buNone/>
                        <a:tabLst/>
                        <a:defRPr/>
                      </a:pPr>
                      <a:r>
                        <a:rPr lang="en-IE" sz="1000" kern="1200">
                          <a:solidFill>
                            <a:schemeClr val="bg2">
                              <a:lumMod val="65000"/>
                              <a:lumOff val="35000"/>
                            </a:schemeClr>
                          </a:solidFill>
                          <a:latin typeface="Calibri"/>
                          <a:ea typeface="+mn-ea"/>
                          <a:cs typeface="Calibri"/>
                        </a:rPr>
                        <a:t>It is assumed knowledge transfer activities will take place throughout the lifecycle of the project with particular focus on formal training, preparation for deployments, hyper care and transition to managed services.</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30036213"/>
                  </a:ext>
                </a:extLst>
              </a:tr>
              <a:tr h="395192">
                <a:tc>
                  <a:txBody>
                    <a:bodyPr/>
                    <a:lstStyle/>
                    <a:p>
                      <a:pPr lvl="0" algn="ctr">
                        <a:buNone/>
                      </a:pPr>
                      <a:r>
                        <a:rPr lang="en-IE" sz="1400" b="1" kern="1200">
                          <a:solidFill>
                            <a:schemeClr val="tx1"/>
                          </a:solidFill>
                          <a:latin typeface="Calibri"/>
                          <a:ea typeface="+mn-ea"/>
                          <a:cs typeface="Calibri"/>
                        </a:rPr>
                        <a:t>22</a:t>
                      </a: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chemeClr val="bg1"/>
                    </a:solidFill>
                  </a:tcPr>
                </a:tc>
                <a:tc>
                  <a:txBody>
                    <a:bodyPr/>
                    <a:lstStyle/>
                    <a:p>
                      <a:pPr marL="0" lvl="0" indent="0" algn="just">
                        <a:lnSpc>
                          <a:spcPct val="100000"/>
                        </a:lnSpc>
                        <a:spcBef>
                          <a:spcPts val="0"/>
                        </a:spcBef>
                        <a:spcAft>
                          <a:spcPts val="0"/>
                        </a:spcAft>
                        <a:buNone/>
                      </a:pPr>
                      <a:r>
                        <a:rPr lang="en-IE" sz="1000" kern="1200">
                          <a:solidFill>
                            <a:schemeClr val="bg2">
                              <a:lumMod val="65000"/>
                              <a:lumOff val="35000"/>
                            </a:schemeClr>
                          </a:solidFill>
                          <a:latin typeface="Calibri"/>
                          <a:ea typeface="+mn-ea"/>
                          <a:cs typeface="Calibri"/>
                        </a:rPr>
                        <a:t>The current Linux version is not supported on Azure, and it will be required to upgrade it to one of the supported versions, so EY will need the help of St. James's Hospital and their vendors to validate that there are no compatibility issues with the </a:t>
                      </a:r>
                      <a:r>
                        <a:rPr lang="en-IE" sz="1000" kern="1200" err="1">
                          <a:solidFill>
                            <a:schemeClr val="bg2">
                              <a:lumMod val="65000"/>
                              <a:lumOff val="35000"/>
                            </a:schemeClr>
                          </a:solidFill>
                          <a:latin typeface="Calibri"/>
                          <a:ea typeface="+mn-ea"/>
                          <a:cs typeface="Calibri"/>
                        </a:rPr>
                        <a:t>Sortware</a:t>
                      </a:r>
                      <a:r>
                        <a:rPr lang="en-IE" sz="1000" kern="1200">
                          <a:solidFill>
                            <a:schemeClr val="bg2">
                              <a:lumMod val="65000"/>
                              <a:lumOff val="35000"/>
                            </a:schemeClr>
                          </a:solidFill>
                          <a:latin typeface="Calibri"/>
                          <a:ea typeface="+mn-ea"/>
                          <a:cs typeface="Calibri"/>
                        </a:rPr>
                        <a:t> or the application with the new version. ( Can be tested first in UAT / Pre-Prod environment )</a:t>
                      </a:r>
                    </a:p>
                  </a:txBody>
                  <a:tcPr>
                    <a:lnL w="12700">
                      <a:solidFill>
                        <a:srgbClr val="FFFFFF"/>
                      </a:solidFill>
                    </a:lnL>
                    <a:lnR w="12700">
                      <a:solidFill>
                        <a:srgbClr val="FFFFFF"/>
                      </a:solidFill>
                    </a:lnR>
                    <a:lnT w="12700">
                      <a:solidFill>
                        <a:srgbClr val="FFFFFF"/>
                      </a:solidFill>
                    </a:lnT>
                    <a:lnB w="12700" cap="flat" cmpd="sng" algn="ctr">
                      <a:solidFill>
                        <a:srgbClr val="FFFFFF"/>
                      </a:solidFill>
                      <a:prstDash val="solid"/>
                      <a:round/>
                      <a:headEnd type="none" w="med" len="med"/>
                      <a:tailEnd type="none" w="med" len="med"/>
                    </a:lnB>
                    <a:lnTlToBr w="0">
                      <a:noFill/>
                    </a:lnTlToBr>
                    <a:lnBlToTr w="0">
                      <a:noFill/>
                    </a:lnBlToTr>
                    <a:solidFill>
                      <a:srgbClr val="E1E1E6"/>
                    </a:solidFill>
                  </a:tcPr>
                </a:tc>
                <a:extLst>
                  <a:ext uri="{0D108BD9-81ED-4DB2-BD59-A6C34878D82A}">
                    <a16:rowId xmlns:a16="http://schemas.microsoft.com/office/drawing/2014/main" val="1073789890"/>
                  </a:ext>
                </a:extLst>
              </a:tr>
            </a:tbl>
          </a:graphicData>
        </a:graphic>
      </p:graphicFrame>
    </p:spTree>
    <p:extLst>
      <p:ext uri="{BB962C8B-B14F-4D97-AF65-F5344CB8AC3E}">
        <p14:creationId xmlns:p14="http://schemas.microsoft.com/office/powerpoint/2010/main" val="6530931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G.1 – In Scope</a:t>
            </a:r>
          </a:p>
        </p:txBody>
      </p:sp>
      <p:graphicFrame>
        <p:nvGraphicFramePr>
          <p:cNvPr id="10" name="Table 9">
            <a:extLst>
              <a:ext uri="{FF2B5EF4-FFF2-40B4-BE49-F238E27FC236}">
                <a16:creationId xmlns:a16="http://schemas.microsoft.com/office/drawing/2014/main" id="{DEF1C875-55F5-40A5-AF79-1EF6B560E6B8}"/>
              </a:ext>
            </a:extLst>
          </p:cNvPr>
          <p:cNvGraphicFramePr>
            <a:graphicFrameLocks noGrp="1"/>
          </p:cNvGraphicFramePr>
          <p:nvPr>
            <p:extLst>
              <p:ext uri="{D42A27DB-BD31-4B8C-83A1-F6EECF244321}">
                <p14:modId xmlns:p14="http://schemas.microsoft.com/office/powerpoint/2010/main" val="254299358"/>
              </p:ext>
            </p:extLst>
          </p:nvPr>
        </p:nvGraphicFramePr>
        <p:xfrm>
          <a:off x="609600" y="1706880"/>
          <a:ext cx="10974387" cy="3352800"/>
        </p:xfrm>
        <a:graphic>
          <a:graphicData uri="http://schemas.openxmlformats.org/drawingml/2006/table">
            <a:tbl>
              <a:tblPr firstRow="1" firstCol="1" bandRow="1"/>
              <a:tblGrid>
                <a:gridCol w="863082">
                  <a:extLst>
                    <a:ext uri="{9D8B030D-6E8A-4147-A177-3AD203B41FA5}">
                      <a16:colId xmlns:a16="http://schemas.microsoft.com/office/drawing/2014/main" val="20000"/>
                    </a:ext>
                  </a:extLst>
                </a:gridCol>
                <a:gridCol w="10111305">
                  <a:extLst>
                    <a:ext uri="{9D8B030D-6E8A-4147-A177-3AD203B41FA5}">
                      <a16:colId xmlns:a16="http://schemas.microsoft.com/office/drawing/2014/main" val="20001"/>
                    </a:ext>
                  </a:extLst>
                </a:gridCol>
              </a:tblGrid>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Ref</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r>
                        <a:rPr lang="en-IE" sz="1400">
                          <a:solidFill>
                            <a:schemeClr val="tx1"/>
                          </a:solidFill>
                          <a:latin typeface="Calibri" panose="020F0502020204030204" pitchFamily="34" charset="0"/>
                          <a:cs typeface="Calibri" panose="020F0502020204030204" pitchFamily="34" charset="0"/>
                        </a:rPr>
                        <a:t>Description</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a:t>
                      </a:r>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Infrastructure Provisioning (Compute, Storage, Network, Monitoring &amp; Security)</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1"/>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2</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Data Migration (Flat fil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2"/>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3</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Database Migration &amp; Restoration (Laborator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3"/>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4</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err="1">
                          <a:solidFill>
                            <a:schemeClr val="bg1"/>
                          </a:solidFill>
                          <a:latin typeface="Calibri" panose="020F0502020204030204" pitchFamily="34" charset="0"/>
                          <a:cs typeface="Calibri" panose="020F0502020204030204" pitchFamily="34" charset="0"/>
                        </a:rPr>
                        <a:t>IaC</a:t>
                      </a:r>
                      <a:r>
                        <a:rPr lang="en-IE" sz="1000">
                          <a:solidFill>
                            <a:schemeClr val="bg1"/>
                          </a:solidFill>
                          <a:latin typeface="Calibri" panose="020F0502020204030204" pitchFamily="34" charset="0"/>
                          <a:cs typeface="Calibri" panose="020F0502020204030204" pitchFamily="34" charset="0"/>
                        </a:rPr>
                        <a:t> for Infrastructure management and on demand provisioning</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4"/>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5</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Documentation (Knowledge Transfer &amp; Training)</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5"/>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6</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Unit Testing and UAT (Validation of Infrastructure, Networking &amp; Database)</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7"/>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7</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a:solidFill>
                            <a:schemeClr val="bg1"/>
                          </a:solidFill>
                          <a:latin typeface="Calibri" panose="020F0502020204030204" pitchFamily="34" charset="0"/>
                          <a:cs typeface="Calibri" panose="020F0502020204030204" pitchFamily="34" charset="0"/>
                        </a:rPr>
                        <a:t>User Acceptance Test plan support for solution validat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8"/>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9"/>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Tx/>
                        <a:buNone/>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3993441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E">
                <a:latin typeface="Calibri" panose="020F0502020204030204" pitchFamily="34" charset="0"/>
                <a:cs typeface="Calibri" panose="020F0502020204030204" pitchFamily="34" charset="0"/>
              </a:rPr>
              <a:t>G.1 – Out of Scope</a:t>
            </a:r>
          </a:p>
        </p:txBody>
      </p:sp>
      <p:graphicFrame>
        <p:nvGraphicFramePr>
          <p:cNvPr id="10" name="Table 9">
            <a:extLst>
              <a:ext uri="{FF2B5EF4-FFF2-40B4-BE49-F238E27FC236}">
                <a16:creationId xmlns:a16="http://schemas.microsoft.com/office/drawing/2014/main" id="{DEF1C875-55F5-40A5-AF79-1EF6B560E6B8}"/>
              </a:ext>
            </a:extLst>
          </p:cNvPr>
          <p:cNvGraphicFramePr>
            <a:graphicFrameLocks noGrp="1"/>
          </p:cNvGraphicFramePr>
          <p:nvPr>
            <p:extLst>
              <p:ext uri="{D42A27DB-BD31-4B8C-83A1-F6EECF244321}">
                <p14:modId xmlns:p14="http://schemas.microsoft.com/office/powerpoint/2010/main" val="1486456786"/>
              </p:ext>
            </p:extLst>
          </p:nvPr>
        </p:nvGraphicFramePr>
        <p:xfrm>
          <a:off x="609600" y="1706880"/>
          <a:ext cx="10974387" cy="3352800"/>
        </p:xfrm>
        <a:graphic>
          <a:graphicData uri="http://schemas.openxmlformats.org/drawingml/2006/table">
            <a:tbl>
              <a:tblPr firstRow="1" firstCol="1" bandRow="1"/>
              <a:tblGrid>
                <a:gridCol w="863082">
                  <a:extLst>
                    <a:ext uri="{9D8B030D-6E8A-4147-A177-3AD203B41FA5}">
                      <a16:colId xmlns:a16="http://schemas.microsoft.com/office/drawing/2014/main" val="20000"/>
                    </a:ext>
                  </a:extLst>
                </a:gridCol>
                <a:gridCol w="10111305">
                  <a:extLst>
                    <a:ext uri="{9D8B030D-6E8A-4147-A177-3AD203B41FA5}">
                      <a16:colId xmlns:a16="http://schemas.microsoft.com/office/drawing/2014/main" val="20001"/>
                    </a:ext>
                  </a:extLst>
                </a:gridCol>
              </a:tblGrid>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Ref</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r>
                        <a:rPr lang="en-IE" sz="1400">
                          <a:solidFill>
                            <a:schemeClr val="tx1"/>
                          </a:solidFill>
                          <a:latin typeface="Calibri" panose="020F0502020204030204" pitchFamily="34" charset="0"/>
                          <a:cs typeface="Calibri" panose="020F0502020204030204" pitchFamily="34" charset="0"/>
                        </a:rPr>
                        <a:t>Description</a:t>
                      </a: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a:t>
                      </a:r>
                    </a:p>
                  </a:txBody>
                  <a:tcP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pPr marL="0" algn="l" defTabSz="913943" rtl="0" eaLnBrk="1" latinLnBrk="0" hangingPunct="1"/>
                      <a:r>
                        <a:rPr lang="en-IE" sz="1000" kern="1200">
                          <a:solidFill>
                            <a:schemeClr val="bg1"/>
                          </a:solidFill>
                          <a:latin typeface="Calibri" panose="020F0502020204030204" pitchFamily="34" charset="0"/>
                          <a:ea typeface="+mn-ea"/>
                          <a:cs typeface="Calibri" panose="020F0502020204030204" pitchFamily="34" charset="0"/>
                        </a:rPr>
                        <a:t>Application Migration &amp; Compatibility suppor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1"/>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2</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r>
                        <a:rPr lang="en-IE" sz="1000" kern="1200">
                          <a:solidFill>
                            <a:schemeClr val="bg1"/>
                          </a:solidFill>
                          <a:latin typeface="Calibri" panose="020F0502020204030204" pitchFamily="34" charset="0"/>
                          <a:ea typeface="+mn-ea"/>
                          <a:cs typeface="Calibri" panose="020F0502020204030204" pitchFamily="34" charset="0"/>
                        </a:rPr>
                        <a:t>Third party software ownerships &amp; responsibilitie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2"/>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3</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endParaRPr lang="en-IE" sz="1000">
                        <a:solidFill>
                          <a:schemeClr val="bg1"/>
                        </a:solidFill>
                        <a:latin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3"/>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4</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endParaRPr lang="en-IE" sz="1000">
                        <a:solidFill>
                          <a:schemeClr val="bg1"/>
                        </a:solidFill>
                        <a:latin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4"/>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5</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endParaRPr lang="en-IE" sz="1000">
                        <a:solidFill>
                          <a:schemeClr val="bg1"/>
                        </a:solidFill>
                        <a:latin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5"/>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6</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endParaRPr lang="en-IE" sz="1000">
                        <a:solidFill>
                          <a:schemeClr val="bg1"/>
                        </a:solidFill>
                        <a:latin typeface="Calibri" panose="020F0502020204030204" pitchFamily="34" charset="0"/>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7"/>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7</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p>
                      <a:endParaRPr lang="en-IE" sz="1000">
                        <a:solidFill>
                          <a:schemeClr val="bg1"/>
                        </a:solidFill>
                        <a:latin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8"/>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09"/>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defTabSz="1043056" rtl="0" eaLnBrk="1" fontAlgn="auto" latinLnBrk="0" hangingPunct="1">
                        <a:lnSpc>
                          <a:spcPct val="100000"/>
                        </a:lnSpc>
                        <a:spcBef>
                          <a:spcPts val="0"/>
                        </a:spcBef>
                        <a:spcAft>
                          <a:spcPts val="0"/>
                        </a:spcAft>
                        <a:buClrTx/>
                        <a:buSzTx/>
                        <a:buFontTx/>
                        <a:buNone/>
                        <a:tabLst/>
                        <a:defRPr/>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0"/>
                  </a:ext>
                </a:extLst>
              </a:tr>
              <a:tr h="0">
                <a:tc>
                  <a:txBody>
                    <a:bodyPr/>
                    <a:lstStyle>
                      <a:lvl1pPr marL="0" algn="l" defTabSz="801619" rtl="0" eaLnBrk="1" latinLnBrk="0" hangingPunct="1">
                        <a:defRPr sz="1578" b="1" kern="1200">
                          <a:solidFill>
                            <a:schemeClr val="lt1"/>
                          </a:solidFill>
                          <a:latin typeface="Arial"/>
                        </a:defRPr>
                      </a:lvl1pPr>
                      <a:lvl2pPr marL="400809" algn="l" defTabSz="801619" rtl="0" eaLnBrk="1" latinLnBrk="0" hangingPunct="1">
                        <a:defRPr sz="1578" b="1" kern="1200">
                          <a:solidFill>
                            <a:schemeClr val="lt1"/>
                          </a:solidFill>
                          <a:latin typeface="Arial"/>
                        </a:defRPr>
                      </a:lvl2pPr>
                      <a:lvl3pPr marL="801619" algn="l" defTabSz="801619" rtl="0" eaLnBrk="1" latinLnBrk="0" hangingPunct="1">
                        <a:defRPr sz="1578" b="1" kern="1200">
                          <a:solidFill>
                            <a:schemeClr val="lt1"/>
                          </a:solidFill>
                          <a:latin typeface="Arial"/>
                        </a:defRPr>
                      </a:lvl3pPr>
                      <a:lvl4pPr marL="1202429" algn="l" defTabSz="801619" rtl="0" eaLnBrk="1" latinLnBrk="0" hangingPunct="1">
                        <a:defRPr sz="1578" b="1" kern="1200">
                          <a:solidFill>
                            <a:schemeClr val="lt1"/>
                          </a:solidFill>
                          <a:latin typeface="Arial"/>
                        </a:defRPr>
                      </a:lvl4pPr>
                      <a:lvl5pPr marL="1603239" algn="l" defTabSz="801619" rtl="0" eaLnBrk="1" latinLnBrk="0" hangingPunct="1">
                        <a:defRPr sz="1578" b="1" kern="1200">
                          <a:solidFill>
                            <a:schemeClr val="lt1"/>
                          </a:solidFill>
                          <a:latin typeface="Arial"/>
                        </a:defRPr>
                      </a:lvl5pPr>
                      <a:lvl6pPr marL="2004048" algn="l" defTabSz="801619" rtl="0" eaLnBrk="1" latinLnBrk="0" hangingPunct="1">
                        <a:defRPr sz="1578" b="1" kern="1200">
                          <a:solidFill>
                            <a:schemeClr val="lt1"/>
                          </a:solidFill>
                          <a:latin typeface="Arial"/>
                        </a:defRPr>
                      </a:lvl6pPr>
                      <a:lvl7pPr marL="2404857" algn="l" defTabSz="801619" rtl="0" eaLnBrk="1" latinLnBrk="0" hangingPunct="1">
                        <a:defRPr sz="1578" b="1" kern="1200">
                          <a:solidFill>
                            <a:schemeClr val="lt1"/>
                          </a:solidFill>
                          <a:latin typeface="Arial"/>
                        </a:defRPr>
                      </a:lvl7pPr>
                      <a:lvl8pPr marL="2805667" algn="l" defTabSz="801619" rtl="0" eaLnBrk="1" latinLnBrk="0" hangingPunct="1">
                        <a:defRPr sz="1578" b="1" kern="1200">
                          <a:solidFill>
                            <a:schemeClr val="lt1"/>
                          </a:solidFill>
                          <a:latin typeface="Arial"/>
                        </a:defRPr>
                      </a:lvl8pPr>
                      <a:lvl9pPr marL="3206477" algn="l" defTabSz="801619" rtl="0" eaLnBrk="1" latinLnBrk="0" hangingPunct="1">
                        <a:defRPr sz="1578" b="1" kern="1200">
                          <a:solidFill>
                            <a:schemeClr val="lt1"/>
                          </a:solidFill>
                          <a:latin typeface="Arial"/>
                        </a:defRPr>
                      </a:lvl9pPr>
                    </a:lstStyle>
                    <a:p>
                      <a:pPr algn="ctr"/>
                      <a:r>
                        <a:rPr lang="en-IE" sz="1400">
                          <a:solidFill>
                            <a:schemeClr val="tx1"/>
                          </a:solidFill>
                          <a:latin typeface="Calibri" panose="020F0502020204030204" pitchFamily="34" charset="0"/>
                          <a:cs typeface="Calibri" panose="020F0502020204030204" pitchFamily="34" charset="0"/>
                        </a:rPr>
                        <a:t>10</a:t>
                      </a: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619" rtl="0" eaLnBrk="1" latinLnBrk="0" hangingPunct="1">
                        <a:defRPr sz="1578" kern="1200">
                          <a:solidFill>
                            <a:schemeClr val="dk1"/>
                          </a:solidFill>
                          <a:latin typeface="Arial"/>
                        </a:defRPr>
                      </a:lvl1pPr>
                      <a:lvl2pPr marL="400809" algn="l" defTabSz="801619" rtl="0" eaLnBrk="1" latinLnBrk="0" hangingPunct="1">
                        <a:defRPr sz="1578" kern="1200">
                          <a:solidFill>
                            <a:schemeClr val="dk1"/>
                          </a:solidFill>
                          <a:latin typeface="Arial"/>
                        </a:defRPr>
                      </a:lvl2pPr>
                      <a:lvl3pPr marL="801619" algn="l" defTabSz="801619" rtl="0" eaLnBrk="1" latinLnBrk="0" hangingPunct="1">
                        <a:defRPr sz="1578" kern="1200">
                          <a:solidFill>
                            <a:schemeClr val="dk1"/>
                          </a:solidFill>
                          <a:latin typeface="Arial"/>
                        </a:defRPr>
                      </a:lvl3pPr>
                      <a:lvl4pPr marL="1202429" algn="l" defTabSz="801619" rtl="0" eaLnBrk="1" latinLnBrk="0" hangingPunct="1">
                        <a:defRPr sz="1578" kern="1200">
                          <a:solidFill>
                            <a:schemeClr val="dk1"/>
                          </a:solidFill>
                          <a:latin typeface="Arial"/>
                        </a:defRPr>
                      </a:lvl4pPr>
                      <a:lvl5pPr marL="1603239" algn="l" defTabSz="801619" rtl="0" eaLnBrk="1" latinLnBrk="0" hangingPunct="1">
                        <a:defRPr sz="1578" kern="1200">
                          <a:solidFill>
                            <a:schemeClr val="dk1"/>
                          </a:solidFill>
                          <a:latin typeface="Arial"/>
                        </a:defRPr>
                      </a:lvl5pPr>
                      <a:lvl6pPr marL="2004048" algn="l" defTabSz="801619" rtl="0" eaLnBrk="1" latinLnBrk="0" hangingPunct="1">
                        <a:defRPr sz="1578" kern="1200">
                          <a:solidFill>
                            <a:schemeClr val="dk1"/>
                          </a:solidFill>
                          <a:latin typeface="Arial"/>
                        </a:defRPr>
                      </a:lvl6pPr>
                      <a:lvl7pPr marL="2404857" algn="l" defTabSz="801619" rtl="0" eaLnBrk="1" latinLnBrk="0" hangingPunct="1">
                        <a:defRPr sz="1578" kern="1200">
                          <a:solidFill>
                            <a:schemeClr val="dk1"/>
                          </a:solidFill>
                          <a:latin typeface="Arial"/>
                        </a:defRPr>
                      </a:lvl7pPr>
                      <a:lvl8pPr marL="2805667" algn="l" defTabSz="801619" rtl="0" eaLnBrk="1" latinLnBrk="0" hangingPunct="1">
                        <a:defRPr sz="1578" kern="1200">
                          <a:solidFill>
                            <a:schemeClr val="dk1"/>
                          </a:solidFill>
                          <a:latin typeface="Arial"/>
                        </a:defRPr>
                      </a:lvl8pPr>
                      <a:lvl9pPr marL="3206477" algn="l" defTabSz="801619" rtl="0" eaLnBrk="1" latinLnBrk="0" hangingPunct="1">
                        <a:defRPr sz="1578" kern="1200">
                          <a:solidFill>
                            <a:schemeClr val="dk1"/>
                          </a:solidFill>
                          <a:latin typeface="Arial"/>
                        </a:defRPr>
                      </a:lvl9pPr>
                    </a:lstStyle>
                    <a:p>
                      <a:pPr marL="0" marR="0" lvl="0" indent="0" algn="just" rtl="0" eaLnBrk="1" fontAlgn="auto" latinLnBrk="0" hangingPunct="1">
                        <a:lnSpc>
                          <a:spcPct val="100000"/>
                        </a:lnSpc>
                        <a:spcBef>
                          <a:spcPts val="0"/>
                        </a:spcBef>
                        <a:spcAft>
                          <a:spcPts val="0"/>
                        </a:spcAft>
                        <a:buClrTx/>
                        <a:buSzTx/>
                        <a:buFontTx/>
                        <a:buNone/>
                      </a:pPr>
                      <a:endParaRPr lang="en-IE" sz="1000" kern="1200">
                        <a:solidFill>
                          <a:schemeClr val="bg2">
                            <a:lumMod val="65000"/>
                            <a:lumOff val="35000"/>
                          </a:schemeClr>
                        </a:solidFill>
                        <a:latin typeface="Calibri" panose="020F0502020204030204" pitchFamily="34" charset="0"/>
                        <a:ea typeface="+mn-ea"/>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1E1E6"/>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649255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609601" y="2210160"/>
            <a:ext cx="10559142" cy="676788"/>
          </a:xfrm>
        </p:spPr>
        <p:txBody>
          <a:bodyPr/>
          <a:lstStyle/>
          <a:p>
            <a:r>
              <a:rPr lang="en-IN" sz="4400">
                <a:latin typeface="Calibri" panose="020F0502020204030204" pitchFamily="34" charset="0"/>
                <a:cs typeface="Calibri" panose="020F0502020204030204" pitchFamily="34" charset="0"/>
              </a:rPr>
              <a:t>B.1 – Overview of EY</a:t>
            </a:r>
            <a:endParaRPr lang="en-IE">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69751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12" name="Content Placeholder 3">
            <a:extLst>
              <a:ext uri="{FF2B5EF4-FFF2-40B4-BE49-F238E27FC236}">
                <a16:creationId xmlns:a16="http://schemas.microsoft.com/office/drawing/2014/main" id="{F6E8B279-1398-B4F2-2F45-A63F0E17D8AD}"/>
              </a:ext>
            </a:extLst>
          </p:cNvPr>
          <p:cNvSpPr>
            <a:spLocks noGrp="1"/>
          </p:cNvSpPr>
          <p:nvPr>
            <p:ph idx="1"/>
          </p:nvPr>
        </p:nvSpPr>
        <p:spPr>
          <a:xfrm>
            <a:off x="1565097" y="1265205"/>
            <a:ext cx="5486399" cy="676788"/>
          </a:xfrm>
        </p:spPr>
        <p:txBody>
          <a:bodyPr/>
          <a:lstStyle/>
          <a:p>
            <a:r>
              <a:rPr lang="en-IE">
                <a:latin typeface="Calibri"/>
                <a:cs typeface="Calibri"/>
              </a:rPr>
              <a:t>Credentials</a:t>
            </a:r>
            <a:endParaRPr lang="en-US"/>
          </a:p>
        </p:txBody>
      </p:sp>
      <p:sp>
        <p:nvSpPr>
          <p:cNvPr id="13" name="Text Placeholder 4">
            <a:extLst>
              <a:ext uri="{FF2B5EF4-FFF2-40B4-BE49-F238E27FC236}">
                <a16:creationId xmlns:a16="http://schemas.microsoft.com/office/drawing/2014/main" id="{520F0468-A3AA-F93D-4825-530FAB52C9CB}"/>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H.</a:t>
            </a:r>
            <a:endParaRPr lang="en-IE">
              <a:solidFill>
                <a:srgbClr val="F6DF0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51448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H</a:t>
            </a:r>
            <a:r>
              <a:rPr lang="en-IN" sz="2400">
                <a:solidFill>
                  <a:schemeClr val="bg1"/>
                </a:solidFill>
                <a:latin typeface="Calibri" panose="020F0502020204030204" pitchFamily="34" charset="0"/>
                <a:cs typeface="Calibri" panose="020F0502020204030204" pitchFamily="34" charset="0"/>
              </a:rPr>
              <a:t>.</a:t>
            </a:r>
            <a:r>
              <a:rPr lang="en-IN">
                <a:latin typeface="Calibri" panose="020F0502020204030204" pitchFamily="34" charset="0"/>
                <a:cs typeface="Calibri" panose="020F0502020204030204" pitchFamily="34" charset="0"/>
              </a:rPr>
              <a:t>1</a:t>
            </a:r>
            <a:r>
              <a:rPr lang="en-IN" sz="2400">
                <a:solidFill>
                  <a:schemeClr val="bg1"/>
                </a:solidFill>
                <a:latin typeface="Calibri" panose="020F0502020204030204" pitchFamily="34" charset="0"/>
                <a:cs typeface="Calibri" panose="020F0502020204030204" pitchFamily="34" charset="0"/>
              </a:rPr>
              <a:t> – Our Relevant </a:t>
            </a:r>
            <a:r>
              <a:rPr lang="en-IN">
                <a:latin typeface="Calibri" panose="020F0502020204030204" pitchFamily="34" charset="0"/>
                <a:cs typeface="Calibri" panose="020F0502020204030204" pitchFamily="34" charset="0"/>
              </a:rPr>
              <a:t>C</a:t>
            </a:r>
            <a:r>
              <a:rPr lang="en-IN" sz="2400">
                <a:solidFill>
                  <a:schemeClr val="bg1"/>
                </a:solidFill>
                <a:latin typeface="Calibri" panose="020F0502020204030204" pitchFamily="34" charset="0"/>
                <a:cs typeface="Calibri" panose="020F0502020204030204" pitchFamily="34" charset="0"/>
              </a:rPr>
              <a:t>redentials</a:t>
            </a:r>
            <a:endParaRPr lang="en-IE">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242793DE-A96D-4BD0-A86A-8082B3CAE589}"/>
              </a:ext>
            </a:extLst>
          </p:cNvPr>
          <p:cNvSpPr/>
          <p:nvPr/>
        </p:nvSpPr>
        <p:spPr bwMode="auto">
          <a:xfrm>
            <a:off x="2698992" y="5011738"/>
            <a:ext cx="6184900" cy="1111250"/>
          </a:xfrm>
          <a:prstGeom prst="rect">
            <a:avLst/>
          </a:prstGeom>
          <a:solidFill>
            <a:srgbClr val="C4C4CD">
              <a:alpha val="50000"/>
            </a:srgbClr>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spcAft>
                <a:spcPts val="300"/>
              </a:spcAft>
            </a:pPr>
            <a:r>
              <a:rPr lang="en-IE" sz="1100">
                <a:solidFill>
                  <a:schemeClr val="bg1"/>
                </a:solidFill>
                <a:latin typeface="Calibri" panose="020F0502020204030204" pitchFamily="34" charset="0"/>
                <a:cs typeface="Calibri" panose="020F0502020204030204" pitchFamily="34" charset="0"/>
              </a:rPr>
              <a:t>EY successfully migrated Screenlink legacy System to Microsoft Azure in 2020, resulting in upgraded servers, improved data security, and increased flexibility for future engagements. EY addressed challenges posed by ageing technology, lack of flexibility, compliance risks, and rising costs in Screenlink Healthcare's legacy systems, EY's solution included technology upgrades, migration to a modern cloud-based environment, and enhanced security and cost-efficiency.</a:t>
            </a:r>
          </a:p>
        </p:txBody>
      </p:sp>
      <p:sp>
        <p:nvSpPr>
          <p:cNvPr id="40" name="Rectangle 39">
            <a:extLst>
              <a:ext uri="{FF2B5EF4-FFF2-40B4-BE49-F238E27FC236}">
                <a16:creationId xmlns:a16="http://schemas.microsoft.com/office/drawing/2014/main" id="{D76B222C-769B-43FD-A5BD-1900879116BC}"/>
              </a:ext>
            </a:extLst>
          </p:cNvPr>
          <p:cNvSpPr/>
          <p:nvPr/>
        </p:nvSpPr>
        <p:spPr bwMode="auto">
          <a:xfrm>
            <a:off x="2693843" y="3800337"/>
            <a:ext cx="6192982" cy="1114388"/>
          </a:xfrm>
          <a:prstGeom prst="rect">
            <a:avLst/>
          </a:prstGeom>
          <a:solidFill>
            <a:srgbClr val="C4C4CD">
              <a:alpha val="50000"/>
            </a:srgbClr>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lgn="just">
              <a:spcAft>
                <a:spcPts val="300"/>
              </a:spcAft>
            </a:pPr>
            <a:r>
              <a:rPr lang="en-IE" sz="1100">
                <a:solidFill>
                  <a:schemeClr val="bg1"/>
                </a:solidFill>
                <a:latin typeface="Calibri" panose="020F0502020204030204" pitchFamily="34" charset="0"/>
                <a:cs typeface="Calibri" panose="020F0502020204030204" pitchFamily="34" charset="0"/>
              </a:rPr>
              <a:t>EY delivered an Azure Data Platform, </a:t>
            </a:r>
            <a:r>
              <a:rPr lang="en-IE" sz="1100">
                <a:solidFill>
                  <a:schemeClr val="bg1"/>
                </a:solidFill>
                <a:latin typeface="Calibri" panose="020F0502020204030204" pitchFamily="34" charset="0"/>
                <a:ea typeface="+mn-lt"/>
                <a:cs typeface="Calibri" panose="020F0502020204030204" pitchFamily="34" charset="0"/>
              </a:rPr>
              <a:t>enabling data integration</a:t>
            </a:r>
            <a:r>
              <a:rPr lang="en-IE" sz="1100">
                <a:solidFill>
                  <a:schemeClr val="bg1"/>
                </a:solidFill>
                <a:latin typeface="Calibri" panose="020F0502020204030204" pitchFamily="34" charset="0"/>
                <a:cs typeface="Calibri" panose="020F0502020204030204" pitchFamily="34" charset="0"/>
              </a:rPr>
              <a:t> from various sources to model the disease's (COVID-19) impact and offer situational dashboards for decision-making. The platform empowered HSE management with comprehensive situational awareness, enabling them to monitor patients, access hospital resources, track ICU availability, analyse recovery rates, and manage resources effectively during the pandemic's phases.</a:t>
            </a:r>
            <a:endParaRPr lang="en-US">
              <a:solidFill>
                <a:schemeClr val="bg1"/>
              </a:solidFill>
              <a:latin typeface="Calibri" panose="020F0502020204030204" pitchFamily="34" charset="0"/>
              <a:cs typeface="Calibri" panose="020F0502020204030204" pitchFamily="34" charset="0"/>
            </a:endParaRPr>
          </a:p>
        </p:txBody>
      </p:sp>
      <p:sp>
        <p:nvSpPr>
          <p:cNvPr id="45" name="Rectangle 44">
            <a:extLst>
              <a:ext uri="{FF2B5EF4-FFF2-40B4-BE49-F238E27FC236}">
                <a16:creationId xmlns:a16="http://schemas.microsoft.com/office/drawing/2014/main" id="{606070E4-F71A-4A28-BC52-885AC960DA76}"/>
              </a:ext>
            </a:extLst>
          </p:cNvPr>
          <p:cNvSpPr/>
          <p:nvPr/>
        </p:nvSpPr>
        <p:spPr bwMode="auto">
          <a:xfrm>
            <a:off x="9141142" y="2585426"/>
            <a:ext cx="1344757" cy="1111675"/>
          </a:xfrm>
          <a:prstGeom prst="rect">
            <a:avLst/>
          </a:prstGeom>
          <a:solidFill>
            <a:srgbClr val="FFE600"/>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spcAft>
                <a:spcPts val="300"/>
              </a:spcAft>
            </a:pPr>
            <a:r>
              <a:rPr lang="en-IE" sz="1100">
                <a:solidFill>
                  <a:schemeClr val="bg1"/>
                </a:solidFill>
                <a:latin typeface="Calibri" panose="020F0502020204030204" pitchFamily="34" charset="0"/>
                <a:cs typeface="Calibri" panose="020F0502020204030204" pitchFamily="34" charset="0"/>
              </a:rPr>
              <a:t>Data Subject Notification (DSN) and Contact Centre Service</a:t>
            </a:r>
            <a:endParaRPr lang="en-US">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C4380547-9137-4B49-91FE-92718AB8FDBD}"/>
              </a:ext>
            </a:extLst>
          </p:cNvPr>
          <p:cNvSpPr txBox="1"/>
          <p:nvPr/>
        </p:nvSpPr>
        <p:spPr>
          <a:xfrm>
            <a:off x="609599" y="1537258"/>
            <a:ext cx="10974387" cy="752514"/>
          </a:xfrm>
          <a:prstGeom prst="rect">
            <a:avLst/>
          </a:prstGeom>
          <a:solidFill>
            <a:schemeClr val="tx1">
              <a:alpha val="50000"/>
            </a:schemeClr>
          </a:solidFill>
        </p:spPr>
        <p:txBody>
          <a:bodyPr wrap="square" lIns="0" tIns="36576" rIns="0" bIns="0" rtlCol="0">
            <a:spAutoFit/>
          </a:bodyPr>
          <a:lstStyle/>
          <a:p>
            <a:pPr defTabSz="912572">
              <a:spcBef>
                <a:spcPts val="300"/>
              </a:spcBef>
              <a:buClr>
                <a:srgbClr val="FFE600"/>
              </a:buClr>
              <a:buSzPct val="100000"/>
              <a:defRPr/>
            </a:pPr>
            <a:r>
              <a:rPr lang="en-IE" sz="1100" kern="0">
                <a:solidFill>
                  <a:schemeClr val="bg1"/>
                </a:solidFill>
                <a:latin typeface="Calibri" panose="020F0502020204030204" pitchFamily="34" charset="0"/>
                <a:cs typeface="Calibri" panose="020F0502020204030204" pitchFamily="34" charset="0"/>
              </a:rPr>
              <a:t>EY understands that selecting the right solution for this program of work is critical, we are confident that our case studies will demonstrate that EY has the necessary business and technical capabilities to deliver. </a:t>
            </a:r>
          </a:p>
          <a:p>
            <a:pPr defTabSz="912572">
              <a:spcBef>
                <a:spcPts val="300"/>
              </a:spcBef>
              <a:buClr>
                <a:srgbClr val="FFE600"/>
              </a:buClr>
              <a:buSzPct val="100000"/>
              <a:defRPr/>
            </a:pPr>
            <a:r>
              <a:rPr lang="en-IE" sz="1100" kern="0">
                <a:solidFill>
                  <a:schemeClr val="bg1"/>
                </a:solidFill>
                <a:latin typeface="Calibri" panose="020F0502020204030204" pitchFamily="34" charset="0"/>
                <a:cs typeface="Calibri" panose="020F0502020204030204" pitchFamily="34" charset="0"/>
              </a:rPr>
              <a:t>Each one of our case studies outlines a set of challenges faced by a customer and how EY delivered, building trust with our partners, demonstrating our expertise with an ability to execute meeting critical business challenges</a:t>
            </a:r>
            <a:endParaRPr lang="en-GB" sz="1100" kern="0">
              <a:solidFill>
                <a:schemeClr val="bg1"/>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99598303-3493-44C8-A697-2DB710DCD143}"/>
              </a:ext>
            </a:extLst>
          </p:cNvPr>
          <p:cNvSpPr/>
          <p:nvPr/>
        </p:nvSpPr>
        <p:spPr bwMode="auto">
          <a:xfrm>
            <a:off x="2693843" y="2585425"/>
            <a:ext cx="6192982" cy="1115932"/>
          </a:xfrm>
          <a:prstGeom prst="rect">
            <a:avLst/>
          </a:prstGeom>
          <a:solidFill>
            <a:srgbClr val="C4C4CD">
              <a:alpha val="50000"/>
            </a:srgbClr>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t"/>
          <a:lstStyle/>
          <a:p>
            <a:pPr algn="just">
              <a:spcAft>
                <a:spcPts val="300"/>
              </a:spcAft>
            </a:pPr>
            <a:r>
              <a:rPr lang="en-IE" sz="1100">
                <a:solidFill>
                  <a:schemeClr val="bg1"/>
                </a:solidFill>
                <a:latin typeface="Calibri"/>
                <a:cs typeface="Calibri"/>
              </a:rPr>
              <a:t>EY delivered an end-to-end case management solution and contact centre service for the HSE to notify all individuals who were impacted by their cyber-attack in 2021 and subsequent data breech. The solution utilised the full breadth and depth of Microsoft’s Cloud Platforms including Power, Dynamics and Azure. EY managed the formulation of processes to ensure the “human at centre” approach to the design and implementation of the full service. EY provided a 24/7 operational Managed Service for the solution. </a:t>
            </a:r>
            <a:endParaRPr lang="en-US" sz="1100">
              <a:solidFill>
                <a:schemeClr val="bg1"/>
              </a:solidFill>
              <a:latin typeface="Calibri"/>
              <a:cs typeface="Calibri"/>
            </a:endParaRPr>
          </a:p>
          <a:p>
            <a:pPr algn="just">
              <a:spcAft>
                <a:spcPts val="300"/>
              </a:spcAft>
            </a:pPr>
            <a:endParaRPr lang="en-IE" sz="1100">
              <a:solidFill>
                <a:schemeClr val="bg1"/>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AA975C4F-840E-49B1-964A-5E55E535E4D7}"/>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609599" y="5006988"/>
            <a:ext cx="1591200" cy="1116000"/>
          </a:xfrm>
          <a:prstGeom prst="rect">
            <a:avLst/>
          </a:prstGeom>
        </p:spPr>
      </p:pic>
      <p:sp>
        <p:nvSpPr>
          <p:cNvPr id="6" name="Rectangle 5">
            <a:extLst>
              <a:ext uri="{FF2B5EF4-FFF2-40B4-BE49-F238E27FC236}">
                <a16:creationId xmlns:a16="http://schemas.microsoft.com/office/drawing/2014/main" id="{FA0200F9-E002-2731-4205-F750ABDCA6F9}"/>
              </a:ext>
            </a:extLst>
          </p:cNvPr>
          <p:cNvSpPr/>
          <p:nvPr/>
        </p:nvSpPr>
        <p:spPr bwMode="auto">
          <a:xfrm>
            <a:off x="9140825" y="3798888"/>
            <a:ext cx="1344613" cy="1111250"/>
          </a:xfrm>
          <a:prstGeom prst="rect">
            <a:avLst/>
          </a:prstGeom>
          <a:solidFill>
            <a:srgbClr val="FFE600"/>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spcAft>
                <a:spcPts val="300"/>
              </a:spcAft>
            </a:pPr>
            <a:r>
              <a:rPr lang="en-IE" sz="1100">
                <a:solidFill>
                  <a:schemeClr val="bg1"/>
                </a:solidFill>
                <a:latin typeface="Calibri" panose="020F0502020204030204" pitchFamily="34" charset="0"/>
                <a:cs typeface="Calibri" panose="020F0502020204030204" pitchFamily="34" charset="0"/>
              </a:rPr>
              <a:t>Covid19 Data Lake and Reporting</a:t>
            </a:r>
            <a:endParaRPr lang="en-US">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CC82D0FD-5CAF-FDC1-ED30-0C5776218BA5}"/>
              </a:ext>
            </a:extLst>
          </p:cNvPr>
          <p:cNvSpPr/>
          <p:nvPr/>
        </p:nvSpPr>
        <p:spPr bwMode="auto">
          <a:xfrm>
            <a:off x="9141142" y="5012939"/>
            <a:ext cx="1344757" cy="1111087"/>
          </a:xfrm>
          <a:prstGeom prst="rect">
            <a:avLst/>
          </a:prstGeom>
          <a:solidFill>
            <a:srgbClr val="FFE600"/>
          </a:solidFill>
          <a:ln w="28575">
            <a:noFill/>
          </a:ln>
          <a:effectLst/>
        </p:spPr>
        <p:style>
          <a:lnRef idx="1">
            <a:schemeClr val="accent1"/>
          </a:lnRef>
          <a:fillRef idx="2">
            <a:schemeClr val="accent1"/>
          </a:fillRef>
          <a:effectRef idx="1">
            <a:schemeClr val="accent1"/>
          </a:effectRef>
          <a:fontRef idx="minor">
            <a:schemeClr val="dk1"/>
          </a:fontRef>
        </p:style>
        <p:txBody>
          <a:bodyPr lIns="104494" tIns="52247" rIns="104494" bIns="52247" rtlCol="0" anchor="ctr"/>
          <a:lstStyle/>
          <a:p>
            <a:pPr>
              <a:spcAft>
                <a:spcPts val="300"/>
              </a:spcAft>
            </a:pPr>
            <a:r>
              <a:rPr lang="en-IE" sz="1100">
                <a:solidFill>
                  <a:schemeClr val="bg1"/>
                </a:solidFill>
                <a:latin typeface="Calibri" panose="020F0502020204030204" pitchFamily="34" charset="0"/>
                <a:cs typeface="Calibri" panose="020F0502020204030204" pitchFamily="34" charset="0"/>
              </a:rPr>
              <a:t>Onsite to Cloud Migration</a:t>
            </a:r>
          </a:p>
        </p:txBody>
      </p:sp>
      <p:pic>
        <p:nvPicPr>
          <p:cNvPr id="9" name="Picture 5" descr="Logo&#10;&#10;Description automatically generated">
            <a:extLst>
              <a:ext uri="{FF2B5EF4-FFF2-40B4-BE49-F238E27FC236}">
                <a16:creationId xmlns:a16="http://schemas.microsoft.com/office/drawing/2014/main" id="{07F1C5B2-08F7-8B7F-2426-6577C3B420C5}"/>
              </a:ext>
            </a:extLst>
          </p:cNvPr>
          <p:cNvPicPr>
            <a:picLocks noChangeAspect="1"/>
          </p:cNvPicPr>
          <p:nvPr/>
        </p:nvPicPr>
        <p:blipFill>
          <a:blip r:embed="rId4"/>
          <a:stretch>
            <a:fillRect/>
          </a:stretch>
        </p:blipFill>
        <p:spPr>
          <a:xfrm>
            <a:off x="609599" y="3795358"/>
            <a:ext cx="1592035" cy="1114780"/>
          </a:xfrm>
          <a:prstGeom prst="rect">
            <a:avLst/>
          </a:prstGeom>
        </p:spPr>
      </p:pic>
      <p:pic>
        <p:nvPicPr>
          <p:cNvPr id="13" name="Picture 5" descr="Logo&#10;&#10;Description automatically generated">
            <a:extLst>
              <a:ext uri="{FF2B5EF4-FFF2-40B4-BE49-F238E27FC236}">
                <a16:creationId xmlns:a16="http://schemas.microsoft.com/office/drawing/2014/main" id="{C1545331-4015-464E-962A-B3B6847FC396}"/>
              </a:ext>
            </a:extLst>
          </p:cNvPr>
          <p:cNvPicPr>
            <a:picLocks noChangeAspect="1"/>
          </p:cNvPicPr>
          <p:nvPr/>
        </p:nvPicPr>
        <p:blipFill>
          <a:blip r:embed="rId4"/>
          <a:stretch>
            <a:fillRect/>
          </a:stretch>
        </p:blipFill>
        <p:spPr>
          <a:xfrm>
            <a:off x="609599" y="2596036"/>
            <a:ext cx="1592035" cy="1114780"/>
          </a:xfrm>
          <a:prstGeom prst="rect">
            <a:avLst/>
          </a:prstGeom>
        </p:spPr>
      </p:pic>
    </p:spTree>
    <p:extLst>
      <p:ext uri="{BB962C8B-B14F-4D97-AF65-F5344CB8AC3E}">
        <p14:creationId xmlns:p14="http://schemas.microsoft.com/office/powerpoint/2010/main" val="3107324555"/>
      </p:ext>
    </p:extLst>
  </p:cSld>
  <p:clrMapOvr>
    <a:masterClrMapping/>
  </p:clrMapOvr>
  <p:extLst>
    <p:ext uri="{6950BFC3-D8DA-4A85-94F7-54DA5524770B}">
      <p188:commentRel xmlns:p188="http://schemas.microsoft.com/office/powerpoint/2018/8/main" r:id="rId2"/>
    </p:ext>
  </p:extLs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375A8375-8BDA-8591-7CD2-CF1F98D8E40F}"/>
              </a:ext>
            </a:extLst>
          </p:cNvPr>
          <p:cNvSpPr>
            <a:spLocks noGrp="1"/>
          </p:cNvSpPr>
          <p:nvPr>
            <p:ph type="body" sz="quarter" idx="10"/>
          </p:nvPr>
        </p:nvSpPr>
        <p:spPr>
          <a:xfrm>
            <a:off x="604966" y="647271"/>
            <a:ext cx="10974388" cy="523983"/>
          </a:xfrm>
        </p:spPr>
        <p:txBody>
          <a:bodyPr/>
          <a:lstStyle/>
          <a:p>
            <a:r>
              <a:rPr lang="en-IN">
                <a:latin typeface="Calibri"/>
                <a:cs typeface="Calibri"/>
              </a:rPr>
              <a:t>H</a:t>
            </a:r>
            <a:r>
              <a:rPr lang="en-IN" sz="2400">
                <a:latin typeface="Calibri"/>
                <a:cs typeface="Calibri"/>
              </a:rPr>
              <a:t>.1 – </a:t>
            </a:r>
            <a:r>
              <a:rPr lang="en-IE">
                <a:latin typeface="Calibri"/>
                <a:cs typeface="Calibri"/>
              </a:rPr>
              <a:t>Case study 1: HSE -  Data Subject Notification (DSN)</a:t>
            </a:r>
          </a:p>
        </p:txBody>
      </p:sp>
      <p:sp>
        <p:nvSpPr>
          <p:cNvPr id="8" name="TextBox 7">
            <a:extLst>
              <a:ext uri="{FF2B5EF4-FFF2-40B4-BE49-F238E27FC236}">
                <a16:creationId xmlns:a16="http://schemas.microsoft.com/office/drawing/2014/main" id="{B60A0EA7-BFC8-2138-B2E4-1DB2C7A4A750}"/>
              </a:ext>
            </a:extLst>
          </p:cNvPr>
          <p:cNvSpPr txBox="1"/>
          <p:nvPr/>
        </p:nvSpPr>
        <p:spPr>
          <a:xfrm>
            <a:off x="4325758" y="1468152"/>
            <a:ext cx="3540484" cy="288000"/>
          </a:xfrm>
          <a:prstGeom prst="rect">
            <a:avLst/>
          </a:prstGeom>
          <a:solidFill>
            <a:srgbClr val="747480"/>
          </a:solidFill>
        </p:spPr>
        <p:txBody>
          <a:bodyPr wrap="square" lIns="72000" tIns="72000" rIns="72000" bIns="72000" anchor="ctr">
            <a:noAutofit/>
          </a:bodyPr>
          <a:lstStyle/>
          <a:p>
            <a:pPr marL="0" lvl="1" defTabSz="1006520" fontAlgn="base">
              <a:lnSpc>
                <a:spcPct val="100000"/>
              </a:lnSpc>
              <a:spcBef>
                <a:spcPts val="0"/>
              </a:spcBef>
              <a:spcAft>
                <a:spcPts val="659"/>
              </a:spcAft>
              <a:buClr>
                <a:schemeClr val="tx2"/>
              </a:buClr>
              <a:buSzPct val="75000"/>
              <a:defRPr/>
            </a:pPr>
            <a:r>
              <a:rPr lang="en-US" sz="1100" b="1">
                <a:latin typeface="Calibri" panose="020F0502020204030204" pitchFamily="34" charset="0"/>
                <a:cs typeface="Calibri" panose="020F0502020204030204" pitchFamily="34" charset="0"/>
                <a:sym typeface="EYInterstate" pitchFamily="2" charset="0"/>
              </a:rPr>
              <a:t>Value delivered</a:t>
            </a:r>
            <a:endParaRPr lang="en-IE" sz="1100" b="1">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94BC6B52-470B-4F59-4E4C-58B5DCC1F763}"/>
              </a:ext>
            </a:extLst>
          </p:cNvPr>
          <p:cNvSpPr txBox="1"/>
          <p:nvPr/>
        </p:nvSpPr>
        <p:spPr>
          <a:xfrm>
            <a:off x="8065175" y="1469264"/>
            <a:ext cx="3540484" cy="288000"/>
          </a:xfrm>
          <a:prstGeom prst="rect">
            <a:avLst/>
          </a:prstGeom>
          <a:solidFill>
            <a:schemeClr val="tx2"/>
          </a:solidFill>
        </p:spPr>
        <p:txBody>
          <a:bodyPr wrap="square" lIns="72000" tIns="72000" rIns="72000" bIns="72000" anchor="ctr">
            <a:noAutofit/>
          </a:bodyPr>
          <a:lstStyle/>
          <a:p>
            <a:pPr marL="0" lvl="1" defTabSz="1006520" fontAlgn="base">
              <a:spcAft>
                <a:spcPts val="659"/>
              </a:spcAft>
              <a:buClr>
                <a:schemeClr val="tx2"/>
              </a:buClr>
              <a:buSzPct val="70000"/>
              <a:defRPr/>
            </a:pPr>
            <a:r>
              <a:rPr lang="en-IE" sz="1100" b="1">
                <a:solidFill>
                  <a:schemeClr val="bg2"/>
                </a:solidFill>
                <a:latin typeface="Calibri" panose="020F0502020204030204" pitchFamily="34" charset="0"/>
                <a:cs typeface="Calibri" panose="020F0502020204030204" pitchFamily="34" charset="0"/>
              </a:rPr>
              <a:t>Why Relevant for St. James's Hospital</a:t>
            </a:r>
            <a:endParaRPr lang="en-US" sz="1100" b="1">
              <a:solidFill>
                <a:schemeClr val="bg2"/>
              </a:solidFill>
              <a:latin typeface="Calibri" panose="020F0502020204030204" pitchFamily="34" charset="0"/>
              <a:cs typeface="Calibri" panose="020F0502020204030204" pitchFamily="34" charset="0"/>
              <a:sym typeface="EYInterstate" pitchFamily="2" charset="0"/>
            </a:endParaRPr>
          </a:p>
        </p:txBody>
      </p:sp>
      <p:sp>
        <p:nvSpPr>
          <p:cNvPr id="12" name="TextBox 11">
            <a:extLst>
              <a:ext uri="{FF2B5EF4-FFF2-40B4-BE49-F238E27FC236}">
                <a16:creationId xmlns:a16="http://schemas.microsoft.com/office/drawing/2014/main" id="{255B8FE5-3EF6-EAFF-2ABD-5DC3003D7693}"/>
              </a:ext>
            </a:extLst>
          </p:cNvPr>
          <p:cNvSpPr txBox="1"/>
          <p:nvPr/>
        </p:nvSpPr>
        <p:spPr>
          <a:xfrm>
            <a:off x="609600" y="1471757"/>
            <a:ext cx="3540484" cy="288000"/>
          </a:xfrm>
          <a:prstGeom prst="rect">
            <a:avLst/>
          </a:prstGeom>
          <a:solidFill>
            <a:srgbClr val="2E2E38"/>
          </a:solidFill>
        </p:spPr>
        <p:txBody>
          <a:bodyPr wrap="square" lIns="72000" tIns="72000" rIns="72000" bIns="72000" anchor="ctr">
            <a:noAutofit/>
          </a:bodyPr>
          <a:lstStyle/>
          <a:p>
            <a:pPr marL="0" marR="0" lvl="1" indent="0" algn="l" defTabSz="914400" rtl="0" eaLnBrk="1" fontAlgn="base" latinLnBrk="0" hangingPunct="0">
              <a:lnSpc>
                <a:spcPct val="100000"/>
              </a:lnSpc>
              <a:spcBef>
                <a:spcPts val="0"/>
              </a:spcBef>
              <a:spcAft>
                <a:spcPts val="300"/>
              </a:spcAft>
              <a:buClr>
                <a:schemeClr val="tx2"/>
              </a:buClr>
              <a:buSzPct val="75000"/>
              <a:buFont typeface="Wingdings 3" panose="05040102010807070707" pitchFamily="18" charset="2"/>
              <a:buNone/>
              <a:tabLst/>
              <a:defRPr/>
            </a:pPr>
            <a:r>
              <a:rPr lang="en-IN" sz="1100" b="1">
                <a:latin typeface="Calibri" panose="020F0502020204030204" pitchFamily="34" charset="0"/>
                <a:cs typeface="Calibri" panose="020F0502020204030204" pitchFamily="34" charset="0"/>
                <a:sym typeface="EYInterstate" pitchFamily="2" charset="0"/>
              </a:rPr>
              <a:t>Driver &amp; Background</a:t>
            </a:r>
          </a:p>
        </p:txBody>
      </p:sp>
      <p:sp>
        <p:nvSpPr>
          <p:cNvPr id="14" name="TextBox 13">
            <a:extLst>
              <a:ext uri="{FF2B5EF4-FFF2-40B4-BE49-F238E27FC236}">
                <a16:creationId xmlns:a16="http://schemas.microsoft.com/office/drawing/2014/main" id="{E8A55644-11AD-FD70-1A30-6A95013BD141}"/>
              </a:ext>
            </a:extLst>
          </p:cNvPr>
          <p:cNvSpPr txBox="1"/>
          <p:nvPr/>
        </p:nvSpPr>
        <p:spPr>
          <a:xfrm>
            <a:off x="4323513" y="1922506"/>
            <a:ext cx="3540484" cy="3885628"/>
          </a:xfrm>
          <a:prstGeom prst="rect">
            <a:avLst/>
          </a:prstGeom>
          <a:solidFill>
            <a:srgbClr val="C4C4CD">
              <a:alpha val="50000"/>
            </a:srgbClr>
          </a:solidFill>
        </p:spPr>
        <p:txBody>
          <a:bodyPr wrap="square" lIns="72000" tIns="72000" rIns="72000" bIns="72000" anchor="t">
            <a:noAutofit/>
          </a:bodyPr>
          <a:lstStyle/>
          <a:p>
            <a:pPr algn="just" defTabSz="802020" fontAlgn="base">
              <a:spcAft>
                <a:spcPts val="300"/>
              </a:spcAft>
            </a:pPr>
            <a:r>
              <a:rPr lang="en-IE" sz="1050">
                <a:solidFill>
                  <a:schemeClr val="bg1"/>
                </a:solidFill>
                <a:latin typeface="Calibri"/>
                <a:cs typeface="Calibri"/>
              </a:rPr>
              <a:t>EY delivered a full “end to end” solution for the HSE utilising Microsoft Cloud services (Azure, Dynamics, Power Platform and DevOps) integrated with 3</a:t>
            </a:r>
            <a:r>
              <a:rPr lang="en-IE" sz="1050" baseline="30000">
                <a:solidFill>
                  <a:schemeClr val="bg1"/>
                </a:solidFill>
                <a:latin typeface="Calibri"/>
                <a:cs typeface="Calibri"/>
              </a:rPr>
              <a:t>rd</a:t>
            </a:r>
            <a:r>
              <a:rPr lang="en-IE" sz="1050">
                <a:solidFill>
                  <a:schemeClr val="bg1"/>
                </a:solidFill>
                <a:latin typeface="Calibri"/>
                <a:cs typeface="Calibri"/>
              </a:rPr>
              <a:t> party contact centre software (Twilio) and identity verification service (ID-Pal). EY developed the processes required to manage the notification and follow on management of communication and advice that was provided to affected citizens. This led to a successful outcome that achieved the following:</a:t>
            </a:r>
            <a:endParaRPr lang="en-US" sz="1050">
              <a:solidFill>
                <a:schemeClr val="bg1"/>
              </a:solidFill>
              <a:latin typeface="Calibri"/>
              <a:cs typeface="Calibri"/>
            </a:endParaRPr>
          </a:p>
          <a:p>
            <a:pPr marL="180340" indent="-180340" algn="just" defTabSz="802020">
              <a:spcAft>
                <a:spcPts val="100"/>
              </a:spcAft>
              <a:buFont typeface="Arial,Sans-Serif"/>
              <a:buChar char="►"/>
            </a:pPr>
            <a:r>
              <a:rPr lang="en-IE" sz="1000">
                <a:solidFill>
                  <a:schemeClr val="bg1"/>
                </a:solidFill>
                <a:latin typeface="Calibri"/>
                <a:cs typeface="Calibri"/>
              </a:rPr>
              <a:t>Letter notification and case management for over 130,000 affected citizens.</a:t>
            </a:r>
          </a:p>
          <a:p>
            <a:pPr marL="180340" indent="-180340" algn="just" defTabSz="802020">
              <a:spcAft>
                <a:spcPts val="100"/>
              </a:spcAft>
              <a:buFont typeface="Arial,Sans-Serif"/>
              <a:buChar char="►"/>
            </a:pPr>
            <a:r>
              <a:rPr lang="en-IE" sz="1000">
                <a:solidFill>
                  <a:schemeClr val="bg1"/>
                </a:solidFill>
                <a:latin typeface="Calibri"/>
                <a:cs typeface="Calibri"/>
              </a:rPr>
              <a:t>Provision of a highly secure public portal to provide data sharing capability and communication to affected citizens.</a:t>
            </a:r>
          </a:p>
          <a:p>
            <a:pPr marL="180340" indent="-180340" algn="just" defTabSz="802020">
              <a:spcAft>
                <a:spcPts val="100"/>
              </a:spcAft>
              <a:buFont typeface="Arial,Sans-Serif"/>
              <a:buChar char="►"/>
            </a:pPr>
            <a:r>
              <a:rPr lang="en-IE" sz="1000">
                <a:solidFill>
                  <a:schemeClr val="bg1"/>
                </a:solidFill>
                <a:latin typeface="Calibri"/>
                <a:cs typeface="Calibri"/>
              </a:rPr>
              <a:t>Ensured the HSE met their GDPR notification requirements in a timely manner.</a:t>
            </a:r>
          </a:p>
        </p:txBody>
      </p:sp>
      <p:sp>
        <p:nvSpPr>
          <p:cNvPr id="16" name="TextBox 15">
            <a:extLst>
              <a:ext uri="{FF2B5EF4-FFF2-40B4-BE49-F238E27FC236}">
                <a16:creationId xmlns:a16="http://schemas.microsoft.com/office/drawing/2014/main" id="{E1F487BF-2DB8-5EDD-C394-30A9E2FAAF66}"/>
              </a:ext>
            </a:extLst>
          </p:cNvPr>
          <p:cNvSpPr txBox="1"/>
          <p:nvPr/>
        </p:nvSpPr>
        <p:spPr>
          <a:xfrm>
            <a:off x="8049935" y="1924045"/>
            <a:ext cx="3540484" cy="3885628"/>
          </a:xfrm>
          <a:prstGeom prst="rect">
            <a:avLst/>
          </a:prstGeom>
          <a:solidFill>
            <a:srgbClr val="C4C4CD">
              <a:alpha val="50000"/>
            </a:srgbClr>
          </a:solidFill>
        </p:spPr>
        <p:txBody>
          <a:bodyPr wrap="square" lIns="72000" tIns="72000" rIns="72000" bIns="72000" anchor="t">
            <a:noAutofit/>
          </a:bodyPr>
          <a:lstStyle/>
          <a:p>
            <a:pPr marL="0" lvl="1" algn="just" defTabSz="1006520" fontAlgn="base">
              <a:spcAft>
                <a:spcPts val="500"/>
              </a:spcAft>
              <a:buClr>
                <a:schemeClr val="tx2"/>
              </a:buClr>
              <a:buSzPct val="75000"/>
              <a:defRPr/>
            </a:pPr>
            <a:r>
              <a:rPr lang="en-IE" sz="1050">
                <a:solidFill>
                  <a:schemeClr val="bg1"/>
                </a:solidFill>
                <a:latin typeface="Calibri"/>
                <a:cs typeface="Calibri"/>
              </a:rPr>
              <a:t>The solution delivered in this case highlights EY’s ability to deliver critical services utilising Microsoft Azure and Power Platform services aligned with an agile delivery methodology to deliver value early and at pace. This demonstrates EY’s: </a:t>
            </a:r>
            <a:endParaRPr lang="en-US" sz="1050">
              <a:solidFill>
                <a:schemeClr val="bg1"/>
              </a:solidFill>
              <a:latin typeface="Calibri"/>
              <a:cs typeface="Calibri"/>
            </a:endParaRPr>
          </a:p>
          <a:p>
            <a:pPr marL="180340" lvl="3" indent="-180340" algn="just" defTabSz="1006520">
              <a:spcAft>
                <a:spcPts val="100"/>
              </a:spcAft>
              <a:buFont typeface="Arial,Sans-Serif"/>
              <a:buChar char="►"/>
              <a:defRPr/>
            </a:pPr>
            <a:r>
              <a:rPr lang="en-IE" sz="1050">
                <a:solidFill>
                  <a:schemeClr val="bg1"/>
                </a:solidFill>
                <a:latin typeface="Calibri"/>
                <a:cs typeface="Calibri"/>
              </a:rPr>
              <a:t>Strong focus on User Experience (UX) supported by Microsoft’s Power Platform and resulted in a positive user experience and improved communication, for better management and coordination.</a:t>
            </a:r>
          </a:p>
          <a:p>
            <a:pPr marL="180340" lvl="3" indent="-180340" algn="just" defTabSz="1006520">
              <a:spcAft>
                <a:spcPts val="100"/>
              </a:spcAft>
              <a:buFont typeface="Arial,Sans-Serif"/>
              <a:buChar char="►"/>
              <a:defRPr/>
            </a:pPr>
            <a:r>
              <a:rPr lang="en-IE" sz="1050">
                <a:solidFill>
                  <a:schemeClr val="bg1"/>
                </a:solidFill>
                <a:latin typeface="Calibri"/>
                <a:cs typeface="Calibri"/>
              </a:rPr>
              <a:t>Significant technical depth to design and implement a fully operational cloud hosted customer contact centre and supporting technologies within 10 weeks of project initiation.</a:t>
            </a:r>
          </a:p>
          <a:p>
            <a:pPr marL="180340" lvl="3" indent="-180340" algn="just" defTabSz="1006520">
              <a:spcAft>
                <a:spcPts val="100"/>
              </a:spcAft>
              <a:buFont typeface="Arial,Sans-Serif"/>
              <a:buChar char="►"/>
              <a:defRPr/>
            </a:pPr>
            <a:r>
              <a:rPr lang="en-IE" sz="1050">
                <a:solidFill>
                  <a:schemeClr val="bg1"/>
                </a:solidFill>
                <a:latin typeface="Calibri"/>
                <a:cs typeface="Calibri"/>
              </a:rPr>
              <a:t>Ability to design and implement complex integrations, with 3</a:t>
            </a:r>
            <a:r>
              <a:rPr lang="en-IE" sz="1050" baseline="30000">
                <a:solidFill>
                  <a:schemeClr val="bg1"/>
                </a:solidFill>
                <a:latin typeface="Calibri"/>
                <a:cs typeface="Calibri"/>
              </a:rPr>
              <a:t>rd</a:t>
            </a:r>
            <a:r>
              <a:rPr lang="en-IE" sz="1050">
                <a:solidFill>
                  <a:schemeClr val="bg1"/>
                </a:solidFill>
                <a:latin typeface="Calibri"/>
                <a:cs typeface="Calibri"/>
              </a:rPr>
              <a:t> party tools.</a:t>
            </a:r>
          </a:p>
          <a:p>
            <a:pPr marL="180340" lvl="3" indent="-180340" algn="just" defTabSz="1006520">
              <a:spcAft>
                <a:spcPts val="100"/>
              </a:spcAft>
              <a:buFont typeface="Arial,Sans-Serif"/>
              <a:buChar char="►"/>
              <a:defRPr/>
            </a:pPr>
            <a:r>
              <a:rPr lang="en-IE" sz="1050">
                <a:solidFill>
                  <a:schemeClr val="bg1"/>
                </a:solidFill>
                <a:latin typeface="Calibri"/>
                <a:cs typeface="Calibri"/>
              </a:rPr>
              <a:t>Capability to provide a full 24/7 Managed Service for a large-scale implementation of national significance., including training of all HSE staff – pre and post go-live, creating detailed process documentation for all aspects of the solution e.g. Backup/Recovery processes and delivering to strict SLA’s for incidents and escalations.</a:t>
            </a:r>
          </a:p>
          <a:p>
            <a:pPr marL="180340" lvl="3" indent="-180340" algn="just" defTabSz="1006520">
              <a:spcAft>
                <a:spcPts val="100"/>
              </a:spcAft>
              <a:buFont typeface="Arial,Sans-Serif"/>
              <a:buChar char="►"/>
              <a:defRPr/>
            </a:pPr>
            <a:r>
              <a:rPr lang="en-IE" sz="1050">
                <a:solidFill>
                  <a:schemeClr val="bg1"/>
                </a:solidFill>
                <a:latin typeface="Calibri"/>
                <a:cs typeface="Calibri"/>
              </a:rPr>
              <a:t>Seamless migration of large volumes of data from Relativity to Azure, ensuring data integrity and accuracy during the process.</a:t>
            </a:r>
          </a:p>
          <a:p>
            <a:pPr marL="180340" lvl="3" indent="-180340" algn="just" defTabSz="1006520">
              <a:spcAft>
                <a:spcPts val="100"/>
              </a:spcAft>
              <a:buFont typeface="Arial,Sans-Serif"/>
              <a:buChar char="►"/>
              <a:defRPr/>
            </a:pPr>
            <a:endParaRPr lang="en-IE" sz="1050">
              <a:solidFill>
                <a:schemeClr val="bg1"/>
              </a:solidFill>
              <a:latin typeface="Calibri"/>
              <a:cs typeface="Calibri"/>
            </a:endParaRPr>
          </a:p>
        </p:txBody>
      </p:sp>
      <p:sp>
        <p:nvSpPr>
          <p:cNvPr id="18" name="TextBox 17">
            <a:extLst>
              <a:ext uri="{FF2B5EF4-FFF2-40B4-BE49-F238E27FC236}">
                <a16:creationId xmlns:a16="http://schemas.microsoft.com/office/drawing/2014/main" id="{CF0BC8A6-1F16-21B1-A715-9879FE7EE926}"/>
              </a:ext>
            </a:extLst>
          </p:cNvPr>
          <p:cNvSpPr txBox="1"/>
          <p:nvPr/>
        </p:nvSpPr>
        <p:spPr>
          <a:xfrm>
            <a:off x="615906" y="1924044"/>
            <a:ext cx="3521670" cy="3884067"/>
          </a:xfrm>
          <a:prstGeom prst="rect">
            <a:avLst/>
          </a:prstGeom>
          <a:solidFill>
            <a:srgbClr val="C4C4CD">
              <a:alpha val="50000"/>
            </a:srgbClr>
          </a:solidFill>
        </p:spPr>
        <p:txBody>
          <a:bodyPr wrap="square" lIns="72000" tIns="72000" rIns="72000" bIns="72000" anchor="t">
            <a:noAutofit/>
          </a:bodyPr>
          <a:lstStyle/>
          <a:p>
            <a:pPr indent="-274320" algn="just" fontAlgn="base" hangingPunct="0">
              <a:spcAft>
                <a:spcPts val="300"/>
              </a:spcAft>
              <a:buClr>
                <a:schemeClr val="tx2"/>
              </a:buClr>
              <a:buSzPct val="75000"/>
              <a:defRPr/>
            </a:pPr>
            <a:r>
              <a:rPr lang="en-IE" sz="1000">
                <a:solidFill>
                  <a:schemeClr val="bg1"/>
                </a:solidFill>
                <a:latin typeface="Calibri"/>
                <a:cs typeface="Calibri"/>
              </a:rPr>
              <a:t>In May 2021, the CHI was impacted by a large-scale cyber incident. Following the HSE’s ransomware attack there was an obligation on the HSE to inform all those impacted by the breach. EY were engaged to manage the “end to end” notification process for the HSE. This was a highly complex engagement due to:</a:t>
            </a:r>
            <a:endParaRPr lang="en-US" sz="1000">
              <a:solidFill>
                <a:schemeClr val="bg1"/>
              </a:solidFill>
              <a:latin typeface="Calibri"/>
              <a:cs typeface="Calibri"/>
            </a:endParaRPr>
          </a:p>
          <a:p>
            <a:pPr marL="180340" indent="-180340" algn="just">
              <a:spcAft>
                <a:spcPts val="100"/>
              </a:spcAft>
              <a:buFont typeface="Arial,Sans-Serif"/>
              <a:buChar char="►"/>
              <a:defRPr/>
            </a:pPr>
            <a:r>
              <a:rPr lang="en-IE" sz="1000">
                <a:solidFill>
                  <a:schemeClr val="bg1"/>
                </a:solidFill>
                <a:latin typeface="Calibri"/>
                <a:cs typeface="Calibri"/>
              </a:rPr>
              <a:t>The nature and risk the data breach, which included sensitive and confidential information.</a:t>
            </a:r>
          </a:p>
          <a:p>
            <a:pPr marL="180340" lvl="3" indent="-180340" algn="just">
              <a:spcAft>
                <a:spcPts val="100"/>
              </a:spcAft>
              <a:buFont typeface="Arial,Sans-Serif"/>
              <a:buChar char="►"/>
              <a:defRPr/>
            </a:pPr>
            <a:r>
              <a:rPr lang="en-IE" sz="1000">
                <a:solidFill>
                  <a:schemeClr val="bg1"/>
                </a:solidFill>
                <a:latin typeface="Calibri"/>
                <a:cs typeface="Calibri"/>
              </a:rPr>
              <a:t>The need for the organisation to rebuild and regain trust with citizens in the delivery of this service.</a:t>
            </a:r>
          </a:p>
          <a:p>
            <a:pPr marL="180340" lvl="3" indent="-180340" algn="just">
              <a:spcAft>
                <a:spcPts val="100"/>
              </a:spcAft>
              <a:buFont typeface="Arial,Sans-Serif"/>
              <a:buChar char="►"/>
              <a:defRPr/>
            </a:pPr>
            <a:r>
              <a:rPr lang="en-IE" sz="1000">
                <a:solidFill>
                  <a:schemeClr val="bg1"/>
                </a:solidFill>
                <a:latin typeface="Calibri"/>
                <a:cs typeface="Calibri"/>
              </a:rPr>
              <a:t>The complexity of the legal and regulatory requirements that needed to be met in delivering the service.</a:t>
            </a:r>
          </a:p>
          <a:p>
            <a:pPr marL="180340" lvl="3" indent="-180340" algn="just">
              <a:spcAft>
                <a:spcPts val="100"/>
              </a:spcAft>
              <a:buFont typeface="Arial,Sans-Serif"/>
              <a:buChar char="►"/>
              <a:defRPr/>
            </a:pPr>
            <a:r>
              <a:rPr lang="en-IE" sz="1000">
                <a:solidFill>
                  <a:schemeClr val="bg1"/>
                </a:solidFill>
                <a:latin typeface="Calibri"/>
                <a:cs typeface="Calibri"/>
              </a:rPr>
              <a:t>The technology requirements to provide a service at pace to manage the notification, communications and for overall case management at speed and scale.</a:t>
            </a:r>
          </a:p>
          <a:p>
            <a:pPr marL="180340" lvl="3" indent="-180340" algn="just">
              <a:spcAft>
                <a:spcPts val="100"/>
              </a:spcAft>
              <a:buFont typeface="Arial,Sans-Serif"/>
              <a:buChar char="►"/>
              <a:defRPr/>
            </a:pPr>
            <a:r>
              <a:rPr lang="en-IE" sz="1000">
                <a:solidFill>
                  <a:schemeClr val="bg1"/>
                </a:solidFill>
                <a:latin typeface="Calibri"/>
                <a:cs typeface="Calibri"/>
              </a:rPr>
              <a:t>The high-profile nature of the impact of the cyber-attack.</a:t>
            </a:r>
          </a:p>
          <a:p>
            <a:pPr marL="0" marR="0" lvl="2" indent="-457200" algn="just" defTabSz="914400" rtl="0" eaLnBrk="1" latinLnBrk="0">
              <a:lnSpc>
                <a:spcPct val="100000"/>
              </a:lnSpc>
              <a:spcBef>
                <a:spcPts val="0"/>
              </a:spcBef>
              <a:spcAft>
                <a:spcPts val="100"/>
              </a:spcAft>
              <a:buFont typeface="Arial,Sans-Serif"/>
              <a:buChar char="►"/>
              <a:tabLst/>
              <a:defRPr/>
            </a:pPr>
            <a:endParaRPr lang="en-IE" sz="1000">
              <a:solidFill>
                <a:schemeClr val="bg1"/>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AA265383-9421-C2D4-AA09-19FC73F89E9C}"/>
              </a:ext>
            </a:extLst>
          </p:cNvPr>
          <p:cNvSpPr txBox="1"/>
          <p:nvPr/>
        </p:nvSpPr>
        <p:spPr>
          <a:xfrm>
            <a:off x="608115" y="5911788"/>
            <a:ext cx="10966493" cy="310131"/>
          </a:xfrm>
          <a:prstGeom prst="rect">
            <a:avLst/>
          </a:prstGeom>
          <a:solidFill>
            <a:srgbClr val="C4C4CD">
              <a:alpha val="50000"/>
            </a:srgbClr>
          </a:solidFill>
        </p:spPr>
        <p:txBody>
          <a:bodyPr wrap="square" lIns="72000" tIns="72000" rIns="72000" bIns="72000">
            <a:noAutofit/>
          </a:bodyPr>
          <a:lstStyle/>
          <a:p>
            <a:pPr marL="0" marR="0" lvl="1" algn="l" defTabSz="914400" rtl="0" eaLnBrk="1" fontAlgn="base" latinLnBrk="0" hangingPunct="0">
              <a:lnSpc>
                <a:spcPct val="100000"/>
              </a:lnSpc>
              <a:spcBef>
                <a:spcPts val="0"/>
              </a:spcBef>
              <a:spcAft>
                <a:spcPts val="500"/>
              </a:spcAft>
              <a:buClr>
                <a:schemeClr val="tx2"/>
              </a:buClr>
              <a:buSzPct val="75000"/>
              <a:tabLst/>
              <a:defRPr/>
            </a:pPr>
            <a:r>
              <a:rPr lang="en-IE" sz="1100" b="1" i="0" kern="1200">
                <a:solidFill>
                  <a:schemeClr val="bg1"/>
                </a:solidFill>
                <a:latin typeface="Calibri" panose="020F0502020204030204" pitchFamily="34" charset="0"/>
                <a:cs typeface="Calibri" panose="020F0502020204030204" pitchFamily="34" charset="0"/>
                <a:sym typeface="EYInterstate" pitchFamily="2" charset="0"/>
              </a:rPr>
              <a:t>Case Reference: brian.moroney@ie.ey.com </a:t>
            </a:r>
          </a:p>
        </p:txBody>
      </p:sp>
      <p:pic>
        <p:nvPicPr>
          <p:cNvPr id="13" name="Picture 5" descr="Logo&#10;&#10;Description automatically generated">
            <a:extLst>
              <a:ext uri="{FF2B5EF4-FFF2-40B4-BE49-F238E27FC236}">
                <a16:creationId xmlns:a16="http://schemas.microsoft.com/office/drawing/2014/main" id="{7803A464-F5B7-4E4A-8C95-876576CA9008}"/>
              </a:ext>
            </a:extLst>
          </p:cNvPr>
          <p:cNvPicPr>
            <a:picLocks noChangeAspect="1"/>
          </p:cNvPicPr>
          <p:nvPr/>
        </p:nvPicPr>
        <p:blipFill>
          <a:blip r:embed="rId2"/>
          <a:stretch>
            <a:fillRect/>
          </a:stretch>
        </p:blipFill>
        <p:spPr>
          <a:xfrm>
            <a:off x="10406743" y="491494"/>
            <a:ext cx="1322338" cy="925932"/>
          </a:xfrm>
          <a:prstGeom prst="rect">
            <a:avLst/>
          </a:prstGeom>
        </p:spPr>
      </p:pic>
    </p:spTree>
    <p:extLst>
      <p:ext uri="{BB962C8B-B14F-4D97-AF65-F5344CB8AC3E}">
        <p14:creationId xmlns:p14="http://schemas.microsoft.com/office/powerpoint/2010/main" val="10661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H</a:t>
            </a:r>
            <a:r>
              <a:rPr lang="en-IN" sz="2400">
                <a:latin typeface="Calibri" panose="020F0502020204030204" pitchFamily="34" charset="0"/>
                <a:cs typeface="Calibri" panose="020F0502020204030204" pitchFamily="34" charset="0"/>
              </a:rPr>
              <a:t>.1 – </a:t>
            </a:r>
            <a:r>
              <a:rPr lang="en-IE">
                <a:latin typeface="Calibri" panose="020F0502020204030204" pitchFamily="34" charset="0"/>
                <a:cs typeface="Calibri" panose="020F0502020204030204" pitchFamily="34" charset="0"/>
              </a:rPr>
              <a:t>Case study 2: HSE - Covid19 Data Lake and Reporting</a:t>
            </a:r>
          </a:p>
        </p:txBody>
      </p:sp>
      <p:sp>
        <p:nvSpPr>
          <p:cNvPr id="7" name="TextBox 6">
            <a:extLst>
              <a:ext uri="{FF2B5EF4-FFF2-40B4-BE49-F238E27FC236}">
                <a16:creationId xmlns:a16="http://schemas.microsoft.com/office/drawing/2014/main" id="{CFDD937B-3112-47A6-B0B1-3C193428DAEB}"/>
              </a:ext>
            </a:extLst>
          </p:cNvPr>
          <p:cNvSpPr txBox="1"/>
          <p:nvPr/>
        </p:nvSpPr>
        <p:spPr>
          <a:xfrm>
            <a:off x="4311456" y="1520365"/>
            <a:ext cx="3540484" cy="288000"/>
          </a:xfrm>
          <a:prstGeom prst="rect">
            <a:avLst/>
          </a:prstGeom>
          <a:solidFill>
            <a:srgbClr val="747480"/>
          </a:solidFill>
        </p:spPr>
        <p:txBody>
          <a:bodyPr wrap="square" lIns="72000" tIns="72000" rIns="72000" bIns="72000" anchor="ctr">
            <a:noAutofit/>
          </a:bodyPr>
          <a:lstStyle/>
          <a:p>
            <a:pPr marL="0" lvl="1" defTabSz="1006520" fontAlgn="base">
              <a:lnSpc>
                <a:spcPct val="100000"/>
              </a:lnSpc>
              <a:spcBef>
                <a:spcPts val="0"/>
              </a:spcBef>
              <a:spcAft>
                <a:spcPts val="659"/>
              </a:spcAft>
              <a:buClr>
                <a:schemeClr val="tx2"/>
              </a:buClr>
              <a:buSzPct val="75000"/>
              <a:defRPr/>
            </a:pPr>
            <a:r>
              <a:rPr lang="en-US" sz="1100" b="1">
                <a:latin typeface="Calibri" panose="020F0502020204030204" pitchFamily="34" charset="0"/>
                <a:cs typeface="Calibri" panose="020F0502020204030204" pitchFamily="34" charset="0"/>
                <a:sym typeface="EYInterstate" pitchFamily="2" charset="0"/>
              </a:rPr>
              <a:t>Value delivered</a:t>
            </a:r>
            <a:endParaRPr lang="en-IE" sz="1100" b="1">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C153CAD-CB4E-4351-8C09-19E5BC5E2B25}"/>
              </a:ext>
            </a:extLst>
          </p:cNvPr>
          <p:cNvSpPr txBox="1"/>
          <p:nvPr/>
        </p:nvSpPr>
        <p:spPr>
          <a:xfrm>
            <a:off x="8035507" y="1528874"/>
            <a:ext cx="3540484" cy="288000"/>
          </a:xfrm>
          <a:prstGeom prst="rect">
            <a:avLst/>
          </a:prstGeom>
          <a:solidFill>
            <a:schemeClr val="tx2"/>
          </a:solidFill>
        </p:spPr>
        <p:txBody>
          <a:bodyPr wrap="square" lIns="72000" tIns="72000" rIns="72000" bIns="72000" anchor="ctr">
            <a:noAutofit/>
          </a:bodyPr>
          <a:lstStyle/>
          <a:p>
            <a:pPr marL="0" lvl="1" defTabSz="1006520" fontAlgn="base">
              <a:spcAft>
                <a:spcPts val="659"/>
              </a:spcAft>
              <a:buClr>
                <a:schemeClr val="tx2"/>
              </a:buClr>
              <a:buSzPct val="70000"/>
              <a:defRPr/>
            </a:pPr>
            <a:r>
              <a:rPr lang="en-IE" sz="1100" b="1">
                <a:solidFill>
                  <a:schemeClr val="bg2"/>
                </a:solidFill>
                <a:latin typeface="Calibri" panose="020F0502020204030204" pitchFamily="34" charset="0"/>
                <a:cs typeface="Calibri" panose="020F0502020204030204" pitchFamily="34" charset="0"/>
              </a:rPr>
              <a:t>Why Relevant to St. James's Hospital  </a:t>
            </a:r>
            <a:endParaRPr lang="en-US" sz="1100" b="1">
              <a:solidFill>
                <a:schemeClr val="bg2"/>
              </a:solidFill>
              <a:latin typeface="Calibri" panose="020F0502020204030204" pitchFamily="34" charset="0"/>
              <a:cs typeface="Calibri" panose="020F0502020204030204" pitchFamily="34" charset="0"/>
              <a:sym typeface="EYInterstate" pitchFamily="2" charset="0"/>
            </a:endParaRPr>
          </a:p>
        </p:txBody>
      </p:sp>
      <p:sp>
        <p:nvSpPr>
          <p:cNvPr id="10" name="TextBox 9">
            <a:extLst>
              <a:ext uri="{FF2B5EF4-FFF2-40B4-BE49-F238E27FC236}">
                <a16:creationId xmlns:a16="http://schemas.microsoft.com/office/drawing/2014/main" id="{8DB344F0-FF8B-4BFF-A3EE-6E94F5B6096B}"/>
              </a:ext>
            </a:extLst>
          </p:cNvPr>
          <p:cNvSpPr txBox="1"/>
          <p:nvPr/>
        </p:nvSpPr>
        <p:spPr>
          <a:xfrm>
            <a:off x="587405" y="1533730"/>
            <a:ext cx="3540484" cy="288000"/>
          </a:xfrm>
          <a:prstGeom prst="rect">
            <a:avLst/>
          </a:prstGeom>
          <a:solidFill>
            <a:srgbClr val="2E2E38"/>
          </a:solidFill>
        </p:spPr>
        <p:txBody>
          <a:bodyPr wrap="square" lIns="72000" tIns="72000" rIns="72000" bIns="72000" anchor="ctr">
            <a:noAutofit/>
          </a:bodyPr>
          <a:lstStyle/>
          <a:p>
            <a:pPr marL="0" marR="0" lvl="1" indent="0" algn="l" defTabSz="914400" rtl="0" eaLnBrk="1" fontAlgn="base" latinLnBrk="0" hangingPunct="0">
              <a:lnSpc>
                <a:spcPct val="100000"/>
              </a:lnSpc>
              <a:spcBef>
                <a:spcPts val="0"/>
              </a:spcBef>
              <a:spcAft>
                <a:spcPts val="300"/>
              </a:spcAft>
              <a:buClr>
                <a:schemeClr val="tx2"/>
              </a:buClr>
              <a:buSzPct val="75000"/>
              <a:buFont typeface="Wingdings 3" panose="05040102010807070707" pitchFamily="18" charset="2"/>
              <a:buNone/>
              <a:tabLst/>
              <a:defRPr/>
            </a:pPr>
            <a:r>
              <a:rPr lang="en-IN" sz="1100" b="1">
                <a:latin typeface="Calibri" panose="020F0502020204030204" pitchFamily="34" charset="0"/>
                <a:cs typeface="Calibri" panose="020F0502020204030204" pitchFamily="34" charset="0"/>
                <a:sym typeface="EYInterstate" pitchFamily="2" charset="0"/>
              </a:rPr>
              <a:t>Driver &amp; Background</a:t>
            </a:r>
          </a:p>
        </p:txBody>
      </p:sp>
      <p:sp>
        <p:nvSpPr>
          <p:cNvPr id="11" name="TextBox 10">
            <a:extLst>
              <a:ext uri="{FF2B5EF4-FFF2-40B4-BE49-F238E27FC236}">
                <a16:creationId xmlns:a16="http://schemas.microsoft.com/office/drawing/2014/main" id="{9EE04F04-F794-4453-963E-5CFBB6620A43}"/>
              </a:ext>
            </a:extLst>
          </p:cNvPr>
          <p:cNvSpPr txBox="1"/>
          <p:nvPr/>
        </p:nvSpPr>
        <p:spPr>
          <a:xfrm>
            <a:off x="4332858" y="2082801"/>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lang="en-IE" sz="1050">
                <a:solidFill>
                  <a:schemeClr val="bg1"/>
                </a:solidFill>
                <a:latin typeface="Calibri"/>
                <a:cs typeface="Calibri"/>
              </a:rPr>
              <a:t>The HSE's critical business need was to integrate data and systems to enhance decision-making and improve outcomes, offering the following:</a:t>
            </a:r>
            <a:endParaRPr lang="en-US" sz="1050">
              <a:solidFill>
                <a:schemeClr val="bg1"/>
              </a:solidFill>
              <a:latin typeface="Calibri"/>
              <a:cs typeface="Calibri"/>
            </a:endParaRPr>
          </a:p>
          <a:p>
            <a:pPr marL="180340" indent="-180340" algn="just" defTabSz="1006520">
              <a:spcAft>
                <a:spcPts val="100"/>
              </a:spcAft>
              <a:buFont typeface="Arial,Sans-Serif"/>
              <a:buChar char="►"/>
              <a:defRPr/>
            </a:pPr>
            <a:r>
              <a:rPr lang="en-IE" sz="1050">
                <a:solidFill>
                  <a:schemeClr val="bg1"/>
                </a:solidFill>
                <a:latin typeface="Calibri"/>
                <a:cs typeface="Calibri"/>
              </a:rPr>
              <a:t>During the Covid-19 crisis and the increased urgency at the time, the HSE needed a comprehensive dashboard displaying patient journeys, including GP referrals, testing results, hospital and ICU admissions, discharges, and Covid-19 presence in community facilities. The goal was to facilitate a cohesive understanding of the situation across the HSE.</a:t>
            </a:r>
            <a:endParaRPr lang="en-US" sz="1050">
              <a:solidFill>
                <a:schemeClr val="bg1"/>
              </a:solidFill>
              <a:latin typeface="Calibri"/>
              <a:cs typeface="Calibri"/>
            </a:endParaRPr>
          </a:p>
          <a:p>
            <a:pPr marL="180340" indent="-180340" algn="just" defTabSz="1006520">
              <a:spcAft>
                <a:spcPts val="100"/>
              </a:spcAft>
              <a:buFont typeface="Arial,Sans-Serif"/>
              <a:buChar char="►"/>
              <a:defRPr/>
            </a:pPr>
            <a:r>
              <a:rPr lang="en-IE" sz="1050">
                <a:solidFill>
                  <a:schemeClr val="bg1"/>
                </a:solidFill>
                <a:latin typeface="Calibri"/>
                <a:cs typeface="Calibri"/>
              </a:rPr>
              <a:t>Practitioners and management required timely, detailed information to make optimal decisions concerning patient care, planning, and strategy development.</a:t>
            </a:r>
          </a:p>
          <a:p>
            <a:pPr marL="180340" indent="-180340" algn="just" defTabSz="1006520">
              <a:spcAft>
                <a:spcPts val="100"/>
              </a:spcAft>
              <a:buFont typeface="Arial,Sans-Serif"/>
              <a:buChar char="►"/>
              <a:defRPr/>
            </a:pPr>
            <a:r>
              <a:rPr lang="en-IE" sz="1050">
                <a:solidFill>
                  <a:schemeClr val="bg1"/>
                </a:solidFill>
                <a:latin typeface="Calibri"/>
                <a:cs typeface="Calibri"/>
              </a:rPr>
              <a:t>Validating data sources and delivering accurate, actionable information at the necessary level of detail was a crucial objective.</a:t>
            </a:r>
          </a:p>
          <a:p>
            <a:pPr marL="180340" indent="-180340" algn="just" defTabSz="1006520">
              <a:spcAft>
                <a:spcPts val="100"/>
              </a:spcAft>
              <a:buFont typeface="Arial,Sans-Serif"/>
              <a:buChar char="►"/>
              <a:defRPr/>
            </a:pPr>
            <a:r>
              <a:rPr lang="en-IE" sz="1050">
                <a:solidFill>
                  <a:schemeClr val="bg1"/>
                </a:solidFill>
                <a:latin typeface="Calibri"/>
                <a:cs typeface="Calibri"/>
              </a:rPr>
              <a:t>Considering the extended response period, automating metric delivery was necessary to ensure their availability, while redeploying resources for other analytic projects.</a:t>
            </a:r>
          </a:p>
          <a:p>
            <a:pPr marL="180340" indent="-180340" algn="just" defTabSz="1006520">
              <a:spcAft>
                <a:spcPts val="100"/>
              </a:spcAft>
              <a:buFont typeface="Arial,Sans-Serif"/>
              <a:buChar char="►"/>
              <a:defRPr/>
            </a:pPr>
            <a:endParaRPr lang="en-IE" sz="105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FB93CF21-DAD5-4B79-9666-F5B05BE3DD14}"/>
              </a:ext>
            </a:extLst>
          </p:cNvPr>
          <p:cNvSpPr txBox="1"/>
          <p:nvPr/>
        </p:nvSpPr>
        <p:spPr>
          <a:xfrm>
            <a:off x="8049809" y="2077737"/>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lang="en-IE" sz="1050">
                <a:solidFill>
                  <a:schemeClr val="bg1"/>
                </a:solidFill>
                <a:latin typeface="Calibri"/>
                <a:cs typeface="Calibri"/>
              </a:rPr>
              <a:t>EY's selection was justified by its longstanding relationship with HSE and its broad resources within the Technology Consulting Competency, coupled with extensive experience in Microsoft Azure technologies, as detailed below:</a:t>
            </a:r>
          </a:p>
          <a:p>
            <a:pPr marL="180340" indent="-180340" algn="just" defTabSz="1006520">
              <a:spcAft>
                <a:spcPts val="100"/>
              </a:spcAft>
              <a:buFont typeface="Arial,Sans-Serif"/>
              <a:buChar char="►"/>
              <a:defRPr/>
            </a:pPr>
            <a:r>
              <a:rPr lang="en-IE" sz="1100">
                <a:solidFill>
                  <a:schemeClr val="bg1"/>
                </a:solidFill>
                <a:latin typeface="Calibri"/>
                <a:cs typeface="Calibri"/>
              </a:rPr>
              <a:t>EY's expertise was key to successfully importing data from multiple on-premise labs to the Azure Data Platform. This data consolidation and migration allowed for accurate modelling of the disease's impact, effective planning, and the creation of situational dashboards to aid decision-making.</a:t>
            </a:r>
          </a:p>
          <a:p>
            <a:pPr marL="180340" indent="-180340" algn="just" defTabSz="1006520">
              <a:spcAft>
                <a:spcPts val="100"/>
              </a:spcAft>
              <a:buFont typeface="Arial,Sans-Serif"/>
              <a:buChar char="►"/>
              <a:defRPr/>
            </a:pPr>
            <a:r>
              <a:rPr lang="en-IE" sz="1100">
                <a:solidFill>
                  <a:schemeClr val="bg1"/>
                </a:solidFill>
                <a:latin typeface="Calibri"/>
                <a:cs typeface="Calibri"/>
              </a:rPr>
              <a:t>Despite the challenging timeline, EY managed to establish the complex platform, integrate multiple data sources, and continue offering crucial insights in response to the unfolding crisis, when urgently required.</a:t>
            </a:r>
          </a:p>
          <a:p>
            <a:pPr marL="180340" indent="-180340" algn="just" defTabSz="1006520">
              <a:spcAft>
                <a:spcPts val="100"/>
              </a:spcAft>
              <a:buFont typeface="Arial,Sans-Serif"/>
              <a:buChar char="►"/>
              <a:defRPr/>
            </a:pPr>
            <a:r>
              <a:rPr lang="en-IE" sz="1100">
                <a:solidFill>
                  <a:schemeClr val="bg1"/>
                </a:solidFill>
                <a:latin typeface="Calibri"/>
                <a:cs typeface="Calibri"/>
              </a:rPr>
              <a:t>The Azure Data Platform components included Data Lake, Data Factory, SQL Database, &amp; Databricks, among others, enabling HSE management to have full situational awareness and informed decision-making throughout the Covid-19 patient lifecycle across various health systems, ultimately supporting the nation's response and recovery. </a:t>
            </a:r>
          </a:p>
          <a:p>
            <a:pPr marL="0" lvl="1" defTabSz="1006520">
              <a:spcAft>
                <a:spcPts val="500"/>
              </a:spcAft>
              <a:defRPr/>
            </a:pPr>
            <a:endParaRPr lang="en-IE" sz="1050">
              <a:solidFill>
                <a:schemeClr val="bg1"/>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642F10C-58A5-4B16-A89B-076AEE9416C7}"/>
              </a:ext>
            </a:extLst>
          </p:cNvPr>
          <p:cNvSpPr txBox="1"/>
          <p:nvPr/>
        </p:nvSpPr>
        <p:spPr>
          <a:xfrm>
            <a:off x="615906" y="2082800"/>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lang="en-IE" sz="1050">
                <a:solidFill>
                  <a:schemeClr val="bg1"/>
                </a:solidFill>
                <a:latin typeface="Calibri"/>
                <a:cs typeface="Calibri"/>
              </a:rPr>
              <a:t>Amidst the Covid-19 outbreak in Ireland, the Health Service Executive (HSE) recognized the urgency to organize and respond effectively. The HSE established the National COVID-19 Management Team on March 6th and shortly after, the newly formed Integrated Information Service (IIS) received a request to create a dashboard consolidating information from the front line (public and private hospitals, labs, and 3</a:t>
            </a:r>
            <a:r>
              <a:rPr lang="en-IE" sz="1050" baseline="30000">
                <a:solidFill>
                  <a:schemeClr val="bg1"/>
                </a:solidFill>
                <a:latin typeface="Calibri"/>
                <a:cs typeface="Calibri"/>
              </a:rPr>
              <a:t>rd </a:t>
            </a:r>
            <a:r>
              <a:rPr lang="en-IE" sz="1050">
                <a:solidFill>
                  <a:schemeClr val="bg1"/>
                </a:solidFill>
                <a:latin typeface="Calibri"/>
                <a:cs typeface="Calibri"/>
              </a:rPr>
              <a:t>parties) to provide a clear view of the evolving situation and the organization's ability to respond. EY was enlisted to support the response to the Covid-19 crisis.</a:t>
            </a:r>
            <a:endParaRPr lang="en-US">
              <a:solidFill>
                <a:schemeClr val="bg1"/>
              </a:solidFill>
              <a:latin typeface="Calibri"/>
              <a:cs typeface="Calibri"/>
            </a:endParaRPr>
          </a:p>
          <a:p>
            <a:pPr marL="0" lvl="1" algn="just" defTabSz="1006520">
              <a:spcAft>
                <a:spcPts val="500"/>
              </a:spcAft>
              <a:defRPr/>
            </a:pPr>
            <a:r>
              <a:rPr lang="en-IE" sz="1050">
                <a:solidFill>
                  <a:schemeClr val="bg1"/>
                </a:solidFill>
                <a:latin typeface="Calibri"/>
                <a:cs typeface="Calibri"/>
              </a:rPr>
              <a:t>The result was the IIS COVID-19 Management Dashboard, offering real-time insights into confirmed cases, their severity, and hospital capacity at public and private institutions, evolving in tandem with the crisis.</a:t>
            </a:r>
            <a:endParaRPr lang="en-US">
              <a:solidFill>
                <a:schemeClr val="bg1"/>
              </a:solidFill>
              <a:latin typeface="Calibri"/>
              <a:cs typeface="Calibri"/>
            </a:endParaRPr>
          </a:p>
        </p:txBody>
      </p:sp>
      <p:sp>
        <p:nvSpPr>
          <p:cNvPr id="22" name="TextBox 21">
            <a:extLst>
              <a:ext uri="{FF2B5EF4-FFF2-40B4-BE49-F238E27FC236}">
                <a16:creationId xmlns:a16="http://schemas.microsoft.com/office/drawing/2014/main" id="{95F9899C-EE66-4EC6-80ED-8640CE7AA491}"/>
              </a:ext>
            </a:extLst>
          </p:cNvPr>
          <p:cNvSpPr txBox="1"/>
          <p:nvPr/>
        </p:nvSpPr>
        <p:spPr>
          <a:xfrm>
            <a:off x="609600" y="5924557"/>
            <a:ext cx="10989753" cy="310131"/>
          </a:xfrm>
          <a:prstGeom prst="rect">
            <a:avLst/>
          </a:prstGeom>
          <a:solidFill>
            <a:srgbClr val="C4C4CD">
              <a:alpha val="50000"/>
            </a:srgbClr>
          </a:solidFill>
        </p:spPr>
        <p:txBody>
          <a:bodyPr wrap="square" lIns="72000" tIns="72000" rIns="72000" bIns="72000">
            <a:noAutofit/>
          </a:bodyPr>
          <a:lstStyle/>
          <a:p>
            <a:pPr marL="0" marR="0" lvl="1" algn="l" defTabSz="914400" rtl="0" eaLnBrk="1" fontAlgn="base" latinLnBrk="0" hangingPunct="0">
              <a:lnSpc>
                <a:spcPct val="100000"/>
              </a:lnSpc>
              <a:spcBef>
                <a:spcPts val="0"/>
              </a:spcBef>
              <a:spcAft>
                <a:spcPts val="500"/>
              </a:spcAft>
              <a:buClr>
                <a:schemeClr val="tx2"/>
              </a:buClr>
              <a:buSzPct val="75000"/>
              <a:tabLst/>
              <a:defRPr/>
            </a:pPr>
            <a:r>
              <a:rPr lang="en-IE" sz="1100" b="1" i="0" kern="1200">
                <a:solidFill>
                  <a:schemeClr val="bg1"/>
                </a:solidFill>
                <a:latin typeface="Calibri" panose="020F0502020204030204" pitchFamily="34" charset="0"/>
                <a:cs typeface="Calibri" panose="020F0502020204030204" pitchFamily="34" charset="0"/>
                <a:sym typeface="EYInterstate" pitchFamily="2" charset="0"/>
              </a:rPr>
              <a:t>Case Reference:  </a:t>
            </a:r>
          </a:p>
        </p:txBody>
      </p:sp>
      <p:pic>
        <p:nvPicPr>
          <p:cNvPr id="3" name="Picture 2" descr="Logo&#10;&#10;Description automatically generated">
            <a:extLst>
              <a:ext uri="{FF2B5EF4-FFF2-40B4-BE49-F238E27FC236}">
                <a16:creationId xmlns:a16="http://schemas.microsoft.com/office/drawing/2014/main" id="{C5287439-7A6A-D54D-9BDF-3CC622D472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40253" y="500860"/>
            <a:ext cx="965406" cy="804732"/>
          </a:xfrm>
          <a:prstGeom prst="rect">
            <a:avLst/>
          </a:prstGeom>
        </p:spPr>
      </p:pic>
    </p:spTree>
    <p:extLst>
      <p:ext uri="{BB962C8B-B14F-4D97-AF65-F5344CB8AC3E}">
        <p14:creationId xmlns:p14="http://schemas.microsoft.com/office/powerpoint/2010/main" val="42819929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824D54C-15D2-467C-A016-166944D0781C}"/>
              </a:ext>
            </a:extLst>
          </p:cNvPr>
          <p:cNvSpPr>
            <a:spLocks noGrp="1"/>
          </p:cNvSpPr>
          <p:nvPr>
            <p:ph type="body" sz="quarter" idx="10"/>
          </p:nvPr>
        </p:nvSpPr>
        <p:spPr/>
        <p:txBody>
          <a:bodyPr/>
          <a:lstStyle/>
          <a:p>
            <a:r>
              <a:rPr lang="en-IN">
                <a:latin typeface="Calibri" panose="020F0502020204030204" pitchFamily="34" charset="0"/>
                <a:cs typeface="Calibri" panose="020F0502020204030204" pitchFamily="34" charset="0"/>
              </a:rPr>
              <a:t>H</a:t>
            </a:r>
            <a:r>
              <a:rPr lang="en-IN" sz="2400">
                <a:latin typeface="Calibri" panose="020F0502020204030204" pitchFamily="34" charset="0"/>
                <a:cs typeface="Calibri" panose="020F0502020204030204" pitchFamily="34" charset="0"/>
              </a:rPr>
              <a:t>.1 – </a:t>
            </a:r>
            <a:r>
              <a:rPr lang="en-IE">
                <a:latin typeface="Calibri" panose="020F0502020204030204" pitchFamily="34" charset="0"/>
                <a:cs typeface="Calibri" panose="020F0502020204030204" pitchFamily="34" charset="0"/>
              </a:rPr>
              <a:t>Case study 3: </a:t>
            </a:r>
            <a:r>
              <a:rPr lang="en-IE" err="1">
                <a:latin typeface="Calibri" panose="020F0502020204030204" pitchFamily="34" charset="0"/>
                <a:cs typeface="Calibri" panose="020F0502020204030204" pitchFamily="34" charset="0"/>
              </a:rPr>
              <a:t>Screenlink</a:t>
            </a:r>
            <a:r>
              <a:rPr lang="en-IE">
                <a:latin typeface="Calibri" panose="020F0502020204030204" pitchFamily="34" charset="0"/>
                <a:cs typeface="Calibri" panose="020F0502020204030204" pitchFamily="34" charset="0"/>
              </a:rPr>
              <a:t> - Onsite to Cloud Migration</a:t>
            </a:r>
          </a:p>
        </p:txBody>
      </p:sp>
      <p:sp>
        <p:nvSpPr>
          <p:cNvPr id="7" name="TextBox 6">
            <a:extLst>
              <a:ext uri="{FF2B5EF4-FFF2-40B4-BE49-F238E27FC236}">
                <a16:creationId xmlns:a16="http://schemas.microsoft.com/office/drawing/2014/main" id="{CFDD937B-3112-47A6-B0B1-3C193428DAEB}"/>
              </a:ext>
            </a:extLst>
          </p:cNvPr>
          <p:cNvSpPr txBox="1"/>
          <p:nvPr/>
        </p:nvSpPr>
        <p:spPr>
          <a:xfrm>
            <a:off x="4311456" y="1520365"/>
            <a:ext cx="3540484" cy="288000"/>
          </a:xfrm>
          <a:prstGeom prst="rect">
            <a:avLst/>
          </a:prstGeom>
          <a:solidFill>
            <a:srgbClr val="747480"/>
          </a:solidFill>
        </p:spPr>
        <p:txBody>
          <a:bodyPr wrap="square" lIns="72000" tIns="72000" rIns="72000" bIns="72000" anchor="ctr">
            <a:noAutofit/>
          </a:bodyPr>
          <a:lstStyle/>
          <a:p>
            <a:pPr marL="0" lvl="1" defTabSz="1006520" fontAlgn="base">
              <a:lnSpc>
                <a:spcPct val="100000"/>
              </a:lnSpc>
              <a:spcBef>
                <a:spcPts val="0"/>
              </a:spcBef>
              <a:spcAft>
                <a:spcPts val="659"/>
              </a:spcAft>
              <a:buClr>
                <a:schemeClr val="tx2"/>
              </a:buClr>
              <a:buSzPct val="75000"/>
              <a:defRPr/>
            </a:pPr>
            <a:r>
              <a:rPr lang="en-US" sz="1100" b="1">
                <a:latin typeface="Calibri" panose="020F0502020204030204" pitchFamily="34" charset="0"/>
                <a:cs typeface="Calibri" panose="020F0502020204030204" pitchFamily="34" charset="0"/>
                <a:sym typeface="EYInterstate" pitchFamily="2" charset="0"/>
              </a:rPr>
              <a:t>Value delivered</a:t>
            </a:r>
            <a:endParaRPr lang="en-IE" sz="1100" b="1">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C153CAD-CB4E-4351-8C09-19E5BC5E2B25}"/>
              </a:ext>
            </a:extLst>
          </p:cNvPr>
          <p:cNvSpPr txBox="1"/>
          <p:nvPr/>
        </p:nvSpPr>
        <p:spPr>
          <a:xfrm>
            <a:off x="8035507" y="1528874"/>
            <a:ext cx="3540484" cy="288000"/>
          </a:xfrm>
          <a:prstGeom prst="rect">
            <a:avLst/>
          </a:prstGeom>
          <a:solidFill>
            <a:schemeClr val="tx2"/>
          </a:solidFill>
        </p:spPr>
        <p:txBody>
          <a:bodyPr wrap="square" lIns="72000" tIns="72000" rIns="72000" bIns="72000" anchor="ctr">
            <a:noAutofit/>
          </a:bodyPr>
          <a:lstStyle/>
          <a:p>
            <a:pPr marL="0" lvl="1" defTabSz="1006520" fontAlgn="base">
              <a:spcAft>
                <a:spcPts val="659"/>
              </a:spcAft>
              <a:buClr>
                <a:schemeClr val="tx2"/>
              </a:buClr>
              <a:buSzPct val="70000"/>
              <a:defRPr/>
            </a:pPr>
            <a:r>
              <a:rPr lang="en-IE" sz="1100" b="1">
                <a:solidFill>
                  <a:schemeClr val="bg2"/>
                </a:solidFill>
                <a:latin typeface="Calibri" panose="020F0502020204030204" pitchFamily="34" charset="0"/>
                <a:cs typeface="Calibri" panose="020F0502020204030204" pitchFamily="34" charset="0"/>
              </a:rPr>
              <a:t>Why Relevant to St. James's Hospital  </a:t>
            </a:r>
            <a:endParaRPr lang="en-US" sz="1100" b="1">
              <a:solidFill>
                <a:schemeClr val="bg2"/>
              </a:solidFill>
              <a:latin typeface="Calibri" panose="020F0502020204030204" pitchFamily="34" charset="0"/>
              <a:cs typeface="Calibri" panose="020F0502020204030204" pitchFamily="34" charset="0"/>
              <a:sym typeface="EYInterstate" pitchFamily="2" charset="0"/>
            </a:endParaRPr>
          </a:p>
        </p:txBody>
      </p:sp>
      <p:sp>
        <p:nvSpPr>
          <p:cNvPr id="10" name="TextBox 9">
            <a:extLst>
              <a:ext uri="{FF2B5EF4-FFF2-40B4-BE49-F238E27FC236}">
                <a16:creationId xmlns:a16="http://schemas.microsoft.com/office/drawing/2014/main" id="{8DB344F0-FF8B-4BFF-A3EE-6E94F5B6096B}"/>
              </a:ext>
            </a:extLst>
          </p:cNvPr>
          <p:cNvSpPr txBox="1"/>
          <p:nvPr/>
        </p:nvSpPr>
        <p:spPr>
          <a:xfrm>
            <a:off x="587405" y="1533730"/>
            <a:ext cx="3540484" cy="288000"/>
          </a:xfrm>
          <a:prstGeom prst="rect">
            <a:avLst/>
          </a:prstGeom>
          <a:solidFill>
            <a:srgbClr val="2E2E38"/>
          </a:solidFill>
        </p:spPr>
        <p:txBody>
          <a:bodyPr wrap="square" lIns="72000" tIns="72000" rIns="72000" bIns="72000" anchor="ctr">
            <a:noAutofit/>
          </a:bodyPr>
          <a:lstStyle/>
          <a:p>
            <a:pPr marL="0" marR="0" lvl="1" indent="0" algn="l" defTabSz="914400" rtl="0" eaLnBrk="1" fontAlgn="base" latinLnBrk="0" hangingPunct="0">
              <a:lnSpc>
                <a:spcPct val="100000"/>
              </a:lnSpc>
              <a:spcBef>
                <a:spcPts val="0"/>
              </a:spcBef>
              <a:spcAft>
                <a:spcPts val="300"/>
              </a:spcAft>
              <a:buClr>
                <a:schemeClr val="tx2"/>
              </a:buClr>
              <a:buSzPct val="75000"/>
              <a:buFont typeface="Wingdings 3" panose="05040102010807070707" pitchFamily="18" charset="2"/>
              <a:buNone/>
              <a:tabLst/>
              <a:defRPr/>
            </a:pPr>
            <a:r>
              <a:rPr lang="en-IN" sz="1100" b="1">
                <a:latin typeface="Calibri" panose="020F0502020204030204" pitchFamily="34" charset="0"/>
                <a:cs typeface="Calibri" panose="020F0502020204030204" pitchFamily="34" charset="0"/>
                <a:sym typeface="EYInterstate" pitchFamily="2" charset="0"/>
              </a:rPr>
              <a:t>Driver &amp; Background</a:t>
            </a:r>
          </a:p>
        </p:txBody>
      </p:sp>
      <p:sp>
        <p:nvSpPr>
          <p:cNvPr id="11" name="TextBox 10">
            <a:extLst>
              <a:ext uri="{FF2B5EF4-FFF2-40B4-BE49-F238E27FC236}">
                <a16:creationId xmlns:a16="http://schemas.microsoft.com/office/drawing/2014/main" id="{9EE04F04-F794-4453-963E-5CFBB6620A43}"/>
              </a:ext>
            </a:extLst>
          </p:cNvPr>
          <p:cNvSpPr txBox="1"/>
          <p:nvPr/>
        </p:nvSpPr>
        <p:spPr>
          <a:xfrm>
            <a:off x="4332858" y="2082801"/>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lang="en-IE" sz="1050">
                <a:solidFill>
                  <a:schemeClr val="bg1"/>
                </a:solidFill>
                <a:latin typeface="Calibri"/>
                <a:cs typeface="Calibri"/>
              </a:rPr>
              <a:t>EY was brought in to modernize the IT Infrastructure for </a:t>
            </a:r>
            <a:r>
              <a:rPr lang="en-IE" sz="1050" err="1">
                <a:solidFill>
                  <a:schemeClr val="bg1"/>
                </a:solidFill>
                <a:latin typeface="Calibri"/>
                <a:cs typeface="Calibri"/>
              </a:rPr>
              <a:t>Screenlink</a:t>
            </a:r>
            <a:r>
              <a:rPr lang="en-IE" sz="1050">
                <a:solidFill>
                  <a:schemeClr val="bg1"/>
                </a:solidFill>
                <a:latin typeface="Calibri"/>
                <a:cs typeface="Calibri"/>
              </a:rPr>
              <a:t>. EY upgraded the underlying technology to the latest versions and migrated the infrastructure to a modern cloud-based environment (Azure). </a:t>
            </a:r>
          </a:p>
          <a:p>
            <a:pPr marL="0" lvl="1" algn="just" defTabSz="1006520">
              <a:spcAft>
                <a:spcPts val="500"/>
              </a:spcAft>
              <a:defRPr/>
            </a:pPr>
            <a:r>
              <a:rPr lang="en-IE" sz="1050">
                <a:solidFill>
                  <a:schemeClr val="bg1"/>
                </a:solidFill>
                <a:latin typeface="Calibri"/>
                <a:cs typeface="Calibri"/>
              </a:rPr>
              <a:t>This offered the following benefits:</a:t>
            </a:r>
          </a:p>
          <a:p>
            <a:pPr marL="180340" indent="-180340" algn="just" defTabSz="1006520">
              <a:spcAft>
                <a:spcPts val="100"/>
              </a:spcAft>
              <a:buFont typeface="Arial,Sans-Serif"/>
              <a:buChar char="►"/>
              <a:defRPr/>
            </a:pPr>
            <a:r>
              <a:rPr lang="en-IE" sz="1050">
                <a:solidFill>
                  <a:schemeClr val="bg1"/>
                </a:solidFill>
                <a:latin typeface="Calibri" panose="020F0502020204030204" pitchFamily="34" charset="0"/>
                <a:cs typeface="Calibri" panose="020F0502020204030204" pitchFamily="34" charset="0"/>
              </a:rPr>
              <a:t>Transitioning to modern technology will help </a:t>
            </a:r>
            <a:r>
              <a:rPr lang="en-IE" sz="1050" err="1">
                <a:solidFill>
                  <a:schemeClr val="bg1"/>
                </a:solidFill>
                <a:latin typeface="Calibri" panose="020F0502020204030204" pitchFamily="34" charset="0"/>
                <a:cs typeface="Calibri" panose="020F0502020204030204" pitchFamily="34" charset="0"/>
              </a:rPr>
              <a:t>Screenlink</a:t>
            </a:r>
            <a:r>
              <a:rPr lang="en-IE" sz="1050">
                <a:solidFill>
                  <a:schemeClr val="bg1"/>
                </a:solidFill>
                <a:latin typeface="Calibri" panose="020F0502020204030204" pitchFamily="34" charset="0"/>
                <a:cs typeface="Calibri" panose="020F0502020204030204" pitchFamily="34" charset="0"/>
              </a:rPr>
              <a:t> avoid compliance issues, especially in relation to the HSE, while adhering to ISO standards</a:t>
            </a:r>
          </a:p>
          <a:p>
            <a:pPr marL="180340" indent="-180340" algn="just" defTabSz="1006520">
              <a:spcAft>
                <a:spcPts val="100"/>
              </a:spcAft>
              <a:buFont typeface="Arial,Sans-Serif"/>
              <a:buChar char="►"/>
              <a:defRPr/>
            </a:pPr>
            <a:r>
              <a:rPr lang="en-IE" sz="1050">
                <a:solidFill>
                  <a:schemeClr val="bg1"/>
                </a:solidFill>
                <a:latin typeface="Calibri" panose="020F0502020204030204" pitchFamily="34" charset="0"/>
                <a:cs typeface="Calibri" panose="020F0502020204030204" pitchFamily="34" charset="0"/>
              </a:rPr>
              <a:t>Upgrading to modern database platforms ensures improved data security, vital for sensitive healthcare information</a:t>
            </a:r>
          </a:p>
          <a:p>
            <a:pPr marL="180340" indent="-180340" algn="just" defTabSz="1006520">
              <a:spcAft>
                <a:spcPts val="100"/>
              </a:spcAft>
              <a:buFont typeface="Arial,Sans-Serif"/>
              <a:buChar char="►"/>
              <a:defRPr/>
            </a:pPr>
            <a:r>
              <a:rPr lang="en-IE" sz="1050">
                <a:solidFill>
                  <a:schemeClr val="bg1"/>
                </a:solidFill>
                <a:latin typeface="Calibri" panose="020F0502020204030204" pitchFamily="34" charset="0"/>
                <a:cs typeface="Calibri" panose="020F0502020204030204" pitchFamily="34" charset="0"/>
              </a:rPr>
              <a:t>The migration ensures high availability and disaster recovery options, safeguarding against unexpected disruptions and minimizing downtime</a:t>
            </a:r>
          </a:p>
          <a:p>
            <a:pPr marL="180340" indent="-180340" algn="just" defTabSz="1006520">
              <a:spcAft>
                <a:spcPts val="100"/>
              </a:spcAft>
              <a:buFont typeface="Arial,Sans-Serif"/>
              <a:buChar char="►"/>
              <a:defRPr/>
            </a:pPr>
            <a:r>
              <a:rPr lang="en-IE" sz="1050">
                <a:solidFill>
                  <a:schemeClr val="bg1"/>
                </a:solidFill>
                <a:latin typeface="Calibri" panose="020F0502020204030204" pitchFamily="34" charset="0"/>
                <a:cs typeface="Calibri" panose="020F0502020204030204" pitchFamily="34" charset="0"/>
              </a:rPr>
              <a:t>Modernizing the infrastructure with a cloud-based approach equips </a:t>
            </a:r>
            <a:r>
              <a:rPr lang="en-IE" sz="1050" err="1">
                <a:solidFill>
                  <a:schemeClr val="bg1"/>
                </a:solidFill>
                <a:latin typeface="Calibri" panose="020F0502020204030204" pitchFamily="34" charset="0"/>
                <a:cs typeface="Calibri" panose="020F0502020204030204" pitchFamily="34" charset="0"/>
              </a:rPr>
              <a:t>Screenlink</a:t>
            </a:r>
            <a:r>
              <a:rPr lang="en-IE" sz="1050">
                <a:solidFill>
                  <a:schemeClr val="bg1"/>
                </a:solidFill>
                <a:latin typeface="Calibri" panose="020F0502020204030204" pitchFamily="34" charset="0"/>
                <a:cs typeface="Calibri" panose="020F0502020204030204" pitchFamily="34" charset="0"/>
              </a:rPr>
              <a:t> to swiftly respond to future requirements, adapt to market changes, and remain competitive</a:t>
            </a:r>
          </a:p>
          <a:p>
            <a:pPr marL="180340" indent="-180340" algn="just" defTabSz="1006520">
              <a:spcAft>
                <a:spcPts val="100"/>
              </a:spcAft>
              <a:buFont typeface="Arial,Sans-Serif"/>
              <a:buChar char="►"/>
              <a:defRPr/>
            </a:pPr>
            <a:r>
              <a:rPr lang="en-IE" sz="1050">
                <a:solidFill>
                  <a:schemeClr val="bg1"/>
                </a:solidFill>
                <a:latin typeface="Calibri" panose="020F0502020204030204" pitchFamily="34" charset="0"/>
                <a:cs typeface="Calibri" panose="020F0502020204030204" pitchFamily="34" charset="0"/>
              </a:rPr>
              <a:t>The migration will eliminate the increasing costs associated with the current hosting environment by allowing </a:t>
            </a:r>
            <a:r>
              <a:rPr lang="en-IE" sz="1050" err="1">
                <a:solidFill>
                  <a:schemeClr val="bg1"/>
                </a:solidFill>
                <a:latin typeface="Calibri" panose="020F0502020204030204" pitchFamily="34" charset="0"/>
                <a:cs typeface="Calibri" panose="020F0502020204030204" pitchFamily="34" charset="0"/>
              </a:rPr>
              <a:t>screenlink</a:t>
            </a:r>
            <a:r>
              <a:rPr lang="en-IE" sz="1050">
                <a:solidFill>
                  <a:schemeClr val="bg1"/>
                </a:solidFill>
                <a:latin typeface="Calibri" panose="020F0502020204030204" pitchFamily="34" charset="0"/>
                <a:cs typeface="Calibri" panose="020F0502020204030204" pitchFamily="34" charset="0"/>
              </a:rPr>
              <a:t> to pay on the go for only services that they use.</a:t>
            </a:r>
          </a:p>
        </p:txBody>
      </p:sp>
      <p:sp>
        <p:nvSpPr>
          <p:cNvPr id="12" name="TextBox 11">
            <a:extLst>
              <a:ext uri="{FF2B5EF4-FFF2-40B4-BE49-F238E27FC236}">
                <a16:creationId xmlns:a16="http://schemas.microsoft.com/office/drawing/2014/main" id="{FB93CF21-DAD5-4B79-9666-F5B05BE3DD14}"/>
              </a:ext>
            </a:extLst>
          </p:cNvPr>
          <p:cNvSpPr txBox="1"/>
          <p:nvPr/>
        </p:nvSpPr>
        <p:spPr>
          <a:xfrm>
            <a:off x="8049809" y="2077737"/>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lang="en-IE" sz="1050">
                <a:solidFill>
                  <a:schemeClr val="bg1"/>
                </a:solidFill>
                <a:latin typeface="Calibri"/>
                <a:cs typeface="Calibri"/>
              </a:rPr>
              <a:t>For </a:t>
            </a:r>
            <a:r>
              <a:rPr lang="en-IE" sz="1050" err="1">
                <a:solidFill>
                  <a:schemeClr val="bg1"/>
                </a:solidFill>
                <a:latin typeface="Calibri"/>
                <a:cs typeface="Calibri"/>
              </a:rPr>
              <a:t>Screenlink</a:t>
            </a:r>
            <a:r>
              <a:rPr lang="en-IE" sz="1050">
                <a:solidFill>
                  <a:schemeClr val="bg1"/>
                </a:solidFill>
                <a:latin typeface="Calibri"/>
                <a:cs typeface="Calibri"/>
              </a:rPr>
              <a:t>, continuing with EY and migrating to Azure had many benefits. EY followed best practices in migrating of VMs, data and databases to improve security, reliability and availability, this overall approach is similar to the need for a fully managed Cloud Storage Technology Service at SJH. </a:t>
            </a:r>
          </a:p>
          <a:p>
            <a:pPr marL="180340" indent="-180340" algn="just" defTabSz="1006520">
              <a:spcAft>
                <a:spcPts val="100"/>
              </a:spcAft>
              <a:buFont typeface="Arial,Sans-Serif"/>
              <a:buChar char="►"/>
              <a:defRPr/>
            </a:pPr>
            <a:r>
              <a:rPr lang="en-IE" sz="1050">
                <a:solidFill>
                  <a:schemeClr val="bg1"/>
                </a:solidFill>
                <a:latin typeface="Calibri"/>
                <a:cs typeface="Calibri"/>
              </a:rPr>
              <a:t>EY designed, developed and supported </a:t>
            </a:r>
            <a:r>
              <a:rPr lang="en-IE" sz="1050" err="1">
                <a:solidFill>
                  <a:schemeClr val="bg1"/>
                </a:solidFill>
                <a:latin typeface="Calibri"/>
                <a:cs typeface="Calibri"/>
              </a:rPr>
              <a:t>Screenlink’s</a:t>
            </a:r>
            <a:r>
              <a:rPr lang="en-IE" sz="1050">
                <a:solidFill>
                  <a:schemeClr val="bg1"/>
                </a:solidFill>
                <a:latin typeface="Calibri"/>
                <a:cs typeface="Calibri"/>
              </a:rPr>
              <a:t> systems before and after the Azure migration. As such we were best placed to conduct the migration and did so successfully. We see ongoing benefits arising from the decision to move to the cloud</a:t>
            </a:r>
          </a:p>
          <a:p>
            <a:pPr marL="180340" indent="-180340" algn="just" defTabSz="1006520">
              <a:spcAft>
                <a:spcPts val="100"/>
              </a:spcAft>
              <a:buFont typeface="Arial,Sans-Serif"/>
              <a:buChar char="►"/>
              <a:defRPr/>
            </a:pPr>
            <a:r>
              <a:rPr lang="en-IE" sz="1050">
                <a:solidFill>
                  <a:schemeClr val="bg1"/>
                </a:solidFill>
                <a:latin typeface="Calibri"/>
                <a:cs typeface="Calibri"/>
              </a:rPr>
              <a:t>EY's proven track record in successfully migrating critical systems, as showcased in the </a:t>
            </a:r>
            <a:r>
              <a:rPr lang="en-IE" sz="1050" err="1">
                <a:solidFill>
                  <a:schemeClr val="bg1"/>
                </a:solidFill>
                <a:latin typeface="Calibri"/>
                <a:cs typeface="Calibri"/>
              </a:rPr>
              <a:t>Screenlink</a:t>
            </a:r>
            <a:r>
              <a:rPr lang="en-IE" sz="1050">
                <a:solidFill>
                  <a:schemeClr val="bg1"/>
                </a:solidFill>
                <a:latin typeface="Calibri"/>
                <a:cs typeface="Calibri"/>
              </a:rPr>
              <a:t> project, assures SJH of a seamless transition</a:t>
            </a:r>
          </a:p>
          <a:p>
            <a:pPr marL="180340" indent="-180340" algn="just" defTabSz="1006520">
              <a:spcAft>
                <a:spcPts val="100"/>
              </a:spcAft>
              <a:buFont typeface="Arial,Sans-Serif"/>
              <a:buChar char="►"/>
              <a:defRPr/>
            </a:pPr>
            <a:r>
              <a:rPr lang="en-IE" sz="1050">
                <a:solidFill>
                  <a:schemeClr val="bg1"/>
                </a:solidFill>
                <a:latin typeface="Calibri"/>
                <a:cs typeface="Calibri"/>
              </a:rPr>
              <a:t>The </a:t>
            </a:r>
            <a:r>
              <a:rPr lang="en-IE" sz="1050" err="1">
                <a:solidFill>
                  <a:schemeClr val="bg1"/>
                </a:solidFill>
                <a:latin typeface="Calibri"/>
                <a:cs typeface="Calibri"/>
              </a:rPr>
              <a:t>Screenlink</a:t>
            </a:r>
            <a:r>
              <a:rPr lang="en-IE" sz="1050">
                <a:solidFill>
                  <a:schemeClr val="bg1"/>
                </a:solidFill>
                <a:latin typeface="Calibri"/>
                <a:cs typeface="Calibri"/>
              </a:rPr>
              <a:t> project demonstrates EY's capability to modernize databases, enhancing efficiency and security which is a key consideration for SJH</a:t>
            </a:r>
          </a:p>
          <a:p>
            <a:pPr marL="180340" indent="-180340" algn="just" defTabSz="1006520">
              <a:spcAft>
                <a:spcPts val="100"/>
              </a:spcAft>
              <a:buFont typeface="Arial,Sans-Serif"/>
              <a:buChar char="►"/>
              <a:defRPr/>
            </a:pPr>
            <a:r>
              <a:rPr lang="en-IE" sz="1050">
                <a:solidFill>
                  <a:schemeClr val="bg1"/>
                </a:solidFill>
                <a:latin typeface="Calibri"/>
                <a:cs typeface="Calibri"/>
              </a:rPr>
              <a:t>EY's focus on compliance aligns with SJH's requirements, ensuring for a smooth migration without compliance concerns</a:t>
            </a:r>
          </a:p>
          <a:p>
            <a:pPr algn="just" defTabSz="1006520">
              <a:spcAft>
                <a:spcPts val="100"/>
              </a:spcAft>
              <a:defRPr/>
            </a:pPr>
            <a:r>
              <a:rPr lang="en-IE" sz="1050">
                <a:solidFill>
                  <a:schemeClr val="bg1"/>
                </a:solidFill>
                <a:latin typeface="Calibri"/>
                <a:cs typeface="Calibri"/>
              </a:rPr>
              <a:t>This accomplishment demonstrates EY’s expertise in system modernisation, seamless transition &amp; delivering value</a:t>
            </a:r>
          </a:p>
          <a:p>
            <a:pPr algn="just" defTabSz="1006520">
              <a:spcAft>
                <a:spcPts val="100"/>
              </a:spcAft>
              <a:defRPr/>
            </a:pPr>
            <a:endParaRPr lang="en-IE" sz="1100">
              <a:solidFill>
                <a:schemeClr val="bg1"/>
              </a:solidFill>
              <a:latin typeface="Calibri"/>
              <a:cs typeface="Calibri"/>
            </a:endParaRPr>
          </a:p>
          <a:p>
            <a:pPr marL="180340" indent="-180340" algn="just" defTabSz="1006520">
              <a:spcAft>
                <a:spcPts val="100"/>
              </a:spcAft>
              <a:buFont typeface="Arial,Sans-Serif"/>
              <a:buChar char="►"/>
              <a:defRPr/>
            </a:pPr>
            <a:endParaRPr lang="en-IE" sz="1100">
              <a:solidFill>
                <a:schemeClr val="bg1"/>
              </a:solidFill>
              <a:latin typeface="Calibri"/>
              <a:cs typeface="Calibri"/>
            </a:endParaRPr>
          </a:p>
          <a:p>
            <a:pPr marL="0" lvl="1" defTabSz="1006520">
              <a:spcAft>
                <a:spcPts val="500"/>
              </a:spcAft>
              <a:defRPr/>
            </a:pPr>
            <a:endParaRPr lang="en-IE" sz="1050">
              <a:solidFill>
                <a:schemeClr val="bg1"/>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642F10C-58A5-4B16-A89B-076AEE9416C7}"/>
              </a:ext>
            </a:extLst>
          </p:cNvPr>
          <p:cNvSpPr txBox="1"/>
          <p:nvPr/>
        </p:nvSpPr>
        <p:spPr>
          <a:xfrm>
            <a:off x="609600" y="2077737"/>
            <a:ext cx="3540484" cy="3727450"/>
          </a:xfrm>
          <a:prstGeom prst="rect">
            <a:avLst/>
          </a:prstGeom>
          <a:solidFill>
            <a:srgbClr val="C4C4CD">
              <a:alpha val="50000"/>
            </a:srgbClr>
          </a:solidFill>
        </p:spPr>
        <p:txBody>
          <a:bodyPr wrap="square" lIns="72000" tIns="72000" rIns="72000" bIns="72000" anchor="t">
            <a:noAutofit/>
          </a:bodyPr>
          <a:lstStyle/>
          <a:p>
            <a:pPr marL="0" lvl="1" algn="just" defTabSz="1006520">
              <a:spcAft>
                <a:spcPts val="500"/>
              </a:spcAft>
              <a:defRPr/>
            </a:pPr>
            <a:r>
              <a:rPr kumimoji="0" lang="en-IE" sz="1050" b="0" i="0" u="none" strike="noStrike" kern="1200" cap="none" spc="0" normalizeH="0" baseline="0" noProof="0" err="1">
                <a:ln>
                  <a:noFill/>
                </a:ln>
                <a:solidFill>
                  <a:srgbClr val="2E2E38"/>
                </a:solidFill>
                <a:effectLst/>
                <a:uLnTx/>
                <a:uFillTx/>
                <a:latin typeface="Calibri" panose="020F0502020204030204" pitchFamily="34" charset="0"/>
                <a:ea typeface="+mn-ea"/>
                <a:cs typeface="Calibri" panose="020F0502020204030204" pitchFamily="34" charset="0"/>
              </a:rPr>
              <a:t>Screenlink</a:t>
            </a:r>
            <a:r>
              <a:rPr kumimoji="0" lang="en-IE" sz="105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 a leader in diagnostics tests supply, </a:t>
            </a:r>
            <a:r>
              <a:rPr lang="en-IE" sz="1050">
                <a:solidFill>
                  <a:schemeClr val="bg1"/>
                </a:solidFill>
                <a:latin typeface="Calibri"/>
                <a:cs typeface="Calibri"/>
              </a:rPr>
              <a:t>works with the HSE and National Screening Service to provide diagnostic tests and logistics.</a:t>
            </a:r>
            <a:r>
              <a:rPr kumimoji="0" lang="en-IE" sz="105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 </a:t>
            </a:r>
          </a:p>
          <a:p>
            <a:pPr marL="0" lvl="1" algn="just" defTabSz="1006520">
              <a:spcAft>
                <a:spcPts val="500"/>
              </a:spcAft>
              <a:defRPr/>
            </a:pPr>
            <a:r>
              <a:rPr kumimoji="0" lang="en-IE" sz="1050" b="0" i="0" u="none" strike="noStrike" kern="1200" cap="none" spc="0" normalizeH="0" baseline="0" noProof="0">
                <a:ln>
                  <a:noFill/>
                </a:ln>
                <a:solidFill>
                  <a:srgbClr val="2E2E38"/>
                </a:solidFill>
                <a:effectLst/>
                <a:uLnTx/>
                <a:uFillTx/>
                <a:latin typeface="Calibri" panose="020F0502020204030204" pitchFamily="34" charset="0"/>
                <a:ea typeface="+mn-ea"/>
                <a:cs typeface="Calibri" panose="020F0502020204030204" pitchFamily="34" charset="0"/>
              </a:rPr>
              <a:t>As their technology partner, EY supported two core systems: the Fit Kit Management (FKM) System and the LBC Stock Control System. These systems have been reliable but were faced with challenges arising from ageing technology, software, and hosting environment</a:t>
            </a:r>
            <a:r>
              <a:rPr lang="en-IE" sz="1050">
                <a:solidFill>
                  <a:schemeClr val="bg1"/>
                </a:solidFill>
                <a:latin typeface="Calibri"/>
                <a:cs typeface="Calibri"/>
              </a:rPr>
              <a:t>.</a:t>
            </a:r>
          </a:p>
          <a:p>
            <a:pPr marL="180340" indent="-180340" algn="just" defTabSz="1006520">
              <a:spcAft>
                <a:spcPts val="100"/>
              </a:spcAft>
              <a:buFont typeface="Arial,Sans-Serif"/>
              <a:buChar char="►"/>
              <a:defRPr/>
            </a:pPr>
            <a:r>
              <a:rPr lang="en-IE" sz="1050">
                <a:solidFill>
                  <a:schemeClr val="bg1"/>
                </a:solidFill>
                <a:latin typeface="Calibri"/>
                <a:cs typeface="Calibri"/>
              </a:rPr>
              <a:t>Ageing technology: The Systems were running on ageing technology. This could lead to security vulnerabilities and system instability</a:t>
            </a:r>
          </a:p>
          <a:p>
            <a:pPr marL="180340" indent="-180340" algn="just" defTabSz="1006520">
              <a:spcAft>
                <a:spcPts val="100"/>
              </a:spcAft>
              <a:buFont typeface="Arial,Sans-Serif"/>
              <a:buChar char="►"/>
              <a:defRPr/>
            </a:pPr>
            <a:r>
              <a:rPr lang="en-IE" sz="1050">
                <a:solidFill>
                  <a:schemeClr val="bg1"/>
                </a:solidFill>
                <a:latin typeface="Calibri"/>
                <a:cs typeface="Calibri"/>
              </a:rPr>
              <a:t>Lack of flexibility: The current hosting environment is not flexible enough &amp; this could lead to problems with scalability and performance</a:t>
            </a:r>
          </a:p>
          <a:p>
            <a:pPr marL="180340" indent="-180340" algn="just" defTabSz="1006520">
              <a:spcAft>
                <a:spcPts val="100"/>
              </a:spcAft>
              <a:buFont typeface="Arial,Sans-Serif"/>
              <a:buChar char="►"/>
              <a:defRPr/>
            </a:pPr>
            <a:r>
              <a:rPr lang="en-IE" sz="1050">
                <a:solidFill>
                  <a:schemeClr val="bg1"/>
                </a:solidFill>
                <a:latin typeface="Calibri"/>
                <a:cs typeface="Calibri"/>
              </a:rPr>
              <a:t>Compliance: The use of out-of-support software &amp; system stability issues could pose problems in an NSS audit</a:t>
            </a:r>
          </a:p>
          <a:p>
            <a:pPr marL="180340" indent="-180340" algn="just" defTabSz="1006520">
              <a:spcAft>
                <a:spcPts val="100"/>
              </a:spcAft>
              <a:buFont typeface="Arial,Sans-Serif"/>
              <a:buChar char="►"/>
              <a:defRPr/>
            </a:pPr>
            <a:r>
              <a:rPr lang="en-IE" sz="1050">
                <a:solidFill>
                  <a:schemeClr val="bg1"/>
                </a:solidFill>
                <a:latin typeface="Calibri"/>
                <a:cs typeface="Calibri"/>
              </a:rPr>
              <a:t>Costs: Rising cost of hosting in current environment.</a:t>
            </a:r>
          </a:p>
          <a:p>
            <a:pPr marL="180340" indent="-180340" algn="just" defTabSz="1006520">
              <a:spcAft>
                <a:spcPts val="100"/>
              </a:spcAft>
              <a:buFont typeface="Arial,Sans-Serif"/>
              <a:buChar char="►"/>
              <a:defRPr/>
            </a:pPr>
            <a:r>
              <a:rPr lang="en-IE" sz="1050">
                <a:solidFill>
                  <a:schemeClr val="bg1"/>
                </a:solidFill>
                <a:latin typeface="Calibri"/>
                <a:cs typeface="Calibri"/>
              </a:rPr>
              <a:t>Disaster recovery: High dependency on hardware infrastructure without disaster recovery strategy in place which could lead to significant downtime in the event of a hardware failure or natural disaster.</a:t>
            </a:r>
          </a:p>
        </p:txBody>
      </p:sp>
      <p:sp>
        <p:nvSpPr>
          <p:cNvPr id="22" name="TextBox 21">
            <a:extLst>
              <a:ext uri="{FF2B5EF4-FFF2-40B4-BE49-F238E27FC236}">
                <a16:creationId xmlns:a16="http://schemas.microsoft.com/office/drawing/2014/main" id="{95F9899C-EE66-4EC6-80ED-8640CE7AA491}"/>
              </a:ext>
            </a:extLst>
          </p:cNvPr>
          <p:cNvSpPr txBox="1"/>
          <p:nvPr/>
        </p:nvSpPr>
        <p:spPr>
          <a:xfrm>
            <a:off x="609600" y="5924557"/>
            <a:ext cx="10989753" cy="310131"/>
          </a:xfrm>
          <a:prstGeom prst="rect">
            <a:avLst/>
          </a:prstGeom>
          <a:solidFill>
            <a:srgbClr val="C4C4CD">
              <a:alpha val="50000"/>
            </a:srgbClr>
          </a:solidFill>
        </p:spPr>
        <p:txBody>
          <a:bodyPr wrap="square" lIns="72000" tIns="72000" rIns="72000" bIns="72000">
            <a:noAutofit/>
          </a:bodyPr>
          <a:lstStyle/>
          <a:p>
            <a:pPr marL="0" marR="0" lvl="1" algn="l" defTabSz="914400" rtl="0" eaLnBrk="1" fontAlgn="base" latinLnBrk="0" hangingPunct="0">
              <a:lnSpc>
                <a:spcPct val="100000"/>
              </a:lnSpc>
              <a:spcBef>
                <a:spcPts val="0"/>
              </a:spcBef>
              <a:spcAft>
                <a:spcPts val="500"/>
              </a:spcAft>
              <a:buClr>
                <a:schemeClr val="tx2"/>
              </a:buClr>
              <a:buSzPct val="75000"/>
              <a:tabLst/>
              <a:defRPr/>
            </a:pPr>
            <a:r>
              <a:rPr lang="en-IE" sz="1100" b="1" i="0" kern="1200">
                <a:solidFill>
                  <a:schemeClr val="bg1"/>
                </a:solidFill>
                <a:latin typeface="Calibri" panose="020F0502020204030204" pitchFamily="34" charset="0"/>
                <a:cs typeface="Calibri" panose="020F0502020204030204" pitchFamily="34" charset="0"/>
                <a:sym typeface="EYInterstate" pitchFamily="2" charset="0"/>
              </a:rPr>
              <a:t>Case Reference:  </a:t>
            </a:r>
          </a:p>
        </p:txBody>
      </p:sp>
      <p:pic>
        <p:nvPicPr>
          <p:cNvPr id="3078" name="Picture 6">
            <a:extLst>
              <a:ext uri="{FF2B5EF4-FFF2-40B4-BE49-F238E27FC236}">
                <a16:creationId xmlns:a16="http://schemas.microsoft.com/office/drawing/2014/main" id="{688354BC-D7CE-103F-2DB3-0BA19A92D4E8}"/>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32369" y="446662"/>
            <a:ext cx="1766984" cy="92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066814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12" name="Content Placeholder 3">
            <a:extLst>
              <a:ext uri="{FF2B5EF4-FFF2-40B4-BE49-F238E27FC236}">
                <a16:creationId xmlns:a16="http://schemas.microsoft.com/office/drawing/2014/main" id="{F6E8B279-1398-B4F2-2F45-A63F0E17D8AD}"/>
              </a:ext>
            </a:extLst>
          </p:cNvPr>
          <p:cNvSpPr>
            <a:spLocks noGrp="1"/>
          </p:cNvSpPr>
          <p:nvPr>
            <p:ph idx="1"/>
          </p:nvPr>
        </p:nvSpPr>
        <p:spPr>
          <a:xfrm>
            <a:off x="1205502" y="1265205"/>
            <a:ext cx="5486399" cy="676788"/>
          </a:xfrm>
        </p:spPr>
        <p:txBody>
          <a:bodyPr/>
          <a:lstStyle/>
          <a:p>
            <a:r>
              <a:rPr lang="en-IE">
                <a:latin typeface="Calibri"/>
                <a:cs typeface="Calibri"/>
              </a:rPr>
              <a:t>Our Team</a:t>
            </a:r>
            <a:endParaRPr lang="en-US"/>
          </a:p>
        </p:txBody>
      </p:sp>
      <p:sp>
        <p:nvSpPr>
          <p:cNvPr id="13" name="Text Placeholder 4">
            <a:extLst>
              <a:ext uri="{FF2B5EF4-FFF2-40B4-BE49-F238E27FC236}">
                <a16:creationId xmlns:a16="http://schemas.microsoft.com/office/drawing/2014/main" id="{520F0468-A3AA-F93D-4825-530FAB52C9CB}"/>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a:cs typeface="Calibri"/>
              </a:rPr>
              <a:t>I.</a:t>
            </a:r>
            <a:endParaRPr lang="en-IE">
              <a:solidFill>
                <a:srgbClr val="F6DF0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98880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FF72AF-9783-DFFC-9A7A-6D57999F6F0C}"/>
              </a:ext>
            </a:extLst>
          </p:cNvPr>
          <p:cNvSpPr>
            <a:spLocks noGrp="1"/>
          </p:cNvSpPr>
          <p:nvPr>
            <p:ph type="body" sz="quarter" idx="10"/>
          </p:nvPr>
        </p:nvSpPr>
        <p:spPr>
          <a:xfrm>
            <a:off x="609600" y="647271"/>
            <a:ext cx="10974388" cy="523983"/>
          </a:xfrm>
        </p:spPr>
        <p:txBody>
          <a:bodyPr anchor="b">
            <a:normAutofit/>
          </a:bodyPr>
          <a:lstStyle/>
          <a:p>
            <a:r>
              <a:rPr lang="en-IN">
                <a:latin typeface="Calibri"/>
                <a:cs typeface="Calibri"/>
              </a:rPr>
              <a:t>I.1 – Our proposed Delivery Team</a:t>
            </a:r>
            <a:endParaRPr lang="en-IE">
              <a:latin typeface="Calibri"/>
              <a:cs typeface="Calibri"/>
            </a:endParaRPr>
          </a:p>
        </p:txBody>
      </p:sp>
      <p:grpSp>
        <p:nvGrpSpPr>
          <p:cNvPr id="2" name="Group 1">
            <a:extLst>
              <a:ext uri="{FF2B5EF4-FFF2-40B4-BE49-F238E27FC236}">
                <a16:creationId xmlns:a16="http://schemas.microsoft.com/office/drawing/2014/main" id="{C9A189C6-FE15-5204-E223-0F669C49B75E}"/>
              </a:ext>
            </a:extLst>
          </p:cNvPr>
          <p:cNvGrpSpPr/>
          <p:nvPr/>
        </p:nvGrpSpPr>
        <p:grpSpPr>
          <a:xfrm>
            <a:off x="5194533" y="1910556"/>
            <a:ext cx="1841585" cy="408267"/>
            <a:chOff x="5203022" y="1910897"/>
            <a:chExt cx="1841585" cy="408267"/>
          </a:xfrm>
        </p:grpSpPr>
        <p:sp>
          <p:nvSpPr>
            <p:cNvPr id="4" name="Content Placeholder 1">
              <a:extLst>
                <a:ext uri="{FF2B5EF4-FFF2-40B4-BE49-F238E27FC236}">
                  <a16:creationId xmlns:a16="http://schemas.microsoft.com/office/drawing/2014/main" id="{4435D697-E63C-08C0-1CF2-D8D8315A44FC}"/>
                </a:ext>
              </a:extLst>
            </p:cNvPr>
            <p:cNvSpPr txBox="1">
              <a:spLocks/>
            </p:cNvSpPr>
            <p:nvPr/>
          </p:nvSpPr>
          <p:spPr bwMode="gray">
            <a:xfrm>
              <a:off x="5444452" y="1915815"/>
              <a:ext cx="1595425"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Paul Browne</a:t>
              </a:r>
              <a:endParaRPr lang="en-IN" sz="800" b="0" i="0" u="none" strike="noStrike" kern="1200" cap="none" spc="0" normalizeH="0" baseline="0" noProof="0">
                <a:ln>
                  <a:noFill/>
                </a:ln>
                <a:effectLst/>
                <a:uLnTx/>
                <a:uFillTx/>
                <a:latin typeface="Calibri"/>
                <a:cs typeface="Calibri"/>
              </a:endParaRPr>
            </a:p>
          </p:txBody>
        </p:sp>
        <p:sp>
          <p:nvSpPr>
            <p:cNvPr id="5" name="Content Placeholder 1">
              <a:extLst>
                <a:ext uri="{FF2B5EF4-FFF2-40B4-BE49-F238E27FC236}">
                  <a16:creationId xmlns:a16="http://schemas.microsoft.com/office/drawing/2014/main" id="{A87A36FE-07DE-B5E5-6FC6-D9D53DA13237}"/>
                </a:ext>
              </a:extLst>
            </p:cNvPr>
            <p:cNvSpPr txBox="1">
              <a:spLocks/>
            </p:cNvSpPr>
            <p:nvPr/>
          </p:nvSpPr>
          <p:spPr bwMode="gray">
            <a:xfrm>
              <a:off x="5460534" y="2103276"/>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Engagement Partner</a:t>
              </a:r>
              <a:r>
                <a:rPr lang="en-IN" sz="800">
                  <a:solidFill>
                    <a:srgbClr val="2E2E38"/>
                  </a:solidFill>
                  <a:latin typeface="Calibri"/>
                  <a:cs typeface="Calibri"/>
                </a:rPr>
                <a:t> </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632C2579-EDAE-2D61-94A4-0E86D2D98E0B}"/>
                </a:ext>
              </a:extLst>
            </p:cNvPr>
            <p:cNvPicPr preferRelativeResize="0">
              <a:picLocks noChangeAspect="1"/>
            </p:cNvPicPr>
            <p:nvPr/>
          </p:nvPicPr>
          <p:blipFill rotWithShape="1">
            <a:blip r:embed="rId3">
              <a:extLst>
                <a:ext uri="{28A0092B-C50C-407E-A947-70E740481C1C}">
                  <a14:useLocalDpi xmlns:a14="http://schemas.microsoft.com/office/drawing/2010/main" val="0"/>
                </a:ext>
              </a:extLst>
            </a:blip>
            <a:srcRect t="7102" b="7102"/>
            <a:stretch/>
          </p:blipFill>
          <p:spPr>
            <a:xfrm>
              <a:off x="5203022" y="1910897"/>
              <a:ext cx="395794" cy="395794"/>
            </a:xfrm>
            <a:prstGeom prst="ellipse">
              <a:avLst/>
            </a:prstGeom>
            <a:ln w="12700">
              <a:solidFill>
                <a:srgbClr val="2E2E38"/>
              </a:solidFill>
            </a:ln>
          </p:spPr>
        </p:pic>
      </p:grpSp>
      <p:sp>
        <p:nvSpPr>
          <p:cNvPr id="7" name="Rectangle 6">
            <a:extLst>
              <a:ext uri="{FF2B5EF4-FFF2-40B4-BE49-F238E27FC236}">
                <a16:creationId xmlns:a16="http://schemas.microsoft.com/office/drawing/2014/main" id="{61470C4C-350B-06C6-ED17-E7590629A30E}"/>
              </a:ext>
            </a:extLst>
          </p:cNvPr>
          <p:cNvSpPr/>
          <p:nvPr/>
        </p:nvSpPr>
        <p:spPr bwMode="auto">
          <a:xfrm>
            <a:off x="736513" y="4225358"/>
            <a:ext cx="10718974" cy="1986179"/>
          </a:xfrm>
          <a:prstGeom prst="rect">
            <a:avLst/>
          </a:prstGeom>
          <a:noFill/>
          <a:ln w="9525" cap="flat" cmpd="sng" algn="ctr">
            <a:solidFill>
              <a:srgbClr val="2E2E38">
                <a:lumMod val="60000"/>
                <a:lumOff val="40000"/>
              </a:srgbClr>
            </a:solidFill>
            <a:prstDash val="dashDot"/>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IE" sz="9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578F019D-04B4-6D22-0B09-C02808C472FD}"/>
              </a:ext>
            </a:extLst>
          </p:cNvPr>
          <p:cNvSpPr txBox="1"/>
          <p:nvPr/>
        </p:nvSpPr>
        <p:spPr>
          <a:xfrm>
            <a:off x="5493656" y="4127922"/>
            <a:ext cx="1074141" cy="161392"/>
          </a:xfrm>
          <a:prstGeom prst="roundRect">
            <a:avLst/>
          </a:prstGeom>
          <a:solidFill>
            <a:srgbClr val="FFE600"/>
          </a:solidFill>
        </p:spPr>
        <p:txBody>
          <a:bodyPr wrap="none" lIns="71963" tIns="0" rIns="71963" bIns="0" rtlCol="0" anchor="t">
            <a:spAutoFit/>
          </a:bodyPr>
          <a:lstStyle/>
          <a:p>
            <a:pPr marL="0" marR="0" lvl="0" indent="0" defTabSz="1018665" eaLnBrk="1" fontAlgn="auto" latinLnBrk="0" hangingPunct="1">
              <a:lnSpc>
                <a:spcPts val="1199"/>
              </a:lnSpc>
              <a:spcBef>
                <a:spcPts val="0"/>
              </a:spcBef>
              <a:spcAft>
                <a:spcPts val="600"/>
              </a:spcAft>
              <a:buClr>
                <a:prstClr val="white"/>
              </a:buClr>
              <a:buSzPct val="70000"/>
              <a:buFontTx/>
              <a:buNone/>
              <a:tabLst/>
              <a:defRPr/>
            </a:pPr>
            <a:r>
              <a:rPr kumimoji="0" lang="en-IE" sz="900" b="0" i="0" u="none" strike="noStrike" kern="0" cap="none" spc="0" normalizeH="0" baseline="0" noProof="0">
                <a:ln>
                  <a:noFill/>
                </a:ln>
                <a:solidFill>
                  <a:srgbClr val="2E2E38"/>
                </a:solidFill>
                <a:effectLst/>
                <a:uLnTx/>
                <a:uFillTx/>
                <a:latin typeface="Calibri"/>
                <a:cs typeface="Calibri"/>
              </a:rPr>
              <a:t>Core Delivery Team</a:t>
            </a:r>
            <a:endParaRPr lang="en-IE" sz="900" b="0" i="0" u="none" strike="noStrike" kern="0" cap="none" spc="0" normalizeH="0" baseline="0" noProof="0">
              <a:ln>
                <a:noFill/>
              </a:ln>
              <a:solidFill>
                <a:srgbClr val="2E2E38"/>
              </a:solidFill>
              <a:effectLst/>
              <a:uLnTx/>
              <a:uFillTx/>
              <a:latin typeface="Calibri"/>
              <a:cs typeface="Calibri"/>
            </a:endParaRPr>
          </a:p>
        </p:txBody>
      </p:sp>
      <p:grpSp>
        <p:nvGrpSpPr>
          <p:cNvPr id="9" name="Group 8">
            <a:extLst>
              <a:ext uri="{FF2B5EF4-FFF2-40B4-BE49-F238E27FC236}">
                <a16:creationId xmlns:a16="http://schemas.microsoft.com/office/drawing/2014/main" id="{01C22F6D-1370-F58D-5870-154F91FDF647}"/>
              </a:ext>
            </a:extLst>
          </p:cNvPr>
          <p:cNvGrpSpPr/>
          <p:nvPr/>
        </p:nvGrpSpPr>
        <p:grpSpPr>
          <a:xfrm>
            <a:off x="4018752" y="2870140"/>
            <a:ext cx="1840687" cy="403350"/>
            <a:chOff x="4074010" y="2870121"/>
            <a:chExt cx="1840687" cy="403350"/>
          </a:xfrm>
        </p:grpSpPr>
        <p:sp>
          <p:nvSpPr>
            <p:cNvPr id="10" name="Content Placeholder 1">
              <a:extLst>
                <a:ext uri="{FF2B5EF4-FFF2-40B4-BE49-F238E27FC236}">
                  <a16:creationId xmlns:a16="http://schemas.microsoft.com/office/drawing/2014/main" id="{803D2091-CA92-BD16-5508-60D0ECEB76E9}"/>
                </a:ext>
              </a:extLst>
            </p:cNvPr>
            <p:cNvSpPr txBox="1">
              <a:spLocks/>
            </p:cNvSpPr>
            <p:nvPr/>
          </p:nvSpPr>
          <p:spPr bwMode="gray">
            <a:xfrm>
              <a:off x="4331522" y="2870121"/>
              <a:ext cx="1583175"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a:t>
              </a:r>
              <a:r>
                <a:rPr kumimoji="0" lang="en-IN" sz="800" b="0" i="0" u="none" strike="noStrike" kern="1200" cap="none" spc="0" normalizeH="0" baseline="0" noProof="0">
                  <a:ln>
                    <a:noFill/>
                  </a:ln>
                  <a:effectLst/>
                  <a:uLnTx/>
                  <a:uFillTx/>
                  <a:latin typeface="Calibri"/>
                  <a:cs typeface="Calibri"/>
                </a:rPr>
                <a:t> </a:t>
              </a:r>
              <a:r>
                <a:rPr lang="en-IN" sz="800">
                  <a:latin typeface="Calibri"/>
                  <a:cs typeface="Calibri"/>
                </a:rPr>
                <a:t>Mick Mooney</a:t>
              </a:r>
              <a:endParaRPr lang="en-IN" sz="800" b="0" i="0" u="none" strike="noStrike" kern="1200" cap="none" spc="0" normalizeH="0" baseline="0" noProof="0">
                <a:ln>
                  <a:noFill/>
                </a:ln>
                <a:effectLst/>
                <a:uLnTx/>
                <a:uFillTx/>
                <a:latin typeface="Calibri"/>
                <a:cs typeface="Calibri"/>
              </a:endParaRPr>
            </a:p>
          </p:txBody>
        </p:sp>
        <p:sp>
          <p:nvSpPr>
            <p:cNvPr id="11" name="Content Placeholder 1">
              <a:extLst>
                <a:ext uri="{FF2B5EF4-FFF2-40B4-BE49-F238E27FC236}">
                  <a16:creationId xmlns:a16="http://schemas.microsoft.com/office/drawing/2014/main" id="{E3A7EA1A-9049-50F6-5D86-F22B5914AAD4}"/>
                </a:ext>
              </a:extLst>
            </p:cNvPr>
            <p:cNvSpPr txBox="1">
              <a:spLocks/>
            </p:cNvSpPr>
            <p:nvPr/>
          </p:nvSpPr>
          <p:spPr bwMode="gray">
            <a:xfrm>
              <a:off x="4331522" y="3057583"/>
              <a:ext cx="1583175"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a:t>
              </a:r>
              <a:r>
                <a:rPr lang="en-IN" sz="800">
                  <a:solidFill>
                    <a:srgbClr val="2E2E38"/>
                  </a:solidFill>
                  <a:latin typeface="Calibri"/>
                  <a:cs typeface="Calibri"/>
                </a:rPr>
                <a:t>Enterprise Solution Architect</a:t>
              </a:r>
              <a:endParaRPr lang="en-IN" sz="800" b="0" i="0" u="none" strike="noStrike" kern="1200" cap="none" spc="0" normalizeH="0" baseline="0" noProof="0">
                <a:ln>
                  <a:noFill/>
                </a:ln>
                <a:solidFill>
                  <a:srgbClr val="2E2E38"/>
                </a:solidFill>
                <a:effectLst/>
                <a:uLnTx/>
                <a:uFillTx/>
                <a:latin typeface="Calibri"/>
                <a:cs typeface="Calibri"/>
              </a:endParaRPr>
            </a:p>
          </p:txBody>
        </p:sp>
        <p:pic>
          <p:nvPicPr>
            <p:cNvPr id="12" name="Picture 11">
              <a:extLst>
                <a:ext uri="{FF2B5EF4-FFF2-40B4-BE49-F238E27FC236}">
                  <a16:creationId xmlns:a16="http://schemas.microsoft.com/office/drawing/2014/main" id="{A9A73ABE-AD2C-4F13-02EB-481F1083CD41}"/>
                </a:ext>
              </a:extLst>
            </p:cNvPr>
            <p:cNvPicPr preferRelativeResize="0">
              <a:picLocks noChangeAspect="1"/>
            </p:cNvPicPr>
            <p:nvPr/>
          </p:nvPicPr>
          <p:blipFill rotWithShape="1">
            <a:blip r:embed="rId4">
              <a:extLst>
                <a:ext uri="{28A0092B-C50C-407E-A947-70E740481C1C}">
                  <a14:useLocalDpi xmlns:a14="http://schemas.microsoft.com/office/drawing/2010/main" val="0"/>
                </a:ext>
              </a:extLst>
            </a:blip>
            <a:srcRect t="2347" b="2347"/>
            <a:stretch/>
          </p:blipFill>
          <p:spPr>
            <a:xfrm>
              <a:off x="4074010" y="2870570"/>
              <a:ext cx="395794" cy="395795"/>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p:spPr>
        </p:pic>
      </p:grpSp>
      <p:grpSp>
        <p:nvGrpSpPr>
          <p:cNvPr id="13" name="Group 12">
            <a:extLst>
              <a:ext uri="{FF2B5EF4-FFF2-40B4-BE49-F238E27FC236}">
                <a16:creationId xmlns:a16="http://schemas.microsoft.com/office/drawing/2014/main" id="{918F3AA7-4747-AECC-FA7E-74B73005160F}"/>
              </a:ext>
            </a:extLst>
          </p:cNvPr>
          <p:cNvGrpSpPr/>
          <p:nvPr/>
        </p:nvGrpSpPr>
        <p:grpSpPr>
          <a:xfrm>
            <a:off x="6371658" y="2870140"/>
            <a:ext cx="1841586" cy="403350"/>
            <a:chOff x="6407715" y="2876821"/>
            <a:chExt cx="1841586" cy="403350"/>
          </a:xfrm>
        </p:grpSpPr>
        <p:sp>
          <p:nvSpPr>
            <p:cNvPr id="14" name="Content Placeholder 1">
              <a:extLst>
                <a:ext uri="{FF2B5EF4-FFF2-40B4-BE49-F238E27FC236}">
                  <a16:creationId xmlns:a16="http://schemas.microsoft.com/office/drawing/2014/main" id="{FC55A752-5269-0D2D-010D-B9D8F3A3D936}"/>
                </a:ext>
              </a:extLst>
            </p:cNvPr>
            <p:cNvSpPr txBox="1">
              <a:spLocks/>
            </p:cNvSpPr>
            <p:nvPr/>
          </p:nvSpPr>
          <p:spPr bwMode="gray">
            <a:xfrm>
              <a:off x="6666125" y="2876821"/>
              <a:ext cx="1583176"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a:t>
              </a:r>
              <a:r>
                <a:rPr kumimoji="0" lang="en-IN" sz="800" b="0" i="0" u="none" strike="noStrike" kern="1200" cap="none" spc="0" normalizeH="0" baseline="0" noProof="0">
                  <a:ln>
                    <a:noFill/>
                  </a:ln>
                  <a:effectLst/>
                  <a:uLnTx/>
                  <a:uFillTx/>
                  <a:latin typeface="Calibri"/>
                  <a:cs typeface="Calibri"/>
                </a:rPr>
                <a:t> Brian </a:t>
              </a:r>
              <a:r>
                <a:rPr lang="en-IN" sz="800">
                  <a:latin typeface="Calibri"/>
                  <a:cs typeface="Calibri"/>
                </a:rPr>
                <a:t>Bambrick</a:t>
              </a:r>
              <a:endParaRPr lang="en-IN" sz="800" b="0" i="0" u="none" strike="noStrike" kern="1200" cap="none" spc="0" normalizeH="0" baseline="0" noProof="0">
                <a:ln>
                  <a:noFill/>
                </a:ln>
                <a:effectLst/>
                <a:uLnTx/>
                <a:uFillTx/>
                <a:latin typeface="Calibri"/>
                <a:cs typeface="Calibri"/>
              </a:endParaRPr>
            </a:p>
          </p:txBody>
        </p:sp>
        <p:sp>
          <p:nvSpPr>
            <p:cNvPr id="15" name="Content Placeholder 1">
              <a:extLst>
                <a:ext uri="{FF2B5EF4-FFF2-40B4-BE49-F238E27FC236}">
                  <a16:creationId xmlns:a16="http://schemas.microsoft.com/office/drawing/2014/main" id="{70FEBA19-6592-E4E9-6A5B-9B2CED4AFF28}"/>
                </a:ext>
              </a:extLst>
            </p:cNvPr>
            <p:cNvSpPr txBox="1">
              <a:spLocks/>
            </p:cNvSpPr>
            <p:nvPr/>
          </p:nvSpPr>
          <p:spPr bwMode="gray">
            <a:xfrm>
              <a:off x="6665227" y="3064283"/>
              <a:ext cx="1584074"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Delivery </a:t>
              </a:r>
              <a:r>
                <a:rPr lang="en-IN" sz="800">
                  <a:solidFill>
                    <a:srgbClr val="2E2E38"/>
                  </a:solidFill>
                  <a:latin typeface="Calibri"/>
                  <a:cs typeface="Calibri"/>
                </a:rPr>
                <a:t>Manager </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pic>
          <p:nvPicPr>
            <p:cNvPr id="16" name="Picture 15">
              <a:extLst>
                <a:ext uri="{FF2B5EF4-FFF2-40B4-BE49-F238E27FC236}">
                  <a16:creationId xmlns:a16="http://schemas.microsoft.com/office/drawing/2014/main" id="{5CC17911-5932-DBD3-6BB4-2DC23BE5842B}"/>
                </a:ext>
              </a:extLst>
            </p:cNvPr>
            <p:cNvPicPr preferRelativeResize="0">
              <a:picLocks noChangeAspect="1"/>
            </p:cNvPicPr>
            <p:nvPr/>
          </p:nvPicPr>
          <p:blipFill rotWithShape="1">
            <a:blip r:embed="rId5">
              <a:extLst>
                <a:ext uri="{28A0092B-C50C-407E-A947-70E740481C1C}">
                  <a14:useLocalDpi xmlns:a14="http://schemas.microsoft.com/office/drawing/2010/main" val="0"/>
                </a:ext>
              </a:extLst>
            </a:blip>
            <a:srcRect t="7466" b="7466"/>
            <a:stretch/>
          </p:blipFill>
          <p:spPr>
            <a:xfrm>
              <a:off x="6407715" y="2877268"/>
              <a:ext cx="395794" cy="395795"/>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p:spPr>
        </p:pic>
      </p:grpSp>
      <p:sp>
        <p:nvSpPr>
          <p:cNvPr id="17" name="Rectangle 16">
            <a:extLst>
              <a:ext uri="{FF2B5EF4-FFF2-40B4-BE49-F238E27FC236}">
                <a16:creationId xmlns:a16="http://schemas.microsoft.com/office/drawing/2014/main" id="{5C291E92-BF7E-FF28-0AC8-F1CE7470716D}"/>
              </a:ext>
            </a:extLst>
          </p:cNvPr>
          <p:cNvSpPr/>
          <p:nvPr/>
        </p:nvSpPr>
        <p:spPr bwMode="auto">
          <a:xfrm>
            <a:off x="2957115" y="1591811"/>
            <a:ext cx="6290057" cy="2454102"/>
          </a:xfrm>
          <a:prstGeom prst="rect">
            <a:avLst/>
          </a:prstGeom>
          <a:noFill/>
          <a:ln w="9525" cap="flat" cmpd="sng" algn="ctr">
            <a:solidFill>
              <a:sysClr val="window" lastClr="FFFFFF">
                <a:lumMod val="75000"/>
              </a:sysClr>
            </a:solidFill>
            <a:prstDash val="dashDot"/>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IE" sz="9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B91DAE18-1548-66D8-92DB-719C770B5E62}"/>
              </a:ext>
            </a:extLst>
          </p:cNvPr>
          <p:cNvSpPr txBox="1"/>
          <p:nvPr/>
        </p:nvSpPr>
        <p:spPr>
          <a:xfrm>
            <a:off x="5358204" y="1513692"/>
            <a:ext cx="1284547" cy="161392"/>
          </a:xfrm>
          <a:prstGeom prst="roundRect">
            <a:avLst/>
          </a:prstGeom>
          <a:solidFill>
            <a:srgbClr val="FFE600"/>
          </a:solidFill>
        </p:spPr>
        <p:txBody>
          <a:bodyPr wrap="none" lIns="71963" tIns="0" rIns="71963" bIns="0" rtlCol="0" anchor="t">
            <a:spAutoFit/>
          </a:bodyPr>
          <a:lstStyle/>
          <a:p>
            <a:pPr marL="0" marR="0" lvl="0" indent="0" defTabSz="1018665" eaLnBrk="1" fontAlgn="auto" latinLnBrk="0" hangingPunct="1">
              <a:lnSpc>
                <a:spcPts val="1199"/>
              </a:lnSpc>
              <a:spcBef>
                <a:spcPts val="0"/>
              </a:spcBef>
              <a:spcAft>
                <a:spcPts val="600"/>
              </a:spcAft>
              <a:buClr>
                <a:prstClr val="white"/>
              </a:buClr>
              <a:buSzPct val="70000"/>
              <a:buFontTx/>
              <a:buNone/>
              <a:tabLst/>
              <a:defRPr/>
            </a:pPr>
            <a:r>
              <a:rPr kumimoji="0" lang="en-IE" sz="900" b="0" i="0" u="none" strike="noStrike" kern="0" cap="none" spc="0" normalizeH="0" baseline="0" noProof="0">
                <a:ln>
                  <a:noFill/>
                </a:ln>
                <a:solidFill>
                  <a:srgbClr val="2E2E38"/>
                </a:solidFill>
                <a:effectLst/>
                <a:uLnTx/>
                <a:uFillTx/>
                <a:latin typeface="Calibri"/>
                <a:cs typeface="Calibri"/>
              </a:rPr>
              <a:t>Engagement Leadership</a:t>
            </a:r>
            <a:endParaRPr lang="en-IE" sz="900" b="0" i="0" u="none" strike="noStrike" kern="0" cap="none" spc="0" normalizeH="0" baseline="0" noProof="0">
              <a:ln>
                <a:noFill/>
              </a:ln>
              <a:solidFill>
                <a:srgbClr val="2E2E38"/>
              </a:solidFill>
              <a:effectLst/>
              <a:uLnTx/>
              <a:uFillTx/>
              <a:latin typeface="Calibri"/>
              <a:cs typeface="Calibri"/>
            </a:endParaRPr>
          </a:p>
        </p:txBody>
      </p:sp>
      <p:cxnSp>
        <p:nvCxnSpPr>
          <p:cNvPr id="19" name="Straight Connector 18">
            <a:extLst>
              <a:ext uri="{FF2B5EF4-FFF2-40B4-BE49-F238E27FC236}">
                <a16:creationId xmlns:a16="http://schemas.microsoft.com/office/drawing/2014/main" id="{0040AF5B-2976-7B7D-5B7E-9D516DA7CFF3}"/>
              </a:ext>
            </a:extLst>
          </p:cNvPr>
          <p:cNvCxnSpPr>
            <a:cxnSpLocks/>
          </p:cNvCxnSpPr>
          <p:nvPr/>
        </p:nvCxnSpPr>
        <p:spPr bwMode="auto">
          <a:xfrm flipH="1">
            <a:off x="6096000" y="4036335"/>
            <a:ext cx="1" cy="89577"/>
          </a:xfrm>
          <a:prstGeom prst="line">
            <a:avLst/>
          </a:prstGeom>
          <a:solidFill>
            <a:srgbClr val="2DB757"/>
          </a:solidFill>
          <a:ln w="9525" cap="flat" cmpd="sng" algn="ctr">
            <a:solidFill>
              <a:sysClr val="window" lastClr="FFFFFF">
                <a:lumMod val="50000"/>
              </a:sys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0" name="Group 19">
            <a:extLst>
              <a:ext uri="{FF2B5EF4-FFF2-40B4-BE49-F238E27FC236}">
                <a16:creationId xmlns:a16="http://schemas.microsoft.com/office/drawing/2014/main" id="{1F02EF7E-B60D-49E3-E0E7-E9688EE25870}"/>
              </a:ext>
            </a:extLst>
          </p:cNvPr>
          <p:cNvGrpSpPr/>
          <p:nvPr/>
        </p:nvGrpSpPr>
        <p:grpSpPr>
          <a:xfrm>
            <a:off x="7292451" y="1910897"/>
            <a:ext cx="1841585" cy="408267"/>
            <a:chOff x="7292451" y="1910897"/>
            <a:chExt cx="1841585" cy="408267"/>
          </a:xfrm>
        </p:grpSpPr>
        <p:sp>
          <p:nvSpPr>
            <p:cNvPr id="22" name="Content Placeholder 1">
              <a:extLst>
                <a:ext uri="{FF2B5EF4-FFF2-40B4-BE49-F238E27FC236}">
                  <a16:creationId xmlns:a16="http://schemas.microsoft.com/office/drawing/2014/main" id="{48D2E3F5-B07D-CAE1-35D4-13770C9175B4}"/>
                </a:ext>
              </a:extLst>
            </p:cNvPr>
            <p:cNvSpPr txBox="1">
              <a:spLocks/>
            </p:cNvSpPr>
            <p:nvPr/>
          </p:nvSpPr>
          <p:spPr bwMode="gray">
            <a:xfrm>
              <a:off x="7567764" y="1915814"/>
              <a:ext cx="1566272"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Brian Moroney</a:t>
              </a:r>
            </a:p>
          </p:txBody>
        </p:sp>
        <p:sp>
          <p:nvSpPr>
            <p:cNvPr id="23" name="Content Placeholder 1">
              <a:extLst>
                <a:ext uri="{FF2B5EF4-FFF2-40B4-BE49-F238E27FC236}">
                  <a16:creationId xmlns:a16="http://schemas.microsoft.com/office/drawing/2014/main" id="{7B5682E4-383A-0645-2501-9E0B55CCBCF7}"/>
                </a:ext>
              </a:extLst>
            </p:cNvPr>
            <p:cNvSpPr txBox="1">
              <a:spLocks/>
            </p:cNvSpPr>
            <p:nvPr/>
          </p:nvSpPr>
          <p:spPr bwMode="gray">
            <a:xfrm>
              <a:off x="7549963" y="2103276"/>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Quality Assurance Partner</a:t>
              </a:r>
              <a:r>
                <a:rPr lang="en-IN" sz="800">
                  <a:solidFill>
                    <a:srgbClr val="2E2E38"/>
                  </a:solidFill>
                  <a:latin typeface="Calibri"/>
                  <a:cs typeface="Calibri"/>
                </a:rPr>
                <a:t> </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pic>
          <p:nvPicPr>
            <p:cNvPr id="24" name="Picture 23">
              <a:extLst>
                <a:ext uri="{FF2B5EF4-FFF2-40B4-BE49-F238E27FC236}">
                  <a16:creationId xmlns:a16="http://schemas.microsoft.com/office/drawing/2014/main" id="{3C88D7A8-7F7C-C897-3F40-DF0ECE0B4D63}"/>
                </a:ext>
              </a:extLst>
            </p:cNvPr>
            <p:cNvPicPr preferRelativeResize="0">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292451" y="1910897"/>
              <a:ext cx="395794" cy="395794"/>
            </a:xfrm>
            <a:prstGeom prst="ellipse">
              <a:avLst/>
            </a:prstGeom>
            <a:ln w="12700">
              <a:solidFill>
                <a:srgbClr val="2E2E38"/>
              </a:solidFill>
            </a:ln>
          </p:spPr>
        </p:pic>
      </p:grpSp>
      <p:grpSp>
        <p:nvGrpSpPr>
          <p:cNvPr id="25" name="Group 24">
            <a:extLst>
              <a:ext uri="{FF2B5EF4-FFF2-40B4-BE49-F238E27FC236}">
                <a16:creationId xmlns:a16="http://schemas.microsoft.com/office/drawing/2014/main" id="{9769B5A9-4389-6C76-9AE9-D753D278DED7}"/>
              </a:ext>
            </a:extLst>
          </p:cNvPr>
          <p:cNvGrpSpPr/>
          <p:nvPr/>
        </p:nvGrpSpPr>
        <p:grpSpPr>
          <a:xfrm>
            <a:off x="3095906" y="1909195"/>
            <a:ext cx="1841585" cy="408267"/>
            <a:chOff x="3097511" y="1906743"/>
            <a:chExt cx="1841585" cy="408267"/>
          </a:xfrm>
        </p:grpSpPr>
        <p:sp>
          <p:nvSpPr>
            <p:cNvPr id="26" name="Content Placeholder 1">
              <a:extLst>
                <a:ext uri="{FF2B5EF4-FFF2-40B4-BE49-F238E27FC236}">
                  <a16:creationId xmlns:a16="http://schemas.microsoft.com/office/drawing/2014/main" id="{CD2E8E15-765F-827A-520D-48CA04F33D04}"/>
                </a:ext>
              </a:extLst>
            </p:cNvPr>
            <p:cNvSpPr txBox="1">
              <a:spLocks/>
            </p:cNvSpPr>
            <p:nvPr/>
          </p:nvSpPr>
          <p:spPr bwMode="gray">
            <a:xfrm>
              <a:off x="3372824" y="1911660"/>
              <a:ext cx="1566272"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Shane </a:t>
              </a:r>
              <a:r>
                <a:rPr lang="en-IN" sz="800" err="1">
                  <a:latin typeface="Calibri"/>
                  <a:cs typeface="Calibri"/>
                </a:rPr>
                <a:t>MacSweeney</a:t>
              </a:r>
            </a:p>
          </p:txBody>
        </p:sp>
        <p:sp>
          <p:nvSpPr>
            <p:cNvPr id="27" name="Content Placeholder 1">
              <a:extLst>
                <a:ext uri="{FF2B5EF4-FFF2-40B4-BE49-F238E27FC236}">
                  <a16:creationId xmlns:a16="http://schemas.microsoft.com/office/drawing/2014/main" id="{DADD8F11-4570-DDA9-9ADE-2DAC24BA16DA}"/>
                </a:ext>
              </a:extLst>
            </p:cNvPr>
            <p:cNvSpPr txBox="1">
              <a:spLocks/>
            </p:cNvSpPr>
            <p:nvPr/>
          </p:nvSpPr>
          <p:spPr bwMode="gray">
            <a:xfrm>
              <a:off x="3355023" y="2099122"/>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a:t>
              </a:r>
              <a:r>
                <a:rPr lang="en-IN" sz="800">
                  <a:solidFill>
                    <a:srgbClr val="2E2E38"/>
                  </a:solidFill>
                  <a:latin typeface="Calibri"/>
                  <a:cs typeface="Calibri"/>
                </a:rPr>
                <a:t>Account Lead Partner</a:t>
              </a:r>
              <a:endParaRPr lang="en-IN" sz="800" b="0" i="0" u="none" strike="noStrike" kern="1200" cap="none" spc="0" normalizeH="0" baseline="0" noProof="0">
                <a:ln>
                  <a:noFill/>
                </a:ln>
                <a:solidFill>
                  <a:srgbClr val="2E2E38"/>
                </a:solidFill>
                <a:effectLst/>
                <a:uLnTx/>
                <a:uFillTx/>
                <a:latin typeface="Calibri"/>
                <a:cs typeface="Calibri"/>
              </a:endParaRPr>
            </a:p>
          </p:txBody>
        </p:sp>
        <p:pic>
          <p:nvPicPr>
            <p:cNvPr id="28" name="Picture 27">
              <a:extLst>
                <a:ext uri="{FF2B5EF4-FFF2-40B4-BE49-F238E27FC236}">
                  <a16:creationId xmlns:a16="http://schemas.microsoft.com/office/drawing/2014/main" id="{21A70F99-AF04-A18D-F46A-4648F6D04C1A}"/>
                </a:ext>
              </a:extLst>
            </p:cNvPr>
            <p:cNvPicPr preferRelativeResize="0">
              <a:picLocks noChangeAspect="1"/>
            </p:cNvPicPr>
            <p:nvPr/>
          </p:nvPicPr>
          <p:blipFill rotWithShape="1">
            <a:blip r:embed="rId7">
              <a:extLst>
                <a:ext uri="{28A0092B-C50C-407E-A947-70E740481C1C}">
                  <a14:useLocalDpi xmlns:a14="http://schemas.microsoft.com/office/drawing/2010/main" val="0"/>
                </a:ext>
              </a:extLst>
            </a:blip>
            <a:srcRect t="526" b="526"/>
            <a:stretch/>
          </p:blipFill>
          <p:spPr>
            <a:xfrm>
              <a:off x="3097511" y="1906743"/>
              <a:ext cx="395794" cy="395794"/>
            </a:xfrm>
            <a:prstGeom prst="ellipse">
              <a:avLst/>
            </a:prstGeom>
            <a:ln w="12700">
              <a:solidFill>
                <a:srgbClr val="2E2E38"/>
              </a:solidFill>
            </a:ln>
          </p:spPr>
        </p:pic>
      </p:grpSp>
      <p:grpSp>
        <p:nvGrpSpPr>
          <p:cNvPr id="29" name="Group 28">
            <a:extLst>
              <a:ext uri="{FF2B5EF4-FFF2-40B4-BE49-F238E27FC236}">
                <a16:creationId xmlns:a16="http://schemas.microsoft.com/office/drawing/2014/main" id="{1DF8BFEE-5D9F-DB91-0F13-64845820216D}"/>
              </a:ext>
            </a:extLst>
          </p:cNvPr>
          <p:cNvGrpSpPr/>
          <p:nvPr/>
        </p:nvGrpSpPr>
        <p:grpSpPr>
          <a:xfrm>
            <a:off x="1455598" y="5001193"/>
            <a:ext cx="1624739" cy="434509"/>
            <a:chOff x="1167521" y="3069260"/>
            <a:chExt cx="1624739" cy="434509"/>
          </a:xfrm>
        </p:grpSpPr>
        <p:grpSp>
          <p:nvGrpSpPr>
            <p:cNvPr id="30" name="Group 29">
              <a:extLst>
                <a:ext uri="{FF2B5EF4-FFF2-40B4-BE49-F238E27FC236}">
                  <a16:creationId xmlns:a16="http://schemas.microsoft.com/office/drawing/2014/main" id="{8196CD99-E761-ACB0-4AE2-E9E975DDC40B}"/>
                </a:ext>
              </a:extLst>
            </p:cNvPr>
            <p:cNvGrpSpPr/>
            <p:nvPr/>
          </p:nvGrpSpPr>
          <p:grpSpPr>
            <a:xfrm>
              <a:off x="1447572" y="3070473"/>
              <a:ext cx="1344688" cy="432082"/>
              <a:chOff x="7454055" y="4801606"/>
              <a:chExt cx="1319640" cy="432306"/>
            </a:xfrm>
          </p:grpSpPr>
          <p:sp>
            <p:nvSpPr>
              <p:cNvPr id="32" name="Content Placeholder 1">
                <a:extLst>
                  <a:ext uri="{FF2B5EF4-FFF2-40B4-BE49-F238E27FC236}">
                    <a16:creationId xmlns:a16="http://schemas.microsoft.com/office/drawing/2014/main" id="{7B590369-5F5C-E143-0456-CB64F95BB1BB}"/>
                  </a:ext>
                </a:extLst>
              </p:cNvPr>
              <p:cNvSpPr txBox="1">
                <a:spLocks/>
              </p:cNvSpPr>
              <p:nvPr/>
            </p:nvSpPr>
            <p:spPr bwMode="gray">
              <a:xfrm>
                <a:off x="7454055" y="4801606"/>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kumimoji="0" lang="en-IN" sz="800" b="0" i="0" u="none" strike="noStrike" kern="1200" cap="none" spc="0" normalizeH="0" baseline="0" noProof="0">
                    <a:ln>
                      <a:noFill/>
                    </a:ln>
                    <a:effectLst/>
                    <a:uLnTx/>
                    <a:uFillTx/>
                    <a:latin typeface="Calibri"/>
                    <a:cs typeface="Calibri"/>
                  </a:rPr>
                  <a:t>Ahmed Helmy</a:t>
                </a:r>
                <a:endParaRPr lang="en-IN" sz="800" b="0" i="0" u="none" strike="noStrike" kern="1200" cap="none" spc="0" normalizeH="0" baseline="0" noProof="0">
                  <a:ln>
                    <a:noFill/>
                  </a:ln>
                  <a:effectLst/>
                  <a:uLnTx/>
                  <a:uFillTx/>
                  <a:latin typeface="Calibri"/>
                  <a:cs typeface="Calibri"/>
                </a:endParaRPr>
              </a:p>
            </p:txBody>
          </p:sp>
          <p:sp>
            <p:nvSpPr>
              <p:cNvPr id="33" name="Content Placeholder 1">
                <a:extLst>
                  <a:ext uri="{FF2B5EF4-FFF2-40B4-BE49-F238E27FC236}">
                    <a16:creationId xmlns:a16="http://schemas.microsoft.com/office/drawing/2014/main" id="{5C1BC795-DDDD-5300-664D-A4B79E4C9707}"/>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kumimoji="0" lang="en-IE" sz="800" b="0" i="0" u="none" strike="noStrike" kern="1200" cap="none" spc="0" normalizeH="0" baseline="0" noProof="0">
                    <a:ln>
                      <a:noFill/>
                    </a:ln>
                    <a:effectLst/>
                    <a:uLnTx/>
                    <a:uFillTx/>
                    <a:latin typeface="Calibri"/>
                    <a:cs typeface="Calibri"/>
                  </a:rPr>
                  <a:t>Cloud Engineer</a:t>
                </a:r>
                <a:endParaRPr lang="en-IN" sz="800" b="0" i="0" u="none" strike="noStrike" kern="1200" cap="none" spc="0" normalizeH="0" baseline="0" noProof="0">
                  <a:ln>
                    <a:noFill/>
                  </a:ln>
                  <a:effectLst/>
                  <a:uLnTx/>
                  <a:uFillTx/>
                  <a:latin typeface="Calibri"/>
                  <a:cs typeface="Calibri"/>
                </a:endParaRPr>
              </a:p>
            </p:txBody>
          </p:sp>
        </p:grpSp>
        <p:pic>
          <p:nvPicPr>
            <p:cNvPr id="31" name="Picture 4">
              <a:extLst>
                <a:ext uri="{FF2B5EF4-FFF2-40B4-BE49-F238E27FC236}">
                  <a16:creationId xmlns:a16="http://schemas.microsoft.com/office/drawing/2014/main" id="{141776B2-6636-CEB7-A42F-4D9A32BE6B8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7521"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770185BD-9F2F-43B6-73D4-21B70E116EE8}"/>
              </a:ext>
            </a:extLst>
          </p:cNvPr>
          <p:cNvGrpSpPr/>
          <p:nvPr/>
        </p:nvGrpSpPr>
        <p:grpSpPr>
          <a:xfrm>
            <a:off x="5295317" y="4977003"/>
            <a:ext cx="1624739" cy="434509"/>
            <a:chOff x="3072512" y="3069260"/>
            <a:chExt cx="1624739" cy="434509"/>
          </a:xfrm>
        </p:grpSpPr>
        <p:grpSp>
          <p:nvGrpSpPr>
            <p:cNvPr id="35" name="Group 34">
              <a:extLst>
                <a:ext uri="{FF2B5EF4-FFF2-40B4-BE49-F238E27FC236}">
                  <a16:creationId xmlns:a16="http://schemas.microsoft.com/office/drawing/2014/main" id="{F5244F31-8665-FC29-BEE7-304DFE5720DB}"/>
                </a:ext>
              </a:extLst>
            </p:cNvPr>
            <p:cNvGrpSpPr/>
            <p:nvPr/>
          </p:nvGrpSpPr>
          <p:grpSpPr>
            <a:xfrm>
              <a:off x="3352563" y="3070398"/>
              <a:ext cx="1344688" cy="432232"/>
              <a:chOff x="7454055" y="4801456"/>
              <a:chExt cx="1319640" cy="432456"/>
            </a:xfrm>
          </p:grpSpPr>
          <p:sp>
            <p:nvSpPr>
              <p:cNvPr id="37" name="Content Placeholder 1">
                <a:extLst>
                  <a:ext uri="{FF2B5EF4-FFF2-40B4-BE49-F238E27FC236}">
                    <a16:creationId xmlns:a16="http://schemas.microsoft.com/office/drawing/2014/main" id="{336FBFED-D5E0-D65D-DD9B-358C917B5603}"/>
                  </a:ext>
                </a:extLst>
              </p:cNvPr>
              <p:cNvSpPr txBox="1">
                <a:spLocks/>
              </p:cNvSpPr>
              <p:nvPr/>
            </p:nvSpPr>
            <p:spPr bwMode="gray">
              <a:xfrm>
                <a:off x="7454055" y="4801456"/>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kumimoji="0" lang="en-IN" sz="800" b="0" i="0" u="none" strike="noStrike" kern="1200" cap="none" spc="0" normalizeH="0" baseline="0" noProof="0">
                    <a:ln>
                      <a:noFill/>
                    </a:ln>
                    <a:effectLst/>
                    <a:uLnTx/>
                    <a:uFillTx/>
                    <a:latin typeface="Calibri"/>
                    <a:cs typeface="Calibri"/>
                  </a:rPr>
                  <a:t>Ashwini </a:t>
                </a:r>
                <a:r>
                  <a:rPr kumimoji="0" lang="en-IN" sz="800" b="0" i="0" u="none" strike="noStrike" kern="1200" cap="none" spc="0" normalizeH="0" baseline="0" noProof="0" err="1">
                    <a:ln>
                      <a:noFill/>
                    </a:ln>
                    <a:effectLst/>
                    <a:uLnTx/>
                    <a:uFillTx/>
                    <a:latin typeface="Calibri"/>
                    <a:cs typeface="Calibri"/>
                  </a:rPr>
                  <a:t>Kokitkar</a:t>
                </a:r>
                <a:endParaRPr lang="en-IN" sz="800" b="0" i="0" u="none" strike="noStrike" kern="1200" cap="none" spc="0" normalizeH="0" baseline="0" noProof="0">
                  <a:ln>
                    <a:noFill/>
                  </a:ln>
                  <a:effectLst/>
                  <a:uLnTx/>
                  <a:uFillTx/>
                  <a:latin typeface="Calibri"/>
                  <a:cs typeface="Calibri"/>
                </a:endParaRPr>
              </a:p>
            </p:txBody>
          </p:sp>
          <p:sp>
            <p:nvSpPr>
              <p:cNvPr id="38" name="Content Placeholder 1">
                <a:extLst>
                  <a:ext uri="{FF2B5EF4-FFF2-40B4-BE49-F238E27FC236}">
                    <a16:creationId xmlns:a16="http://schemas.microsoft.com/office/drawing/2014/main" id="{562226F6-490E-94FE-210B-260B2DBA982C}"/>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kumimoji="0" lang="en-IE" sz="800" b="0" i="0" u="none" strike="noStrike" kern="1200" cap="none" spc="0" normalizeH="0" baseline="0" noProof="0">
                    <a:ln>
                      <a:noFill/>
                    </a:ln>
                    <a:effectLst/>
                    <a:uLnTx/>
                    <a:uFillTx/>
                    <a:latin typeface="Calibri"/>
                    <a:cs typeface="Calibri"/>
                  </a:rPr>
                  <a:t>Cloud </a:t>
                </a:r>
                <a:r>
                  <a:rPr lang="en-IE" sz="800">
                    <a:latin typeface="Calibri"/>
                    <a:cs typeface="Calibri"/>
                  </a:rPr>
                  <a:t>Engineer - IDAM</a:t>
                </a:r>
                <a:endParaRPr lang="en-IN" sz="800" b="0" i="0" u="none" strike="noStrike" kern="1200" cap="none" spc="0" normalizeH="0" baseline="0" noProof="0">
                  <a:ln>
                    <a:noFill/>
                  </a:ln>
                  <a:effectLst/>
                  <a:uLnTx/>
                  <a:uFillTx/>
                  <a:latin typeface="Calibri"/>
                  <a:cs typeface="Calibri"/>
                </a:endParaRPr>
              </a:p>
            </p:txBody>
          </p:sp>
        </p:grpSp>
        <p:pic>
          <p:nvPicPr>
            <p:cNvPr id="36" name="Picture 4">
              <a:extLst>
                <a:ext uri="{FF2B5EF4-FFF2-40B4-BE49-F238E27FC236}">
                  <a16:creationId xmlns:a16="http://schemas.microsoft.com/office/drawing/2014/main" id="{6E2EE13F-FBB7-B30F-13C7-E283EBD1B6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5509" b="5509"/>
            <a:stretch/>
          </p:blipFill>
          <p:spPr bwMode="auto">
            <a:xfrm>
              <a:off x="3072512"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544E2040-489A-A50C-0FCF-A262F88EC753}"/>
              </a:ext>
            </a:extLst>
          </p:cNvPr>
          <p:cNvGrpSpPr/>
          <p:nvPr/>
        </p:nvGrpSpPr>
        <p:grpSpPr>
          <a:xfrm>
            <a:off x="3369615" y="4999979"/>
            <a:ext cx="1624739" cy="434509"/>
            <a:chOff x="5013605" y="3069260"/>
            <a:chExt cx="1624739" cy="434509"/>
          </a:xfrm>
        </p:grpSpPr>
        <p:grpSp>
          <p:nvGrpSpPr>
            <p:cNvPr id="40" name="Group 39">
              <a:extLst>
                <a:ext uri="{FF2B5EF4-FFF2-40B4-BE49-F238E27FC236}">
                  <a16:creationId xmlns:a16="http://schemas.microsoft.com/office/drawing/2014/main" id="{625F8C84-07B0-DBAA-1BA2-3B5A3E790EB1}"/>
                </a:ext>
              </a:extLst>
            </p:cNvPr>
            <p:cNvGrpSpPr/>
            <p:nvPr/>
          </p:nvGrpSpPr>
          <p:grpSpPr>
            <a:xfrm>
              <a:off x="5293656" y="3070473"/>
              <a:ext cx="1344688" cy="432082"/>
              <a:chOff x="7454055" y="4801606"/>
              <a:chExt cx="1319640" cy="432306"/>
            </a:xfrm>
          </p:grpSpPr>
          <p:sp>
            <p:nvSpPr>
              <p:cNvPr id="42" name="Content Placeholder 1">
                <a:extLst>
                  <a:ext uri="{FF2B5EF4-FFF2-40B4-BE49-F238E27FC236}">
                    <a16:creationId xmlns:a16="http://schemas.microsoft.com/office/drawing/2014/main" id="{446B1DCA-7F71-A45E-E1A7-15049C8A8EF8}"/>
                  </a:ext>
                </a:extLst>
              </p:cNvPr>
              <p:cNvSpPr txBox="1">
                <a:spLocks/>
              </p:cNvSpPr>
              <p:nvPr/>
            </p:nvSpPr>
            <p:spPr bwMode="gray">
              <a:xfrm>
                <a:off x="7454055" y="4801606"/>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N" sz="800">
                    <a:latin typeface="Calibri"/>
                    <a:cs typeface="Calibri"/>
                  </a:rPr>
                  <a:t>Oyinlola Popoola</a:t>
                </a:r>
                <a:endParaRPr lang="en-IN" sz="800" b="0" i="0" u="none" strike="noStrike" kern="1200" cap="none" spc="0" normalizeH="0" baseline="0" noProof="0">
                  <a:ln>
                    <a:noFill/>
                  </a:ln>
                  <a:effectLst/>
                  <a:uLnTx/>
                  <a:uFillTx/>
                  <a:latin typeface="Calibri"/>
                  <a:cs typeface="Calibri"/>
                </a:endParaRPr>
              </a:p>
            </p:txBody>
          </p:sp>
          <p:sp>
            <p:nvSpPr>
              <p:cNvPr id="43" name="Content Placeholder 1">
                <a:extLst>
                  <a:ext uri="{FF2B5EF4-FFF2-40B4-BE49-F238E27FC236}">
                    <a16:creationId xmlns:a16="http://schemas.microsoft.com/office/drawing/2014/main" id="{54251119-A919-DB42-8EEB-3BA69EB35C18}"/>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kumimoji="0" lang="en-IE" sz="800" b="0" i="0" u="none" strike="noStrike" kern="1200" cap="none" spc="0" normalizeH="0" baseline="0" noProof="0">
                    <a:ln>
                      <a:noFill/>
                    </a:ln>
                    <a:effectLst/>
                    <a:uLnTx/>
                    <a:uFillTx/>
                    <a:latin typeface="Calibri"/>
                    <a:cs typeface="Calibri"/>
                  </a:rPr>
                  <a:t>Cloud Engineer</a:t>
                </a:r>
                <a:endParaRPr lang="en-IN" sz="800" b="0" i="0" u="none" strike="noStrike" kern="1200" cap="none" spc="0" normalizeH="0" baseline="0" noProof="0">
                  <a:ln>
                    <a:noFill/>
                  </a:ln>
                  <a:effectLst/>
                  <a:uLnTx/>
                  <a:uFillTx/>
                  <a:latin typeface="Calibri"/>
                  <a:cs typeface="Calibri"/>
                </a:endParaRPr>
              </a:p>
            </p:txBody>
          </p:sp>
        </p:grpSp>
        <p:pic>
          <p:nvPicPr>
            <p:cNvPr id="41" name="Picture 4">
              <a:extLst>
                <a:ext uri="{FF2B5EF4-FFF2-40B4-BE49-F238E27FC236}">
                  <a16:creationId xmlns:a16="http://schemas.microsoft.com/office/drawing/2014/main" id="{9F8F1AC8-8DA5-E8B8-1A15-66E2C50AC4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7188" b="7188"/>
            <a:stretch/>
          </p:blipFill>
          <p:spPr bwMode="auto">
            <a:xfrm>
              <a:off x="5013605"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3F74983B-4A9D-B74E-425A-547CF2F415EF}"/>
              </a:ext>
            </a:extLst>
          </p:cNvPr>
          <p:cNvGrpSpPr/>
          <p:nvPr/>
        </p:nvGrpSpPr>
        <p:grpSpPr>
          <a:xfrm>
            <a:off x="7197647" y="5001193"/>
            <a:ext cx="1624739" cy="434509"/>
            <a:chOff x="6918596" y="3069260"/>
            <a:chExt cx="1624739" cy="434509"/>
          </a:xfrm>
        </p:grpSpPr>
        <p:grpSp>
          <p:nvGrpSpPr>
            <p:cNvPr id="45" name="Group 44">
              <a:extLst>
                <a:ext uri="{FF2B5EF4-FFF2-40B4-BE49-F238E27FC236}">
                  <a16:creationId xmlns:a16="http://schemas.microsoft.com/office/drawing/2014/main" id="{E6AD829A-C6EA-21BC-1562-C1BFBC40D003}"/>
                </a:ext>
              </a:extLst>
            </p:cNvPr>
            <p:cNvGrpSpPr/>
            <p:nvPr/>
          </p:nvGrpSpPr>
          <p:grpSpPr>
            <a:xfrm>
              <a:off x="7198647" y="3070472"/>
              <a:ext cx="1344688" cy="432084"/>
              <a:chOff x="7454055" y="4801604"/>
              <a:chExt cx="1319640" cy="432308"/>
            </a:xfrm>
          </p:grpSpPr>
          <p:sp>
            <p:nvSpPr>
              <p:cNvPr id="47" name="Content Placeholder 1">
                <a:extLst>
                  <a:ext uri="{FF2B5EF4-FFF2-40B4-BE49-F238E27FC236}">
                    <a16:creationId xmlns:a16="http://schemas.microsoft.com/office/drawing/2014/main" id="{848EB147-E914-126D-AD41-E06B5A3D891F}"/>
                  </a:ext>
                </a:extLst>
              </p:cNvPr>
              <p:cNvSpPr txBox="1">
                <a:spLocks/>
              </p:cNvSpPr>
              <p:nvPr/>
            </p:nvSpPr>
            <p:spPr bwMode="gray">
              <a:xfrm>
                <a:off x="7454055" y="4801604"/>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N" sz="800">
                    <a:latin typeface="Calibri"/>
                    <a:cs typeface="Calibri"/>
                  </a:rPr>
                  <a:t>Cillian Bissett</a:t>
                </a:r>
                <a:endParaRPr lang="en-IN" sz="800" b="0" i="0" u="none" strike="noStrike" kern="1200" cap="none" spc="0" normalizeH="0" baseline="0" noProof="0">
                  <a:ln>
                    <a:noFill/>
                  </a:ln>
                  <a:effectLst/>
                  <a:uLnTx/>
                  <a:uFillTx/>
                  <a:latin typeface="Calibri"/>
                  <a:cs typeface="Calibri"/>
                </a:endParaRPr>
              </a:p>
            </p:txBody>
          </p:sp>
          <p:sp>
            <p:nvSpPr>
              <p:cNvPr id="48" name="Content Placeholder 1">
                <a:extLst>
                  <a:ext uri="{FF2B5EF4-FFF2-40B4-BE49-F238E27FC236}">
                    <a16:creationId xmlns:a16="http://schemas.microsoft.com/office/drawing/2014/main" id="{6BB23C40-1B74-308A-667A-AC00D6FA85B9}"/>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E" sz="800">
                    <a:latin typeface="Calibri"/>
                    <a:cs typeface="Calibri"/>
                  </a:rPr>
                  <a:t>DevOps</a:t>
                </a:r>
                <a:r>
                  <a:rPr kumimoji="0" lang="en-IE" sz="800" b="0" i="0" u="none" strike="noStrike" kern="1200" cap="none" spc="0" normalizeH="0" baseline="0" noProof="0">
                    <a:ln>
                      <a:noFill/>
                    </a:ln>
                    <a:effectLst/>
                    <a:uLnTx/>
                    <a:uFillTx/>
                    <a:latin typeface="Calibri"/>
                    <a:cs typeface="Calibri"/>
                  </a:rPr>
                  <a:t> Engineer</a:t>
                </a:r>
                <a:endParaRPr lang="en-IN" sz="800" b="0" i="0" u="none" strike="noStrike" kern="1200" cap="none" spc="0" normalizeH="0" baseline="0" noProof="0">
                  <a:ln>
                    <a:noFill/>
                  </a:ln>
                  <a:effectLst/>
                  <a:uLnTx/>
                  <a:uFillTx/>
                  <a:latin typeface="Calibri"/>
                  <a:cs typeface="Calibri"/>
                </a:endParaRPr>
              </a:p>
            </p:txBody>
          </p:sp>
        </p:grpSp>
        <p:pic>
          <p:nvPicPr>
            <p:cNvPr id="46" name="Picture 4">
              <a:extLst>
                <a:ext uri="{FF2B5EF4-FFF2-40B4-BE49-F238E27FC236}">
                  <a16:creationId xmlns:a16="http://schemas.microsoft.com/office/drawing/2014/main" id="{39FDE6D0-5B04-C43E-7D04-FF2513A9970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5542" b="5542"/>
            <a:stretch/>
          </p:blipFill>
          <p:spPr bwMode="auto">
            <a:xfrm>
              <a:off x="6918596"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id="{D59D3EDD-3CAB-5140-F5C6-2B5F062A2F4D}"/>
              </a:ext>
            </a:extLst>
          </p:cNvPr>
          <p:cNvGrpSpPr/>
          <p:nvPr/>
        </p:nvGrpSpPr>
        <p:grpSpPr>
          <a:xfrm>
            <a:off x="9111664" y="5001193"/>
            <a:ext cx="1624739" cy="434509"/>
            <a:chOff x="8823587" y="3069260"/>
            <a:chExt cx="1624739" cy="434509"/>
          </a:xfrm>
        </p:grpSpPr>
        <p:grpSp>
          <p:nvGrpSpPr>
            <p:cNvPr id="50" name="Group 49">
              <a:extLst>
                <a:ext uri="{FF2B5EF4-FFF2-40B4-BE49-F238E27FC236}">
                  <a16:creationId xmlns:a16="http://schemas.microsoft.com/office/drawing/2014/main" id="{4A6D38AD-CAFD-1902-E40E-51684E18B2A7}"/>
                </a:ext>
              </a:extLst>
            </p:cNvPr>
            <p:cNvGrpSpPr/>
            <p:nvPr/>
          </p:nvGrpSpPr>
          <p:grpSpPr>
            <a:xfrm>
              <a:off x="9103638" y="3070473"/>
              <a:ext cx="1344688" cy="432082"/>
              <a:chOff x="7454055" y="4801606"/>
              <a:chExt cx="1319640" cy="432306"/>
            </a:xfrm>
          </p:grpSpPr>
          <p:sp>
            <p:nvSpPr>
              <p:cNvPr id="52" name="Content Placeholder 1">
                <a:extLst>
                  <a:ext uri="{FF2B5EF4-FFF2-40B4-BE49-F238E27FC236}">
                    <a16:creationId xmlns:a16="http://schemas.microsoft.com/office/drawing/2014/main" id="{C53B99EB-C952-6FB9-4E80-2DDAA319A8EB}"/>
                  </a:ext>
                </a:extLst>
              </p:cNvPr>
              <p:cNvSpPr txBox="1">
                <a:spLocks/>
              </p:cNvSpPr>
              <p:nvPr/>
            </p:nvSpPr>
            <p:spPr bwMode="gray">
              <a:xfrm>
                <a:off x="7454055" y="4801606"/>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N" sz="800">
                    <a:latin typeface="Calibri"/>
                    <a:cs typeface="Calibri"/>
                  </a:rPr>
                  <a:t>Wisdom </a:t>
                </a:r>
                <a:r>
                  <a:rPr lang="en-IN" sz="800" err="1">
                    <a:latin typeface="Calibri"/>
                    <a:cs typeface="Calibri"/>
                  </a:rPr>
                  <a:t>Magadu</a:t>
                </a:r>
                <a:endParaRPr lang="en-IN" sz="800" b="0" i="0" u="none" strike="noStrike" kern="1200" cap="none" spc="0" normalizeH="0" baseline="0" noProof="0">
                  <a:ln>
                    <a:noFill/>
                  </a:ln>
                  <a:effectLst/>
                  <a:uLnTx/>
                  <a:uFillTx/>
                  <a:latin typeface="Calibri"/>
                  <a:cs typeface="Calibri"/>
                </a:endParaRPr>
              </a:p>
            </p:txBody>
          </p:sp>
          <p:sp>
            <p:nvSpPr>
              <p:cNvPr id="53" name="Content Placeholder 1">
                <a:extLst>
                  <a:ext uri="{FF2B5EF4-FFF2-40B4-BE49-F238E27FC236}">
                    <a16:creationId xmlns:a16="http://schemas.microsoft.com/office/drawing/2014/main" id="{F98E6C95-19BE-DCBB-4100-77AE0760AD23}"/>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E" sz="800">
                    <a:latin typeface="Calibri"/>
                    <a:cs typeface="Calibri"/>
                  </a:rPr>
                  <a:t>Database Administrator</a:t>
                </a:r>
                <a:endParaRPr lang="en-IN" sz="800" b="0" i="0" u="none" strike="noStrike" kern="1200" cap="none" spc="0" normalizeH="0" baseline="0" noProof="0">
                  <a:ln>
                    <a:noFill/>
                  </a:ln>
                  <a:effectLst/>
                  <a:uLnTx/>
                  <a:uFillTx/>
                  <a:latin typeface="Calibri"/>
                  <a:cs typeface="Calibri"/>
                </a:endParaRPr>
              </a:p>
            </p:txBody>
          </p:sp>
        </p:grpSp>
        <p:pic>
          <p:nvPicPr>
            <p:cNvPr id="51" name="Picture 4">
              <a:extLst>
                <a:ext uri="{FF2B5EF4-FFF2-40B4-BE49-F238E27FC236}">
                  <a16:creationId xmlns:a16="http://schemas.microsoft.com/office/drawing/2014/main" id="{DBF80030-3B22-E065-CAF3-586C787E7FD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t="6647" b="6647"/>
            <a:stretch/>
          </p:blipFill>
          <p:spPr bwMode="auto">
            <a:xfrm>
              <a:off x="8823587"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cxnSp>
        <p:nvCxnSpPr>
          <p:cNvPr id="54" name="Connector: Elbow 53">
            <a:extLst>
              <a:ext uri="{FF2B5EF4-FFF2-40B4-BE49-F238E27FC236}">
                <a16:creationId xmlns:a16="http://schemas.microsoft.com/office/drawing/2014/main" id="{453C381D-189F-38E0-62F9-0520FEB0224D}"/>
              </a:ext>
            </a:extLst>
          </p:cNvPr>
          <p:cNvCxnSpPr>
            <a:cxnSpLocks/>
          </p:cNvCxnSpPr>
          <p:nvPr/>
        </p:nvCxnSpPr>
        <p:spPr>
          <a:xfrm rot="16200000" flipH="1">
            <a:off x="6557156" y="2005973"/>
            <a:ext cx="550976" cy="1177126"/>
          </a:xfrm>
          <a:prstGeom prst="bentConnector3">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55" name="Connector: Elbow 54">
            <a:extLst>
              <a:ext uri="{FF2B5EF4-FFF2-40B4-BE49-F238E27FC236}">
                <a16:creationId xmlns:a16="http://schemas.microsoft.com/office/drawing/2014/main" id="{B8371244-1FE4-A6EF-A202-CC7DE77364A1}"/>
              </a:ext>
            </a:extLst>
          </p:cNvPr>
          <p:cNvCxnSpPr>
            <a:cxnSpLocks/>
          </p:cNvCxnSpPr>
          <p:nvPr/>
        </p:nvCxnSpPr>
        <p:spPr>
          <a:xfrm rot="5400000">
            <a:off x="5380702" y="2006197"/>
            <a:ext cx="550976" cy="1176678"/>
          </a:xfrm>
          <a:prstGeom prst="bentConnector3">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031D775F-0917-4850-E376-C80EBAC3DE16}"/>
              </a:ext>
            </a:extLst>
          </p:cNvPr>
          <p:cNvSpPr txBox="1"/>
          <p:nvPr/>
        </p:nvSpPr>
        <p:spPr>
          <a:xfrm>
            <a:off x="3155453" y="3770089"/>
            <a:ext cx="1799905" cy="230712"/>
          </a:xfrm>
          <a:prstGeom prst="rect">
            <a:avLst/>
          </a:prstGeom>
          <a:noFill/>
        </p:spPr>
        <p:txBody>
          <a:bodyPr wrap="square" lIns="91440" tIns="45720" rIns="91440" bIns="45720" anchor="t">
            <a:spAutoFit/>
          </a:bodyPr>
          <a:lstStyle/>
          <a:p>
            <a:pPr defTabSz="1018665" fontAlgn="base">
              <a:spcBef>
                <a:spcPct val="0"/>
              </a:spcBef>
              <a:spcAft>
                <a:spcPts val="600"/>
              </a:spcAft>
              <a:defRPr/>
            </a:pPr>
            <a:r>
              <a:rPr lang="en-IE" sz="900" kern="0">
                <a:solidFill>
                  <a:srgbClr val="2E2E38"/>
                </a:solidFill>
                <a:latin typeface="Calibri"/>
                <a:cs typeface="Calibri"/>
              </a:rPr>
              <a:t>Health Sector Experience</a:t>
            </a:r>
            <a:endParaRPr lang="en-IE" sz="900" b="0" i="0" u="none" strike="noStrike" kern="0" cap="none" spc="0" normalizeH="0" baseline="0" noProof="0">
              <a:ln>
                <a:noFill/>
              </a:ln>
              <a:solidFill>
                <a:srgbClr val="2E2E38"/>
              </a:solidFill>
              <a:effectLst/>
              <a:uLnTx/>
              <a:uFillTx/>
              <a:latin typeface="Calibri"/>
              <a:cs typeface="Calibri"/>
            </a:endParaRPr>
          </a:p>
        </p:txBody>
      </p:sp>
      <p:sp>
        <p:nvSpPr>
          <p:cNvPr id="58" name="Star: 5 Points 57">
            <a:extLst>
              <a:ext uri="{FF2B5EF4-FFF2-40B4-BE49-F238E27FC236}">
                <a16:creationId xmlns:a16="http://schemas.microsoft.com/office/drawing/2014/main" id="{4A0DB7C0-47B9-FD65-4B6D-7E5B083BA57D}"/>
              </a:ext>
            </a:extLst>
          </p:cNvPr>
          <p:cNvSpPr/>
          <p:nvPr/>
        </p:nvSpPr>
        <p:spPr bwMode="auto">
          <a:xfrm>
            <a:off x="3028494" y="3770089"/>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59" name="Star: 5 Points 58">
            <a:extLst>
              <a:ext uri="{FF2B5EF4-FFF2-40B4-BE49-F238E27FC236}">
                <a16:creationId xmlns:a16="http://schemas.microsoft.com/office/drawing/2014/main" id="{D1C142DC-9B83-3B31-AEFA-B42A6B633579}"/>
              </a:ext>
            </a:extLst>
          </p:cNvPr>
          <p:cNvSpPr/>
          <p:nvPr/>
        </p:nvSpPr>
        <p:spPr bwMode="auto">
          <a:xfrm>
            <a:off x="5751080" y="2854917"/>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61" name="Star: 5 Points 60">
            <a:extLst>
              <a:ext uri="{FF2B5EF4-FFF2-40B4-BE49-F238E27FC236}">
                <a16:creationId xmlns:a16="http://schemas.microsoft.com/office/drawing/2014/main" id="{BA5721B5-0BD9-E114-9F36-A63711A678B1}"/>
              </a:ext>
            </a:extLst>
          </p:cNvPr>
          <p:cNvSpPr/>
          <p:nvPr/>
        </p:nvSpPr>
        <p:spPr bwMode="auto">
          <a:xfrm>
            <a:off x="9026884" y="1902417"/>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62" name="Star: 5 Points 61">
            <a:extLst>
              <a:ext uri="{FF2B5EF4-FFF2-40B4-BE49-F238E27FC236}">
                <a16:creationId xmlns:a16="http://schemas.microsoft.com/office/drawing/2014/main" id="{66A81D5A-66CD-808A-6A03-B91012566325}"/>
              </a:ext>
            </a:extLst>
          </p:cNvPr>
          <p:cNvSpPr/>
          <p:nvPr/>
        </p:nvSpPr>
        <p:spPr bwMode="auto">
          <a:xfrm>
            <a:off x="6917868" y="1904776"/>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63" name="Star: 5 Points 62">
            <a:extLst>
              <a:ext uri="{FF2B5EF4-FFF2-40B4-BE49-F238E27FC236}">
                <a16:creationId xmlns:a16="http://schemas.microsoft.com/office/drawing/2014/main" id="{8DD6790E-6D10-38D0-29D7-F738AB636AE5}"/>
              </a:ext>
            </a:extLst>
          </p:cNvPr>
          <p:cNvSpPr/>
          <p:nvPr/>
        </p:nvSpPr>
        <p:spPr bwMode="auto">
          <a:xfrm>
            <a:off x="8714442" y="4980358"/>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91" name="Rectangle 90">
            <a:extLst>
              <a:ext uri="{FF2B5EF4-FFF2-40B4-BE49-F238E27FC236}">
                <a16:creationId xmlns:a16="http://schemas.microsoft.com/office/drawing/2014/main" id="{1D13E171-80C4-296A-2370-F79DC256B49A}"/>
              </a:ext>
            </a:extLst>
          </p:cNvPr>
          <p:cNvSpPr/>
          <p:nvPr/>
        </p:nvSpPr>
        <p:spPr bwMode="auto">
          <a:xfrm>
            <a:off x="9410490" y="1591999"/>
            <a:ext cx="2047358" cy="2454102"/>
          </a:xfrm>
          <a:prstGeom prst="rect">
            <a:avLst/>
          </a:prstGeom>
          <a:noFill/>
          <a:ln w="9525" cap="flat" cmpd="sng" algn="ctr">
            <a:solidFill>
              <a:sysClr val="window" lastClr="FFFFFF">
                <a:lumMod val="75000"/>
              </a:sysClr>
            </a:solidFill>
            <a:prstDash val="dashDot"/>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IE" sz="900" b="0"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92" name="TextBox 91">
            <a:extLst>
              <a:ext uri="{FF2B5EF4-FFF2-40B4-BE49-F238E27FC236}">
                <a16:creationId xmlns:a16="http://schemas.microsoft.com/office/drawing/2014/main" id="{5F60805D-E2A5-1066-CB7B-0E4AC90E0F76}"/>
              </a:ext>
            </a:extLst>
          </p:cNvPr>
          <p:cNvSpPr txBox="1"/>
          <p:nvPr/>
        </p:nvSpPr>
        <p:spPr>
          <a:xfrm>
            <a:off x="9762762" y="1512287"/>
            <a:ext cx="1342813" cy="161392"/>
          </a:xfrm>
          <a:prstGeom prst="roundRect">
            <a:avLst/>
          </a:prstGeom>
          <a:solidFill>
            <a:srgbClr val="FFE600"/>
          </a:solidFill>
        </p:spPr>
        <p:txBody>
          <a:bodyPr wrap="none" lIns="71963" tIns="0" rIns="71963" bIns="0" rtlCol="0" anchor="t">
            <a:spAutoFit/>
          </a:bodyPr>
          <a:lstStyle/>
          <a:p>
            <a:pPr marL="0" marR="0" lvl="0" indent="0" defTabSz="1018665" eaLnBrk="1" fontAlgn="auto" latinLnBrk="0" hangingPunct="1">
              <a:lnSpc>
                <a:spcPts val="1199"/>
              </a:lnSpc>
              <a:spcBef>
                <a:spcPts val="0"/>
              </a:spcBef>
              <a:spcAft>
                <a:spcPts val="600"/>
              </a:spcAft>
              <a:buClr>
                <a:prstClr val="white"/>
              </a:buClr>
              <a:buSzPct val="70000"/>
              <a:buFontTx/>
              <a:buNone/>
              <a:tabLst/>
              <a:defRPr/>
            </a:pPr>
            <a:r>
              <a:rPr lang="en-IE" sz="900" kern="0">
                <a:solidFill>
                  <a:srgbClr val="2E2E38"/>
                </a:solidFill>
                <a:latin typeface="Calibri"/>
                <a:cs typeface="Calibri"/>
              </a:rPr>
              <a:t>Subject Matter Resource</a:t>
            </a:r>
            <a:endParaRPr lang="en-IE" sz="900" b="0" i="0" u="none" strike="noStrike" kern="0" cap="none" spc="0" normalizeH="0" baseline="0" noProof="0">
              <a:ln>
                <a:noFill/>
              </a:ln>
              <a:solidFill>
                <a:srgbClr val="2E2E38"/>
              </a:solidFill>
              <a:effectLst/>
              <a:uLnTx/>
              <a:uFillTx/>
              <a:latin typeface="Calibri"/>
              <a:cs typeface="Calibri"/>
            </a:endParaRPr>
          </a:p>
        </p:txBody>
      </p:sp>
      <p:grpSp>
        <p:nvGrpSpPr>
          <p:cNvPr id="93" name="Group 92">
            <a:extLst>
              <a:ext uri="{FF2B5EF4-FFF2-40B4-BE49-F238E27FC236}">
                <a16:creationId xmlns:a16="http://schemas.microsoft.com/office/drawing/2014/main" id="{0A1BD2C1-22EC-2A83-2DF5-4BE0515C173F}"/>
              </a:ext>
            </a:extLst>
          </p:cNvPr>
          <p:cNvGrpSpPr/>
          <p:nvPr/>
        </p:nvGrpSpPr>
        <p:grpSpPr>
          <a:xfrm>
            <a:off x="9474112" y="1921668"/>
            <a:ext cx="1841585" cy="408267"/>
            <a:chOff x="7292451" y="1910897"/>
            <a:chExt cx="1841585" cy="408267"/>
          </a:xfrm>
        </p:grpSpPr>
        <p:sp>
          <p:nvSpPr>
            <p:cNvPr id="94" name="Content Placeholder 1">
              <a:extLst>
                <a:ext uri="{FF2B5EF4-FFF2-40B4-BE49-F238E27FC236}">
                  <a16:creationId xmlns:a16="http://schemas.microsoft.com/office/drawing/2014/main" id="{5A5B1628-7D2E-90A3-91AE-72A7A3A053CE}"/>
                </a:ext>
              </a:extLst>
            </p:cNvPr>
            <p:cNvSpPr txBox="1">
              <a:spLocks/>
            </p:cNvSpPr>
            <p:nvPr/>
          </p:nvSpPr>
          <p:spPr bwMode="gray">
            <a:xfrm>
              <a:off x="7567764" y="1915814"/>
              <a:ext cx="1566272"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Kevin Culligan</a:t>
              </a:r>
            </a:p>
          </p:txBody>
        </p:sp>
        <p:sp>
          <p:nvSpPr>
            <p:cNvPr id="95" name="Content Placeholder 1">
              <a:extLst>
                <a:ext uri="{FF2B5EF4-FFF2-40B4-BE49-F238E27FC236}">
                  <a16:creationId xmlns:a16="http://schemas.microsoft.com/office/drawing/2014/main" id="{E3328028-7C53-A5A7-7131-F514A1641030}"/>
                </a:ext>
              </a:extLst>
            </p:cNvPr>
            <p:cNvSpPr txBox="1">
              <a:spLocks/>
            </p:cNvSpPr>
            <p:nvPr/>
          </p:nvSpPr>
          <p:spPr bwMode="gray">
            <a:xfrm>
              <a:off x="7549963" y="2103276"/>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a:t>
              </a:r>
              <a:r>
                <a:rPr lang="en-IN" sz="800">
                  <a:solidFill>
                    <a:srgbClr val="2E2E38"/>
                  </a:solidFill>
                  <a:latin typeface="Calibri"/>
                  <a:cs typeface="Calibri"/>
                </a:rPr>
                <a:t>Health “SMR”</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pic>
          <p:nvPicPr>
            <p:cNvPr id="96" name="Picture 95">
              <a:extLst>
                <a:ext uri="{FF2B5EF4-FFF2-40B4-BE49-F238E27FC236}">
                  <a16:creationId xmlns:a16="http://schemas.microsoft.com/office/drawing/2014/main" id="{435E3EE9-CD79-128A-4BCF-6DF9DD49745D}"/>
                </a:ext>
              </a:extLst>
            </p:cNvPr>
            <p:cNvPicPr preferRelativeResize="0">
              <a:picLocks noChangeAspect="1"/>
            </p:cNvPicPr>
            <p:nvPr/>
          </p:nvPicPr>
          <p:blipFill rotWithShape="1">
            <a:blip r:embed="rId13">
              <a:extLst>
                <a:ext uri="{28A0092B-C50C-407E-A947-70E740481C1C}">
                  <a14:useLocalDpi xmlns:a14="http://schemas.microsoft.com/office/drawing/2010/main" val="0"/>
                </a:ext>
              </a:extLst>
            </a:blip>
            <a:srcRect t="7386" b="7386"/>
            <a:stretch/>
          </p:blipFill>
          <p:spPr>
            <a:xfrm>
              <a:off x="7292451" y="1910897"/>
              <a:ext cx="395794" cy="395794"/>
            </a:xfrm>
            <a:prstGeom prst="ellipse">
              <a:avLst/>
            </a:prstGeom>
            <a:ln w="12700">
              <a:solidFill>
                <a:srgbClr val="2E2E38"/>
              </a:solidFill>
            </a:ln>
          </p:spPr>
        </p:pic>
      </p:grpSp>
      <p:sp>
        <p:nvSpPr>
          <p:cNvPr id="97" name="Star: 5 Points 96">
            <a:extLst>
              <a:ext uri="{FF2B5EF4-FFF2-40B4-BE49-F238E27FC236}">
                <a16:creationId xmlns:a16="http://schemas.microsoft.com/office/drawing/2014/main" id="{94C4CF30-1F33-D9FD-B42C-6D0A0E6C2492}"/>
              </a:ext>
            </a:extLst>
          </p:cNvPr>
          <p:cNvSpPr/>
          <p:nvPr/>
        </p:nvSpPr>
        <p:spPr bwMode="auto">
          <a:xfrm>
            <a:off x="11208545" y="1913188"/>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21" name="Star: 5 Points 20">
            <a:extLst>
              <a:ext uri="{FF2B5EF4-FFF2-40B4-BE49-F238E27FC236}">
                <a16:creationId xmlns:a16="http://schemas.microsoft.com/office/drawing/2014/main" id="{B03D6571-218A-BBA2-075D-474CD4CDADFA}"/>
              </a:ext>
            </a:extLst>
          </p:cNvPr>
          <p:cNvSpPr/>
          <p:nvPr/>
        </p:nvSpPr>
        <p:spPr bwMode="auto">
          <a:xfrm>
            <a:off x="2944690" y="4973648"/>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sp>
        <p:nvSpPr>
          <p:cNvPr id="57" name="Star: 5 Points 56">
            <a:extLst>
              <a:ext uri="{FF2B5EF4-FFF2-40B4-BE49-F238E27FC236}">
                <a16:creationId xmlns:a16="http://schemas.microsoft.com/office/drawing/2014/main" id="{93F9FE0B-0861-E02E-EC9D-3A9C136E3BC4}"/>
              </a:ext>
            </a:extLst>
          </p:cNvPr>
          <p:cNvSpPr/>
          <p:nvPr/>
        </p:nvSpPr>
        <p:spPr bwMode="auto">
          <a:xfrm>
            <a:off x="6810446" y="4973648"/>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grpSp>
        <p:nvGrpSpPr>
          <p:cNvPr id="60" name="Group 59">
            <a:extLst>
              <a:ext uri="{FF2B5EF4-FFF2-40B4-BE49-F238E27FC236}">
                <a16:creationId xmlns:a16="http://schemas.microsoft.com/office/drawing/2014/main" id="{71F3B364-1CC1-2F7A-266F-B96EB6D69675}"/>
              </a:ext>
            </a:extLst>
          </p:cNvPr>
          <p:cNvGrpSpPr/>
          <p:nvPr/>
        </p:nvGrpSpPr>
        <p:grpSpPr>
          <a:xfrm>
            <a:off x="5298323" y="5647404"/>
            <a:ext cx="1624739" cy="434509"/>
            <a:chOff x="3072512" y="3069260"/>
            <a:chExt cx="1624739" cy="434509"/>
          </a:xfrm>
        </p:grpSpPr>
        <p:grpSp>
          <p:nvGrpSpPr>
            <p:cNvPr id="64" name="Group 63">
              <a:extLst>
                <a:ext uri="{FF2B5EF4-FFF2-40B4-BE49-F238E27FC236}">
                  <a16:creationId xmlns:a16="http://schemas.microsoft.com/office/drawing/2014/main" id="{05AB49D7-CF56-8081-818F-18AC22C7C9AF}"/>
                </a:ext>
              </a:extLst>
            </p:cNvPr>
            <p:cNvGrpSpPr/>
            <p:nvPr/>
          </p:nvGrpSpPr>
          <p:grpSpPr>
            <a:xfrm>
              <a:off x="3352563" y="3070398"/>
              <a:ext cx="1344688" cy="432232"/>
              <a:chOff x="7454055" y="4801456"/>
              <a:chExt cx="1319640" cy="432456"/>
            </a:xfrm>
          </p:grpSpPr>
          <p:sp>
            <p:nvSpPr>
              <p:cNvPr id="66" name="Content Placeholder 1">
                <a:extLst>
                  <a:ext uri="{FF2B5EF4-FFF2-40B4-BE49-F238E27FC236}">
                    <a16:creationId xmlns:a16="http://schemas.microsoft.com/office/drawing/2014/main" id="{FCC7E14F-C701-87EC-EF42-24C4F0F3200C}"/>
                  </a:ext>
                </a:extLst>
              </p:cNvPr>
              <p:cNvSpPr txBox="1">
                <a:spLocks/>
              </p:cNvSpPr>
              <p:nvPr/>
            </p:nvSpPr>
            <p:spPr bwMode="gray">
              <a:xfrm>
                <a:off x="7454055" y="4801456"/>
                <a:ext cx="1319640" cy="240996"/>
              </a:xfrm>
              <a:prstGeom prst="rect">
                <a:avLst/>
              </a:prstGeom>
              <a:solidFill>
                <a:sysClr val="windowText" lastClr="000000">
                  <a:lumMod val="65000"/>
                  <a:lumOff val="35000"/>
                </a:sysClr>
              </a:solidFill>
            </p:spPr>
            <p:txBody>
              <a:bodyPr vert="horz" wrap="square" lIns="157264" tIns="19627" rIns="19627" bIns="19627" rtlCol="0" anchor="ctr"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1" indent="0" algn="l" defTabSz="569593" rtl="0" eaLnBrk="1" fontAlgn="auto" latinLnBrk="0" hangingPunct="1">
                  <a:lnSpc>
                    <a:spcPct val="100000"/>
                  </a:lnSpc>
                  <a:spcBef>
                    <a:spcPts val="0"/>
                  </a:spcBef>
                  <a:spcAft>
                    <a:spcPts val="55"/>
                  </a:spcAft>
                  <a:buClrTx/>
                  <a:buSzTx/>
                  <a:buFontTx/>
                  <a:buNone/>
                  <a:tabLst/>
                  <a:defRPr/>
                </a:pPr>
                <a:r>
                  <a:rPr lang="en-IN" sz="800" b="0" i="0" u="none" strike="noStrike" kern="1200" cap="none" spc="0" normalizeH="0" baseline="0" noProof="0">
                    <a:ln>
                      <a:noFill/>
                    </a:ln>
                    <a:effectLst/>
                    <a:uLnTx/>
                    <a:uFillTx/>
                    <a:latin typeface="Calibri"/>
                    <a:cs typeface="Calibri"/>
                  </a:rPr>
                  <a:t>Suresh Kumar </a:t>
                </a:r>
                <a:r>
                  <a:rPr lang="en-IN" sz="800" b="0" i="0" u="none" strike="noStrike" kern="1200" cap="none" spc="0" normalizeH="0" baseline="0" noProof="0" err="1">
                    <a:ln>
                      <a:noFill/>
                    </a:ln>
                    <a:effectLst/>
                    <a:uLnTx/>
                    <a:uFillTx/>
                    <a:latin typeface="Calibri"/>
                    <a:cs typeface="Calibri"/>
                  </a:rPr>
                  <a:t>Namballa</a:t>
                </a:r>
                <a:endParaRPr lang="en-IN" sz="800" b="0" i="0" u="none" strike="noStrike" kern="1200" cap="none" spc="0" normalizeH="0" baseline="0" noProof="0">
                  <a:ln>
                    <a:noFill/>
                  </a:ln>
                  <a:effectLst/>
                  <a:uLnTx/>
                  <a:uFillTx/>
                  <a:latin typeface="Calibri"/>
                  <a:cs typeface="Calibri"/>
                </a:endParaRPr>
              </a:p>
            </p:txBody>
          </p:sp>
          <p:sp>
            <p:nvSpPr>
              <p:cNvPr id="67" name="Content Placeholder 1">
                <a:extLst>
                  <a:ext uri="{FF2B5EF4-FFF2-40B4-BE49-F238E27FC236}">
                    <a16:creationId xmlns:a16="http://schemas.microsoft.com/office/drawing/2014/main" id="{A7AA5959-ED47-D6E4-3C2D-4E5290B8BDFA}"/>
                  </a:ext>
                </a:extLst>
              </p:cNvPr>
              <p:cNvSpPr txBox="1">
                <a:spLocks/>
              </p:cNvSpPr>
              <p:nvPr/>
            </p:nvSpPr>
            <p:spPr bwMode="gray">
              <a:xfrm>
                <a:off x="7454055" y="5017912"/>
                <a:ext cx="1319640" cy="216000"/>
              </a:xfrm>
              <a:prstGeom prst="rect">
                <a:avLst/>
              </a:prstGeom>
              <a:solidFill>
                <a:srgbClr val="A5A4A7"/>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E" sz="800">
                    <a:latin typeface="Calibri"/>
                    <a:cs typeface="Calibri"/>
                  </a:rPr>
                  <a:t>Test Lead</a:t>
                </a:r>
                <a:endParaRPr lang="en-IE" sz="800" b="0" i="0" u="none" strike="noStrike" kern="1200" cap="none" spc="0" normalizeH="0" baseline="0" noProof="0">
                  <a:ln>
                    <a:noFill/>
                  </a:ln>
                  <a:effectLst/>
                  <a:uLnTx/>
                  <a:uFillTx/>
                  <a:latin typeface="Calibri"/>
                  <a:cs typeface="Calibri"/>
                </a:endParaRPr>
              </a:p>
            </p:txBody>
          </p:sp>
        </p:grpSp>
        <p:pic>
          <p:nvPicPr>
            <p:cNvPr id="65" name="Picture 4">
              <a:extLst>
                <a:ext uri="{FF2B5EF4-FFF2-40B4-BE49-F238E27FC236}">
                  <a16:creationId xmlns:a16="http://schemas.microsoft.com/office/drawing/2014/main" id="{A7535F15-D989-F0E1-2AAA-A758591BD6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t="7297" b="7297"/>
            <a:stretch/>
          </p:blipFill>
          <p:spPr bwMode="auto">
            <a:xfrm>
              <a:off x="3072512" y="3069260"/>
              <a:ext cx="419502" cy="434509"/>
            </a:xfrm>
            <a:prstGeom prst="ellipse">
              <a:avLst/>
            </a:prstGeom>
            <a:ln w="12700">
              <a:solidFill>
                <a:srgbClr val="2E2E38"/>
              </a:solidFill>
              <a:miter lim="800000"/>
              <a:headEnd/>
              <a:tailEnd/>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sp>
        <p:nvSpPr>
          <p:cNvPr id="69" name="Star: 5 Points 68">
            <a:extLst>
              <a:ext uri="{FF2B5EF4-FFF2-40B4-BE49-F238E27FC236}">
                <a16:creationId xmlns:a16="http://schemas.microsoft.com/office/drawing/2014/main" id="{A72DAED8-F8E3-256F-9A74-B12468DA088B}"/>
              </a:ext>
            </a:extLst>
          </p:cNvPr>
          <p:cNvSpPr/>
          <p:nvPr/>
        </p:nvSpPr>
        <p:spPr bwMode="auto">
          <a:xfrm>
            <a:off x="4830663" y="1894142"/>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grpSp>
        <p:nvGrpSpPr>
          <p:cNvPr id="70" name="Group 69">
            <a:extLst>
              <a:ext uri="{FF2B5EF4-FFF2-40B4-BE49-F238E27FC236}">
                <a16:creationId xmlns:a16="http://schemas.microsoft.com/office/drawing/2014/main" id="{81AA2C7E-8340-2875-F29D-40AF53D664D7}"/>
              </a:ext>
            </a:extLst>
          </p:cNvPr>
          <p:cNvGrpSpPr/>
          <p:nvPr/>
        </p:nvGrpSpPr>
        <p:grpSpPr>
          <a:xfrm>
            <a:off x="9760121" y="2528536"/>
            <a:ext cx="1584073" cy="402045"/>
            <a:chOff x="7549963" y="1917119"/>
            <a:chExt cx="1584073" cy="402045"/>
          </a:xfrm>
        </p:grpSpPr>
        <p:sp>
          <p:nvSpPr>
            <p:cNvPr id="71" name="Content Placeholder 1">
              <a:extLst>
                <a:ext uri="{FF2B5EF4-FFF2-40B4-BE49-F238E27FC236}">
                  <a16:creationId xmlns:a16="http://schemas.microsoft.com/office/drawing/2014/main" id="{42DDC902-E9D7-2E68-8B23-6BB9E8027F1A}"/>
                </a:ext>
              </a:extLst>
            </p:cNvPr>
            <p:cNvSpPr txBox="1">
              <a:spLocks/>
            </p:cNvSpPr>
            <p:nvPr/>
          </p:nvSpPr>
          <p:spPr bwMode="gray">
            <a:xfrm>
              <a:off x="7567764" y="1917119"/>
              <a:ext cx="1566272"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Jane Noble</a:t>
              </a:r>
            </a:p>
          </p:txBody>
        </p:sp>
        <p:sp>
          <p:nvSpPr>
            <p:cNvPr id="72" name="Content Placeholder 1">
              <a:extLst>
                <a:ext uri="{FF2B5EF4-FFF2-40B4-BE49-F238E27FC236}">
                  <a16:creationId xmlns:a16="http://schemas.microsoft.com/office/drawing/2014/main" id="{43B51091-BA4B-8F53-FA2F-5AD58744DF3F}"/>
                </a:ext>
              </a:extLst>
            </p:cNvPr>
            <p:cNvSpPr txBox="1">
              <a:spLocks/>
            </p:cNvSpPr>
            <p:nvPr/>
          </p:nvSpPr>
          <p:spPr bwMode="gray">
            <a:xfrm>
              <a:off x="7549963" y="2103276"/>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a:t>
              </a:r>
              <a:r>
                <a:rPr lang="en-IN" sz="800">
                  <a:solidFill>
                    <a:srgbClr val="2E2E38"/>
                  </a:solidFill>
                  <a:latin typeface="Calibri"/>
                  <a:cs typeface="Calibri"/>
                </a:rPr>
                <a:t>Laboratory “SMR”</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sp>
        <p:nvSpPr>
          <p:cNvPr id="74" name="Star: 5 Points 73">
            <a:extLst>
              <a:ext uri="{FF2B5EF4-FFF2-40B4-BE49-F238E27FC236}">
                <a16:creationId xmlns:a16="http://schemas.microsoft.com/office/drawing/2014/main" id="{1248AFF0-EAF2-CF29-DADF-5099AD97D0E5}"/>
              </a:ext>
            </a:extLst>
          </p:cNvPr>
          <p:cNvSpPr/>
          <p:nvPr/>
        </p:nvSpPr>
        <p:spPr bwMode="auto">
          <a:xfrm>
            <a:off x="11237042" y="2513834"/>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grpSp>
        <p:nvGrpSpPr>
          <p:cNvPr id="75" name="Group 74">
            <a:extLst>
              <a:ext uri="{FF2B5EF4-FFF2-40B4-BE49-F238E27FC236}">
                <a16:creationId xmlns:a16="http://schemas.microsoft.com/office/drawing/2014/main" id="{47E71113-B975-6E4D-0F6F-C7220E92AF09}"/>
              </a:ext>
            </a:extLst>
          </p:cNvPr>
          <p:cNvGrpSpPr/>
          <p:nvPr/>
        </p:nvGrpSpPr>
        <p:grpSpPr>
          <a:xfrm>
            <a:off x="9769383" y="3129182"/>
            <a:ext cx="1584073" cy="402045"/>
            <a:chOff x="7549963" y="1917119"/>
            <a:chExt cx="1584073" cy="402045"/>
          </a:xfrm>
        </p:grpSpPr>
        <p:sp>
          <p:nvSpPr>
            <p:cNvPr id="76" name="Content Placeholder 1">
              <a:extLst>
                <a:ext uri="{FF2B5EF4-FFF2-40B4-BE49-F238E27FC236}">
                  <a16:creationId xmlns:a16="http://schemas.microsoft.com/office/drawing/2014/main" id="{B5E8AE25-83B1-C9BD-3062-E3A377E56425}"/>
                </a:ext>
              </a:extLst>
            </p:cNvPr>
            <p:cNvSpPr txBox="1">
              <a:spLocks/>
            </p:cNvSpPr>
            <p:nvPr/>
          </p:nvSpPr>
          <p:spPr bwMode="gray">
            <a:xfrm>
              <a:off x="7567764" y="1917119"/>
              <a:ext cx="1566272" cy="200232"/>
            </a:xfrm>
            <a:prstGeom prst="rect">
              <a:avLst/>
            </a:prstGeom>
            <a:solidFill>
              <a:sysClr val="windowText" lastClr="000000">
                <a:lumMod val="65000"/>
                <a:lumOff val="35000"/>
              </a:sys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latin typeface="Calibri"/>
                  <a:cs typeface="Calibri"/>
                </a:rPr>
                <a:t>  Andrew Sheppard</a:t>
              </a:r>
            </a:p>
          </p:txBody>
        </p:sp>
        <p:sp>
          <p:nvSpPr>
            <p:cNvPr id="77" name="Content Placeholder 1">
              <a:extLst>
                <a:ext uri="{FF2B5EF4-FFF2-40B4-BE49-F238E27FC236}">
                  <a16:creationId xmlns:a16="http://schemas.microsoft.com/office/drawing/2014/main" id="{FB9BC1C9-9238-EDFD-CEAC-BB620E8D13F7}"/>
                </a:ext>
              </a:extLst>
            </p:cNvPr>
            <p:cNvSpPr txBox="1">
              <a:spLocks/>
            </p:cNvSpPr>
            <p:nvPr/>
          </p:nvSpPr>
          <p:spPr bwMode="gray">
            <a:xfrm>
              <a:off x="7549963" y="2103276"/>
              <a:ext cx="1584073" cy="215888"/>
            </a:xfrm>
            <a:prstGeom prst="rect">
              <a:avLst/>
            </a:prstGeom>
            <a:solidFill>
              <a:srgbClr val="FFE600">
                <a:lumMod val="60000"/>
                <a:lumOff val="40000"/>
              </a:srgbClr>
            </a:solidFill>
          </p:spPr>
          <p:txBody>
            <a:bodyPr vert="horz" wrap="square" lIns="157264" tIns="19627" rIns="19627" bIns="19627" rtlCol="0" anchor="t" anchorCtr="0">
              <a:noAutofit/>
            </a:bodyPr>
            <a:lstStyle>
              <a:lvl1pPr marL="0" indent="0" algn="l" defTabSz="1043056" rtl="0" eaLnBrk="1" latinLnBrk="0" hangingPunct="1">
                <a:spcBef>
                  <a:spcPts val="0"/>
                </a:spcBef>
                <a:spcAft>
                  <a:spcPts val="300"/>
                </a:spcAft>
                <a:buFont typeface="Arial" pitchFamily="34" charset="0"/>
                <a:buNone/>
                <a:defRPr sz="900" kern="1200">
                  <a:solidFill>
                    <a:schemeClr val="tx1"/>
                  </a:solidFill>
                  <a:latin typeface="+mn-lt"/>
                  <a:ea typeface="+mn-ea"/>
                  <a:cs typeface="+mn-cs"/>
                </a:defRPr>
              </a:lvl1pPr>
              <a:lvl2pPr marL="0" indent="0" algn="l" defTabSz="1043056" rtl="0" eaLnBrk="1" latinLnBrk="0" hangingPunct="1">
                <a:spcBef>
                  <a:spcPts val="900"/>
                </a:spcBef>
                <a:spcAft>
                  <a:spcPts val="400"/>
                </a:spcAft>
                <a:buFontTx/>
                <a:buNone/>
                <a:defRPr sz="1100" b="0" kern="1200">
                  <a:solidFill>
                    <a:schemeClr val="tx1"/>
                  </a:solidFill>
                  <a:latin typeface="+mj-lt"/>
                  <a:ea typeface="+mn-ea"/>
                  <a:cs typeface="+mn-cs"/>
                </a:defRPr>
              </a:lvl2pPr>
              <a:lvl3pPr marL="0" indent="0" algn="l" defTabSz="1043056" rtl="0" eaLnBrk="1" latinLnBrk="0" hangingPunct="1">
                <a:spcBef>
                  <a:spcPts val="100"/>
                </a:spcBef>
                <a:spcAft>
                  <a:spcPts val="400"/>
                </a:spcAft>
                <a:buFontTx/>
                <a:buNone/>
                <a:defRPr sz="1000" b="0" kern="1200">
                  <a:solidFill>
                    <a:schemeClr val="accent1"/>
                  </a:solidFill>
                  <a:latin typeface="+mj-lt"/>
                  <a:ea typeface="+mn-ea"/>
                  <a:cs typeface="+mn-cs"/>
                </a:defRPr>
              </a:lvl3pPr>
              <a:lvl4pPr marL="177800" indent="-1778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4pPr>
              <a:lvl5pPr marL="342900" indent="-165100" algn="l" defTabSz="1043056" rtl="0" eaLnBrk="1" latinLnBrk="0" hangingPunct="1">
                <a:spcBef>
                  <a:spcPts val="0"/>
                </a:spcBef>
                <a:spcAft>
                  <a:spcPts val="300"/>
                </a:spcAft>
                <a:buSzPct val="70000"/>
                <a:buFont typeface="Arial" pitchFamily="34" charset="0"/>
                <a:buChar char="►"/>
                <a:defRPr sz="9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lvl="1" defTabSz="569593">
                <a:spcBef>
                  <a:spcPts val="0"/>
                </a:spcBef>
                <a:spcAft>
                  <a:spcPts val="55"/>
                </a:spcAft>
                <a:defRPr/>
              </a:pPr>
              <a:r>
                <a:rPr lang="en-IN" sz="800">
                  <a:solidFill>
                    <a:srgbClr val="2E2E38"/>
                  </a:solidFill>
                  <a:latin typeface="Calibri"/>
                  <a:cs typeface="Calibri"/>
                </a:rPr>
                <a:t>  </a:t>
              </a:r>
              <a:r>
                <a:rPr kumimoji="0" lang="en-IN" sz="800" b="0" i="0" u="none" strike="noStrike" kern="1200" cap="none" spc="0" normalizeH="0" baseline="0" noProof="0">
                  <a:ln>
                    <a:noFill/>
                  </a:ln>
                  <a:solidFill>
                    <a:srgbClr val="2E2E38"/>
                  </a:solidFill>
                  <a:effectLst/>
                  <a:uLnTx/>
                  <a:uFillTx/>
                  <a:latin typeface="Calibri"/>
                  <a:cs typeface="Calibri"/>
                </a:rPr>
                <a:t> </a:t>
              </a:r>
              <a:r>
                <a:rPr lang="en-IN" sz="800">
                  <a:solidFill>
                    <a:srgbClr val="2E2E38"/>
                  </a:solidFill>
                  <a:latin typeface="Calibri"/>
                  <a:cs typeface="Calibri"/>
                </a:rPr>
                <a:t>Health “SMR”</a:t>
              </a:r>
              <a:endParaRPr lang="en-IN"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grpSp>
      <p:sp>
        <p:nvSpPr>
          <p:cNvPr id="79" name="Star: 5 Points 78">
            <a:extLst>
              <a:ext uri="{FF2B5EF4-FFF2-40B4-BE49-F238E27FC236}">
                <a16:creationId xmlns:a16="http://schemas.microsoft.com/office/drawing/2014/main" id="{88216D67-7690-1DCF-8305-DD3182737313}"/>
              </a:ext>
            </a:extLst>
          </p:cNvPr>
          <p:cNvSpPr/>
          <p:nvPr/>
        </p:nvSpPr>
        <p:spPr bwMode="auto">
          <a:xfrm>
            <a:off x="11246304" y="3114480"/>
            <a:ext cx="215888" cy="215888"/>
          </a:xfrm>
          <a:prstGeom prst="star5">
            <a:avLst/>
          </a:prstGeom>
          <a:solidFill>
            <a:srgbClr val="00B050"/>
          </a:solidFill>
          <a:ln w="9525"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marL="0" marR="0" lvl="0" indent="0" defTabSz="1018665" eaLnBrk="1" fontAlgn="base" latinLnBrk="0" hangingPunct="1">
              <a:lnSpc>
                <a:spcPct val="100000"/>
              </a:lnSpc>
              <a:spcBef>
                <a:spcPct val="0"/>
              </a:spcBef>
              <a:spcAft>
                <a:spcPts val="600"/>
              </a:spcAft>
              <a:buClrTx/>
              <a:buSzTx/>
              <a:buFontTx/>
              <a:buNone/>
              <a:tabLst/>
              <a:defRPr/>
            </a:pPr>
            <a:endParaRPr lang="en-GB" sz="900" b="0" i="0" u="none" strike="noStrike" kern="0" cap="none" spc="0" normalizeH="0" baseline="0" noProof="0">
              <a:ln>
                <a:noFill/>
              </a:ln>
              <a:solidFill>
                <a:srgbClr val="2E2E38"/>
              </a:solidFill>
              <a:effectLst/>
              <a:uLnTx/>
              <a:uFillTx/>
              <a:latin typeface="Calibri"/>
              <a:cs typeface="Calibri"/>
            </a:endParaRPr>
          </a:p>
        </p:txBody>
      </p:sp>
      <p:pic>
        <p:nvPicPr>
          <p:cNvPr id="86" name="Picture 2" descr="A close-up of a person's face&#10;&#10;Description automatically generated">
            <a:extLst>
              <a:ext uri="{FF2B5EF4-FFF2-40B4-BE49-F238E27FC236}">
                <a16:creationId xmlns:a16="http://schemas.microsoft.com/office/drawing/2014/main" id="{4D78B294-2AD4-4A55-8754-E50BFC5D206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74112" y="2504888"/>
            <a:ext cx="433574" cy="434732"/>
          </a:xfrm>
          <a:prstGeom prst="flowChartConnector">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4" descr="andrew-sheppard.jpg">
            <a:extLst>
              <a:ext uri="{FF2B5EF4-FFF2-40B4-BE49-F238E27FC236}">
                <a16:creationId xmlns:a16="http://schemas.microsoft.com/office/drawing/2014/main" id="{7DF060D7-C732-43A0-896E-34D2E0A95449}"/>
              </a:ext>
            </a:extLst>
          </p:cNvPr>
          <p:cNvPicPr>
            <a:picLocks noChangeAspect="1"/>
          </p:cNvPicPr>
          <p:nvPr/>
        </p:nvPicPr>
        <p:blipFill rotWithShape="1">
          <a:blip r:embed="rId16"/>
          <a:srcRect l="30120" t="6627" r="24498" b="14736"/>
          <a:stretch/>
        </p:blipFill>
        <p:spPr>
          <a:xfrm>
            <a:off x="9492927" y="3126403"/>
            <a:ext cx="408643" cy="467924"/>
          </a:xfrm>
          <a:prstGeom prst="flowChartConnector">
            <a:avLst/>
          </a:prstGeom>
        </p:spPr>
      </p:pic>
    </p:spTree>
    <p:extLst>
      <p:ext uri="{BB962C8B-B14F-4D97-AF65-F5344CB8AC3E}">
        <p14:creationId xmlns:p14="http://schemas.microsoft.com/office/powerpoint/2010/main" val="3501663959"/>
      </p:ext>
    </p:extLst>
  </p:cSld>
  <p:clrMapOvr>
    <a:masterClrMapping/>
  </p:clrMapOvr>
  <p:extLst>
    <p:ext uri="{6950BFC3-D8DA-4A85-94F7-54DA5524770B}">
      <p188:commentRel xmlns:p188="http://schemas.microsoft.com/office/powerpoint/2018/8/main" r:id="rId2"/>
    </p:ext>
  </p:extLs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815F8A-DB22-BCE1-3194-08640B4428A8}"/>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7EE7EE3A-92D7-9089-147D-39DEE42BE10C}"/>
              </a:ext>
            </a:extLst>
          </p:cNvPr>
          <p:cNvSpPr/>
          <p:nvPr/>
        </p:nvSpPr>
        <p:spPr>
          <a:xfrm>
            <a:off x="590550" y="2802747"/>
            <a:ext cx="5305293" cy="1928772"/>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18869A38-C6CC-83C0-2F72-40E67190C048}"/>
              </a:ext>
            </a:extLst>
          </p:cNvPr>
          <p:cNvSpPr/>
          <p:nvPr/>
        </p:nvSpPr>
        <p:spPr>
          <a:xfrm>
            <a:off x="632790" y="3066923"/>
            <a:ext cx="5258209" cy="1361911"/>
          </a:xfrm>
          <a:prstGeom prst="rect">
            <a:avLst/>
          </a:prstGeom>
        </p:spPr>
        <p:txBody>
          <a:bodyPr wrap="square" lIns="91440" tIns="45720" rIns="91440" bIns="45720" anchor="t">
            <a:spAutoFit/>
          </a:bodyPr>
          <a:lstStyle/>
          <a:p>
            <a:pPr marL="180340" marR="0" lvl="3" indent="-180340" algn="just" defTabSz="1018971" rtl="0" eaLnBrk="1" fontAlgn="base" latinLnBrk="0" hangingPunct="1">
              <a:lnSpc>
                <a:spcPct val="100000"/>
              </a:lnSpc>
              <a:spcBef>
                <a:spcPts val="0"/>
              </a:spcBef>
              <a:spcAft>
                <a:spcPts val="1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Paul is a Partner in the Technology Consulting practice of Ernst &amp; Young LLP with a focus on Cloud Platforms and Engineering and has 25 years IT consulting experience. Paul is Head of the Microsoft &amp; Cloud Services Group in EY in Ireland and manages teams (70+) of Cloud Architects, Consultants and Engineers on project delivery engagements</a:t>
            </a:r>
            <a:endParaRPr lang="en-US">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1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Paul has in-depth enterprise architecture consulting experience and extensive cloud consulting experience (roadmaps, maturity assessments, TCO) across Azure, AWS, OCI, OpenShift/Containers and DevOps technologies</a:t>
            </a:r>
            <a:endParaRPr lang="en-IE">
              <a:latin typeface="Calibri" panose="020F0502020204030204" pitchFamily="34" charset="0"/>
              <a:cs typeface="Calibri" panose="020F0502020204030204" pitchFamily="34" charset="0"/>
            </a:endParaRPr>
          </a:p>
          <a:p>
            <a:pPr marL="180340" lvl="3" indent="-180340" algn="just" defTabSz="1018971" fontAlgn="base">
              <a:spcAft>
                <a:spcPts val="1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Paul has carried out academic research on DevOps adoption challenges in large organisations and has a comprehensive understanding and experience on enterprise DevOps adoption</a:t>
            </a:r>
          </a:p>
          <a:p>
            <a:pPr marL="180340" marR="0" lvl="3" indent="-180340" algn="just" defTabSz="1018971" rtl="0" eaLnBrk="1" fontAlgn="base" latinLnBrk="0" hangingPunct="1">
              <a:lnSpc>
                <a:spcPct val="100000"/>
              </a:lnSpc>
              <a:spcBef>
                <a:spcPts val="0"/>
              </a:spcBef>
              <a:spcAft>
                <a:spcPts val="1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Prior to joining EY Paul held numerous senior technology leadership positions, both strategic and operational, including Head of Cloud Consulting, DevOps Team Lead and Senior Infrastructure Architect for both consulting companies and clients</a:t>
            </a:r>
          </a:p>
        </p:txBody>
      </p:sp>
      <p:sp>
        <p:nvSpPr>
          <p:cNvPr id="12" name="Rectangle 11">
            <a:extLst>
              <a:ext uri="{FF2B5EF4-FFF2-40B4-BE49-F238E27FC236}">
                <a16:creationId xmlns:a16="http://schemas.microsoft.com/office/drawing/2014/main" id="{330C0DF1-8F82-CB8A-FEDC-75C28B690273}"/>
              </a:ext>
            </a:extLst>
          </p:cNvPr>
          <p:cNvSpPr/>
          <p:nvPr/>
        </p:nvSpPr>
        <p:spPr>
          <a:xfrm>
            <a:off x="6261160" y="1603990"/>
            <a:ext cx="5420690" cy="4347344"/>
          </a:xfrm>
          <a:prstGeom prst="rect">
            <a:avLst/>
          </a:prstGeom>
        </p:spPr>
        <p:txBody>
          <a:bodyPr wrap="square" lIns="91440" tIns="45720" rIns="91440" bIns="45720" anchor="t">
            <a:spAutoFit/>
          </a:bodyPr>
          <a:lstStyle/>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IE" sz="800" b="1">
                <a:solidFill>
                  <a:schemeClr val="bg1"/>
                </a:solidFill>
                <a:latin typeface="Calibri" panose="020F0502020204030204" pitchFamily="34" charset="0"/>
                <a:cs typeface="Calibri" panose="020F0502020204030204" pitchFamily="34" charset="0"/>
              </a:rPr>
              <a:t>Health Service Provider</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Lead on programme to notify 150k + citizens whose data was affected by cyber incident. Led team (50+) to design, deploy and operate solution on the Microsoft Cloud platform</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Lead Technical Architect for the deployment of Azure hosted Data Analysis and Warehouse platform</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Delivery Lead for Cyber Response with responsibility for securing Cloud Identities and Platforms, and the restoration of Cloud Services in a safe and secure manner</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Delivery Lead on Cloud Identity and Office 365 platform design, implementation and configuration. Proof of Concept for initial cohort of users with compilation of full migration process</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Energy Company</a:t>
            </a:r>
            <a:endParaRPr lang="en-IE" sz="800" b="1">
              <a:solidFill>
                <a:schemeClr val="bg1"/>
              </a:solidFill>
              <a:latin typeface="Calibri" panose="020F0502020204030204" pitchFamily="34" charset="0"/>
              <a:cs typeface="Calibri" panose="020F0502020204030204" pitchFamily="34" charset="0"/>
            </a:endParaRP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Cloud Technical Lead on cloud adoption, design and roadmap planning including formation of Cloud Desk, Digital Factory and DevSecOps adoption and strategy</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Global </a:t>
            </a:r>
            <a:r>
              <a:rPr lang="en-US" sz="800" b="1" err="1">
                <a:solidFill>
                  <a:schemeClr val="bg1"/>
                </a:solidFill>
                <a:latin typeface="Calibri" panose="020F0502020204030204" pitchFamily="34" charset="0"/>
                <a:cs typeface="Calibri" panose="020F0502020204030204" pitchFamily="34" charset="0"/>
              </a:rPr>
              <a:t>AirCraft</a:t>
            </a:r>
            <a:r>
              <a:rPr lang="en-US" sz="800" b="1">
                <a:solidFill>
                  <a:schemeClr val="bg1"/>
                </a:solidFill>
                <a:latin typeface="Calibri" panose="020F0502020204030204" pitchFamily="34" charset="0"/>
                <a:cs typeface="Calibri" panose="020F0502020204030204" pitchFamily="34" charset="0"/>
              </a:rPr>
              <a:t> Leasing Company</a:t>
            </a:r>
            <a:endParaRPr lang="en-IE" sz="800" b="1">
              <a:solidFill>
                <a:schemeClr val="bg1"/>
              </a:solidFill>
              <a:latin typeface="Calibri" panose="020F0502020204030204" pitchFamily="34" charset="0"/>
              <a:cs typeface="Calibri" panose="020F0502020204030204" pitchFamily="34" charset="0"/>
            </a:endParaRP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Lead role assisting in the transformation of their IT delivery to an Azure Cloud based technologies</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Delivery Lead for design, implementation and configuration of Azure based Global Enterprise Landing Zone</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Life Assurance </a:t>
            </a:r>
            <a:r>
              <a:rPr lang="en-US" sz="800" b="1" err="1">
                <a:solidFill>
                  <a:schemeClr val="bg1"/>
                </a:solidFill>
                <a:latin typeface="Calibri" panose="020F0502020204030204" pitchFamily="34" charset="0"/>
                <a:cs typeface="Calibri" panose="020F0502020204030204" pitchFamily="34" charset="0"/>
              </a:rPr>
              <a:t>organisation</a:t>
            </a:r>
            <a:endParaRPr lang="en-IE" sz="800" b="1">
              <a:solidFill>
                <a:schemeClr val="bg1"/>
              </a:solidFill>
              <a:latin typeface="Calibri" panose="020F0502020204030204" pitchFamily="34" charset="0"/>
              <a:cs typeface="Calibri" panose="020F0502020204030204" pitchFamily="34" charset="0"/>
            </a:endParaRP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US" sz="800">
                <a:solidFill>
                  <a:schemeClr val="bg1"/>
                </a:solidFill>
                <a:latin typeface="Calibri" panose="020F0502020204030204" pitchFamily="34" charset="0"/>
                <a:cs typeface="Calibri" panose="020F0502020204030204" pitchFamily="34" charset="0"/>
              </a:rPr>
              <a:t>Assist in the definition and formulation of Cloud Target Architecture and DevOps adoption</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Energy Regulator – UK</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architecture lead on Cloud Adoption roadmap, Azure Design &amp; Implementation for energy schemes which pay out over £10B per year</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Assisted with DevOps adoption (toolset design and implementation) to meet National Cyber Security Centre guidelines. Trusted advisor on Azure cloud platform</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Oversaw scoping, planning and design for migration of 2 datacentres to Azure and Office 365</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Lead on implementation of Enterprise scale Azure Landing Zone</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Insurance company</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US" sz="800">
                <a:solidFill>
                  <a:schemeClr val="bg1"/>
                </a:solidFill>
                <a:latin typeface="Calibri" panose="020F0502020204030204" pitchFamily="34" charset="0"/>
                <a:cs typeface="Calibri" panose="020F0502020204030204" pitchFamily="34" charset="0"/>
              </a:rPr>
              <a:t>Lead role in the migration from 2 datacenters to Azure of their core business operating technology platform</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US" sz="800">
                <a:solidFill>
                  <a:schemeClr val="bg1"/>
                </a:solidFill>
                <a:latin typeface="Calibri" panose="020F0502020204030204" pitchFamily="34" charset="0"/>
                <a:cs typeface="Calibri" panose="020F0502020204030204" pitchFamily="34" charset="0"/>
              </a:rPr>
              <a:t>Implementation of full DevOps operations model</a:t>
            </a:r>
          </a:p>
          <a:p>
            <a:pPr marL="0" marR="0" lvl="3" indent="0"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None/>
              <a:tabLst/>
              <a:defRPr/>
            </a:pPr>
            <a:r>
              <a:rPr lang="en-US" sz="800" b="1">
                <a:solidFill>
                  <a:schemeClr val="bg1"/>
                </a:solidFill>
                <a:latin typeface="Calibri" panose="020F0502020204030204" pitchFamily="34" charset="0"/>
                <a:cs typeface="Calibri" panose="020F0502020204030204" pitchFamily="34" charset="0"/>
              </a:rPr>
              <a:t>Large International Bank</a:t>
            </a:r>
          </a:p>
          <a:p>
            <a:pPr marL="180939" marR="0" lvl="3" indent="-180939" algn="just" defTabSz="1018971" rtl="0" eaLnBrk="1" fontAlgn="base" latinLnBrk="0" hangingPunct="1">
              <a:lnSpc>
                <a:spcPct val="100000"/>
              </a:lnSpc>
              <a:spcBef>
                <a:spcPts val="0"/>
              </a:spcBef>
              <a:spcAft>
                <a:spcPts val="3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Performed a “Go-Live” Readiness Assessment for the banks Azure Platform hosted SaaS service (€30m project)</a:t>
            </a:r>
          </a:p>
        </p:txBody>
      </p:sp>
      <p:sp>
        <p:nvSpPr>
          <p:cNvPr id="14" name="Rectangle 13">
            <a:extLst>
              <a:ext uri="{FF2B5EF4-FFF2-40B4-BE49-F238E27FC236}">
                <a16:creationId xmlns:a16="http://schemas.microsoft.com/office/drawing/2014/main" id="{FB0E70B3-21F4-67A8-38FA-44249C12B01E}"/>
              </a:ext>
            </a:extLst>
          </p:cNvPr>
          <p:cNvSpPr/>
          <p:nvPr/>
        </p:nvSpPr>
        <p:spPr>
          <a:xfrm>
            <a:off x="620090" y="4825536"/>
            <a:ext cx="5317301" cy="1368950"/>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25CD794F-7968-BB55-B2BA-A718D315E9DC}"/>
              </a:ext>
            </a:extLst>
          </p:cNvPr>
          <p:cNvSpPr/>
          <p:nvPr/>
        </p:nvSpPr>
        <p:spPr>
          <a:xfrm>
            <a:off x="632790" y="5073523"/>
            <a:ext cx="2561399" cy="1151597"/>
          </a:xfrm>
          <a:prstGeom prst="rect">
            <a:avLst/>
          </a:prstGeom>
        </p:spPr>
        <p:txBody>
          <a:bodyPr wrap="square" lIns="91440" tIns="45720" rIns="91440" bIns="45720" anchor="t">
            <a:spAutoFit/>
          </a:bodyPr>
          <a:lstStyle/>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echnical Leadership</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Cloud Strategy Development</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Cloud Adoption</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Transformation Planning and Execution</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Enterprise Cloud Architecture</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Cloud Engineering</a:t>
            </a:r>
          </a:p>
        </p:txBody>
      </p:sp>
      <p:sp>
        <p:nvSpPr>
          <p:cNvPr id="18" name="Rectangle 2">
            <a:extLst>
              <a:ext uri="{FF2B5EF4-FFF2-40B4-BE49-F238E27FC236}">
                <a16:creationId xmlns:a16="http://schemas.microsoft.com/office/drawing/2014/main" id="{8ABF9574-8DDA-76A4-E1AA-D2CBDF981DC8}"/>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B644B638-0117-FBEC-2CAC-0EEBA0406BFF}"/>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Partner</a:t>
            </a:r>
          </a:p>
          <a:p>
            <a:pPr defTabSz="913943">
              <a:buSzPct val="100000"/>
            </a:pPr>
            <a:r>
              <a:rPr lang="en-IE" sz="1200">
                <a:solidFill>
                  <a:schemeClr val="bg1"/>
                </a:solidFill>
                <a:latin typeface="Calibri" panose="020F0502020204030204" pitchFamily="34" charset="0"/>
                <a:cs typeface="Calibri" panose="020F0502020204030204" pitchFamily="34" charset="0"/>
              </a:rPr>
              <a:t>EY 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Engagement Partner</a:t>
            </a:r>
          </a:p>
        </p:txBody>
      </p:sp>
      <p:sp>
        <p:nvSpPr>
          <p:cNvPr id="22" name="TextBox 21">
            <a:extLst>
              <a:ext uri="{FF2B5EF4-FFF2-40B4-BE49-F238E27FC236}">
                <a16:creationId xmlns:a16="http://schemas.microsoft.com/office/drawing/2014/main" id="{147E764A-C015-7468-0DD7-8A630A896DFA}"/>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IE">
                <a:solidFill>
                  <a:schemeClr val="bg1"/>
                </a:solidFill>
                <a:latin typeface="Calibri" panose="020F0502020204030204" pitchFamily="34" charset="0"/>
                <a:cs typeface="Calibri" panose="020F0502020204030204" pitchFamily="34" charset="0"/>
              </a:rPr>
              <a:t>Paul Browne</a:t>
            </a:r>
            <a:endParaRPr lang="en-US">
              <a:solidFill>
                <a:schemeClr val="bg1"/>
              </a:solidFill>
              <a:latin typeface="Calibri" panose="020F0502020204030204" pitchFamily="34" charset="0"/>
              <a:cs typeface="Calibri" panose="020F0502020204030204" pitchFamily="34" charset="0"/>
            </a:endParaRPr>
          </a:p>
        </p:txBody>
      </p:sp>
      <p:sp>
        <p:nvSpPr>
          <p:cNvPr id="24" name="Rectangle 52">
            <a:extLst>
              <a:ext uri="{FF2B5EF4-FFF2-40B4-BE49-F238E27FC236}">
                <a16:creationId xmlns:a16="http://schemas.microsoft.com/office/drawing/2014/main" id="{EE1F3937-453B-EC28-9397-C09287C952AA}"/>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rtlCol="0" anchor="t" anchorCtr="0"/>
          <a:lstStyle/>
          <a:p>
            <a:pPr defTabSz="913943"/>
            <a:r>
              <a:rPr lang="en-US" sz="1199" b="1" kern="0">
                <a:solidFill>
                  <a:schemeClr val="bg1"/>
                </a:solidFill>
                <a:latin typeface="Calibri" panose="020F0502020204030204" pitchFamily="34" charset="0"/>
                <a:cs typeface="Calibri" panose="020F0502020204030204" pitchFamily="34" charset="0"/>
              </a:rPr>
              <a:t>Selected professional experiences</a:t>
            </a:r>
          </a:p>
        </p:txBody>
      </p:sp>
      <p:sp>
        <p:nvSpPr>
          <p:cNvPr id="26" name="Rectangle 48">
            <a:extLst>
              <a:ext uri="{FF2B5EF4-FFF2-40B4-BE49-F238E27FC236}">
                <a16:creationId xmlns:a16="http://schemas.microsoft.com/office/drawing/2014/main" id="{66A55367-781E-B741-2829-58D43494F019}"/>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rtlCol="0" anchor="t" anchorCtr="0"/>
          <a:lstStyle/>
          <a:p>
            <a:pPr defTabSz="913943"/>
            <a:r>
              <a:rPr lang="en-US" sz="1199" b="1" kern="0">
                <a:latin typeface="Calibri" panose="020F0502020204030204" pitchFamily="34" charset="0"/>
                <a:cs typeface="Calibri" panose="020F0502020204030204" pitchFamily="34" charset="0"/>
              </a:rPr>
              <a:t>Skills</a:t>
            </a:r>
          </a:p>
        </p:txBody>
      </p:sp>
      <p:sp>
        <p:nvSpPr>
          <p:cNvPr id="28" name="Rectangle 48">
            <a:extLst>
              <a:ext uri="{FF2B5EF4-FFF2-40B4-BE49-F238E27FC236}">
                <a16:creationId xmlns:a16="http://schemas.microsoft.com/office/drawing/2014/main" id="{D6ED209F-CE61-ECBC-1A97-0BBB67E3F5B0}"/>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a:t>
            </a:r>
            <a:r>
              <a:rPr lang="en-US" sz="1150" b="1" kern="0">
                <a:latin typeface="Calibri" panose="020F0502020204030204" pitchFamily="34" charset="0"/>
                <a:cs typeface="Calibri" panose="020F0502020204030204" pitchFamily="34" charset="0"/>
              </a:rPr>
              <a:t>Paul</a:t>
            </a:r>
            <a:endParaRPr kumimoji="0" lang="en-US" sz="1199"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30" name="Text Placeholder 7">
            <a:extLst>
              <a:ext uri="{FF2B5EF4-FFF2-40B4-BE49-F238E27FC236}">
                <a16:creationId xmlns:a16="http://schemas.microsoft.com/office/drawing/2014/main" id="{472A8A6B-5ED0-EBDF-66D3-9469542D95B7}"/>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32" name="Picture 31" descr="A person in a suit standing in front of a window&#10;&#10;Description automatically generated with medium confidence">
            <a:extLst>
              <a:ext uri="{FF2B5EF4-FFF2-40B4-BE49-F238E27FC236}">
                <a16:creationId xmlns:a16="http://schemas.microsoft.com/office/drawing/2014/main" id="{9A25CBB2-0A6D-AF34-4E96-D85B5E9316AF}"/>
              </a:ext>
            </a:extLst>
          </p:cNvPr>
          <p:cNvPicPr>
            <a:picLocks noChangeAspect="1"/>
          </p:cNvPicPr>
          <p:nvPr/>
        </p:nvPicPr>
        <p:blipFill rotWithShape="1">
          <a:blip r:embed="rId2">
            <a:extLst>
              <a:ext uri="{28A0092B-C50C-407E-A947-70E740481C1C}">
                <a14:useLocalDpi xmlns:a14="http://schemas.microsoft.com/office/drawing/2010/main" val="0"/>
              </a:ext>
            </a:extLst>
          </a:blip>
          <a:srcRect l="27166" t="8307" r="28974" b="30728"/>
          <a:stretch/>
        </p:blipFill>
        <p:spPr>
          <a:xfrm>
            <a:off x="626440" y="1354301"/>
            <a:ext cx="1148385" cy="1343434"/>
          </a:xfrm>
          <a:prstGeom prst="rect">
            <a:avLst/>
          </a:prstGeom>
        </p:spPr>
      </p:pic>
      <p:sp>
        <p:nvSpPr>
          <p:cNvPr id="34" name="Rectangle 33">
            <a:extLst>
              <a:ext uri="{FF2B5EF4-FFF2-40B4-BE49-F238E27FC236}">
                <a16:creationId xmlns:a16="http://schemas.microsoft.com/office/drawing/2014/main" id="{6FC6E2C6-8AE4-DBA8-E557-CA955ABD4A17}"/>
              </a:ext>
            </a:extLst>
          </p:cNvPr>
          <p:cNvSpPr/>
          <p:nvPr/>
        </p:nvSpPr>
        <p:spPr>
          <a:xfrm>
            <a:off x="2686262" y="5073523"/>
            <a:ext cx="3235274" cy="964367"/>
          </a:xfrm>
          <a:prstGeom prst="rect">
            <a:avLst/>
          </a:prstGeom>
        </p:spPr>
        <p:txBody>
          <a:bodyPr wrap="square" lIns="91440" tIns="45720" rIns="91440" bIns="45720" anchor="t">
            <a:spAutoFit/>
          </a:bodyPr>
          <a:lstStyle/>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Cloud Operations</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IT Service Management, including Modern Operations and Evergreen</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DevOps Strategy, Design and Implementation</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Datacentre Migration</a:t>
            </a:r>
          </a:p>
          <a:p>
            <a:pPr marL="180939" marR="0" lvl="3" indent="-180939" algn="just" defTabSz="1018971" rtl="0" eaLnBrk="1" fontAlgn="base" latinLnBrk="0" hangingPunct="1">
              <a:lnSpc>
                <a:spcPct val="100000"/>
              </a:lnSpc>
              <a:spcBef>
                <a:spcPts val="0"/>
              </a:spcBef>
              <a:spcAft>
                <a:spcPts val="500"/>
              </a:spcAft>
              <a:buClr>
                <a:srgbClr val="2E2E38"/>
              </a:buClr>
              <a:buSzPct val="70000"/>
              <a:buFont typeface="Arial" panose="020B0604020202020204" pitchFamily="34" charset="0"/>
              <a:buChar char="►"/>
              <a:tabLst/>
              <a:defRPr/>
            </a:pPr>
            <a:r>
              <a:rPr lang="en-IE" sz="800">
                <a:solidFill>
                  <a:schemeClr val="bg1"/>
                </a:solidFill>
                <a:latin typeface="Calibri" panose="020F0502020204030204" pitchFamily="34" charset="0"/>
                <a:cs typeface="Calibri" panose="020F0502020204030204" pitchFamily="34" charset="0"/>
              </a:rPr>
              <a:t>Infrastructure Design, Implementation and Operations</a:t>
            </a:r>
          </a:p>
        </p:txBody>
      </p:sp>
    </p:spTree>
    <p:extLst>
      <p:ext uri="{BB962C8B-B14F-4D97-AF65-F5344CB8AC3E}">
        <p14:creationId xmlns:p14="http://schemas.microsoft.com/office/powerpoint/2010/main" val="25822367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618CDD8-7AF3-4229-B722-4B849071212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FB0034B-3602-4404-86B3-BD2E635CBFD9}"/>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4A4B2E5C-FC9B-4FB8-AA63-8409EA58DDCA}"/>
              </a:ext>
            </a:extLst>
          </p:cNvPr>
          <p:cNvSpPr/>
          <p:nvPr/>
        </p:nvSpPr>
        <p:spPr>
          <a:xfrm>
            <a:off x="623265" y="3066923"/>
            <a:ext cx="5210584" cy="1608133"/>
          </a:xfrm>
          <a:prstGeom prst="rect">
            <a:avLst/>
          </a:prstGeom>
        </p:spPr>
        <p:txBody>
          <a:bodyPr wrap="square" lIns="91440" tIns="45720" rIns="91440" bIns="45720" anchor="t">
            <a:spAutoFit/>
          </a:bodyPr>
          <a:lstStyle/>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Brian has 30 years of professional experience, both operational and change ,working with organisations across sectors including Manufacturing, FS, Pharma, Technology — Media — Telco, Aviation, Health and Government. He is a Partner at EY Consulting leading our Digital and Emerging Technologies practice, the largest of its kind in EMEIA.</a:t>
            </a:r>
            <a:endParaRPr lang="en-US">
              <a:solidFill>
                <a:schemeClr val="bg1"/>
              </a:solidFill>
              <a:latin typeface="Calibri" panose="020F0502020204030204" pitchFamily="34" charset="0"/>
              <a:cs typeface="Calibri" panose="020F0502020204030204" pitchFamily="34" charset="0"/>
            </a:endParaRPr>
          </a:p>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A practicing strategist, enterprise architect and Exco advisor, Brian is typically working with C-suite to simplify and communicate complex business and/or technology issues, business and IT strategy development, directing enterprise transformation programmes, leading technology investment planning, technology business case development and change portfolio planning.</a:t>
            </a:r>
            <a:endParaRPr lang="en-IE">
              <a:solidFill>
                <a:schemeClr val="bg1"/>
              </a:solidFill>
              <a:latin typeface="Calibri" panose="020F0502020204030204" pitchFamily="34" charset="0"/>
              <a:cs typeface="Calibri" panose="020F0502020204030204" pitchFamily="34" charset="0"/>
            </a:endParaRPr>
          </a:p>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Brian has extensive Digital transformation experience having also lead EY Seren (EY’s Digital Customer business) and KPMG Digital in Ireland.</a:t>
            </a:r>
            <a:endParaRPr lang="en-IE">
              <a:solidFill>
                <a:schemeClr val="bg1"/>
              </a:solidFill>
              <a:latin typeface="Calibri" panose="020F0502020204030204" pitchFamily="34" charset="0"/>
              <a:cs typeface="Calibri" panose="020F0502020204030204" pitchFamily="34" charset="0"/>
            </a:endParaRPr>
          </a:p>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Prior to this Brian held numerous senior management positions, both strategic and operational, including Head of IT Strategy, Head of Architecture and Innovation, and Head of Efficiency and Continuous Improvement at Bank of Ireland.</a:t>
            </a:r>
            <a:endParaRPr lang="en-IE">
              <a:solidFill>
                <a:schemeClr val="bg1"/>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49B05FDE-10A0-4673-AF8E-BD272C2B834A}"/>
              </a:ext>
            </a:extLst>
          </p:cNvPr>
          <p:cNvSpPr/>
          <p:nvPr/>
        </p:nvSpPr>
        <p:spPr>
          <a:xfrm>
            <a:off x="6261160" y="1573097"/>
            <a:ext cx="5420690" cy="4716676"/>
          </a:xfrm>
          <a:prstGeom prst="rect">
            <a:avLst/>
          </a:prstGeom>
        </p:spPr>
        <p:txBody>
          <a:bodyPr wrap="square" lIns="91440" tIns="45720" rIns="91440" bIns="45720" anchor="t">
            <a:spAutoFit/>
          </a:bodyPr>
          <a:lstStyle/>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Dept. of Taoiseach (Prime Minister) : Azure Data Platform — OneGov</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ata platform to support decision making during COVID pandemic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Engineering Company </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Numerous projects including development of the business Platform Strategy, Enterprise Digital Roadmap and execution of an Enterprise Information Governance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Technology Company</a:t>
            </a:r>
            <a:r>
              <a:rPr lang="en-IE" sz="800">
                <a:solidFill>
                  <a:schemeClr val="bg1"/>
                </a:solidFill>
                <a:latin typeface="Calibri" panose="020F0502020204030204" pitchFamily="34" charset="0"/>
                <a:cs typeface="Calibri" panose="020F0502020204030204" pitchFamily="34" charset="0"/>
              </a:rPr>
              <a:t>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hief EA to developed an ERP strategy and rollout of a European instance of a full suite of ERP capability.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Agri-Food Co-Operative</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Leading a multi-stream digital strategy engagement delivering enterprise architecture, user experience design and solutions, automation, IT and OT convergence solutions, data and analytics solutions.</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Car Manufacturing Company</a:t>
            </a:r>
            <a:r>
              <a:rPr lang="en-IE" sz="800">
                <a:solidFill>
                  <a:schemeClr val="bg1"/>
                </a:solidFill>
                <a:latin typeface="Calibri" panose="020F0502020204030204" pitchFamily="34" charset="0"/>
                <a:cs typeface="Calibri" panose="020F0502020204030204" pitchFamily="34" charset="0"/>
              </a:rPr>
              <a:t>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hief EA on the development  an ERP strategy and currently executing the rollout of a global ERP capability.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National Sporting Body Membership/CRM System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eveloped a Dynamics 365 solution to support members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Health Service - Cyber Incident Response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Rapid establishment of cloud capabilities to provide  management with ability to operate during the crisis.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High Profile National Education Body - Advisor to the CEO and CFO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Lead multiple business cases supporting the organisations strategy to transform its operations and IT.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Retail Bank, Ireland - Engagement Partner, Enterprise Architect and Programme Strategic Advisor, Digital Workplace Programme</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End-to-end Programme Management, PMO and Change Management for a multi-year, enterprise-wide programme to design, build and deploy a modern digital end user computing platform including the deployment of a HCI and an Application Packaging Factory.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Retail Bank, Ireland - Strategic Advisor to Director of Technology Operations, COVID-19 response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Embedded into the Senior Management Team to guide, direct and support the team’s enforced shift to remote working where the team was responsible for the management and operation of critical national infrastructure.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National Utility, Ireland - Solution Integrity Lead, ESB National Smart Meter Programme</a:t>
            </a:r>
            <a:r>
              <a:rPr lang="en-IE" sz="800">
                <a:solidFill>
                  <a:schemeClr val="bg1"/>
                </a:solidFill>
                <a:latin typeface="Calibri" panose="020F0502020204030204" pitchFamily="34" charset="0"/>
                <a:cs typeface="Calibri" panose="020F0502020204030204" pitchFamily="34" charset="0"/>
              </a:rPr>
              <a:t> </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Working with the ESB Lead to design the end-2-end operational and technology solutions as well as to ensure that these designs were in line with the original architectural blueprint. In addition, Brian supported the programme’s multi-year planning and allocation of its €1.2B investment case budget.</a:t>
            </a:r>
          </a:p>
        </p:txBody>
      </p:sp>
      <p:sp>
        <p:nvSpPr>
          <p:cNvPr id="34" name="Rectangle 33">
            <a:extLst>
              <a:ext uri="{FF2B5EF4-FFF2-40B4-BE49-F238E27FC236}">
                <a16:creationId xmlns:a16="http://schemas.microsoft.com/office/drawing/2014/main" id="{7C76F4C1-7ECE-439D-93FC-E64D8B29B39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02FB6310-6D18-4C23-A92B-0CC42809491D}"/>
              </a:ext>
            </a:extLst>
          </p:cNvPr>
          <p:cNvSpPr/>
          <p:nvPr/>
        </p:nvSpPr>
        <p:spPr>
          <a:xfrm>
            <a:off x="632790" y="5073523"/>
            <a:ext cx="5317300" cy="1023357"/>
          </a:xfrm>
          <a:prstGeom prst="rect">
            <a:avLst/>
          </a:prstGeom>
        </p:spPr>
        <p:txBody>
          <a:bodyPr wrap="square" lIns="91440" tIns="45720" rIns="91440" bIns="45720" anchor="t">
            <a:spAutoFit/>
          </a:bodyPr>
          <a:lstStyle/>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trategy Development/Enterprise Architecture</a:t>
            </a:r>
            <a:endParaRPr lang="en-US">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Enterprise Transformation planning and execution</a:t>
            </a:r>
            <a:endParaRPr lang="en-US">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oftware Engineering and Software Solutions development</a:t>
            </a:r>
            <a:endParaRPr lang="en-US">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loud Computing strategy through migration and operation</a:t>
            </a:r>
            <a:endParaRPr lang="en-US">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IOT (including Operational Technologies) and 5G strategy </a:t>
            </a:r>
            <a:endParaRPr lang="en-US">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AI and Advanced analytics delivery </a:t>
            </a:r>
            <a:endParaRPr lang="en-US">
              <a:solidFill>
                <a:schemeClr val="bg1"/>
              </a:solidFill>
              <a:latin typeface="Calibri" panose="020F0502020204030204" pitchFamily="34" charset="0"/>
              <a:cs typeface="Calibri" panose="020F0502020204030204" pitchFamily="34" charset="0"/>
            </a:endParaRPr>
          </a:p>
        </p:txBody>
      </p:sp>
      <p:sp>
        <p:nvSpPr>
          <p:cNvPr id="48" name="Rectangle 2">
            <a:extLst>
              <a:ext uri="{FF2B5EF4-FFF2-40B4-BE49-F238E27FC236}">
                <a16:creationId xmlns:a16="http://schemas.microsoft.com/office/drawing/2014/main" id="{CA51C545-28ED-4B37-9829-ED19C05848DE}"/>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6" name="Rectangle 55">
            <a:extLst>
              <a:ext uri="{FF2B5EF4-FFF2-40B4-BE49-F238E27FC236}">
                <a16:creationId xmlns:a16="http://schemas.microsoft.com/office/drawing/2014/main" id="{27AEBF83-7F7A-4DFF-84A0-9767167FE88C}"/>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Partner</a:t>
            </a:r>
          </a:p>
          <a:p>
            <a:pPr defTabSz="913943">
              <a:buSzPct val="100000"/>
            </a:pPr>
            <a:r>
              <a:rPr lang="en-IE" sz="1200">
                <a:solidFill>
                  <a:schemeClr val="bg1"/>
                </a:solidFill>
                <a:latin typeface="Calibri" panose="020F0502020204030204" pitchFamily="34" charset="0"/>
                <a:cs typeface="Calibri" panose="020F0502020204030204" pitchFamily="34" charset="0"/>
              </a:rPr>
              <a:t>EY </a:t>
            </a:r>
            <a:r>
              <a:rPr lang="en-IE" sz="1200">
                <a:solidFill>
                  <a:schemeClr val="bg1"/>
                </a:solidFill>
                <a:latin typeface="Calibri" panose="020F0502020204030204" pitchFamily="34" charset="0"/>
                <a:ea typeface="+mn-lt"/>
                <a:cs typeface="Calibri" panose="020F0502020204030204" pitchFamily="34" charset="0"/>
              </a:rPr>
              <a:t>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Quality Assurance Partner</a:t>
            </a:r>
          </a:p>
        </p:txBody>
      </p:sp>
      <p:sp>
        <p:nvSpPr>
          <p:cNvPr id="2" name="TextBox 1">
            <a:extLst>
              <a:ext uri="{FF2B5EF4-FFF2-40B4-BE49-F238E27FC236}">
                <a16:creationId xmlns:a16="http://schemas.microsoft.com/office/drawing/2014/main" id="{4C0D5EA6-C599-F45A-0097-6FEC2DF12ED1}"/>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panose="020F0502020204030204" pitchFamily="34" charset="0"/>
                <a:cs typeface="Calibri" panose="020F0502020204030204" pitchFamily="34" charset="0"/>
              </a:rPr>
              <a:t>Brian Moroney</a:t>
            </a:r>
          </a:p>
        </p:txBody>
      </p:sp>
      <p:sp>
        <p:nvSpPr>
          <p:cNvPr id="32" name="Rectangle 52">
            <a:extLst>
              <a:ext uri="{FF2B5EF4-FFF2-40B4-BE49-F238E27FC236}">
                <a16:creationId xmlns:a16="http://schemas.microsoft.com/office/drawing/2014/main" id="{E48B5631-7ADE-40FD-8720-06F2A2D7413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rtlCol="0" anchor="t" anchorCtr="0"/>
          <a:lstStyle/>
          <a:p>
            <a:pPr defTabSz="913943"/>
            <a:r>
              <a:rPr lang="en-US" sz="1199" b="1" kern="0">
                <a:solidFill>
                  <a:schemeClr val="bg1"/>
                </a:solidFill>
                <a:latin typeface="Calibri" panose="020F0502020204030204" pitchFamily="34" charset="0"/>
                <a:cs typeface="Calibri" panose="020F0502020204030204" pitchFamily="34" charset="0"/>
              </a:rPr>
              <a:t>Selected professional experiences</a:t>
            </a:r>
          </a:p>
        </p:txBody>
      </p:sp>
      <p:sp>
        <p:nvSpPr>
          <p:cNvPr id="33" name="Rectangle 48">
            <a:extLst>
              <a:ext uri="{FF2B5EF4-FFF2-40B4-BE49-F238E27FC236}">
                <a16:creationId xmlns:a16="http://schemas.microsoft.com/office/drawing/2014/main" id="{F4423919-B865-48B0-8331-ECADBFE7D6FE}"/>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rtlCol="0" anchor="t" anchorCtr="0"/>
          <a:lstStyle/>
          <a:p>
            <a:pPr defTabSz="913943"/>
            <a:r>
              <a:rPr lang="en-US" sz="1199" b="1" kern="0">
                <a:latin typeface="Calibri" panose="020F0502020204030204" pitchFamily="34" charset="0"/>
                <a:cs typeface="Calibri" panose="020F0502020204030204" pitchFamily="34" charset="0"/>
              </a:rPr>
              <a:t>Skills</a:t>
            </a:r>
          </a:p>
        </p:txBody>
      </p:sp>
      <p:sp>
        <p:nvSpPr>
          <p:cNvPr id="40" name="Rectangle 48">
            <a:extLst>
              <a:ext uri="{FF2B5EF4-FFF2-40B4-BE49-F238E27FC236}">
                <a16:creationId xmlns:a16="http://schemas.microsoft.com/office/drawing/2014/main" id="{FDB73202-AAFA-4398-A29A-83DEEB9F67A5}"/>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a:t>
            </a:r>
            <a:r>
              <a:rPr lang="en-US" sz="1150" b="1" kern="0">
                <a:latin typeface="Calibri" panose="020F0502020204030204" pitchFamily="34" charset="0"/>
                <a:cs typeface="Calibri" panose="020F0502020204030204" pitchFamily="34" charset="0"/>
              </a:rPr>
              <a:t>Brian</a:t>
            </a:r>
            <a:endParaRPr kumimoji="0" lang="en-US" sz="1199"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21" name="Text Placeholder 7">
            <a:extLst>
              <a:ext uri="{FF2B5EF4-FFF2-40B4-BE49-F238E27FC236}">
                <a16:creationId xmlns:a16="http://schemas.microsoft.com/office/drawing/2014/main" id="{014E59DE-9899-4AB4-9565-64D35AE09C49}"/>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6" name="Picture 6">
            <a:extLst>
              <a:ext uri="{FF2B5EF4-FFF2-40B4-BE49-F238E27FC236}">
                <a16:creationId xmlns:a16="http://schemas.microsoft.com/office/drawing/2014/main" id="{9276487C-A754-60D5-42DE-36FA8AA95380}"/>
              </a:ext>
            </a:extLst>
          </p:cNvPr>
          <p:cNvPicPr>
            <a:picLocks noChangeAspect="1"/>
          </p:cNvPicPr>
          <p:nvPr/>
        </p:nvPicPr>
        <p:blipFill>
          <a:blip r:embed="rId2"/>
          <a:stretch>
            <a:fillRect/>
          </a:stretch>
        </p:blipFill>
        <p:spPr>
          <a:xfrm>
            <a:off x="609600" y="1357342"/>
            <a:ext cx="1162050" cy="1333500"/>
          </a:xfrm>
          <a:prstGeom prst="rect">
            <a:avLst/>
          </a:prstGeom>
        </p:spPr>
      </p:pic>
    </p:spTree>
    <p:extLst>
      <p:ext uri="{BB962C8B-B14F-4D97-AF65-F5344CB8AC3E}">
        <p14:creationId xmlns:p14="http://schemas.microsoft.com/office/powerpoint/2010/main" val="2361347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618CDD8-7AF3-4229-B722-4B849071212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7FB0034B-3602-4404-86B3-BD2E635CBFD9}"/>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4A4B2E5C-FC9B-4FB8-AA63-8409EA58DDCA}"/>
              </a:ext>
            </a:extLst>
          </p:cNvPr>
          <p:cNvSpPr/>
          <p:nvPr/>
        </p:nvSpPr>
        <p:spPr>
          <a:xfrm>
            <a:off x="623265" y="3066923"/>
            <a:ext cx="5210584" cy="1731243"/>
          </a:xfrm>
          <a:prstGeom prst="rect">
            <a:avLst/>
          </a:prstGeom>
        </p:spPr>
        <p:txBody>
          <a:bodyPr wrap="square" lIns="91440" tIns="45720" rIns="91440" bIns="45720" anchor="t">
            <a:spAutoFit/>
          </a:bodyPr>
          <a:lstStyle/>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Shane is a partner in EY and is Head of Government and Infrastructure in EY Ireland; and European Middle East India and Africa (EMEIA) Infrastructure Leader. He has over 20 years’ experience advising public and private sector clients on large complex projects across a wide range of sectors including transport (rail &amp; metro), and has extensive experience leading teams in commercial and financial advisory roles on large infrastructure projects</a:t>
            </a:r>
          </a:p>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Shane boasts extensive experience in advising on infrastructure delivery, having worked on large projects across the globe, including Australia, Europe, the Middle East, and Asia. Throughout his career, he has demonstrated a commitment to maintaining an up-to-date skillset and knowledge base by participating in various internal professional development programs at EY. These programs have covered a range of topics, including project management, financial analysis, procurement, financial modelling, and diversity and inclusion. Shane also regularly applies his knowledge and skillset on the job, ensuring that he remains sharp and well-equipped to tackle the challenges faced by his clients</a:t>
            </a:r>
          </a:p>
          <a:p>
            <a:pPr marL="180975" lvl="1" indent="-180975" algn="just">
              <a:spcAft>
                <a:spcPts val="103"/>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Shane is a Chartered Accountant (CA) accredited by Chartered Accountants Ireland (CAI) since 2003</a:t>
            </a:r>
          </a:p>
          <a:p>
            <a:pPr marL="0" lvl="1" algn="just">
              <a:spcAft>
                <a:spcPts val="103"/>
              </a:spcAft>
              <a:buSzPct val="75000"/>
            </a:pPr>
            <a:endParaRPr lang="en-IE" sz="800">
              <a:solidFill>
                <a:schemeClr val="bg1"/>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49B05FDE-10A0-4673-AF8E-BD272C2B834A}"/>
              </a:ext>
            </a:extLst>
          </p:cNvPr>
          <p:cNvSpPr/>
          <p:nvPr/>
        </p:nvSpPr>
        <p:spPr>
          <a:xfrm>
            <a:off x="6268854" y="1576171"/>
            <a:ext cx="5420690" cy="4801314"/>
          </a:xfrm>
          <a:prstGeom prst="rect">
            <a:avLst/>
          </a:prstGeom>
        </p:spPr>
        <p:txBody>
          <a:bodyPr wrap="square" lIns="91440" tIns="45720" rIns="91440" bIns="45720" anchor="t">
            <a:spAutoFit/>
          </a:bodyPr>
          <a:lstStyle/>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University Hospital Galway (Ongoing)</a:t>
            </a: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leads the team on the SA&amp;PBC for a new Laboratory facilities replacement on the UHG campus. He advises on the CBA modelling and options appraisal of the project in line with the new public spending code circular in 2023.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Cork University Hospital (Ongoing)</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has provided industry insight into developing and delivering the Preliminary Business Case (PBC) and the Strategic assessment Report (SAR) on a new paediatrics inpatient and surgical unit in CUH.</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Tallaght University Hospital</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has advised on the Strategic Assessment Report (SAR) on an acute floor plan expansion conducted for TUH. Shane advised the team with relation to the MCA modelling and structure of the SAR.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University Hospital Galway</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is the engagement partner on the SAR and PBC report for an Emergency Department and Maternity and Paediatric departments at UHG.</a:t>
            </a:r>
            <a:endParaRPr lang="en-IE" sz="800" b="1">
              <a:solidFill>
                <a:schemeClr val="bg1"/>
              </a:solidFill>
              <a:latin typeface="Calibri" panose="020F0502020204030204" pitchFamily="34" charset="0"/>
              <a:cs typeface="Calibri" panose="020F0502020204030204" pitchFamily="34" charset="0"/>
            </a:endParaRP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Community Nursing Units PPP</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was engagement partner having advised a private sector consortium on the development of 7 Community Nursing Units in Ireland.  Shane supported the team throughout the entire project, from the financial modelling, debt fundraising, capital structuring and also provided commercial advice up to financial submission. </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Royal College of Surgeon Ireland Economic Assessment and Business Plan</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oject Lead on the economic assessment and business plan for the Medical Campus in Bahrain, including negotiations with the medical hospital</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Northern Beaches Hospital (Australia)</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led the team advising Healthscope on their winning tender submission for the Northern Beaches Hospital PPP Project</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TII – PSC Review and Business Cases</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is the Engagement Partner advising TII on a review of the new PSC Guidelines, and overseeing a number of Business Cases including a Business Case relating to funding for the maintenance of the road network and a tool to assist with capital investment planning in light of COVID-19</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High Speed Rail Project CBA (Australia)</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advised to the Department of Infrastructure and Transport on the strategic study into a high speed rail network</a:t>
            </a:r>
          </a:p>
          <a:p>
            <a:pPr marL="0" lvl="1"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Fáilte Ireland, Business Tourism - Strategic Review</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hane led the team carrying out the Economic Impact Assessment of business tourism in Ireland as part of EY’s governance and funding reviews of the Business Tourism Working Group and the Regional Convention Bureaux</a:t>
            </a:r>
          </a:p>
        </p:txBody>
      </p:sp>
      <p:sp>
        <p:nvSpPr>
          <p:cNvPr id="34" name="Rectangle 33">
            <a:extLst>
              <a:ext uri="{FF2B5EF4-FFF2-40B4-BE49-F238E27FC236}">
                <a16:creationId xmlns:a16="http://schemas.microsoft.com/office/drawing/2014/main" id="{7C76F4C1-7ECE-439D-93FC-E64D8B29B39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02FB6310-6D18-4C23-A92B-0CC42809491D}"/>
              </a:ext>
            </a:extLst>
          </p:cNvPr>
          <p:cNvSpPr/>
          <p:nvPr/>
        </p:nvSpPr>
        <p:spPr>
          <a:xfrm>
            <a:off x="632790" y="5044497"/>
            <a:ext cx="5317300" cy="1184940"/>
          </a:xfrm>
          <a:prstGeom prst="rect">
            <a:avLst/>
          </a:prstGeom>
        </p:spPr>
        <p:txBody>
          <a:bodyPr wrap="square" lIns="91440" tIns="45720" rIns="91440" bIns="45720" anchor="t">
            <a:spAutoFit/>
          </a:bodyPr>
          <a:lstStyle/>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b="0" i="0" u="none" strike="noStrike" noProof="0">
                <a:solidFill>
                  <a:srgbClr val="2E2E38"/>
                </a:solidFill>
                <a:effectLst/>
                <a:latin typeface="Calibri" panose="020F0502020204030204" pitchFamily="34" charset="0"/>
                <a:cs typeface="Calibri" panose="020F0502020204030204" pitchFamily="34" charset="0"/>
              </a:rPr>
              <a:t>Feasibility assessments</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b="0" i="0" u="none" strike="noStrike" noProof="0">
                <a:solidFill>
                  <a:srgbClr val="2E2E38"/>
                </a:solidFill>
                <a:effectLst/>
                <a:latin typeface="Calibri" panose="020F0502020204030204" pitchFamily="34" charset="0"/>
                <a:cs typeface="Calibri" panose="020F0502020204030204" pitchFamily="34" charset="0"/>
              </a:rPr>
              <a:t>Project implementation and leadership</a:t>
            </a:r>
            <a:endParaRPr lang="en-IE" sz="800">
              <a:solidFill>
                <a:schemeClr val="bg1"/>
              </a:solidFill>
              <a:latin typeface="Calibri" panose="020F0502020204030204" pitchFamily="34" charset="0"/>
              <a:cs typeface="Calibri" panose="020F0502020204030204" pitchFamily="34" charset="0"/>
            </a:endParaRP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Analysis and development of business cases</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Financial analysis ​and modelling</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oject Assurance</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ommercial contractual drafting</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oject governance for large infrastructure projects</a:t>
            </a:r>
          </a:p>
        </p:txBody>
      </p:sp>
      <p:sp>
        <p:nvSpPr>
          <p:cNvPr id="48" name="Rectangle 2">
            <a:extLst>
              <a:ext uri="{FF2B5EF4-FFF2-40B4-BE49-F238E27FC236}">
                <a16:creationId xmlns:a16="http://schemas.microsoft.com/office/drawing/2014/main" id="{CA51C545-28ED-4B37-9829-ED19C05848DE}"/>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6" name="Rectangle 55">
            <a:extLst>
              <a:ext uri="{FF2B5EF4-FFF2-40B4-BE49-F238E27FC236}">
                <a16:creationId xmlns:a16="http://schemas.microsoft.com/office/drawing/2014/main" id="{27AEBF83-7F7A-4DFF-84A0-9767167FE88C}"/>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Partner</a:t>
            </a:r>
          </a:p>
          <a:p>
            <a:pPr defTabSz="913943">
              <a:buSzPct val="100000"/>
            </a:pPr>
            <a:r>
              <a:rPr lang="en-IE" sz="1200">
                <a:solidFill>
                  <a:schemeClr val="bg1"/>
                </a:solidFill>
                <a:latin typeface="Calibri" panose="020F0502020204030204" pitchFamily="34" charset="0"/>
                <a:cs typeface="Calibri" panose="020F0502020204030204" pitchFamily="34" charset="0"/>
              </a:rPr>
              <a:t>EY </a:t>
            </a:r>
            <a:r>
              <a:rPr lang="en-IE" sz="1200">
                <a:solidFill>
                  <a:schemeClr val="bg1"/>
                </a:solidFill>
                <a:latin typeface="Calibri" panose="020F0502020204030204" pitchFamily="34" charset="0"/>
                <a:ea typeface="+mn-lt"/>
                <a:cs typeface="Calibri" panose="020F0502020204030204" pitchFamily="34" charset="0"/>
              </a:rPr>
              <a:t>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Account Lead Partner</a:t>
            </a:r>
          </a:p>
        </p:txBody>
      </p:sp>
      <p:sp>
        <p:nvSpPr>
          <p:cNvPr id="2" name="TextBox 1">
            <a:extLst>
              <a:ext uri="{FF2B5EF4-FFF2-40B4-BE49-F238E27FC236}">
                <a16:creationId xmlns:a16="http://schemas.microsoft.com/office/drawing/2014/main" id="{4C0D5EA6-C599-F45A-0097-6FEC2DF12ED1}"/>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panose="020F0502020204030204" pitchFamily="34" charset="0"/>
                <a:cs typeface="Calibri" panose="020F0502020204030204" pitchFamily="34" charset="0"/>
              </a:rPr>
              <a:t>Shane </a:t>
            </a:r>
            <a:r>
              <a:rPr lang="en-US" err="1">
                <a:solidFill>
                  <a:schemeClr val="bg1"/>
                </a:solidFill>
                <a:latin typeface="Calibri" panose="020F0502020204030204" pitchFamily="34" charset="0"/>
                <a:cs typeface="Calibri" panose="020F0502020204030204" pitchFamily="34" charset="0"/>
              </a:rPr>
              <a:t>MacSweeney</a:t>
            </a:r>
            <a:endParaRPr lang="en-US">
              <a:solidFill>
                <a:schemeClr val="bg1"/>
              </a:solidFill>
              <a:latin typeface="Calibri" panose="020F0502020204030204" pitchFamily="34" charset="0"/>
              <a:cs typeface="Calibri" panose="020F0502020204030204" pitchFamily="34" charset="0"/>
            </a:endParaRPr>
          </a:p>
        </p:txBody>
      </p:sp>
      <p:sp>
        <p:nvSpPr>
          <p:cNvPr id="32" name="Rectangle 52">
            <a:extLst>
              <a:ext uri="{FF2B5EF4-FFF2-40B4-BE49-F238E27FC236}">
                <a16:creationId xmlns:a16="http://schemas.microsoft.com/office/drawing/2014/main" id="{E48B5631-7ADE-40FD-8720-06F2A2D7413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rtlCol="0" anchor="t" anchorCtr="0"/>
          <a:lstStyle/>
          <a:p>
            <a:pPr defTabSz="913943"/>
            <a:r>
              <a:rPr lang="en-US" sz="1199" b="1" kern="0">
                <a:solidFill>
                  <a:schemeClr val="bg1"/>
                </a:solidFill>
                <a:latin typeface="Calibri" panose="020F0502020204030204" pitchFamily="34" charset="0"/>
                <a:cs typeface="Calibri" panose="020F0502020204030204" pitchFamily="34" charset="0"/>
              </a:rPr>
              <a:t>Selected professional experiences</a:t>
            </a:r>
          </a:p>
        </p:txBody>
      </p:sp>
      <p:sp>
        <p:nvSpPr>
          <p:cNvPr id="33" name="Rectangle 48">
            <a:extLst>
              <a:ext uri="{FF2B5EF4-FFF2-40B4-BE49-F238E27FC236}">
                <a16:creationId xmlns:a16="http://schemas.microsoft.com/office/drawing/2014/main" id="{F4423919-B865-48B0-8331-ECADBFE7D6FE}"/>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rtlCol="0" anchor="t" anchorCtr="0"/>
          <a:lstStyle/>
          <a:p>
            <a:pPr defTabSz="913943"/>
            <a:r>
              <a:rPr lang="en-US" sz="1199" b="1" kern="0">
                <a:latin typeface="Calibri" panose="020F0502020204030204" pitchFamily="34" charset="0"/>
                <a:cs typeface="Calibri" panose="020F0502020204030204" pitchFamily="34" charset="0"/>
              </a:rPr>
              <a:t>Skills</a:t>
            </a:r>
          </a:p>
        </p:txBody>
      </p:sp>
      <p:sp>
        <p:nvSpPr>
          <p:cNvPr id="40" name="Rectangle 48">
            <a:extLst>
              <a:ext uri="{FF2B5EF4-FFF2-40B4-BE49-F238E27FC236}">
                <a16:creationId xmlns:a16="http://schemas.microsoft.com/office/drawing/2014/main" id="{FDB73202-AAFA-4398-A29A-83DEEB9F67A5}"/>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Shane</a:t>
            </a:r>
            <a:endParaRPr kumimoji="0" lang="en-US" sz="1199"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21" name="Text Placeholder 7">
            <a:extLst>
              <a:ext uri="{FF2B5EF4-FFF2-40B4-BE49-F238E27FC236}">
                <a16:creationId xmlns:a16="http://schemas.microsoft.com/office/drawing/2014/main" id="{014E59DE-9899-4AB4-9565-64D35AE09C49}"/>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3" name="Picture 2">
            <a:extLst>
              <a:ext uri="{FF2B5EF4-FFF2-40B4-BE49-F238E27FC236}">
                <a16:creationId xmlns:a16="http://schemas.microsoft.com/office/drawing/2014/main" id="{6FF5FA5C-438B-2F2B-7DC6-F94FD33EFA91}"/>
              </a:ext>
            </a:extLst>
          </p:cNvPr>
          <p:cNvPicPr>
            <a:picLocks/>
          </p:cNvPicPr>
          <p:nvPr/>
        </p:nvPicPr>
        <p:blipFill rotWithShape="1">
          <a:blip r:embed="rId2"/>
          <a:srcRect t="10619" b="10619"/>
          <a:stretch/>
        </p:blipFill>
        <p:spPr>
          <a:xfrm>
            <a:off x="632790" y="1365934"/>
            <a:ext cx="1162800" cy="1332000"/>
          </a:xfrm>
          <a:prstGeom prst="rect">
            <a:avLst/>
          </a:prstGeom>
        </p:spPr>
      </p:pic>
    </p:spTree>
    <p:extLst>
      <p:ext uri="{BB962C8B-B14F-4D97-AF65-F5344CB8AC3E}">
        <p14:creationId xmlns:p14="http://schemas.microsoft.com/office/powerpoint/2010/main" val="864295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 name="Table 582">
            <a:extLst>
              <a:ext uri="{FF2B5EF4-FFF2-40B4-BE49-F238E27FC236}">
                <a16:creationId xmlns:a16="http://schemas.microsoft.com/office/drawing/2014/main" id="{4389C1C3-590E-4CBB-8B1F-4091CF529785}"/>
              </a:ext>
            </a:extLst>
          </p:cNvPr>
          <p:cNvGraphicFramePr>
            <a:graphicFrameLocks noGrp="1"/>
          </p:cNvGraphicFramePr>
          <p:nvPr>
            <p:extLst>
              <p:ext uri="{D42A27DB-BD31-4B8C-83A1-F6EECF244321}">
                <p14:modId xmlns:p14="http://schemas.microsoft.com/office/powerpoint/2010/main" val="3909913792"/>
              </p:ext>
            </p:extLst>
          </p:nvPr>
        </p:nvGraphicFramePr>
        <p:xfrm>
          <a:off x="609599" y="3542900"/>
          <a:ext cx="11076851" cy="2646323"/>
        </p:xfrm>
        <a:graphic>
          <a:graphicData uri="http://schemas.openxmlformats.org/drawingml/2006/table">
            <a:tbl>
              <a:tblPr firstRow="1" bandRow="1">
                <a:tableStyleId>{5C22544A-7EE6-4342-B048-85BDC9FD1C3A}</a:tableStyleId>
              </a:tblPr>
              <a:tblGrid>
                <a:gridCol w="2769213">
                  <a:extLst>
                    <a:ext uri="{9D8B030D-6E8A-4147-A177-3AD203B41FA5}">
                      <a16:colId xmlns:a16="http://schemas.microsoft.com/office/drawing/2014/main" val="20000"/>
                    </a:ext>
                  </a:extLst>
                </a:gridCol>
                <a:gridCol w="2769213">
                  <a:extLst>
                    <a:ext uri="{9D8B030D-6E8A-4147-A177-3AD203B41FA5}">
                      <a16:colId xmlns:a16="http://schemas.microsoft.com/office/drawing/2014/main" val="20001"/>
                    </a:ext>
                  </a:extLst>
                </a:gridCol>
                <a:gridCol w="2821225">
                  <a:extLst>
                    <a:ext uri="{9D8B030D-6E8A-4147-A177-3AD203B41FA5}">
                      <a16:colId xmlns:a16="http://schemas.microsoft.com/office/drawing/2014/main" val="20002"/>
                    </a:ext>
                  </a:extLst>
                </a:gridCol>
                <a:gridCol w="2717200">
                  <a:extLst>
                    <a:ext uri="{9D8B030D-6E8A-4147-A177-3AD203B41FA5}">
                      <a16:colId xmlns:a16="http://schemas.microsoft.com/office/drawing/2014/main" val="20003"/>
                    </a:ext>
                  </a:extLst>
                </a:gridCol>
              </a:tblGrid>
              <a:tr h="280520">
                <a:tc>
                  <a:txBody>
                    <a:bodyPr/>
                    <a:lstStyle/>
                    <a:p>
                      <a:pPr>
                        <a:spcBef>
                          <a:spcPts val="0"/>
                        </a:spcBef>
                      </a:pPr>
                      <a:r>
                        <a:rPr lang="en-IN" sz="1400" b="1">
                          <a:solidFill>
                            <a:schemeClr val="bg1"/>
                          </a:solidFill>
                          <a:latin typeface="Calibri" panose="020F0502020204030204" pitchFamily="34" charset="0"/>
                          <a:cs typeface="Calibri" panose="020F0502020204030204" pitchFamily="34" charset="0"/>
                        </a:rPr>
                        <a:t>Assurance</a:t>
                      </a:r>
                    </a:p>
                  </a:txBody>
                  <a:tcPr marL="45696" marR="45696" marT="45696" marB="45696">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0"/>
                        </a:spcBef>
                      </a:pPr>
                      <a:r>
                        <a:rPr lang="en-IN" sz="1400" b="1">
                          <a:solidFill>
                            <a:schemeClr val="bg1"/>
                          </a:solidFill>
                          <a:latin typeface="Calibri" panose="020F0502020204030204" pitchFamily="34" charset="0"/>
                          <a:cs typeface="Calibri" panose="020F0502020204030204" pitchFamily="34" charset="0"/>
                        </a:rPr>
                        <a:t>Tax</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0"/>
                        </a:spcBef>
                      </a:pPr>
                      <a:r>
                        <a:rPr lang="en-IN" sz="1400" b="1">
                          <a:solidFill>
                            <a:schemeClr val="bg1"/>
                          </a:solidFill>
                          <a:latin typeface="Calibri" panose="020F0502020204030204" pitchFamily="34" charset="0"/>
                          <a:cs typeface="Calibri" panose="020F0502020204030204" pitchFamily="34" charset="0"/>
                        </a:rPr>
                        <a:t>Consulting</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0"/>
                        </a:spcBef>
                      </a:pPr>
                      <a:r>
                        <a:rPr lang="en-IN" sz="1400" b="1">
                          <a:solidFill>
                            <a:schemeClr val="bg1"/>
                          </a:solidFill>
                          <a:latin typeface="Calibri" panose="020F0502020204030204" pitchFamily="34" charset="0"/>
                          <a:cs typeface="Calibri" panose="020F0502020204030204" pitchFamily="34" charset="0"/>
                        </a:rPr>
                        <a:t>Strategy and Transactions</a:t>
                      </a:r>
                    </a:p>
                  </a:txBody>
                  <a:tcPr marL="45696" marR="45696" marT="45696" marB="45696">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90159">
                <a:tc>
                  <a:txBody>
                    <a:bodyPr/>
                    <a:lstStyle/>
                    <a:p>
                      <a:pPr marL="0" indent="0" algn="l" defTabSz="914400" rtl="0" eaLnBrk="1" latinLnBrk="0" hangingPunct="1">
                        <a:spcBef>
                          <a:spcPts val="0"/>
                        </a:spcBef>
                        <a:buClr>
                          <a:schemeClr val="accent1"/>
                        </a:buClr>
                        <a:buSzPct val="70000"/>
                        <a:buFont typeface="Arial" pitchFamily="34" charset="0"/>
                        <a:buNone/>
                      </a:pPr>
                      <a:r>
                        <a:rPr lang="en-US" sz="1050" b="0" i="0" kern="1200">
                          <a:solidFill>
                            <a:schemeClr val="bg1"/>
                          </a:solidFill>
                          <a:effectLst/>
                          <a:latin typeface="Calibri" panose="020F0502020204030204" pitchFamily="34" charset="0"/>
                          <a:ea typeface="+mn-ea"/>
                          <a:cs typeface="Calibri" panose="020F0502020204030204" pitchFamily="34" charset="0"/>
                        </a:rPr>
                        <a:t>Our Assurance services help to support organizations in promoting investor confidence, managing regulatory responsibilities and supporting long-term, sustainable economic growth. In doing so, we protect and serve the public interest and promote transparency.</a:t>
                      </a:r>
                      <a:endParaRPr lang="en-US" sz="1050" b="0" i="0" u="none" strike="noStrike" kern="1200">
                        <a:solidFill>
                          <a:schemeClr val="bg1"/>
                        </a:solidFill>
                        <a:effectLst/>
                        <a:latin typeface="Calibri" panose="020F0502020204030204" pitchFamily="34" charset="0"/>
                        <a:ea typeface="+mn-ea"/>
                        <a:cs typeface="Calibri" panose="020F0502020204030204" pitchFamily="34" charset="0"/>
                      </a:endParaRPr>
                    </a:p>
                    <a:p>
                      <a:pPr marL="0" indent="0" algn="l" defTabSz="914400" rtl="0" eaLnBrk="1" latinLnBrk="0" hangingPunct="1">
                        <a:spcBef>
                          <a:spcPts val="0"/>
                        </a:spcBef>
                        <a:buClr>
                          <a:schemeClr val="accent1"/>
                        </a:buClr>
                        <a:buSzPct val="70000"/>
                        <a:buFont typeface="Arial" pitchFamily="34" charset="0"/>
                        <a:buNone/>
                      </a:pPr>
                      <a:endParaRPr lang="en-US" sz="1050" b="0" i="0" u="none" strike="noStrike" kern="1200">
                        <a:solidFill>
                          <a:schemeClr val="bg1"/>
                        </a:solidFill>
                        <a:effectLst/>
                        <a:latin typeface="Calibri" panose="020F0502020204030204" pitchFamily="34" charset="0"/>
                        <a:ea typeface="+mn-ea"/>
                        <a:cs typeface="Calibri" panose="020F0502020204030204" pitchFamily="34" charset="0"/>
                      </a:endParaRP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Audit</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Financial Accounting Consulting Services</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Forensic and Integrity Services</a:t>
                      </a:r>
                    </a:p>
                  </a:txBody>
                  <a:tcPr marL="45696" marR="45696" marT="45696" marB="45696">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chemeClr val="accent1"/>
                        </a:buClr>
                        <a:buSzPct val="70000"/>
                        <a:buFont typeface="Arial" pitchFamily="34" charset="0"/>
                        <a:buNone/>
                        <a:tabLst/>
                        <a:defRPr/>
                      </a:pPr>
                      <a:r>
                        <a:rPr lang="en-US" sz="1050" b="0" i="0" kern="1200">
                          <a:solidFill>
                            <a:schemeClr val="bg1"/>
                          </a:solidFill>
                          <a:effectLst/>
                          <a:latin typeface="Calibri" panose="020F0502020204030204" pitchFamily="34" charset="0"/>
                          <a:ea typeface="+mn-ea"/>
                          <a:cs typeface="Calibri" panose="020F0502020204030204" pitchFamily="34" charset="0"/>
                        </a:rPr>
                        <a:t>Our globally coordinated tax professionals offer connected services across all tax disciplines to help you thrive in an era of rapid change.</a:t>
                      </a:r>
                      <a:r>
                        <a:rPr lang="en-IN" sz="1050">
                          <a:solidFill>
                            <a:schemeClr val="bg1"/>
                          </a:solidFill>
                          <a:latin typeface="Calibri" panose="020F0502020204030204" pitchFamily="34" charset="0"/>
                          <a:cs typeface="Calibri" panose="020F0502020204030204" pitchFamily="34" charset="0"/>
                        </a:rPr>
                        <a:t> Part of our global Tax practice is our Law practice, which is present in more than 70 countries. </a:t>
                      </a:r>
                    </a:p>
                    <a:p>
                      <a:pPr marL="0" marR="0" lvl="0" indent="0" algn="l" defTabSz="914400" rtl="0" eaLnBrk="1" fontAlgn="auto" latinLnBrk="0" hangingPunct="1">
                        <a:lnSpc>
                          <a:spcPct val="100000"/>
                        </a:lnSpc>
                        <a:spcBef>
                          <a:spcPts val="0"/>
                        </a:spcBef>
                        <a:spcAft>
                          <a:spcPts val="0"/>
                        </a:spcAft>
                        <a:buClr>
                          <a:schemeClr val="accent1"/>
                        </a:buClr>
                        <a:buSzPct val="70000"/>
                        <a:buFont typeface="Arial" pitchFamily="34" charset="0"/>
                        <a:buNone/>
                        <a:tabLst/>
                        <a:defRPr/>
                      </a:pPr>
                      <a:endParaRPr lang="en-IN" sz="1050">
                        <a:solidFill>
                          <a:schemeClr val="bg1"/>
                        </a:solidFill>
                        <a:latin typeface="Calibri" panose="020F0502020204030204" pitchFamily="34" charset="0"/>
                        <a:cs typeface="Calibri" panose="020F0502020204030204" pitchFamily="34" charset="0"/>
                      </a:endParaRP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Business Tax</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International Tax</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Transaction Tax</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Tax related issues associated with people, compliance and reporting and law</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0"/>
                        </a:spcBef>
                        <a:buClr>
                          <a:schemeClr val="accent1"/>
                        </a:buClr>
                        <a:buSzPct val="70000"/>
                        <a:buFont typeface="Arial" pitchFamily="34" charset="0"/>
                        <a:buNone/>
                      </a:pPr>
                      <a:r>
                        <a:rPr lang="en-IE" sz="1050" b="0" i="0" kern="1200">
                          <a:solidFill>
                            <a:schemeClr val="bg1"/>
                          </a:solidFill>
                          <a:effectLst/>
                          <a:latin typeface="Calibri" panose="020F0502020204030204" pitchFamily="34" charset="0"/>
                          <a:ea typeface="+mn-ea"/>
                          <a:cs typeface="Calibri" panose="020F0502020204030204" pitchFamily="34" charset="0"/>
                        </a:rPr>
                        <a:t>Our Consulting practice works with some of the world’s largest and most complex multinational corporations, as well as with government organizations, on their most pressing management and operational challenges. </a:t>
                      </a:r>
                    </a:p>
                    <a:p>
                      <a:pPr marL="0" indent="0" algn="l" defTabSz="914400" rtl="0" eaLnBrk="1" latinLnBrk="0" hangingPunct="1">
                        <a:spcBef>
                          <a:spcPts val="0"/>
                        </a:spcBef>
                        <a:buClr>
                          <a:schemeClr val="accent1"/>
                        </a:buClr>
                        <a:buSzPct val="70000"/>
                        <a:buFont typeface="Arial" pitchFamily="34" charset="0"/>
                        <a:buNone/>
                      </a:pPr>
                      <a:endParaRPr lang="en-US" sz="1050" b="0" i="0" kern="1200">
                        <a:solidFill>
                          <a:schemeClr val="bg1"/>
                        </a:solidFill>
                        <a:effectLst/>
                        <a:latin typeface="Calibri" panose="020F0502020204030204" pitchFamily="34" charset="0"/>
                        <a:ea typeface="+mn-ea"/>
                        <a:cs typeface="Calibri" panose="020F0502020204030204" pitchFamily="34" charset="0"/>
                      </a:endParaRP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Emerging Technologies</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Cybersecurity</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Digital Transformation</a:t>
                      </a:r>
                    </a:p>
                    <a:p>
                      <a:pPr marL="173736" marR="0" lvl="0" indent="-173736" algn="l" defTabSz="914400" rtl="0" eaLnBrk="1" fontAlgn="auto" latinLnBrk="0" hangingPunct="1">
                        <a:lnSpc>
                          <a:spcPct val="100000"/>
                        </a:lnSpc>
                        <a:spcBef>
                          <a:spcPts val="0"/>
                        </a:spcBef>
                        <a:spcAft>
                          <a:spcPts val="0"/>
                        </a:spcAft>
                        <a:buClr>
                          <a:schemeClr val="bg1"/>
                        </a:buClr>
                        <a:buSzPct val="100000"/>
                        <a:buFont typeface="EYInterstate" panose="02000503020000020004" pitchFamily="2" charset="0"/>
                        <a:buChar char="•"/>
                        <a:tabLst/>
                        <a:defRPr/>
                      </a:pPr>
                      <a:r>
                        <a:rPr lang="en-IN" sz="1050" kern="1200" baseline="0">
                          <a:solidFill>
                            <a:schemeClr val="bg1"/>
                          </a:solidFill>
                          <a:latin typeface="Calibri" panose="020F0502020204030204" pitchFamily="34" charset="0"/>
                          <a:ea typeface="+mn-ea"/>
                          <a:cs typeface="Calibri" panose="020F0502020204030204" pitchFamily="34" charset="0"/>
                        </a:rPr>
                        <a:t>Strategy &amp; Risk</a:t>
                      </a:r>
                      <a:endParaRPr lang="en-IN" sz="1050" kern="1200">
                        <a:solidFill>
                          <a:schemeClr val="bg1"/>
                        </a:solidFill>
                        <a:latin typeface="Calibri" panose="020F0502020204030204" pitchFamily="34" charset="0"/>
                        <a:ea typeface="+mn-ea"/>
                        <a:cs typeface="Calibri" panose="020F0502020204030204" pitchFamily="34" charset="0"/>
                      </a:endParaRP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Big</a:t>
                      </a:r>
                      <a:r>
                        <a:rPr lang="en-IN" sz="1050" kern="1200" baseline="0">
                          <a:solidFill>
                            <a:schemeClr val="bg1"/>
                          </a:solidFill>
                          <a:latin typeface="Calibri" panose="020F0502020204030204" pitchFamily="34" charset="0"/>
                          <a:ea typeface="+mn-ea"/>
                          <a:cs typeface="Calibri" panose="020F0502020204030204" pitchFamily="34" charset="0"/>
                        </a:rPr>
                        <a:t> Data and Analytics</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Purpose Led Transformation</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0"/>
                        </a:spcBef>
                        <a:buClr>
                          <a:schemeClr val="accent1"/>
                        </a:buClr>
                        <a:buSzPct val="70000"/>
                        <a:buFont typeface="Arial" pitchFamily="34" charset="0"/>
                        <a:buNone/>
                      </a:pPr>
                      <a:r>
                        <a:rPr lang="en-IE" sz="1050" b="0" i="0" kern="1200">
                          <a:solidFill>
                            <a:schemeClr val="bg1"/>
                          </a:solidFill>
                          <a:effectLst/>
                          <a:latin typeface="Calibri" panose="020F0502020204030204" pitchFamily="34" charset="0"/>
                          <a:ea typeface="+mn-ea"/>
                          <a:cs typeface="Calibri" panose="020F0502020204030204" pitchFamily="34" charset="0"/>
                        </a:rPr>
                        <a:t>Strategy and Transactions professionals around the world support a wide range of corporate, private capital and government clients to help them make better, more informed decisions on how to manage their capital agenda — </a:t>
                      </a:r>
                    </a:p>
                    <a:p>
                      <a:pPr marL="0" indent="0" algn="l" defTabSz="914400" rtl="0" eaLnBrk="1" latinLnBrk="0" hangingPunct="1">
                        <a:spcBef>
                          <a:spcPts val="0"/>
                        </a:spcBef>
                        <a:buClr>
                          <a:schemeClr val="accent1"/>
                        </a:buClr>
                        <a:buSzPct val="70000"/>
                        <a:buFont typeface="Arial" pitchFamily="34" charset="0"/>
                        <a:buNone/>
                      </a:pPr>
                      <a:endParaRPr lang="en-IN" sz="1050" kern="1200">
                        <a:solidFill>
                          <a:schemeClr val="bg1"/>
                        </a:solidFill>
                        <a:latin typeface="Calibri" panose="020F0502020204030204" pitchFamily="34" charset="0"/>
                        <a:ea typeface="+mn-ea"/>
                        <a:cs typeface="Calibri" panose="020F0502020204030204" pitchFamily="34" charset="0"/>
                      </a:endParaRP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Strategy Services</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a:solidFill>
                            <a:schemeClr val="bg1"/>
                          </a:solidFill>
                          <a:latin typeface="Calibri" panose="020F0502020204030204" pitchFamily="34" charset="0"/>
                          <a:ea typeface="+mn-ea"/>
                          <a:cs typeface="Calibri" panose="020F0502020204030204" pitchFamily="34" charset="0"/>
                        </a:rPr>
                        <a:t>Corporate</a:t>
                      </a:r>
                      <a:r>
                        <a:rPr lang="en-IN" sz="1050" kern="1200" baseline="0">
                          <a:solidFill>
                            <a:schemeClr val="bg1"/>
                          </a:solidFill>
                          <a:latin typeface="Calibri" panose="020F0502020204030204" pitchFamily="34" charset="0"/>
                          <a:ea typeface="+mn-ea"/>
                          <a:cs typeface="Calibri" panose="020F0502020204030204" pitchFamily="34" charset="0"/>
                        </a:rPr>
                        <a:t> Finance</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Buy and Integrate / Sell and Separate</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Reshaping Results</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Digital M&amp;A Framework</a:t>
                      </a:r>
                    </a:p>
                    <a:p>
                      <a:pPr marL="173736" indent="-173736" algn="l" defTabSz="914400" rtl="0" eaLnBrk="1" latinLnBrk="0" hangingPunct="1">
                        <a:spcBef>
                          <a:spcPts val="0"/>
                        </a:spcBef>
                        <a:buClr>
                          <a:schemeClr val="bg1"/>
                        </a:buClr>
                        <a:buSzPct val="100000"/>
                        <a:buFont typeface="EYInterstate" panose="02000503020000020004" pitchFamily="2" charset="0"/>
                        <a:buChar char="•"/>
                      </a:pPr>
                      <a:r>
                        <a:rPr lang="en-IN" sz="1050" kern="1200" baseline="0">
                          <a:solidFill>
                            <a:schemeClr val="bg1"/>
                          </a:solidFill>
                          <a:latin typeface="Calibri" panose="020F0502020204030204" pitchFamily="34" charset="0"/>
                          <a:ea typeface="+mn-ea"/>
                          <a:cs typeface="Calibri" panose="020F0502020204030204" pitchFamily="34" charset="0"/>
                        </a:rPr>
                        <a:t>Infrastructure Advisory</a:t>
                      </a:r>
                      <a:endParaRPr lang="en-IN" sz="1050" kern="1200">
                        <a:solidFill>
                          <a:schemeClr val="bg1"/>
                        </a:solidFill>
                        <a:latin typeface="Calibri" panose="020F0502020204030204" pitchFamily="34" charset="0"/>
                        <a:ea typeface="+mn-ea"/>
                        <a:cs typeface="Calibri" panose="020F0502020204030204" pitchFamily="34" charset="0"/>
                      </a:endParaRPr>
                    </a:p>
                  </a:txBody>
                  <a:tcPr marL="45696" marR="45696" marT="45696" marB="4569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8435">
                <a:tc>
                  <a:txBody>
                    <a:bodyPr/>
                    <a:lstStyle/>
                    <a:p>
                      <a:pPr marL="0" indent="0" algn="l" defTabSz="914400" rtl="0" eaLnBrk="1" latinLnBrk="0" hangingPunct="1">
                        <a:spcBef>
                          <a:spcPts val="0"/>
                        </a:spcBef>
                        <a:buClr>
                          <a:schemeClr val="bg1"/>
                        </a:buClr>
                        <a:buSzPct val="100000"/>
                        <a:buFont typeface="EYInterstate" panose="02000503020000020004" pitchFamily="2" charset="0"/>
                        <a:buNone/>
                      </a:pPr>
                      <a:r>
                        <a:rPr lang="en-IN" sz="1050" kern="1200">
                          <a:solidFill>
                            <a:schemeClr val="bg1"/>
                          </a:solidFill>
                          <a:latin typeface="Calibri" panose="020F0502020204030204" pitchFamily="34" charset="0"/>
                          <a:ea typeface="+mn-ea"/>
                          <a:cs typeface="Calibri" panose="020F0502020204030204" pitchFamily="34" charset="0"/>
                        </a:rPr>
                        <a:t>112,019 professionals</a:t>
                      </a:r>
                    </a:p>
                  </a:txBody>
                  <a:tcPr marL="45696" marR="45696" marT="45696" marB="45696">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0"/>
                        </a:spcBef>
                        <a:buClr>
                          <a:schemeClr val="bg1"/>
                        </a:buClr>
                        <a:buSzPct val="100000"/>
                        <a:buFont typeface="EYInterstate" panose="02000503020000020004" pitchFamily="2" charset="0"/>
                        <a:buNone/>
                      </a:pPr>
                      <a:r>
                        <a:rPr lang="en-IN" sz="1050" kern="1200">
                          <a:solidFill>
                            <a:schemeClr val="bg1"/>
                          </a:solidFill>
                          <a:latin typeface="Calibri" panose="020F0502020204030204" pitchFamily="34" charset="0"/>
                          <a:ea typeface="+mn-ea"/>
                          <a:cs typeface="Calibri" panose="020F0502020204030204" pitchFamily="34" charset="0"/>
                        </a:rPr>
                        <a:t>71,231 professionals</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0"/>
                        </a:spcBef>
                        <a:buClr>
                          <a:schemeClr val="bg1"/>
                        </a:buClr>
                        <a:buSzPct val="100000"/>
                        <a:buFont typeface="EYInterstate" panose="02000503020000020004" pitchFamily="2" charset="0"/>
                        <a:buNone/>
                      </a:pPr>
                      <a:r>
                        <a:rPr lang="en-IN" sz="1050" kern="1200">
                          <a:solidFill>
                            <a:schemeClr val="bg1"/>
                          </a:solidFill>
                          <a:latin typeface="Calibri" panose="020F0502020204030204" pitchFamily="34" charset="0"/>
                          <a:ea typeface="+mn-ea"/>
                          <a:cs typeface="Calibri" panose="020F0502020204030204" pitchFamily="34" charset="0"/>
                        </a:rPr>
                        <a:t>109,571 professionals</a:t>
                      </a:r>
                    </a:p>
                  </a:txBody>
                  <a:tcPr marL="45696" marR="45696"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0"/>
                        </a:spcBef>
                        <a:buClr>
                          <a:schemeClr val="bg1"/>
                        </a:buClr>
                        <a:buSzPct val="100000"/>
                        <a:buFont typeface="EYInterstate" panose="02000503020000020004" pitchFamily="2" charset="0"/>
                        <a:buNone/>
                      </a:pPr>
                      <a:r>
                        <a:rPr lang="en-IN" sz="1050" kern="1200">
                          <a:solidFill>
                            <a:schemeClr val="bg1"/>
                          </a:solidFill>
                          <a:latin typeface="Calibri" panose="020F0502020204030204" pitchFamily="34" charset="0"/>
                          <a:ea typeface="+mn-ea"/>
                          <a:cs typeface="Calibri" panose="020F0502020204030204" pitchFamily="34" charset="0"/>
                        </a:rPr>
                        <a:t>24,355 professionals</a:t>
                      </a:r>
                    </a:p>
                  </a:txBody>
                  <a:tcPr marL="45696" marR="45696" marT="45696" marB="4569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28" name="Text Placeholder 7">
            <a:extLst>
              <a:ext uri="{FF2B5EF4-FFF2-40B4-BE49-F238E27FC236}">
                <a16:creationId xmlns:a16="http://schemas.microsoft.com/office/drawing/2014/main" id="{E56C3305-7660-4686-AD5C-44094ECC0CD0}"/>
              </a:ext>
            </a:extLst>
          </p:cNvPr>
          <p:cNvSpPr>
            <a:spLocks noGrp="1"/>
          </p:cNvSpPr>
          <p:nvPr>
            <p:ph type="body" sz="quarter" idx="10"/>
          </p:nvPr>
        </p:nvSpPr>
        <p:spPr>
          <a:xfrm>
            <a:off x="609600" y="647271"/>
            <a:ext cx="10974388" cy="523983"/>
          </a:xfrm>
        </p:spPr>
        <p:txBody>
          <a:bodyPr/>
          <a:lstStyle/>
          <a:p>
            <a:r>
              <a:rPr lang="en-IN" sz="2400">
                <a:solidFill>
                  <a:schemeClr val="bg1"/>
                </a:solidFill>
                <a:latin typeface="Calibri" panose="020F0502020204030204" pitchFamily="34" charset="0"/>
                <a:cs typeface="Calibri" panose="020F0502020204030204" pitchFamily="34" charset="0"/>
              </a:rPr>
              <a:t>B.1 – </a:t>
            </a:r>
            <a:r>
              <a:rPr lang="en-IE" sz="2400">
                <a:solidFill>
                  <a:schemeClr val="bg1"/>
                </a:solidFill>
                <a:latin typeface="Calibri" panose="020F0502020204030204" pitchFamily="34" charset="0"/>
                <a:cs typeface="Calibri" panose="020F0502020204030204" pitchFamily="34" charset="0"/>
              </a:rPr>
              <a:t>About EY</a:t>
            </a:r>
            <a:endParaRPr lang="en-IE">
              <a:latin typeface="Calibri" panose="020F0502020204030204" pitchFamily="34" charset="0"/>
              <a:cs typeface="Calibri" panose="020F0502020204030204" pitchFamily="34" charset="0"/>
            </a:endParaRPr>
          </a:p>
        </p:txBody>
      </p:sp>
      <p:sp>
        <p:nvSpPr>
          <p:cNvPr id="629" name="Textplatzhalter 10">
            <a:extLst>
              <a:ext uri="{FF2B5EF4-FFF2-40B4-BE49-F238E27FC236}">
                <a16:creationId xmlns:a16="http://schemas.microsoft.com/office/drawing/2014/main" id="{08887785-A9B5-4486-9EF4-9E426BAE17F8}"/>
              </a:ext>
            </a:extLst>
          </p:cNvPr>
          <p:cNvSpPr txBox="1">
            <a:spLocks/>
          </p:cNvSpPr>
          <p:nvPr/>
        </p:nvSpPr>
        <p:spPr bwMode="gray">
          <a:xfrm>
            <a:off x="609599" y="1344730"/>
            <a:ext cx="3130356" cy="201593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marR="0" indent="0" algn="l" defTabSz="914400" rtl="0" eaLnBrk="1" fontAlgn="base" latinLnBrk="0" hangingPunct="1">
              <a:lnSpc>
                <a:spcPct val="100000"/>
              </a:lnSpc>
              <a:spcBef>
                <a:spcPts val="0"/>
              </a:spcBef>
              <a:spcAft>
                <a:spcPts val="600"/>
              </a:spcAft>
              <a:buClr>
                <a:srgbClr val="FFE600"/>
              </a:buClr>
              <a:buSzPct val="80000"/>
              <a:buFont typeface="Arial" panose="020B0604020202020204" pitchFamily="34" charset="0"/>
              <a:buNone/>
              <a:tabLst/>
              <a:defRPr lang="en-US" sz="950" kern="1200" noProof="0" dirty="0" smtClean="0">
                <a:solidFill>
                  <a:schemeClr val="bg2"/>
                </a:solidFill>
                <a:latin typeface="+mn-lt"/>
                <a:ea typeface="+mn-ea"/>
                <a:cs typeface="+mn-cs"/>
              </a:defRPr>
            </a:lvl1pPr>
            <a:lvl2pPr marL="180781"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smtClean="0">
                <a:solidFill>
                  <a:schemeClr val="bg2"/>
                </a:solidFill>
                <a:latin typeface="+mn-lt"/>
                <a:ea typeface="+mn-ea"/>
                <a:cs typeface="+mn-cs"/>
              </a:defRPr>
            </a:lvl2pPr>
            <a:lvl3pPr marL="361565"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smtClean="0">
                <a:solidFill>
                  <a:schemeClr val="bg2"/>
                </a:solidFill>
                <a:latin typeface="+mn-lt"/>
                <a:ea typeface="+mn-ea"/>
                <a:cs typeface="+mn-cs"/>
              </a:defRPr>
            </a:lvl3pPr>
            <a:lvl4pPr marL="542342"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a:solidFill>
                  <a:schemeClr val="bg2"/>
                </a:solidFill>
                <a:latin typeface="+mn-lt"/>
                <a:ea typeface="+mn-ea"/>
                <a:cs typeface="+mn-cs"/>
              </a:defRPr>
            </a:lvl4pPr>
            <a:lvl5pPr marL="0" marR="0" indent="128588" algn="l" defTabSz="1042342" rtl="0" eaLnBrk="1" fontAlgn="base" latinLnBrk="0" hangingPunct="1">
              <a:lnSpc>
                <a:spcPct val="100000"/>
              </a:lnSpc>
              <a:spcBef>
                <a:spcPts val="0"/>
              </a:spcBef>
              <a:spcAft>
                <a:spcPts val="300"/>
              </a:spcAft>
              <a:buClr>
                <a:schemeClr val="accent2"/>
              </a:buClr>
              <a:buSzPct val="80000"/>
              <a:buFont typeface="Arial" panose="020B0604020202020204" pitchFamily="34" charset="0"/>
              <a:buChar char="►"/>
              <a:tabLst/>
              <a:defRPr lang="de-DE" sz="900" kern="1200" baseline="0" noProof="0">
                <a:solidFill>
                  <a:schemeClr val="tx1"/>
                </a:solidFill>
                <a:latin typeface="+mn-lt"/>
                <a:ea typeface="+mn-ea"/>
                <a:cs typeface="+mn-cs"/>
              </a:defRPr>
            </a:lvl5pPr>
            <a:lvl6pPr marL="128587" marR="0" indent="0" algn="l" defTabSz="1042342" rtl="0" eaLnBrk="1" fontAlgn="auto" latinLnBrk="0" hangingPunct="1">
              <a:lnSpc>
                <a:spcPct val="100000"/>
              </a:lnSpc>
              <a:spcBef>
                <a:spcPts val="0"/>
              </a:spcBef>
              <a:spcAft>
                <a:spcPts val="300"/>
              </a:spcAft>
              <a:buClr>
                <a:srgbClr val="C0C0C0"/>
              </a:buClr>
              <a:buSzPct val="80000"/>
              <a:buFont typeface="Arial" panose="020B0604020202020204" pitchFamily="34" charset="0"/>
              <a:buNone/>
              <a:tabLst/>
              <a:defRPr sz="900" kern="1200" baseline="0">
                <a:solidFill>
                  <a:schemeClr val="tx1"/>
                </a:solidFill>
                <a:latin typeface="+mn-lt"/>
                <a:ea typeface="+mn-ea"/>
                <a:cs typeface="+mn-cs"/>
              </a:defRPr>
            </a:lvl6pPr>
            <a:lvl7pPr marL="447675" indent="-1793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800" indent="-260588" algn="l" defTabSz="1042342" rtl="0" eaLnBrk="1" latinLnBrk="0" hangingPunct="1">
              <a:spcBef>
                <a:spcPct val="20000"/>
              </a:spcBef>
              <a:buFont typeface="Arial" pitchFamily="34" charset="0"/>
              <a:buChar char="•"/>
              <a:defRPr sz="900" kern="1200">
                <a:solidFill>
                  <a:schemeClr val="tx1"/>
                </a:solidFill>
                <a:latin typeface="+mn-lt"/>
                <a:ea typeface="+mn-ea"/>
                <a:cs typeface="+mn-cs"/>
              </a:defRPr>
            </a:lvl8pPr>
            <a:lvl9pPr marL="4429972" indent="-2605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just" defTabSz="914400" rtl="0" eaLnBrk="1" fontAlgn="base" latinLnBrk="0" hangingPunct="1">
              <a:lnSpc>
                <a:spcPct val="100000"/>
              </a:lnSpc>
              <a:spcBef>
                <a:spcPts val="0"/>
              </a:spcBef>
              <a:spcAft>
                <a:spcPts val="600"/>
              </a:spcAft>
              <a:buClr>
                <a:srgbClr val="FFE600"/>
              </a:buClr>
              <a:buSzPct val="80000"/>
              <a:buFont typeface="Arial" panose="020B0604020202020204" pitchFamily="34" charset="0"/>
              <a:buNone/>
              <a:tabLst/>
              <a:defRPr/>
            </a:pPr>
            <a:r>
              <a:rPr kumimoji="0" lang="en-IN" sz="11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Y worldwide — wherever you are</a:t>
            </a:r>
          </a:p>
          <a:p>
            <a:pPr lvl="0" algn="just">
              <a:defRPr/>
            </a:pP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EY is one of the world's largest accounting and advisory organisations with 3</a:t>
            </a:r>
            <a:r>
              <a:rPr kumimoji="0" lang="pl-PL"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65</a:t>
            </a: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a:t>
            </a:r>
            <a:r>
              <a:rPr kumimoji="0" lang="pl-PL"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399</a:t>
            </a: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 employees. Our employees in ca. 700 offices in </a:t>
            </a:r>
            <a:r>
              <a:rPr kumimoji="0" lang="en-IE"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50 </a:t>
            </a: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countries offer comprehensive professional expertise with globally uniform quality standards.</a:t>
            </a:r>
            <a:endParaRPr kumimoji="0" lang="en-IN" sz="11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a:p>
            <a:pPr lvl="0" algn="just">
              <a:defRPr/>
            </a:pPr>
            <a:br>
              <a:rPr kumimoji="0" lang="en-IN" sz="10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lang="en-IN" sz="1100" b="1">
                <a:solidFill>
                  <a:srgbClr val="000000"/>
                </a:solidFill>
                <a:latin typeface="Calibri" panose="020F0502020204030204" pitchFamily="34" charset="0"/>
                <a:cs typeface="Calibri" panose="020F0502020204030204" pitchFamily="34" charset="0"/>
              </a:rPr>
              <a:t>Our services — same high quality worldwide</a:t>
            </a:r>
          </a:p>
          <a:p>
            <a:pPr lvl="0" algn="just">
              <a:defRPr/>
            </a:pPr>
            <a:r>
              <a:rPr lang="en-IN" sz="1050">
                <a:solidFill>
                  <a:schemeClr val="bg1"/>
                </a:solidFill>
                <a:latin typeface="Calibri" panose="020F0502020204030204" pitchFamily="34" charset="0"/>
                <a:cs typeface="Calibri" panose="020F0502020204030204" pitchFamily="34" charset="0"/>
              </a:rPr>
              <a:t>We are a truly global partnership and we are committed to providing you with a truly seamless service in the following areas anywhere you may require it.</a:t>
            </a:r>
          </a:p>
        </p:txBody>
      </p:sp>
      <p:sp>
        <p:nvSpPr>
          <p:cNvPr id="630" name="Textplatzhalter 11">
            <a:extLst>
              <a:ext uri="{FF2B5EF4-FFF2-40B4-BE49-F238E27FC236}">
                <a16:creationId xmlns:a16="http://schemas.microsoft.com/office/drawing/2014/main" id="{701FEC38-DB70-4BA0-8ED6-E5BEC6DB842B}"/>
              </a:ext>
            </a:extLst>
          </p:cNvPr>
          <p:cNvSpPr txBox="1">
            <a:spLocks/>
          </p:cNvSpPr>
          <p:nvPr/>
        </p:nvSpPr>
        <p:spPr bwMode="gray">
          <a:xfrm>
            <a:off x="3982657" y="1344730"/>
            <a:ext cx="3858944" cy="20236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marR="0" indent="0" algn="l" defTabSz="914400" rtl="0" eaLnBrk="1" fontAlgn="base" latinLnBrk="0" hangingPunct="1">
              <a:lnSpc>
                <a:spcPct val="100000"/>
              </a:lnSpc>
              <a:spcBef>
                <a:spcPts val="0"/>
              </a:spcBef>
              <a:spcAft>
                <a:spcPts val="600"/>
              </a:spcAft>
              <a:buClr>
                <a:srgbClr val="FFE600"/>
              </a:buClr>
              <a:buSzPct val="80000"/>
              <a:buFont typeface="Arial" panose="020B0604020202020204" pitchFamily="34" charset="0"/>
              <a:buNone/>
              <a:tabLst/>
              <a:defRPr lang="en-US" sz="950" kern="1200" noProof="0" dirty="0" smtClean="0">
                <a:solidFill>
                  <a:schemeClr val="bg2"/>
                </a:solidFill>
                <a:latin typeface="+mn-lt"/>
                <a:ea typeface="+mn-ea"/>
                <a:cs typeface="+mn-cs"/>
              </a:defRPr>
            </a:lvl1pPr>
            <a:lvl2pPr marL="180781"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smtClean="0">
                <a:solidFill>
                  <a:schemeClr val="bg2"/>
                </a:solidFill>
                <a:latin typeface="+mn-lt"/>
                <a:ea typeface="+mn-ea"/>
                <a:cs typeface="+mn-cs"/>
              </a:defRPr>
            </a:lvl2pPr>
            <a:lvl3pPr marL="361565"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smtClean="0">
                <a:solidFill>
                  <a:schemeClr val="bg2"/>
                </a:solidFill>
                <a:latin typeface="+mn-lt"/>
                <a:ea typeface="+mn-ea"/>
                <a:cs typeface="+mn-cs"/>
              </a:defRPr>
            </a:lvl3pPr>
            <a:lvl4pPr marL="542342" marR="0" indent="-180781" algn="l" defTabSz="913424" rtl="0" eaLnBrk="1" fontAlgn="base" latinLnBrk="0" hangingPunct="1">
              <a:lnSpc>
                <a:spcPct val="100000"/>
              </a:lnSpc>
              <a:spcBef>
                <a:spcPts val="0"/>
              </a:spcBef>
              <a:spcAft>
                <a:spcPts val="600"/>
              </a:spcAft>
              <a:buClr>
                <a:srgbClr val="FFE600"/>
              </a:buClr>
              <a:buSzPct val="80000"/>
              <a:buFont typeface="Arial" charset="0"/>
              <a:buChar char="►"/>
              <a:tabLst/>
              <a:defRPr lang="en-US" sz="950" kern="1200" noProof="0" dirty="0">
                <a:solidFill>
                  <a:schemeClr val="bg2"/>
                </a:solidFill>
                <a:latin typeface="+mn-lt"/>
                <a:ea typeface="+mn-ea"/>
                <a:cs typeface="+mn-cs"/>
              </a:defRPr>
            </a:lvl4pPr>
            <a:lvl5pPr marL="0" marR="0" indent="128588" algn="l" defTabSz="1042342" rtl="0" eaLnBrk="1" fontAlgn="base" latinLnBrk="0" hangingPunct="1">
              <a:lnSpc>
                <a:spcPct val="100000"/>
              </a:lnSpc>
              <a:spcBef>
                <a:spcPts val="0"/>
              </a:spcBef>
              <a:spcAft>
                <a:spcPts val="300"/>
              </a:spcAft>
              <a:buClr>
                <a:schemeClr val="accent2"/>
              </a:buClr>
              <a:buSzPct val="80000"/>
              <a:buFont typeface="Arial" panose="020B0604020202020204" pitchFamily="34" charset="0"/>
              <a:buChar char="►"/>
              <a:tabLst/>
              <a:defRPr lang="de-DE" sz="900" kern="1200" baseline="0" noProof="0">
                <a:solidFill>
                  <a:schemeClr val="tx1"/>
                </a:solidFill>
                <a:latin typeface="+mn-lt"/>
                <a:ea typeface="+mn-ea"/>
                <a:cs typeface="+mn-cs"/>
              </a:defRPr>
            </a:lvl5pPr>
            <a:lvl6pPr marL="128587" marR="0" indent="0" algn="l" defTabSz="1042342" rtl="0" eaLnBrk="1" fontAlgn="auto" latinLnBrk="0" hangingPunct="1">
              <a:lnSpc>
                <a:spcPct val="100000"/>
              </a:lnSpc>
              <a:spcBef>
                <a:spcPts val="0"/>
              </a:spcBef>
              <a:spcAft>
                <a:spcPts val="300"/>
              </a:spcAft>
              <a:buClr>
                <a:srgbClr val="C0C0C0"/>
              </a:buClr>
              <a:buSzPct val="80000"/>
              <a:buFont typeface="Arial" panose="020B0604020202020204" pitchFamily="34" charset="0"/>
              <a:buNone/>
              <a:tabLst/>
              <a:defRPr sz="900" kern="1200" baseline="0">
                <a:solidFill>
                  <a:schemeClr val="tx1"/>
                </a:solidFill>
                <a:latin typeface="+mn-lt"/>
                <a:ea typeface="+mn-ea"/>
                <a:cs typeface="+mn-cs"/>
              </a:defRPr>
            </a:lvl6pPr>
            <a:lvl7pPr marL="447675" indent="-1793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800" indent="-260588" algn="l" defTabSz="1042342" rtl="0" eaLnBrk="1" latinLnBrk="0" hangingPunct="1">
              <a:spcBef>
                <a:spcPct val="20000"/>
              </a:spcBef>
              <a:buFont typeface="Arial" pitchFamily="34" charset="0"/>
              <a:buChar char="•"/>
              <a:defRPr sz="900" kern="1200">
                <a:solidFill>
                  <a:schemeClr val="tx1"/>
                </a:solidFill>
                <a:latin typeface="+mn-lt"/>
                <a:ea typeface="+mn-ea"/>
                <a:cs typeface="+mn-cs"/>
              </a:defRPr>
            </a:lvl8pPr>
            <a:lvl9pPr marL="4429972" indent="-2605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just" defTabSz="914400" rtl="0" eaLnBrk="1" fontAlgn="base" latinLnBrk="0" hangingPunct="1">
              <a:lnSpc>
                <a:spcPct val="100000"/>
              </a:lnSpc>
              <a:spcBef>
                <a:spcPts val="0"/>
              </a:spcBef>
              <a:spcAft>
                <a:spcPts val="600"/>
              </a:spcAft>
              <a:buClr>
                <a:srgbClr val="FFE600"/>
              </a:buClr>
              <a:buSzPct val="80000"/>
              <a:buFont typeface="Arial" panose="020B0604020202020204" pitchFamily="34" charset="0"/>
              <a:buNone/>
              <a:tabLst/>
              <a:defRPr/>
            </a:pPr>
            <a:r>
              <a:rPr kumimoji="0" lang="en-IN" sz="11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Most integrated and with global reach</a:t>
            </a:r>
          </a:p>
          <a:p>
            <a:pPr marL="0" marR="0" lvl="0" indent="0" algn="just" defTabSz="914400" rtl="0" eaLnBrk="1" fontAlgn="base" latinLnBrk="0" hangingPunct="1">
              <a:lnSpc>
                <a:spcPct val="100000"/>
              </a:lnSpc>
              <a:spcBef>
                <a:spcPts val="0"/>
              </a:spcBef>
              <a:spcAft>
                <a:spcPts val="600"/>
              </a:spcAft>
              <a:buClr>
                <a:srgbClr val="FFE600"/>
              </a:buClr>
              <a:buSzPct val="80000"/>
              <a:buFont typeface="Arial" panose="020B0604020202020204" pitchFamily="34" charset="0"/>
              <a:buNone/>
              <a:tabLst/>
              <a:defRPr/>
            </a:pP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Our management structure</a:t>
            </a:r>
            <a:r>
              <a:rPr lang="en-IN" sz="1050">
                <a:solidFill>
                  <a:schemeClr val="bg1"/>
                </a:solidFill>
                <a:latin typeface="Calibri" panose="020F0502020204030204" pitchFamily="34" charset="0"/>
                <a:cs typeface="Calibri" panose="020F0502020204030204" pitchFamily="34" charset="0"/>
              </a:rPr>
              <a:t> </a:t>
            </a: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makes us the most integrated professional services firm worldwide. It allows us to align our people and activities better to meet clients’ demands for a consistent service quality worldwide while respecting the legal and regulatory requirements in each country.</a:t>
            </a:r>
            <a:b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br>
            <a:r>
              <a:rPr kumimoji="0" lang="en-IN" sz="105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Another advantage of our integrated global structure is that we can better leverage our strengths. The engagement partners have ultimate authorization within the engagement team and hence have a unique global reach. We can move more swiftly to bring together the best teams to serve our accounts, drawing on all our expertise — across sectors, services and geographies.</a:t>
            </a:r>
          </a:p>
        </p:txBody>
      </p:sp>
      <p:grpSp>
        <p:nvGrpSpPr>
          <p:cNvPr id="642" name="Group 641">
            <a:extLst>
              <a:ext uri="{FF2B5EF4-FFF2-40B4-BE49-F238E27FC236}">
                <a16:creationId xmlns:a16="http://schemas.microsoft.com/office/drawing/2014/main" id="{20ACE0A5-C675-4A2E-A653-B1392682663D}"/>
              </a:ext>
            </a:extLst>
          </p:cNvPr>
          <p:cNvGrpSpPr/>
          <p:nvPr/>
        </p:nvGrpSpPr>
        <p:grpSpPr>
          <a:xfrm>
            <a:off x="8076670" y="1668644"/>
            <a:ext cx="3399074" cy="1482946"/>
            <a:chOff x="216639" y="2716842"/>
            <a:chExt cx="6002716" cy="3283626"/>
          </a:xfrm>
          <a:solidFill>
            <a:srgbClr val="C4C4CD"/>
          </a:solidFill>
        </p:grpSpPr>
        <p:sp>
          <p:nvSpPr>
            <p:cNvPr id="643" name="Freeform 5">
              <a:extLst>
                <a:ext uri="{FF2B5EF4-FFF2-40B4-BE49-F238E27FC236}">
                  <a16:creationId xmlns:a16="http://schemas.microsoft.com/office/drawing/2014/main" id="{1270E322-8EDD-4E86-A872-E1FE6A896269}"/>
                </a:ext>
              </a:extLst>
            </p:cNvPr>
            <p:cNvSpPr>
              <a:spLocks/>
            </p:cNvSpPr>
            <p:nvPr/>
          </p:nvSpPr>
          <p:spPr bwMode="auto">
            <a:xfrm>
              <a:off x="977984" y="3677588"/>
              <a:ext cx="10358" cy="20717"/>
            </a:xfrm>
            <a:custGeom>
              <a:avLst/>
              <a:gdLst/>
              <a:ahLst/>
              <a:cxnLst>
                <a:cxn ang="0">
                  <a:pos x="6" y="0"/>
                </a:cxn>
                <a:cxn ang="0">
                  <a:pos x="6" y="0"/>
                </a:cxn>
                <a:cxn ang="0">
                  <a:pos x="6" y="2"/>
                </a:cxn>
                <a:cxn ang="0">
                  <a:pos x="8" y="4"/>
                </a:cxn>
                <a:cxn ang="0">
                  <a:pos x="4" y="8"/>
                </a:cxn>
                <a:cxn ang="0">
                  <a:pos x="4" y="16"/>
                </a:cxn>
                <a:cxn ang="0">
                  <a:pos x="2" y="14"/>
                </a:cxn>
                <a:cxn ang="0">
                  <a:pos x="2" y="12"/>
                </a:cxn>
                <a:cxn ang="0">
                  <a:pos x="0" y="8"/>
                </a:cxn>
                <a:cxn ang="0">
                  <a:pos x="0" y="6"/>
                </a:cxn>
                <a:cxn ang="0">
                  <a:pos x="2" y="4"/>
                </a:cxn>
                <a:cxn ang="0">
                  <a:pos x="2" y="6"/>
                </a:cxn>
                <a:cxn ang="0">
                  <a:pos x="4" y="4"/>
                </a:cxn>
                <a:cxn ang="0">
                  <a:pos x="2" y="2"/>
                </a:cxn>
                <a:cxn ang="0">
                  <a:pos x="4" y="2"/>
                </a:cxn>
                <a:cxn ang="0">
                  <a:pos x="6" y="0"/>
                </a:cxn>
                <a:cxn ang="0">
                  <a:pos x="6" y="0"/>
                </a:cxn>
              </a:cxnLst>
              <a:rect l="0" t="0" r="r" b="b"/>
              <a:pathLst>
                <a:path w="8" h="16">
                  <a:moveTo>
                    <a:pt x="6" y="0"/>
                  </a:moveTo>
                  <a:lnTo>
                    <a:pt x="6" y="0"/>
                  </a:lnTo>
                  <a:lnTo>
                    <a:pt x="6" y="2"/>
                  </a:lnTo>
                  <a:lnTo>
                    <a:pt x="8" y="4"/>
                  </a:lnTo>
                  <a:lnTo>
                    <a:pt x="4" y="8"/>
                  </a:lnTo>
                  <a:lnTo>
                    <a:pt x="4" y="16"/>
                  </a:lnTo>
                  <a:lnTo>
                    <a:pt x="2" y="14"/>
                  </a:lnTo>
                  <a:lnTo>
                    <a:pt x="2" y="12"/>
                  </a:lnTo>
                  <a:lnTo>
                    <a:pt x="0" y="8"/>
                  </a:lnTo>
                  <a:lnTo>
                    <a:pt x="0" y="6"/>
                  </a:lnTo>
                  <a:lnTo>
                    <a:pt x="2" y="4"/>
                  </a:lnTo>
                  <a:lnTo>
                    <a:pt x="2" y="6"/>
                  </a:lnTo>
                  <a:lnTo>
                    <a:pt x="4" y="4"/>
                  </a:lnTo>
                  <a:lnTo>
                    <a:pt x="2" y="2"/>
                  </a:lnTo>
                  <a:lnTo>
                    <a:pt x="4" y="2"/>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4" name="Freeform 6">
              <a:extLst>
                <a:ext uri="{FF2B5EF4-FFF2-40B4-BE49-F238E27FC236}">
                  <a16:creationId xmlns:a16="http://schemas.microsoft.com/office/drawing/2014/main" id="{68044398-8EB1-4FFB-9F3D-ABE2C5E21A47}"/>
                </a:ext>
              </a:extLst>
            </p:cNvPr>
            <p:cNvSpPr>
              <a:spLocks/>
            </p:cNvSpPr>
            <p:nvPr/>
          </p:nvSpPr>
          <p:spPr bwMode="auto">
            <a:xfrm>
              <a:off x="977984" y="3677588"/>
              <a:ext cx="10358" cy="20717"/>
            </a:xfrm>
            <a:custGeom>
              <a:avLst/>
              <a:gdLst/>
              <a:ahLst/>
              <a:cxnLst>
                <a:cxn ang="0">
                  <a:pos x="6" y="0"/>
                </a:cxn>
                <a:cxn ang="0">
                  <a:pos x="6" y="0"/>
                </a:cxn>
                <a:cxn ang="0">
                  <a:pos x="6" y="2"/>
                </a:cxn>
                <a:cxn ang="0">
                  <a:pos x="8" y="4"/>
                </a:cxn>
                <a:cxn ang="0">
                  <a:pos x="4" y="8"/>
                </a:cxn>
                <a:cxn ang="0">
                  <a:pos x="4" y="16"/>
                </a:cxn>
                <a:cxn ang="0">
                  <a:pos x="2" y="14"/>
                </a:cxn>
                <a:cxn ang="0">
                  <a:pos x="2" y="12"/>
                </a:cxn>
                <a:cxn ang="0">
                  <a:pos x="0" y="8"/>
                </a:cxn>
                <a:cxn ang="0">
                  <a:pos x="0" y="6"/>
                </a:cxn>
                <a:cxn ang="0">
                  <a:pos x="2" y="4"/>
                </a:cxn>
                <a:cxn ang="0">
                  <a:pos x="2" y="6"/>
                </a:cxn>
                <a:cxn ang="0">
                  <a:pos x="4" y="4"/>
                </a:cxn>
                <a:cxn ang="0">
                  <a:pos x="2" y="2"/>
                </a:cxn>
                <a:cxn ang="0">
                  <a:pos x="4" y="2"/>
                </a:cxn>
                <a:cxn ang="0">
                  <a:pos x="6" y="0"/>
                </a:cxn>
                <a:cxn ang="0">
                  <a:pos x="6" y="0"/>
                </a:cxn>
              </a:cxnLst>
              <a:rect l="0" t="0" r="r" b="b"/>
              <a:pathLst>
                <a:path w="8" h="16">
                  <a:moveTo>
                    <a:pt x="6" y="0"/>
                  </a:moveTo>
                  <a:lnTo>
                    <a:pt x="6" y="0"/>
                  </a:lnTo>
                  <a:lnTo>
                    <a:pt x="6" y="2"/>
                  </a:lnTo>
                  <a:lnTo>
                    <a:pt x="8" y="4"/>
                  </a:lnTo>
                  <a:lnTo>
                    <a:pt x="4" y="8"/>
                  </a:lnTo>
                  <a:lnTo>
                    <a:pt x="4" y="16"/>
                  </a:lnTo>
                  <a:lnTo>
                    <a:pt x="2" y="14"/>
                  </a:lnTo>
                  <a:lnTo>
                    <a:pt x="2" y="12"/>
                  </a:lnTo>
                  <a:lnTo>
                    <a:pt x="0" y="8"/>
                  </a:lnTo>
                  <a:lnTo>
                    <a:pt x="0" y="6"/>
                  </a:lnTo>
                  <a:lnTo>
                    <a:pt x="2" y="4"/>
                  </a:lnTo>
                  <a:lnTo>
                    <a:pt x="2" y="6"/>
                  </a:lnTo>
                  <a:lnTo>
                    <a:pt x="4" y="4"/>
                  </a:lnTo>
                  <a:lnTo>
                    <a:pt x="2" y="2"/>
                  </a:lnTo>
                  <a:lnTo>
                    <a:pt x="4" y="2"/>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5" name="Freeform 7">
              <a:extLst>
                <a:ext uri="{FF2B5EF4-FFF2-40B4-BE49-F238E27FC236}">
                  <a16:creationId xmlns:a16="http://schemas.microsoft.com/office/drawing/2014/main" id="{E29A78DF-C417-4D0A-A7CC-9E13823468A3}"/>
                </a:ext>
              </a:extLst>
            </p:cNvPr>
            <p:cNvSpPr>
              <a:spLocks/>
            </p:cNvSpPr>
            <p:nvPr/>
          </p:nvSpPr>
          <p:spPr bwMode="auto">
            <a:xfrm>
              <a:off x="972805" y="3703484"/>
              <a:ext cx="7769" cy="10358"/>
            </a:xfrm>
            <a:custGeom>
              <a:avLst/>
              <a:gdLst/>
              <a:ahLst/>
              <a:cxnLst>
                <a:cxn ang="0">
                  <a:pos x="6" y="0"/>
                </a:cxn>
                <a:cxn ang="0">
                  <a:pos x="6" y="0"/>
                </a:cxn>
                <a:cxn ang="0">
                  <a:pos x="6" y="2"/>
                </a:cxn>
                <a:cxn ang="0">
                  <a:pos x="2" y="4"/>
                </a:cxn>
                <a:cxn ang="0">
                  <a:pos x="2" y="8"/>
                </a:cxn>
                <a:cxn ang="0">
                  <a:pos x="0" y="6"/>
                </a:cxn>
                <a:cxn ang="0">
                  <a:pos x="0" y="4"/>
                </a:cxn>
                <a:cxn ang="0">
                  <a:pos x="6" y="0"/>
                </a:cxn>
                <a:cxn ang="0">
                  <a:pos x="6" y="0"/>
                </a:cxn>
              </a:cxnLst>
              <a:rect l="0" t="0" r="r" b="b"/>
              <a:pathLst>
                <a:path w="6" h="8">
                  <a:moveTo>
                    <a:pt x="6" y="0"/>
                  </a:moveTo>
                  <a:lnTo>
                    <a:pt x="6" y="0"/>
                  </a:lnTo>
                  <a:lnTo>
                    <a:pt x="6" y="2"/>
                  </a:lnTo>
                  <a:lnTo>
                    <a:pt x="2" y="4"/>
                  </a:lnTo>
                  <a:lnTo>
                    <a:pt x="2" y="8"/>
                  </a:lnTo>
                  <a:lnTo>
                    <a:pt x="0" y="6"/>
                  </a:lnTo>
                  <a:lnTo>
                    <a:pt x="0" y="4"/>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6" name="Freeform 8">
              <a:extLst>
                <a:ext uri="{FF2B5EF4-FFF2-40B4-BE49-F238E27FC236}">
                  <a16:creationId xmlns:a16="http://schemas.microsoft.com/office/drawing/2014/main" id="{E6BBB50D-0F72-42FF-A9B5-8D555CDA4932}"/>
                </a:ext>
              </a:extLst>
            </p:cNvPr>
            <p:cNvSpPr>
              <a:spLocks/>
            </p:cNvSpPr>
            <p:nvPr/>
          </p:nvSpPr>
          <p:spPr bwMode="auto">
            <a:xfrm>
              <a:off x="972805" y="3703484"/>
              <a:ext cx="7769" cy="10358"/>
            </a:xfrm>
            <a:custGeom>
              <a:avLst/>
              <a:gdLst/>
              <a:ahLst/>
              <a:cxnLst>
                <a:cxn ang="0">
                  <a:pos x="6" y="0"/>
                </a:cxn>
                <a:cxn ang="0">
                  <a:pos x="6" y="0"/>
                </a:cxn>
                <a:cxn ang="0">
                  <a:pos x="6" y="2"/>
                </a:cxn>
                <a:cxn ang="0">
                  <a:pos x="2" y="4"/>
                </a:cxn>
                <a:cxn ang="0">
                  <a:pos x="2" y="8"/>
                </a:cxn>
                <a:cxn ang="0">
                  <a:pos x="0" y="6"/>
                </a:cxn>
                <a:cxn ang="0">
                  <a:pos x="0" y="4"/>
                </a:cxn>
                <a:cxn ang="0">
                  <a:pos x="6" y="0"/>
                </a:cxn>
                <a:cxn ang="0">
                  <a:pos x="6" y="0"/>
                </a:cxn>
              </a:cxnLst>
              <a:rect l="0" t="0" r="r" b="b"/>
              <a:pathLst>
                <a:path w="6" h="8">
                  <a:moveTo>
                    <a:pt x="6" y="0"/>
                  </a:moveTo>
                  <a:lnTo>
                    <a:pt x="6" y="0"/>
                  </a:lnTo>
                  <a:lnTo>
                    <a:pt x="6" y="2"/>
                  </a:lnTo>
                  <a:lnTo>
                    <a:pt x="2" y="4"/>
                  </a:lnTo>
                  <a:lnTo>
                    <a:pt x="2" y="8"/>
                  </a:lnTo>
                  <a:lnTo>
                    <a:pt x="0" y="6"/>
                  </a:lnTo>
                  <a:lnTo>
                    <a:pt x="0" y="4"/>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7" name="Freeform 9">
              <a:extLst>
                <a:ext uri="{FF2B5EF4-FFF2-40B4-BE49-F238E27FC236}">
                  <a16:creationId xmlns:a16="http://schemas.microsoft.com/office/drawing/2014/main" id="{20CB2F9C-9E71-4E6E-BB50-4B42327FE52A}"/>
                </a:ext>
              </a:extLst>
            </p:cNvPr>
            <p:cNvSpPr>
              <a:spLocks/>
            </p:cNvSpPr>
            <p:nvPr/>
          </p:nvSpPr>
          <p:spPr bwMode="auto">
            <a:xfrm>
              <a:off x="843325" y="3097515"/>
              <a:ext cx="1295" cy="2590"/>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8" name="Freeform 10">
              <a:extLst>
                <a:ext uri="{FF2B5EF4-FFF2-40B4-BE49-F238E27FC236}">
                  <a16:creationId xmlns:a16="http://schemas.microsoft.com/office/drawing/2014/main" id="{88B8076E-2732-468E-92AC-1D7CF4D1E541}"/>
                </a:ext>
              </a:extLst>
            </p:cNvPr>
            <p:cNvSpPr>
              <a:spLocks/>
            </p:cNvSpPr>
            <p:nvPr/>
          </p:nvSpPr>
          <p:spPr bwMode="auto">
            <a:xfrm>
              <a:off x="876990" y="3545518"/>
              <a:ext cx="1295" cy="2590"/>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49" name="Freeform 11">
              <a:extLst>
                <a:ext uri="{FF2B5EF4-FFF2-40B4-BE49-F238E27FC236}">
                  <a16:creationId xmlns:a16="http://schemas.microsoft.com/office/drawing/2014/main" id="{5DF40DEA-D0CF-4CD4-B9CE-975AC343454B}"/>
                </a:ext>
              </a:extLst>
            </p:cNvPr>
            <p:cNvSpPr>
              <a:spLocks/>
            </p:cNvSpPr>
            <p:nvPr/>
          </p:nvSpPr>
          <p:spPr bwMode="auto">
            <a:xfrm>
              <a:off x="858862" y="3509263"/>
              <a:ext cx="1295" cy="2590"/>
            </a:xfrm>
            <a:custGeom>
              <a:avLst/>
              <a:gdLst/>
              <a:ahLst/>
              <a:cxnLst>
                <a:cxn ang="0">
                  <a:pos x="0" y="0"/>
                </a:cxn>
                <a:cxn ang="0">
                  <a:pos x="0" y="2"/>
                </a:cxn>
                <a:cxn ang="0">
                  <a:pos x="0" y="2"/>
                </a:cxn>
                <a:cxn ang="0">
                  <a:pos x="0" y="0"/>
                </a:cxn>
                <a:cxn ang="0">
                  <a:pos x="0" y="0"/>
                </a:cxn>
                <a:cxn ang="0">
                  <a:pos x="0" y="0"/>
                </a:cxn>
              </a:cxnLst>
              <a:rect l="0" t="0" r="r" b="b"/>
              <a:pathLst>
                <a:path h="2">
                  <a:moveTo>
                    <a:pt x="0" y="0"/>
                  </a:moveTo>
                  <a:lnTo>
                    <a:pt x="0" y="2"/>
                  </a:lnTo>
                  <a:lnTo>
                    <a:pt x="0" y="2"/>
                  </a:lnTo>
                  <a:lnTo>
                    <a:pt x="0"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0" name="Rectangle 12">
              <a:extLst>
                <a:ext uri="{FF2B5EF4-FFF2-40B4-BE49-F238E27FC236}">
                  <a16:creationId xmlns:a16="http://schemas.microsoft.com/office/drawing/2014/main" id="{0EE212DA-99B1-4742-8E4C-21DDFA34A079}"/>
                </a:ext>
              </a:extLst>
            </p:cNvPr>
            <p:cNvSpPr>
              <a:spLocks noChangeArrowheads="1"/>
            </p:cNvSpPr>
            <p:nvPr/>
          </p:nvSpPr>
          <p:spPr bwMode="auto">
            <a:xfrm>
              <a:off x="858862" y="3509263"/>
              <a:ext cx="1295" cy="2590"/>
            </a:xfrm>
            <a:prstGeom prst="rect">
              <a:avLst/>
            </a:prstGeom>
            <a:grpFill/>
            <a:ln w="6350">
              <a:noFill/>
              <a:prstDash val="solid"/>
              <a:miter lim="800000"/>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1" name="Freeform 13">
              <a:extLst>
                <a:ext uri="{FF2B5EF4-FFF2-40B4-BE49-F238E27FC236}">
                  <a16:creationId xmlns:a16="http://schemas.microsoft.com/office/drawing/2014/main" id="{6F3F6635-CDE2-443B-9686-2EB72F6CCDC4}"/>
                </a:ext>
              </a:extLst>
            </p:cNvPr>
            <p:cNvSpPr>
              <a:spLocks/>
            </p:cNvSpPr>
            <p:nvPr/>
          </p:nvSpPr>
          <p:spPr bwMode="auto">
            <a:xfrm>
              <a:off x="801891" y="3537749"/>
              <a:ext cx="23306" cy="25896"/>
            </a:xfrm>
            <a:custGeom>
              <a:avLst/>
              <a:gdLst/>
              <a:ahLst/>
              <a:cxnLst>
                <a:cxn ang="0">
                  <a:pos x="14" y="14"/>
                </a:cxn>
                <a:cxn ang="0">
                  <a:pos x="14" y="14"/>
                </a:cxn>
                <a:cxn ang="0">
                  <a:pos x="14" y="12"/>
                </a:cxn>
                <a:cxn ang="0">
                  <a:pos x="14" y="8"/>
                </a:cxn>
                <a:cxn ang="0">
                  <a:pos x="18" y="0"/>
                </a:cxn>
                <a:cxn ang="0">
                  <a:pos x="8" y="2"/>
                </a:cxn>
                <a:cxn ang="0">
                  <a:pos x="4" y="2"/>
                </a:cxn>
                <a:cxn ang="0">
                  <a:pos x="0" y="0"/>
                </a:cxn>
                <a:cxn ang="0">
                  <a:pos x="2" y="10"/>
                </a:cxn>
                <a:cxn ang="0">
                  <a:pos x="2" y="12"/>
                </a:cxn>
                <a:cxn ang="0">
                  <a:pos x="2" y="14"/>
                </a:cxn>
                <a:cxn ang="0">
                  <a:pos x="4" y="14"/>
                </a:cxn>
                <a:cxn ang="0">
                  <a:pos x="4" y="16"/>
                </a:cxn>
                <a:cxn ang="0">
                  <a:pos x="4" y="20"/>
                </a:cxn>
                <a:cxn ang="0">
                  <a:pos x="8" y="18"/>
                </a:cxn>
                <a:cxn ang="0">
                  <a:pos x="10" y="18"/>
                </a:cxn>
                <a:cxn ang="0">
                  <a:pos x="14" y="14"/>
                </a:cxn>
              </a:cxnLst>
              <a:rect l="0" t="0" r="r" b="b"/>
              <a:pathLst>
                <a:path w="18" h="20">
                  <a:moveTo>
                    <a:pt x="14" y="14"/>
                  </a:moveTo>
                  <a:lnTo>
                    <a:pt x="14" y="14"/>
                  </a:lnTo>
                  <a:lnTo>
                    <a:pt x="14" y="12"/>
                  </a:lnTo>
                  <a:lnTo>
                    <a:pt x="14" y="8"/>
                  </a:lnTo>
                  <a:lnTo>
                    <a:pt x="18" y="0"/>
                  </a:lnTo>
                  <a:lnTo>
                    <a:pt x="8" y="2"/>
                  </a:lnTo>
                  <a:lnTo>
                    <a:pt x="4" y="2"/>
                  </a:lnTo>
                  <a:lnTo>
                    <a:pt x="0" y="0"/>
                  </a:lnTo>
                  <a:lnTo>
                    <a:pt x="2" y="10"/>
                  </a:lnTo>
                  <a:lnTo>
                    <a:pt x="2" y="12"/>
                  </a:lnTo>
                  <a:lnTo>
                    <a:pt x="2" y="14"/>
                  </a:lnTo>
                  <a:lnTo>
                    <a:pt x="4" y="14"/>
                  </a:lnTo>
                  <a:lnTo>
                    <a:pt x="4" y="16"/>
                  </a:lnTo>
                  <a:lnTo>
                    <a:pt x="4" y="20"/>
                  </a:lnTo>
                  <a:lnTo>
                    <a:pt x="8" y="18"/>
                  </a:lnTo>
                  <a:lnTo>
                    <a:pt x="10" y="18"/>
                  </a:lnTo>
                  <a:lnTo>
                    <a:pt x="14" y="14"/>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2" name="Freeform 14">
              <a:extLst>
                <a:ext uri="{FF2B5EF4-FFF2-40B4-BE49-F238E27FC236}">
                  <a16:creationId xmlns:a16="http://schemas.microsoft.com/office/drawing/2014/main" id="{32ADD4B8-0B24-42D1-AEC2-4A51C567FA84}"/>
                </a:ext>
              </a:extLst>
            </p:cNvPr>
            <p:cNvSpPr>
              <a:spLocks/>
            </p:cNvSpPr>
            <p:nvPr/>
          </p:nvSpPr>
          <p:spPr bwMode="auto">
            <a:xfrm>
              <a:off x="801891" y="3537749"/>
              <a:ext cx="23306" cy="25896"/>
            </a:xfrm>
            <a:custGeom>
              <a:avLst/>
              <a:gdLst/>
              <a:ahLst/>
              <a:cxnLst>
                <a:cxn ang="0">
                  <a:pos x="14" y="14"/>
                </a:cxn>
                <a:cxn ang="0">
                  <a:pos x="14" y="14"/>
                </a:cxn>
                <a:cxn ang="0">
                  <a:pos x="14" y="12"/>
                </a:cxn>
                <a:cxn ang="0">
                  <a:pos x="14" y="8"/>
                </a:cxn>
                <a:cxn ang="0">
                  <a:pos x="18" y="0"/>
                </a:cxn>
                <a:cxn ang="0">
                  <a:pos x="8" y="2"/>
                </a:cxn>
                <a:cxn ang="0">
                  <a:pos x="4" y="2"/>
                </a:cxn>
                <a:cxn ang="0">
                  <a:pos x="0" y="0"/>
                </a:cxn>
                <a:cxn ang="0">
                  <a:pos x="2" y="10"/>
                </a:cxn>
                <a:cxn ang="0">
                  <a:pos x="2" y="12"/>
                </a:cxn>
                <a:cxn ang="0">
                  <a:pos x="2" y="14"/>
                </a:cxn>
                <a:cxn ang="0">
                  <a:pos x="4" y="14"/>
                </a:cxn>
                <a:cxn ang="0">
                  <a:pos x="4" y="16"/>
                </a:cxn>
                <a:cxn ang="0">
                  <a:pos x="4" y="20"/>
                </a:cxn>
                <a:cxn ang="0">
                  <a:pos x="8" y="18"/>
                </a:cxn>
                <a:cxn ang="0">
                  <a:pos x="10" y="18"/>
                </a:cxn>
                <a:cxn ang="0">
                  <a:pos x="14" y="14"/>
                </a:cxn>
              </a:cxnLst>
              <a:rect l="0" t="0" r="r" b="b"/>
              <a:pathLst>
                <a:path w="18" h="20">
                  <a:moveTo>
                    <a:pt x="14" y="14"/>
                  </a:moveTo>
                  <a:lnTo>
                    <a:pt x="14" y="14"/>
                  </a:lnTo>
                  <a:lnTo>
                    <a:pt x="14" y="12"/>
                  </a:lnTo>
                  <a:lnTo>
                    <a:pt x="14" y="8"/>
                  </a:lnTo>
                  <a:lnTo>
                    <a:pt x="18" y="0"/>
                  </a:lnTo>
                  <a:lnTo>
                    <a:pt x="8" y="2"/>
                  </a:lnTo>
                  <a:lnTo>
                    <a:pt x="4" y="2"/>
                  </a:lnTo>
                  <a:lnTo>
                    <a:pt x="0" y="0"/>
                  </a:lnTo>
                  <a:lnTo>
                    <a:pt x="2" y="10"/>
                  </a:lnTo>
                  <a:lnTo>
                    <a:pt x="2" y="12"/>
                  </a:lnTo>
                  <a:lnTo>
                    <a:pt x="2" y="14"/>
                  </a:lnTo>
                  <a:lnTo>
                    <a:pt x="4" y="14"/>
                  </a:lnTo>
                  <a:lnTo>
                    <a:pt x="4" y="16"/>
                  </a:lnTo>
                  <a:lnTo>
                    <a:pt x="4" y="20"/>
                  </a:lnTo>
                  <a:lnTo>
                    <a:pt x="8" y="18"/>
                  </a:lnTo>
                  <a:lnTo>
                    <a:pt x="10" y="18"/>
                  </a:lnTo>
                  <a:lnTo>
                    <a:pt x="14" y="14"/>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3" name="Freeform 15">
              <a:extLst>
                <a:ext uri="{FF2B5EF4-FFF2-40B4-BE49-F238E27FC236}">
                  <a16:creationId xmlns:a16="http://schemas.microsoft.com/office/drawing/2014/main" id="{ED97B6EA-534B-4A81-A63D-C9EFA460E042}"/>
                </a:ext>
              </a:extLst>
            </p:cNvPr>
            <p:cNvSpPr>
              <a:spLocks/>
            </p:cNvSpPr>
            <p:nvPr/>
          </p:nvSpPr>
          <p:spPr bwMode="auto">
            <a:xfrm>
              <a:off x="814839" y="3558466"/>
              <a:ext cx="18127" cy="28486"/>
            </a:xfrm>
            <a:custGeom>
              <a:avLst/>
              <a:gdLst/>
              <a:ahLst/>
              <a:cxnLst>
                <a:cxn ang="0">
                  <a:pos x="10" y="12"/>
                </a:cxn>
                <a:cxn ang="0">
                  <a:pos x="10" y="12"/>
                </a:cxn>
                <a:cxn ang="0">
                  <a:pos x="12" y="8"/>
                </a:cxn>
                <a:cxn ang="0">
                  <a:pos x="12" y="6"/>
                </a:cxn>
                <a:cxn ang="0">
                  <a:pos x="8" y="6"/>
                </a:cxn>
                <a:cxn ang="0">
                  <a:pos x="10" y="4"/>
                </a:cxn>
                <a:cxn ang="0">
                  <a:pos x="10" y="2"/>
                </a:cxn>
                <a:cxn ang="0">
                  <a:pos x="8" y="0"/>
                </a:cxn>
                <a:cxn ang="0">
                  <a:pos x="6" y="0"/>
                </a:cxn>
                <a:cxn ang="0">
                  <a:pos x="0" y="4"/>
                </a:cxn>
                <a:cxn ang="0">
                  <a:pos x="0" y="6"/>
                </a:cxn>
                <a:cxn ang="0">
                  <a:pos x="2" y="6"/>
                </a:cxn>
                <a:cxn ang="0">
                  <a:pos x="2" y="8"/>
                </a:cxn>
                <a:cxn ang="0">
                  <a:pos x="0" y="6"/>
                </a:cxn>
                <a:cxn ang="0">
                  <a:pos x="0" y="8"/>
                </a:cxn>
                <a:cxn ang="0">
                  <a:pos x="2" y="14"/>
                </a:cxn>
                <a:cxn ang="0">
                  <a:pos x="6" y="18"/>
                </a:cxn>
                <a:cxn ang="0">
                  <a:pos x="14" y="22"/>
                </a:cxn>
                <a:cxn ang="0">
                  <a:pos x="14" y="20"/>
                </a:cxn>
                <a:cxn ang="0">
                  <a:pos x="12" y="16"/>
                </a:cxn>
                <a:cxn ang="0">
                  <a:pos x="10" y="16"/>
                </a:cxn>
                <a:cxn ang="0">
                  <a:pos x="14" y="14"/>
                </a:cxn>
                <a:cxn ang="0">
                  <a:pos x="10" y="12"/>
                </a:cxn>
              </a:cxnLst>
              <a:rect l="0" t="0" r="r" b="b"/>
              <a:pathLst>
                <a:path w="14" h="22">
                  <a:moveTo>
                    <a:pt x="10" y="12"/>
                  </a:moveTo>
                  <a:lnTo>
                    <a:pt x="10" y="12"/>
                  </a:lnTo>
                  <a:lnTo>
                    <a:pt x="12" y="8"/>
                  </a:lnTo>
                  <a:lnTo>
                    <a:pt x="12" y="6"/>
                  </a:lnTo>
                  <a:lnTo>
                    <a:pt x="8" y="6"/>
                  </a:lnTo>
                  <a:lnTo>
                    <a:pt x="10" y="4"/>
                  </a:lnTo>
                  <a:lnTo>
                    <a:pt x="10" y="2"/>
                  </a:lnTo>
                  <a:lnTo>
                    <a:pt x="8" y="0"/>
                  </a:lnTo>
                  <a:lnTo>
                    <a:pt x="6" y="0"/>
                  </a:lnTo>
                  <a:lnTo>
                    <a:pt x="0" y="4"/>
                  </a:lnTo>
                  <a:lnTo>
                    <a:pt x="0" y="6"/>
                  </a:lnTo>
                  <a:lnTo>
                    <a:pt x="2" y="6"/>
                  </a:lnTo>
                  <a:lnTo>
                    <a:pt x="2" y="8"/>
                  </a:lnTo>
                  <a:lnTo>
                    <a:pt x="0" y="6"/>
                  </a:lnTo>
                  <a:lnTo>
                    <a:pt x="0" y="8"/>
                  </a:lnTo>
                  <a:lnTo>
                    <a:pt x="2" y="14"/>
                  </a:lnTo>
                  <a:lnTo>
                    <a:pt x="6" y="18"/>
                  </a:lnTo>
                  <a:lnTo>
                    <a:pt x="14" y="22"/>
                  </a:lnTo>
                  <a:lnTo>
                    <a:pt x="14" y="20"/>
                  </a:lnTo>
                  <a:lnTo>
                    <a:pt x="12" y="16"/>
                  </a:lnTo>
                  <a:lnTo>
                    <a:pt x="10" y="16"/>
                  </a:lnTo>
                  <a:lnTo>
                    <a:pt x="14" y="14"/>
                  </a:lnTo>
                  <a:lnTo>
                    <a:pt x="10" y="1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4" name="Freeform 16">
              <a:extLst>
                <a:ext uri="{FF2B5EF4-FFF2-40B4-BE49-F238E27FC236}">
                  <a16:creationId xmlns:a16="http://schemas.microsoft.com/office/drawing/2014/main" id="{D6008FAA-AE90-4B68-91E2-1FF1EE885417}"/>
                </a:ext>
              </a:extLst>
            </p:cNvPr>
            <p:cNvSpPr>
              <a:spLocks/>
            </p:cNvSpPr>
            <p:nvPr/>
          </p:nvSpPr>
          <p:spPr bwMode="auto">
            <a:xfrm>
              <a:off x="814839" y="3558466"/>
              <a:ext cx="18127" cy="28486"/>
            </a:xfrm>
            <a:custGeom>
              <a:avLst/>
              <a:gdLst/>
              <a:ahLst/>
              <a:cxnLst>
                <a:cxn ang="0">
                  <a:pos x="10" y="12"/>
                </a:cxn>
                <a:cxn ang="0">
                  <a:pos x="10" y="12"/>
                </a:cxn>
                <a:cxn ang="0">
                  <a:pos x="12" y="8"/>
                </a:cxn>
                <a:cxn ang="0">
                  <a:pos x="12" y="6"/>
                </a:cxn>
                <a:cxn ang="0">
                  <a:pos x="8" y="6"/>
                </a:cxn>
                <a:cxn ang="0">
                  <a:pos x="10" y="4"/>
                </a:cxn>
                <a:cxn ang="0">
                  <a:pos x="10" y="2"/>
                </a:cxn>
                <a:cxn ang="0">
                  <a:pos x="8" y="0"/>
                </a:cxn>
                <a:cxn ang="0">
                  <a:pos x="6" y="0"/>
                </a:cxn>
                <a:cxn ang="0">
                  <a:pos x="0" y="4"/>
                </a:cxn>
                <a:cxn ang="0">
                  <a:pos x="0" y="6"/>
                </a:cxn>
                <a:cxn ang="0">
                  <a:pos x="2" y="6"/>
                </a:cxn>
                <a:cxn ang="0">
                  <a:pos x="2" y="8"/>
                </a:cxn>
                <a:cxn ang="0">
                  <a:pos x="0" y="6"/>
                </a:cxn>
                <a:cxn ang="0">
                  <a:pos x="0" y="8"/>
                </a:cxn>
                <a:cxn ang="0">
                  <a:pos x="2" y="14"/>
                </a:cxn>
                <a:cxn ang="0">
                  <a:pos x="6" y="18"/>
                </a:cxn>
                <a:cxn ang="0">
                  <a:pos x="14" y="22"/>
                </a:cxn>
                <a:cxn ang="0">
                  <a:pos x="14" y="20"/>
                </a:cxn>
                <a:cxn ang="0">
                  <a:pos x="12" y="16"/>
                </a:cxn>
                <a:cxn ang="0">
                  <a:pos x="10" y="16"/>
                </a:cxn>
                <a:cxn ang="0">
                  <a:pos x="14" y="14"/>
                </a:cxn>
                <a:cxn ang="0">
                  <a:pos x="10" y="12"/>
                </a:cxn>
              </a:cxnLst>
              <a:rect l="0" t="0" r="r" b="b"/>
              <a:pathLst>
                <a:path w="14" h="22">
                  <a:moveTo>
                    <a:pt x="10" y="12"/>
                  </a:moveTo>
                  <a:lnTo>
                    <a:pt x="10" y="12"/>
                  </a:lnTo>
                  <a:lnTo>
                    <a:pt x="12" y="8"/>
                  </a:lnTo>
                  <a:lnTo>
                    <a:pt x="12" y="6"/>
                  </a:lnTo>
                  <a:lnTo>
                    <a:pt x="8" y="6"/>
                  </a:lnTo>
                  <a:lnTo>
                    <a:pt x="10" y="4"/>
                  </a:lnTo>
                  <a:lnTo>
                    <a:pt x="10" y="2"/>
                  </a:lnTo>
                  <a:lnTo>
                    <a:pt x="8" y="0"/>
                  </a:lnTo>
                  <a:lnTo>
                    <a:pt x="6" y="0"/>
                  </a:lnTo>
                  <a:lnTo>
                    <a:pt x="0" y="4"/>
                  </a:lnTo>
                  <a:lnTo>
                    <a:pt x="0" y="6"/>
                  </a:lnTo>
                  <a:lnTo>
                    <a:pt x="2" y="6"/>
                  </a:lnTo>
                  <a:lnTo>
                    <a:pt x="2" y="8"/>
                  </a:lnTo>
                  <a:lnTo>
                    <a:pt x="0" y="6"/>
                  </a:lnTo>
                  <a:lnTo>
                    <a:pt x="0" y="8"/>
                  </a:lnTo>
                  <a:lnTo>
                    <a:pt x="2" y="14"/>
                  </a:lnTo>
                  <a:lnTo>
                    <a:pt x="6" y="18"/>
                  </a:lnTo>
                  <a:lnTo>
                    <a:pt x="14" y="22"/>
                  </a:lnTo>
                  <a:lnTo>
                    <a:pt x="14" y="20"/>
                  </a:lnTo>
                  <a:lnTo>
                    <a:pt x="12" y="16"/>
                  </a:lnTo>
                  <a:lnTo>
                    <a:pt x="10" y="16"/>
                  </a:lnTo>
                  <a:lnTo>
                    <a:pt x="14" y="14"/>
                  </a:lnTo>
                  <a:lnTo>
                    <a:pt x="10" y="1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5" name="Freeform 17">
              <a:extLst>
                <a:ext uri="{FF2B5EF4-FFF2-40B4-BE49-F238E27FC236}">
                  <a16:creationId xmlns:a16="http://schemas.microsoft.com/office/drawing/2014/main" id="{146B1C5B-1150-4237-9672-EC66A66E4590}"/>
                </a:ext>
              </a:extLst>
            </p:cNvPr>
            <p:cNvSpPr>
              <a:spLocks/>
            </p:cNvSpPr>
            <p:nvPr/>
          </p:nvSpPr>
          <p:spPr bwMode="auto">
            <a:xfrm>
              <a:off x="3238714" y="4635744"/>
              <a:ext cx="328881" cy="388442"/>
            </a:xfrm>
            <a:custGeom>
              <a:avLst/>
              <a:gdLst/>
              <a:ahLst/>
              <a:cxnLst>
                <a:cxn ang="0">
                  <a:pos x="0" y="176"/>
                </a:cxn>
                <a:cxn ang="0">
                  <a:pos x="14" y="182"/>
                </a:cxn>
                <a:cxn ang="0">
                  <a:pos x="70" y="178"/>
                </a:cxn>
                <a:cxn ang="0">
                  <a:pos x="74" y="206"/>
                </a:cxn>
                <a:cxn ang="0">
                  <a:pos x="90" y="216"/>
                </a:cxn>
                <a:cxn ang="0">
                  <a:pos x="100" y="212"/>
                </a:cxn>
                <a:cxn ang="0">
                  <a:pos x="102" y="198"/>
                </a:cxn>
                <a:cxn ang="0">
                  <a:pos x="120" y="204"/>
                </a:cxn>
                <a:cxn ang="0">
                  <a:pos x="128" y="218"/>
                </a:cxn>
                <a:cxn ang="0">
                  <a:pos x="132" y="236"/>
                </a:cxn>
                <a:cxn ang="0">
                  <a:pos x="134" y="252"/>
                </a:cxn>
                <a:cxn ang="0">
                  <a:pos x="142" y="266"/>
                </a:cxn>
                <a:cxn ang="0">
                  <a:pos x="166" y="270"/>
                </a:cxn>
                <a:cxn ang="0">
                  <a:pos x="174" y="270"/>
                </a:cxn>
                <a:cxn ang="0">
                  <a:pos x="188" y="280"/>
                </a:cxn>
                <a:cxn ang="0">
                  <a:pos x="202" y="276"/>
                </a:cxn>
                <a:cxn ang="0">
                  <a:pos x="212" y="286"/>
                </a:cxn>
                <a:cxn ang="0">
                  <a:pos x="220" y="300"/>
                </a:cxn>
                <a:cxn ang="0">
                  <a:pos x="236" y="284"/>
                </a:cxn>
                <a:cxn ang="0">
                  <a:pos x="220" y="280"/>
                </a:cxn>
                <a:cxn ang="0">
                  <a:pos x="212" y="262"/>
                </a:cxn>
                <a:cxn ang="0">
                  <a:pos x="206" y="246"/>
                </a:cxn>
                <a:cxn ang="0">
                  <a:pos x="242" y="226"/>
                </a:cxn>
                <a:cxn ang="0">
                  <a:pos x="234" y="206"/>
                </a:cxn>
                <a:cxn ang="0">
                  <a:pos x="226" y="174"/>
                </a:cxn>
                <a:cxn ang="0">
                  <a:pos x="220" y="160"/>
                </a:cxn>
                <a:cxn ang="0">
                  <a:pos x="216" y="138"/>
                </a:cxn>
                <a:cxn ang="0">
                  <a:pos x="216" y="120"/>
                </a:cxn>
                <a:cxn ang="0">
                  <a:pos x="220" y="116"/>
                </a:cxn>
                <a:cxn ang="0">
                  <a:pos x="222" y="106"/>
                </a:cxn>
                <a:cxn ang="0">
                  <a:pos x="234" y="80"/>
                </a:cxn>
                <a:cxn ang="0">
                  <a:pos x="246" y="66"/>
                </a:cxn>
                <a:cxn ang="0">
                  <a:pos x="246" y="60"/>
                </a:cxn>
                <a:cxn ang="0">
                  <a:pos x="248" y="44"/>
                </a:cxn>
                <a:cxn ang="0">
                  <a:pos x="244" y="28"/>
                </a:cxn>
                <a:cxn ang="0">
                  <a:pos x="226" y="10"/>
                </a:cxn>
                <a:cxn ang="0">
                  <a:pos x="212" y="10"/>
                </a:cxn>
                <a:cxn ang="0">
                  <a:pos x="202" y="10"/>
                </a:cxn>
                <a:cxn ang="0">
                  <a:pos x="174" y="0"/>
                </a:cxn>
                <a:cxn ang="0">
                  <a:pos x="164" y="4"/>
                </a:cxn>
                <a:cxn ang="0">
                  <a:pos x="152" y="10"/>
                </a:cxn>
                <a:cxn ang="0">
                  <a:pos x="142" y="10"/>
                </a:cxn>
                <a:cxn ang="0">
                  <a:pos x="114" y="8"/>
                </a:cxn>
                <a:cxn ang="0">
                  <a:pos x="94" y="6"/>
                </a:cxn>
                <a:cxn ang="0">
                  <a:pos x="84" y="28"/>
                </a:cxn>
                <a:cxn ang="0">
                  <a:pos x="76" y="58"/>
                </a:cxn>
                <a:cxn ang="0">
                  <a:pos x="74" y="88"/>
                </a:cxn>
                <a:cxn ang="0">
                  <a:pos x="64" y="110"/>
                </a:cxn>
                <a:cxn ang="0">
                  <a:pos x="60" y="134"/>
                </a:cxn>
                <a:cxn ang="0">
                  <a:pos x="48" y="160"/>
                </a:cxn>
                <a:cxn ang="0">
                  <a:pos x="34" y="152"/>
                </a:cxn>
                <a:cxn ang="0">
                  <a:pos x="24" y="158"/>
                </a:cxn>
                <a:cxn ang="0">
                  <a:pos x="12" y="158"/>
                </a:cxn>
                <a:cxn ang="0">
                  <a:pos x="2" y="172"/>
                </a:cxn>
              </a:cxnLst>
              <a:rect l="0" t="0" r="r" b="b"/>
              <a:pathLst>
                <a:path w="254" h="300">
                  <a:moveTo>
                    <a:pt x="2" y="172"/>
                  </a:moveTo>
                  <a:lnTo>
                    <a:pt x="2" y="172"/>
                  </a:lnTo>
                  <a:lnTo>
                    <a:pt x="2" y="174"/>
                  </a:lnTo>
                  <a:lnTo>
                    <a:pt x="0" y="174"/>
                  </a:lnTo>
                  <a:lnTo>
                    <a:pt x="0" y="176"/>
                  </a:lnTo>
                  <a:lnTo>
                    <a:pt x="2" y="180"/>
                  </a:lnTo>
                  <a:lnTo>
                    <a:pt x="6" y="182"/>
                  </a:lnTo>
                  <a:lnTo>
                    <a:pt x="6" y="186"/>
                  </a:lnTo>
                  <a:lnTo>
                    <a:pt x="8" y="186"/>
                  </a:lnTo>
                  <a:lnTo>
                    <a:pt x="14" y="182"/>
                  </a:lnTo>
                  <a:lnTo>
                    <a:pt x="18" y="180"/>
                  </a:lnTo>
                  <a:lnTo>
                    <a:pt x="22" y="178"/>
                  </a:lnTo>
                  <a:lnTo>
                    <a:pt x="28" y="178"/>
                  </a:lnTo>
                  <a:lnTo>
                    <a:pt x="42" y="180"/>
                  </a:lnTo>
                  <a:lnTo>
                    <a:pt x="70" y="178"/>
                  </a:lnTo>
                  <a:lnTo>
                    <a:pt x="72" y="188"/>
                  </a:lnTo>
                  <a:lnTo>
                    <a:pt x="72" y="192"/>
                  </a:lnTo>
                  <a:lnTo>
                    <a:pt x="72" y="196"/>
                  </a:lnTo>
                  <a:lnTo>
                    <a:pt x="74" y="200"/>
                  </a:lnTo>
                  <a:lnTo>
                    <a:pt x="74" y="206"/>
                  </a:lnTo>
                  <a:lnTo>
                    <a:pt x="76" y="212"/>
                  </a:lnTo>
                  <a:lnTo>
                    <a:pt x="78" y="214"/>
                  </a:lnTo>
                  <a:lnTo>
                    <a:pt x="82" y="216"/>
                  </a:lnTo>
                  <a:lnTo>
                    <a:pt x="88" y="216"/>
                  </a:lnTo>
                  <a:lnTo>
                    <a:pt x="90" y="216"/>
                  </a:lnTo>
                  <a:lnTo>
                    <a:pt x="92" y="214"/>
                  </a:lnTo>
                  <a:lnTo>
                    <a:pt x="94" y="212"/>
                  </a:lnTo>
                  <a:lnTo>
                    <a:pt x="96" y="214"/>
                  </a:lnTo>
                  <a:lnTo>
                    <a:pt x="98" y="214"/>
                  </a:lnTo>
                  <a:lnTo>
                    <a:pt x="100" y="212"/>
                  </a:lnTo>
                  <a:lnTo>
                    <a:pt x="100" y="210"/>
                  </a:lnTo>
                  <a:lnTo>
                    <a:pt x="98" y="206"/>
                  </a:lnTo>
                  <a:lnTo>
                    <a:pt x="98" y="202"/>
                  </a:lnTo>
                  <a:lnTo>
                    <a:pt x="100" y="200"/>
                  </a:lnTo>
                  <a:lnTo>
                    <a:pt x="102" y="198"/>
                  </a:lnTo>
                  <a:lnTo>
                    <a:pt x="106" y="200"/>
                  </a:lnTo>
                  <a:lnTo>
                    <a:pt x="112" y="200"/>
                  </a:lnTo>
                  <a:lnTo>
                    <a:pt x="114" y="200"/>
                  </a:lnTo>
                  <a:lnTo>
                    <a:pt x="114" y="204"/>
                  </a:lnTo>
                  <a:lnTo>
                    <a:pt x="120" y="204"/>
                  </a:lnTo>
                  <a:lnTo>
                    <a:pt x="124" y="204"/>
                  </a:lnTo>
                  <a:lnTo>
                    <a:pt x="126" y="208"/>
                  </a:lnTo>
                  <a:lnTo>
                    <a:pt x="126" y="214"/>
                  </a:lnTo>
                  <a:lnTo>
                    <a:pt x="126" y="216"/>
                  </a:lnTo>
                  <a:lnTo>
                    <a:pt x="128" y="218"/>
                  </a:lnTo>
                  <a:lnTo>
                    <a:pt x="128" y="220"/>
                  </a:lnTo>
                  <a:lnTo>
                    <a:pt x="128" y="226"/>
                  </a:lnTo>
                  <a:lnTo>
                    <a:pt x="128" y="230"/>
                  </a:lnTo>
                  <a:lnTo>
                    <a:pt x="130" y="232"/>
                  </a:lnTo>
                  <a:lnTo>
                    <a:pt x="132" y="236"/>
                  </a:lnTo>
                  <a:lnTo>
                    <a:pt x="132" y="238"/>
                  </a:lnTo>
                  <a:lnTo>
                    <a:pt x="134" y="240"/>
                  </a:lnTo>
                  <a:lnTo>
                    <a:pt x="136" y="244"/>
                  </a:lnTo>
                  <a:lnTo>
                    <a:pt x="134" y="248"/>
                  </a:lnTo>
                  <a:lnTo>
                    <a:pt x="134" y="252"/>
                  </a:lnTo>
                  <a:lnTo>
                    <a:pt x="134" y="256"/>
                  </a:lnTo>
                  <a:lnTo>
                    <a:pt x="134" y="260"/>
                  </a:lnTo>
                  <a:lnTo>
                    <a:pt x="136" y="264"/>
                  </a:lnTo>
                  <a:lnTo>
                    <a:pt x="140" y="268"/>
                  </a:lnTo>
                  <a:lnTo>
                    <a:pt x="142" y="266"/>
                  </a:lnTo>
                  <a:lnTo>
                    <a:pt x="146" y="264"/>
                  </a:lnTo>
                  <a:lnTo>
                    <a:pt x="148" y="264"/>
                  </a:lnTo>
                  <a:lnTo>
                    <a:pt x="158" y="264"/>
                  </a:lnTo>
                  <a:lnTo>
                    <a:pt x="166" y="262"/>
                  </a:lnTo>
                  <a:lnTo>
                    <a:pt x="166" y="270"/>
                  </a:lnTo>
                  <a:lnTo>
                    <a:pt x="168" y="272"/>
                  </a:lnTo>
                  <a:lnTo>
                    <a:pt x="170" y="272"/>
                  </a:lnTo>
                  <a:lnTo>
                    <a:pt x="170" y="270"/>
                  </a:lnTo>
                  <a:lnTo>
                    <a:pt x="172" y="270"/>
                  </a:lnTo>
                  <a:lnTo>
                    <a:pt x="174" y="270"/>
                  </a:lnTo>
                  <a:lnTo>
                    <a:pt x="176" y="272"/>
                  </a:lnTo>
                  <a:lnTo>
                    <a:pt x="174" y="278"/>
                  </a:lnTo>
                  <a:lnTo>
                    <a:pt x="176" y="278"/>
                  </a:lnTo>
                  <a:lnTo>
                    <a:pt x="178" y="280"/>
                  </a:lnTo>
                  <a:lnTo>
                    <a:pt x="188" y="280"/>
                  </a:lnTo>
                  <a:lnTo>
                    <a:pt x="194" y="280"/>
                  </a:lnTo>
                  <a:lnTo>
                    <a:pt x="196" y="276"/>
                  </a:lnTo>
                  <a:lnTo>
                    <a:pt x="198" y="274"/>
                  </a:lnTo>
                  <a:lnTo>
                    <a:pt x="200" y="276"/>
                  </a:lnTo>
                  <a:lnTo>
                    <a:pt x="202" y="276"/>
                  </a:lnTo>
                  <a:lnTo>
                    <a:pt x="202" y="280"/>
                  </a:lnTo>
                  <a:lnTo>
                    <a:pt x="206" y="282"/>
                  </a:lnTo>
                  <a:lnTo>
                    <a:pt x="208" y="286"/>
                  </a:lnTo>
                  <a:lnTo>
                    <a:pt x="210" y="286"/>
                  </a:lnTo>
                  <a:lnTo>
                    <a:pt x="212" y="286"/>
                  </a:lnTo>
                  <a:lnTo>
                    <a:pt x="216" y="288"/>
                  </a:lnTo>
                  <a:lnTo>
                    <a:pt x="218" y="290"/>
                  </a:lnTo>
                  <a:lnTo>
                    <a:pt x="220" y="294"/>
                  </a:lnTo>
                  <a:lnTo>
                    <a:pt x="218" y="298"/>
                  </a:lnTo>
                  <a:lnTo>
                    <a:pt x="220" y="300"/>
                  </a:lnTo>
                  <a:lnTo>
                    <a:pt x="222" y="300"/>
                  </a:lnTo>
                  <a:lnTo>
                    <a:pt x="226" y="298"/>
                  </a:lnTo>
                  <a:lnTo>
                    <a:pt x="230" y="296"/>
                  </a:lnTo>
                  <a:lnTo>
                    <a:pt x="236" y="298"/>
                  </a:lnTo>
                  <a:lnTo>
                    <a:pt x="236" y="284"/>
                  </a:lnTo>
                  <a:lnTo>
                    <a:pt x="228" y="286"/>
                  </a:lnTo>
                  <a:lnTo>
                    <a:pt x="226" y="286"/>
                  </a:lnTo>
                  <a:lnTo>
                    <a:pt x="224" y="284"/>
                  </a:lnTo>
                  <a:lnTo>
                    <a:pt x="222" y="280"/>
                  </a:lnTo>
                  <a:lnTo>
                    <a:pt x="220" y="280"/>
                  </a:lnTo>
                  <a:lnTo>
                    <a:pt x="216" y="278"/>
                  </a:lnTo>
                  <a:lnTo>
                    <a:pt x="212" y="274"/>
                  </a:lnTo>
                  <a:lnTo>
                    <a:pt x="210" y="270"/>
                  </a:lnTo>
                  <a:lnTo>
                    <a:pt x="212" y="264"/>
                  </a:lnTo>
                  <a:lnTo>
                    <a:pt x="212" y="262"/>
                  </a:lnTo>
                  <a:lnTo>
                    <a:pt x="210" y="260"/>
                  </a:lnTo>
                  <a:lnTo>
                    <a:pt x="208" y="254"/>
                  </a:lnTo>
                  <a:lnTo>
                    <a:pt x="208" y="252"/>
                  </a:lnTo>
                  <a:lnTo>
                    <a:pt x="206" y="250"/>
                  </a:lnTo>
                  <a:lnTo>
                    <a:pt x="206" y="246"/>
                  </a:lnTo>
                  <a:lnTo>
                    <a:pt x="208" y="242"/>
                  </a:lnTo>
                  <a:lnTo>
                    <a:pt x="206" y="236"/>
                  </a:lnTo>
                  <a:lnTo>
                    <a:pt x="214" y="232"/>
                  </a:lnTo>
                  <a:lnTo>
                    <a:pt x="218" y="232"/>
                  </a:lnTo>
                  <a:lnTo>
                    <a:pt x="242" y="226"/>
                  </a:lnTo>
                  <a:lnTo>
                    <a:pt x="242" y="220"/>
                  </a:lnTo>
                  <a:lnTo>
                    <a:pt x="238" y="216"/>
                  </a:lnTo>
                  <a:lnTo>
                    <a:pt x="238" y="212"/>
                  </a:lnTo>
                  <a:lnTo>
                    <a:pt x="236" y="208"/>
                  </a:lnTo>
                  <a:lnTo>
                    <a:pt x="234" y="206"/>
                  </a:lnTo>
                  <a:lnTo>
                    <a:pt x="230" y="204"/>
                  </a:lnTo>
                  <a:lnTo>
                    <a:pt x="226" y="194"/>
                  </a:lnTo>
                  <a:lnTo>
                    <a:pt x="222" y="182"/>
                  </a:lnTo>
                  <a:lnTo>
                    <a:pt x="224" y="180"/>
                  </a:lnTo>
                  <a:lnTo>
                    <a:pt x="226" y="174"/>
                  </a:lnTo>
                  <a:lnTo>
                    <a:pt x="222" y="172"/>
                  </a:lnTo>
                  <a:lnTo>
                    <a:pt x="222" y="168"/>
                  </a:lnTo>
                  <a:lnTo>
                    <a:pt x="222" y="164"/>
                  </a:lnTo>
                  <a:lnTo>
                    <a:pt x="220" y="162"/>
                  </a:lnTo>
                  <a:lnTo>
                    <a:pt x="220" y="160"/>
                  </a:lnTo>
                  <a:lnTo>
                    <a:pt x="222" y="148"/>
                  </a:lnTo>
                  <a:lnTo>
                    <a:pt x="224" y="146"/>
                  </a:lnTo>
                  <a:lnTo>
                    <a:pt x="222" y="140"/>
                  </a:lnTo>
                  <a:lnTo>
                    <a:pt x="218" y="140"/>
                  </a:lnTo>
                  <a:lnTo>
                    <a:pt x="216" y="138"/>
                  </a:lnTo>
                  <a:lnTo>
                    <a:pt x="216" y="136"/>
                  </a:lnTo>
                  <a:lnTo>
                    <a:pt x="216" y="134"/>
                  </a:lnTo>
                  <a:lnTo>
                    <a:pt x="218" y="132"/>
                  </a:lnTo>
                  <a:lnTo>
                    <a:pt x="216" y="132"/>
                  </a:lnTo>
                  <a:lnTo>
                    <a:pt x="216" y="120"/>
                  </a:lnTo>
                  <a:lnTo>
                    <a:pt x="218" y="118"/>
                  </a:lnTo>
                  <a:lnTo>
                    <a:pt x="222" y="122"/>
                  </a:lnTo>
                  <a:lnTo>
                    <a:pt x="224" y="118"/>
                  </a:lnTo>
                  <a:lnTo>
                    <a:pt x="220" y="118"/>
                  </a:lnTo>
                  <a:lnTo>
                    <a:pt x="220" y="116"/>
                  </a:lnTo>
                  <a:lnTo>
                    <a:pt x="222" y="112"/>
                  </a:lnTo>
                  <a:lnTo>
                    <a:pt x="224" y="110"/>
                  </a:lnTo>
                  <a:lnTo>
                    <a:pt x="222" y="110"/>
                  </a:lnTo>
                  <a:lnTo>
                    <a:pt x="220" y="106"/>
                  </a:lnTo>
                  <a:lnTo>
                    <a:pt x="222" y="106"/>
                  </a:lnTo>
                  <a:lnTo>
                    <a:pt x="224" y="100"/>
                  </a:lnTo>
                  <a:lnTo>
                    <a:pt x="226" y="100"/>
                  </a:lnTo>
                  <a:lnTo>
                    <a:pt x="230" y="88"/>
                  </a:lnTo>
                  <a:lnTo>
                    <a:pt x="232" y="84"/>
                  </a:lnTo>
                  <a:lnTo>
                    <a:pt x="234" y="80"/>
                  </a:lnTo>
                  <a:lnTo>
                    <a:pt x="238" y="78"/>
                  </a:lnTo>
                  <a:lnTo>
                    <a:pt x="240" y="74"/>
                  </a:lnTo>
                  <a:lnTo>
                    <a:pt x="240" y="72"/>
                  </a:lnTo>
                  <a:lnTo>
                    <a:pt x="244" y="70"/>
                  </a:lnTo>
                  <a:lnTo>
                    <a:pt x="246" y="66"/>
                  </a:lnTo>
                  <a:lnTo>
                    <a:pt x="248" y="64"/>
                  </a:lnTo>
                  <a:lnTo>
                    <a:pt x="250" y="62"/>
                  </a:lnTo>
                  <a:lnTo>
                    <a:pt x="250" y="62"/>
                  </a:lnTo>
                  <a:lnTo>
                    <a:pt x="248" y="60"/>
                  </a:lnTo>
                  <a:lnTo>
                    <a:pt x="246" y="60"/>
                  </a:lnTo>
                  <a:lnTo>
                    <a:pt x="246" y="56"/>
                  </a:lnTo>
                  <a:lnTo>
                    <a:pt x="248" y="52"/>
                  </a:lnTo>
                  <a:lnTo>
                    <a:pt x="250" y="48"/>
                  </a:lnTo>
                  <a:lnTo>
                    <a:pt x="250" y="46"/>
                  </a:lnTo>
                  <a:lnTo>
                    <a:pt x="248" y="44"/>
                  </a:lnTo>
                  <a:lnTo>
                    <a:pt x="250" y="42"/>
                  </a:lnTo>
                  <a:lnTo>
                    <a:pt x="254" y="38"/>
                  </a:lnTo>
                  <a:lnTo>
                    <a:pt x="254" y="32"/>
                  </a:lnTo>
                  <a:lnTo>
                    <a:pt x="246" y="26"/>
                  </a:lnTo>
                  <a:lnTo>
                    <a:pt x="244" y="28"/>
                  </a:lnTo>
                  <a:lnTo>
                    <a:pt x="242" y="26"/>
                  </a:lnTo>
                  <a:lnTo>
                    <a:pt x="238" y="24"/>
                  </a:lnTo>
                  <a:lnTo>
                    <a:pt x="236" y="22"/>
                  </a:lnTo>
                  <a:lnTo>
                    <a:pt x="230" y="14"/>
                  </a:lnTo>
                  <a:lnTo>
                    <a:pt x="226" y="10"/>
                  </a:lnTo>
                  <a:lnTo>
                    <a:pt x="224" y="10"/>
                  </a:lnTo>
                  <a:lnTo>
                    <a:pt x="222" y="12"/>
                  </a:lnTo>
                  <a:lnTo>
                    <a:pt x="220" y="14"/>
                  </a:lnTo>
                  <a:lnTo>
                    <a:pt x="218" y="14"/>
                  </a:lnTo>
                  <a:lnTo>
                    <a:pt x="212" y="10"/>
                  </a:lnTo>
                  <a:lnTo>
                    <a:pt x="210" y="8"/>
                  </a:lnTo>
                  <a:lnTo>
                    <a:pt x="210" y="10"/>
                  </a:lnTo>
                  <a:lnTo>
                    <a:pt x="208" y="14"/>
                  </a:lnTo>
                  <a:lnTo>
                    <a:pt x="204" y="14"/>
                  </a:lnTo>
                  <a:lnTo>
                    <a:pt x="202" y="10"/>
                  </a:lnTo>
                  <a:lnTo>
                    <a:pt x="200" y="6"/>
                  </a:lnTo>
                  <a:lnTo>
                    <a:pt x="196" y="2"/>
                  </a:lnTo>
                  <a:lnTo>
                    <a:pt x="188" y="2"/>
                  </a:lnTo>
                  <a:lnTo>
                    <a:pt x="184" y="0"/>
                  </a:lnTo>
                  <a:lnTo>
                    <a:pt x="174" y="0"/>
                  </a:lnTo>
                  <a:lnTo>
                    <a:pt x="170" y="2"/>
                  </a:lnTo>
                  <a:lnTo>
                    <a:pt x="170" y="6"/>
                  </a:lnTo>
                  <a:lnTo>
                    <a:pt x="168" y="6"/>
                  </a:lnTo>
                  <a:lnTo>
                    <a:pt x="166" y="6"/>
                  </a:lnTo>
                  <a:lnTo>
                    <a:pt x="164" y="4"/>
                  </a:lnTo>
                  <a:lnTo>
                    <a:pt x="162" y="6"/>
                  </a:lnTo>
                  <a:lnTo>
                    <a:pt x="162" y="6"/>
                  </a:lnTo>
                  <a:lnTo>
                    <a:pt x="162" y="8"/>
                  </a:lnTo>
                  <a:lnTo>
                    <a:pt x="154" y="8"/>
                  </a:lnTo>
                  <a:lnTo>
                    <a:pt x="152" y="10"/>
                  </a:lnTo>
                  <a:lnTo>
                    <a:pt x="150" y="8"/>
                  </a:lnTo>
                  <a:lnTo>
                    <a:pt x="148" y="6"/>
                  </a:lnTo>
                  <a:lnTo>
                    <a:pt x="146" y="6"/>
                  </a:lnTo>
                  <a:lnTo>
                    <a:pt x="144" y="6"/>
                  </a:lnTo>
                  <a:lnTo>
                    <a:pt x="142" y="10"/>
                  </a:lnTo>
                  <a:lnTo>
                    <a:pt x="142" y="14"/>
                  </a:lnTo>
                  <a:lnTo>
                    <a:pt x="134" y="12"/>
                  </a:lnTo>
                  <a:lnTo>
                    <a:pt x="126" y="10"/>
                  </a:lnTo>
                  <a:lnTo>
                    <a:pt x="120" y="10"/>
                  </a:lnTo>
                  <a:lnTo>
                    <a:pt x="114" y="8"/>
                  </a:lnTo>
                  <a:lnTo>
                    <a:pt x="110" y="6"/>
                  </a:lnTo>
                  <a:lnTo>
                    <a:pt x="106" y="4"/>
                  </a:lnTo>
                  <a:lnTo>
                    <a:pt x="102" y="2"/>
                  </a:lnTo>
                  <a:lnTo>
                    <a:pt x="98" y="2"/>
                  </a:lnTo>
                  <a:lnTo>
                    <a:pt x="94" y="6"/>
                  </a:lnTo>
                  <a:lnTo>
                    <a:pt x="92" y="8"/>
                  </a:lnTo>
                  <a:lnTo>
                    <a:pt x="92" y="12"/>
                  </a:lnTo>
                  <a:lnTo>
                    <a:pt x="88" y="14"/>
                  </a:lnTo>
                  <a:lnTo>
                    <a:pt x="86" y="16"/>
                  </a:lnTo>
                  <a:lnTo>
                    <a:pt x="84" y="28"/>
                  </a:lnTo>
                  <a:lnTo>
                    <a:pt x="84" y="38"/>
                  </a:lnTo>
                  <a:lnTo>
                    <a:pt x="82" y="44"/>
                  </a:lnTo>
                  <a:lnTo>
                    <a:pt x="78" y="48"/>
                  </a:lnTo>
                  <a:lnTo>
                    <a:pt x="78" y="52"/>
                  </a:lnTo>
                  <a:lnTo>
                    <a:pt x="76" y="58"/>
                  </a:lnTo>
                  <a:lnTo>
                    <a:pt x="76" y="62"/>
                  </a:lnTo>
                  <a:lnTo>
                    <a:pt x="76" y="68"/>
                  </a:lnTo>
                  <a:lnTo>
                    <a:pt x="76" y="74"/>
                  </a:lnTo>
                  <a:lnTo>
                    <a:pt x="76" y="82"/>
                  </a:lnTo>
                  <a:lnTo>
                    <a:pt x="74" y="88"/>
                  </a:lnTo>
                  <a:lnTo>
                    <a:pt x="70" y="94"/>
                  </a:lnTo>
                  <a:lnTo>
                    <a:pt x="70" y="100"/>
                  </a:lnTo>
                  <a:lnTo>
                    <a:pt x="68" y="108"/>
                  </a:lnTo>
                  <a:lnTo>
                    <a:pt x="68" y="106"/>
                  </a:lnTo>
                  <a:lnTo>
                    <a:pt x="64" y="110"/>
                  </a:lnTo>
                  <a:lnTo>
                    <a:pt x="64" y="116"/>
                  </a:lnTo>
                  <a:lnTo>
                    <a:pt x="62" y="120"/>
                  </a:lnTo>
                  <a:lnTo>
                    <a:pt x="60" y="124"/>
                  </a:lnTo>
                  <a:lnTo>
                    <a:pt x="60" y="130"/>
                  </a:lnTo>
                  <a:lnTo>
                    <a:pt x="60" y="134"/>
                  </a:lnTo>
                  <a:lnTo>
                    <a:pt x="58" y="138"/>
                  </a:lnTo>
                  <a:lnTo>
                    <a:pt x="58" y="144"/>
                  </a:lnTo>
                  <a:lnTo>
                    <a:pt x="54" y="150"/>
                  </a:lnTo>
                  <a:lnTo>
                    <a:pt x="54" y="154"/>
                  </a:lnTo>
                  <a:lnTo>
                    <a:pt x="48" y="160"/>
                  </a:lnTo>
                  <a:lnTo>
                    <a:pt x="40" y="162"/>
                  </a:lnTo>
                  <a:lnTo>
                    <a:pt x="36" y="164"/>
                  </a:lnTo>
                  <a:lnTo>
                    <a:pt x="34" y="160"/>
                  </a:lnTo>
                  <a:lnTo>
                    <a:pt x="34" y="150"/>
                  </a:lnTo>
                  <a:lnTo>
                    <a:pt x="34" y="152"/>
                  </a:lnTo>
                  <a:lnTo>
                    <a:pt x="30" y="152"/>
                  </a:lnTo>
                  <a:lnTo>
                    <a:pt x="26" y="150"/>
                  </a:lnTo>
                  <a:lnTo>
                    <a:pt x="26" y="154"/>
                  </a:lnTo>
                  <a:lnTo>
                    <a:pt x="26" y="156"/>
                  </a:lnTo>
                  <a:lnTo>
                    <a:pt x="24" y="158"/>
                  </a:lnTo>
                  <a:lnTo>
                    <a:pt x="20" y="156"/>
                  </a:lnTo>
                  <a:lnTo>
                    <a:pt x="18" y="156"/>
                  </a:lnTo>
                  <a:lnTo>
                    <a:pt x="16" y="158"/>
                  </a:lnTo>
                  <a:lnTo>
                    <a:pt x="14" y="158"/>
                  </a:lnTo>
                  <a:lnTo>
                    <a:pt x="12" y="158"/>
                  </a:lnTo>
                  <a:lnTo>
                    <a:pt x="10" y="160"/>
                  </a:lnTo>
                  <a:lnTo>
                    <a:pt x="8" y="162"/>
                  </a:lnTo>
                  <a:lnTo>
                    <a:pt x="8" y="164"/>
                  </a:lnTo>
                  <a:lnTo>
                    <a:pt x="8" y="168"/>
                  </a:lnTo>
                  <a:lnTo>
                    <a:pt x="2" y="172"/>
                  </a:lnTo>
                  <a:lnTo>
                    <a:pt x="2" y="17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6" name="Freeform 18">
              <a:extLst>
                <a:ext uri="{FF2B5EF4-FFF2-40B4-BE49-F238E27FC236}">
                  <a16:creationId xmlns:a16="http://schemas.microsoft.com/office/drawing/2014/main" id="{5AD9B9F0-F3CF-447D-B691-31358DEBAE89}"/>
                </a:ext>
              </a:extLst>
            </p:cNvPr>
            <p:cNvSpPr>
              <a:spLocks/>
            </p:cNvSpPr>
            <p:nvPr/>
          </p:nvSpPr>
          <p:spPr bwMode="auto">
            <a:xfrm>
              <a:off x="3347478" y="3755276"/>
              <a:ext cx="85457" cy="98405"/>
            </a:xfrm>
            <a:custGeom>
              <a:avLst/>
              <a:gdLst/>
              <a:ahLst/>
              <a:cxnLst>
                <a:cxn ang="0">
                  <a:pos x="66" y="28"/>
                </a:cxn>
                <a:cxn ang="0">
                  <a:pos x="60" y="26"/>
                </a:cxn>
                <a:cxn ang="0">
                  <a:pos x="58" y="20"/>
                </a:cxn>
                <a:cxn ang="0">
                  <a:pos x="64" y="20"/>
                </a:cxn>
                <a:cxn ang="0">
                  <a:pos x="58" y="14"/>
                </a:cxn>
                <a:cxn ang="0">
                  <a:pos x="54" y="16"/>
                </a:cxn>
                <a:cxn ang="0">
                  <a:pos x="50" y="20"/>
                </a:cxn>
                <a:cxn ang="0">
                  <a:pos x="46" y="14"/>
                </a:cxn>
                <a:cxn ang="0">
                  <a:pos x="40" y="14"/>
                </a:cxn>
                <a:cxn ang="0">
                  <a:pos x="40" y="6"/>
                </a:cxn>
                <a:cxn ang="0">
                  <a:pos x="34" y="0"/>
                </a:cxn>
                <a:cxn ang="0">
                  <a:pos x="22" y="0"/>
                </a:cxn>
                <a:cxn ang="0">
                  <a:pos x="18" y="6"/>
                </a:cxn>
                <a:cxn ang="0">
                  <a:pos x="12" y="10"/>
                </a:cxn>
                <a:cxn ang="0">
                  <a:pos x="12" y="14"/>
                </a:cxn>
                <a:cxn ang="0">
                  <a:pos x="14" y="18"/>
                </a:cxn>
                <a:cxn ang="0">
                  <a:pos x="12" y="26"/>
                </a:cxn>
                <a:cxn ang="0">
                  <a:pos x="16" y="30"/>
                </a:cxn>
                <a:cxn ang="0">
                  <a:pos x="14" y="34"/>
                </a:cxn>
                <a:cxn ang="0">
                  <a:pos x="12" y="36"/>
                </a:cxn>
                <a:cxn ang="0">
                  <a:pos x="16" y="38"/>
                </a:cxn>
                <a:cxn ang="0">
                  <a:pos x="14" y="40"/>
                </a:cxn>
                <a:cxn ang="0">
                  <a:pos x="8" y="46"/>
                </a:cxn>
                <a:cxn ang="0">
                  <a:pos x="0" y="52"/>
                </a:cxn>
                <a:cxn ang="0">
                  <a:pos x="0" y="60"/>
                </a:cxn>
                <a:cxn ang="0">
                  <a:pos x="4" y="64"/>
                </a:cxn>
                <a:cxn ang="0">
                  <a:pos x="12" y="64"/>
                </a:cxn>
                <a:cxn ang="0">
                  <a:pos x="22" y="66"/>
                </a:cxn>
                <a:cxn ang="0">
                  <a:pos x="28" y="68"/>
                </a:cxn>
                <a:cxn ang="0">
                  <a:pos x="36" y="70"/>
                </a:cxn>
                <a:cxn ang="0">
                  <a:pos x="42" y="72"/>
                </a:cxn>
                <a:cxn ang="0">
                  <a:pos x="48" y="66"/>
                </a:cxn>
                <a:cxn ang="0">
                  <a:pos x="58" y="64"/>
                </a:cxn>
                <a:cxn ang="0">
                  <a:pos x="62" y="58"/>
                </a:cxn>
                <a:cxn ang="0">
                  <a:pos x="66" y="50"/>
                </a:cxn>
                <a:cxn ang="0">
                  <a:pos x="58" y="46"/>
                </a:cxn>
                <a:cxn ang="0">
                  <a:pos x="58" y="40"/>
                </a:cxn>
                <a:cxn ang="0">
                  <a:pos x="62" y="36"/>
                </a:cxn>
                <a:cxn ang="0">
                  <a:pos x="66" y="28"/>
                </a:cxn>
              </a:cxnLst>
              <a:rect l="0" t="0" r="r" b="b"/>
              <a:pathLst>
                <a:path w="66" h="76">
                  <a:moveTo>
                    <a:pt x="66" y="28"/>
                  </a:moveTo>
                  <a:lnTo>
                    <a:pt x="66" y="28"/>
                  </a:lnTo>
                  <a:lnTo>
                    <a:pt x="64" y="28"/>
                  </a:lnTo>
                  <a:lnTo>
                    <a:pt x="60" y="26"/>
                  </a:lnTo>
                  <a:lnTo>
                    <a:pt x="58" y="22"/>
                  </a:lnTo>
                  <a:lnTo>
                    <a:pt x="58" y="20"/>
                  </a:lnTo>
                  <a:lnTo>
                    <a:pt x="62" y="20"/>
                  </a:lnTo>
                  <a:lnTo>
                    <a:pt x="64" y="20"/>
                  </a:lnTo>
                  <a:lnTo>
                    <a:pt x="62" y="18"/>
                  </a:lnTo>
                  <a:lnTo>
                    <a:pt x="58" y="14"/>
                  </a:lnTo>
                  <a:lnTo>
                    <a:pt x="54" y="14"/>
                  </a:lnTo>
                  <a:lnTo>
                    <a:pt x="54" y="16"/>
                  </a:lnTo>
                  <a:lnTo>
                    <a:pt x="52" y="18"/>
                  </a:lnTo>
                  <a:lnTo>
                    <a:pt x="50" y="20"/>
                  </a:lnTo>
                  <a:lnTo>
                    <a:pt x="48" y="18"/>
                  </a:lnTo>
                  <a:lnTo>
                    <a:pt x="46" y="14"/>
                  </a:lnTo>
                  <a:lnTo>
                    <a:pt x="44" y="14"/>
                  </a:lnTo>
                  <a:lnTo>
                    <a:pt x="40" y="14"/>
                  </a:lnTo>
                  <a:lnTo>
                    <a:pt x="42" y="10"/>
                  </a:lnTo>
                  <a:lnTo>
                    <a:pt x="40" y="6"/>
                  </a:lnTo>
                  <a:lnTo>
                    <a:pt x="38" y="4"/>
                  </a:lnTo>
                  <a:lnTo>
                    <a:pt x="34" y="0"/>
                  </a:lnTo>
                  <a:lnTo>
                    <a:pt x="28" y="0"/>
                  </a:lnTo>
                  <a:lnTo>
                    <a:pt x="22" y="0"/>
                  </a:lnTo>
                  <a:lnTo>
                    <a:pt x="20" y="4"/>
                  </a:lnTo>
                  <a:lnTo>
                    <a:pt x="18" y="6"/>
                  </a:lnTo>
                  <a:lnTo>
                    <a:pt x="14" y="8"/>
                  </a:lnTo>
                  <a:lnTo>
                    <a:pt x="12" y="10"/>
                  </a:lnTo>
                  <a:lnTo>
                    <a:pt x="12" y="12"/>
                  </a:lnTo>
                  <a:lnTo>
                    <a:pt x="12" y="14"/>
                  </a:lnTo>
                  <a:lnTo>
                    <a:pt x="14" y="16"/>
                  </a:lnTo>
                  <a:lnTo>
                    <a:pt x="14" y="18"/>
                  </a:lnTo>
                  <a:lnTo>
                    <a:pt x="12" y="22"/>
                  </a:lnTo>
                  <a:lnTo>
                    <a:pt x="12" y="26"/>
                  </a:lnTo>
                  <a:lnTo>
                    <a:pt x="14" y="30"/>
                  </a:lnTo>
                  <a:lnTo>
                    <a:pt x="16" y="30"/>
                  </a:lnTo>
                  <a:lnTo>
                    <a:pt x="16" y="32"/>
                  </a:lnTo>
                  <a:lnTo>
                    <a:pt x="14" y="34"/>
                  </a:lnTo>
                  <a:lnTo>
                    <a:pt x="10" y="34"/>
                  </a:lnTo>
                  <a:lnTo>
                    <a:pt x="12" y="36"/>
                  </a:lnTo>
                  <a:lnTo>
                    <a:pt x="14" y="38"/>
                  </a:lnTo>
                  <a:lnTo>
                    <a:pt x="16" y="38"/>
                  </a:lnTo>
                  <a:lnTo>
                    <a:pt x="16" y="40"/>
                  </a:lnTo>
                  <a:lnTo>
                    <a:pt x="14" y="40"/>
                  </a:lnTo>
                  <a:lnTo>
                    <a:pt x="10" y="44"/>
                  </a:lnTo>
                  <a:lnTo>
                    <a:pt x="8" y="46"/>
                  </a:lnTo>
                  <a:lnTo>
                    <a:pt x="2" y="48"/>
                  </a:lnTo>
                  <a:lnTo>
                    <a:pt x="0" y="52"/>
                  </a:lnTo>
                  <a:lnTo>
                    <a:pt x="0" y="56"/>
                  </a:lnTo>
                  <a:lnTo>
                    <a:pt x="0" y="60"/>
                  </a:lnTo>
                  <a:lnTo>
                    <a:pt x="2" y="64"/>
                  </a:lnTo>
                  <a:lnTo>
                    <a:pt x="4" y="64"/>
                  </a:lnTo>
                  <a:lnTo>
                    <a:pt x="10" y="70"/>
                  </a:lnTo>
                  <a:lnTo>
                    <a:pt x="12" y="64"/>
                  </a:lnTo>
                  <a:lnTo>
                    <a:pt x="20" y="60"/>
                  </a:lnTo>
                  <a:lnTo>
                    <a:pt x="22" y="66"/>
                  </a:lnTo>
                  <a:lnTo>
                    <a:pt x="22" y="62"/>
                  </a:lnTo>
                  <a:lnTo>
                    <a:pt x="28" y="68"/>
                  </a:lnTo>
                  <a:lnTo>
                    <a:pt x="30" y="76"/>
                  </a:lnTo>
                  <a:lnTo>
                    <a:pt x="36" y="70"/>
                  </a:lnTo>
                  <a:lnTo>
                    <a:pt x="40" y="68"/>
                  </a:lnTo>
                  <a:lnTo>
                    <a:pt x="42" y="72"/>
                  </a:lnTo>
                  <a:lnTo>
                    <a:pt x="44" y="66"/>
                  </a:lnTo>
                  <a:lnTo>
                    <a:pt x="48" y="66"/>
                  </a:lnTo>
                  <a:lnTo>
                    <a:pt x="52" y="66"/>
                  </a:lnTo>
                  <a:lnTo>
                    <a:pt x="58" y="64"/>
                  </a:lnTo>
                  <a:lnTo>
                    <a:pt x="60" y="62"/>
                  </a:lnTo>
                  <a:lnTo>
                    <a:pt x="62" y="58"/>
                  </a:lnTo>
                  <a:lnTo>
                    <a:pt x="66" y="52"/>
                  </a:lnTo>
                  <a:lnTo>
                    <a:pt x="66" y="50"/>
                  </a:lnTo>
                  <a:lnTo>
                    <a:pt x="60" y="48"/>
                  </a:lnTo>
                  <a:lnTo>
                    <a:pt x="58" y="46"/>
                  </a:lnTo>
                  <a:lnTo>
                    <a:pt x="56" y="44"/>
                  </a:lnTo>
                  <a:lnTo>
                    <a:pt x="58" y="40"/>
                  </a:lnTo>
                  <a:lnTo>
                    <a:pt x="58" y="38"/>
                  </a:lnTo>
                  <a:lnTo>
                    <a:pt x="62" y="36"/>
                  </a:lnTo>
                  <a:lnTo>
                    <a:pt x="66" y="32"/>
                  </a:lnTo>
                  <a:lnTo>
                    <a:pt x="66" y="28"/>
                  </a:lnTo>
                  <a:lnTo>
                    <a:pt x="66" y="2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7" name="Freeform 19">
              <a:extLst>
                <a:ext uri="{FF2B5EF4-FFF2-40B4-BE49-F238E27FC236}">
                  <a16:creationId xmlns:a16="http://schemas.microsoft.com/office/drawing/2014/main" id="{3221F085-0FEA-4155-8DCB-F568020924BC}"/>
                </a:ext>
              </a:extLst>
            </p:cNvPr>
            <p:cNvSpPr>
              <a:spLocks/>
            </p:cNvSpPr>
            <p:nvPr/>
          </p:nvSpPr>
          <p:spPr bwMode="auto">
            <a:xfrm>
              <a:off x="3754047" y="4358656"/>
              <a:ext cx="181273" cy="132070"/>
            </a:xfrm>
            <a:custGeom>
              <a:avLst/>
              <a:gdLst/>
              <a:ahLst/>
              <a:cxnLst>
                <a:cxn ang="0">
                  <a:pos x="0" y="34"/>
                </a:cxn>
                <a:cxn ang="0">
                  <a:pos x="2" y="30"/>
                </a:cxn>
                <a:cxn ang="0">
                  <a:pos x="4" y="26"/>
                </a:cxn>
                <a:cxn ang="0">
                  <a:pos x="6" y="22"/>
                </a:cxn>
                <a:cxn ang="0">
                  <a:pos x="10" y="20"/>
                </a:cxn>
                <a:cxn ang="0">
                  <a:pos x="14" y="20"/>
                </a:cxn>
                <a:cxn ang="0">
                  <a:pos x="14" y="24"/>
                </a:cxn>
                <a:cxn ang="0">
                  <a:pos x="22" y="24"/>
                </a:cxn>
                <a:cxn ang="0">
                  <a:pos x="46" y="30"/>
                </a:cxn>
                <a:cxn ang="0">
                  <a:pos x="56" y="36"/>
                </a:cxn>
                <a:cxn ang="0">
                  <a:pos x="118" y="0"/>
                </a:cxn>
                <a:cxn ang="0">
                  <a:pos x="132" y="32"/>
                </a:cxn>
                <a:cxn ang="0">
                  <a:pos x="136" y="36"/>
                </a:cxn>
                <a:cxn ang="0">
                  <a:pos x="132" y="38"/>
                </a:cxn>
                <a:cxn ang="0">
                  <a:pos x="126" y="42"/>
                </a:cxn>
                <a:cxn ang="0">
                  <a:pos x="126" y="50"/>
                </a:cxn>
                <a:cxn ang="0">
                  <a:pos x="116" y="60"/>
                </a:cxn>
                <a:cxn ang="0">
                  <a:pos x="98" y="68"/>
                </a:cxn>
                <a:cxn ang="0">
                  <a:pos x="86" y="72"/>
                </a:cxn>
                <a:cxn ang="0">
                  <a:pos x="76" y="82"/>
                </a:cxn>
                <a:cxn ang="0">
                  <a:pos x="70" y="82"/>
                </a:cxn>
                <a:cxn ang="0">
                  <a:pos x="66" y="82"/>
                </a:cxn>
                <a:cxn ang="0">
                  <a:pos x="60" y="90"/>
                </a:cxn>
                <a:cxn ang="0">
                  <a:pos x="46" y="92"/>
                </a:cxn>
                <a:cxn ang="0">
                  <a:pos x="36" y="92"/>
                </a:cxn>
                <a:cxn ang="0">
                  <a:pos x="32" y="98"/>
                </a:cxn>
                <a:cxn ang="0">
                  <a:pos x="24" y="100"/>
                </a:cxn>
                <a:cxn ang="0">
                  <a:pos x="16" y="100"/>
                </a:cxn>
                <a:cxn ang="0">
                  <a:pos x="6" y="94"/>
                </a:cxn>
                <a:cxn ang="0">
                  <a:pos x="6" y="88"/>
                </a:cxn>
                <a:cxn ang="0">
                  <a:pos x="2" y="80"/>
                </a:cxn>
                <a:cxn ang="0">
                  <a:pos x="2" y="72"/>
                </a:cxn>
                <a:cxn ang="0">
                  <a:pos x="0" y="62"/>
                </a:cxn>
                <a:cxn ang="0">
                  <a:pos x="0" y="58"/>
                </a:cxn>
                <a:cxn ang="0">
                  <a:pos x="0" y="52"/>
                </a:cxn>
                <a:cxn ang="0">
                  <a:pos x="0" y="38"/>
                </a:cxn>
                <a:cxn ang="0">
                  <a:pos x="0" y="34"/>
                </a:cxn>
              </a:cxnLst>
              <a:rect l="0" t="0" r="r" b="b"/>
              <a:pathLst>
                <a:path w="140" h="102">
                  <a:moveTo>
                    <a:pt x="0" y="34"/>
                  </a:moveTo>
                  <a:lnTo>
                    <a:pt x="0" y="34"/>
                  </a:lnTo>
                  <a:lnTo>
                    <a:pt x="0" y="34"/>
                  </a:lnTo>
                  <a:lnTo>
                    <a:pt x="2" y="30"/>
                  </a:lnTo>
                  <a:lnTo>
                    <a:pt x="4" y="28"/>
                  </a:lnTo>
                  <a:lnTo>
                    <a:pt x="4" y="26"/>
                  </a:lnTo>
                  <a:lnTo>
                    <a:pt x="6" y="24"/>
                  </a:lnTo>
                  <a:lnTo>
                    <a:pt x="6" y="22"/>
                  </a:lnTo>
                  <a:lnTo>
                    <a:pt x="8" y="20"/>
                  </a:lnTo>
                  <a:lnTo>
                    <a:pt x="10" y="20"/>
                  </a:lnTo>
                  <a:lnTo>
                    <a:pt x="12" y="20"/>
                  </a:lnTo>
                  <a:lnTo>
                    <a:pt x="14" y="20"/>
                  </a:lnTo>
                  <a:lnTo>
                    <a:pt x="14" y="22"/>
                  </a:lnTo>
                  <a:lnTo>
                    <a:pt x="14" y="24"/>
                  </a:lnTo>
                  <a:lnTo>
                    <a:pt x="18" y="24"/>
                  </a:lnTo>
                  <a:lnTo>
                    <a:pt x="22" y="24"/>
                  </a:lnTo>
                  <a:lnTo>
                    <a:pt x="36" y="26"/>
                  </a:lnTo>
                  <a:lnTo>
                    <a:pt x="46" y="30"/>
                  </a:lnTo>
                  <a:lnTo>
                    <a:pt x="48" y="46"/>
                  </a:lnTo>
                  <a:lnTo>
                    <a:pt x="56" y="36"/>
                  </a:lnTo>
                  <a:lnTo>
                    <a:pt x="72" y="16"/>
                  </a:lnTo>
                  <a:lnTo>
                    <a:pt x="118" y="0"/>
                  </a:lnTo>
                  <a:lnTo>
                    <a:pt x="118" y="4"/>
                  </a:lnTo>
                  <a:lnTo>
                    <a:pt x="132" y="32"/>
                  </a:lnTo>
                  <a:lnTo>
                    <a:pt x="140" y="36"/>
                  </a:lnTo>
                  <a:lnTo>
                    <a:pt x="136" y="36"/>
                  </a:lnTo>
                  <a:lnTo>
                    <a:pt x="134" y="38"/>
                  </a:lnTo>
                  <a:lnTo>
                    <a:pt x="132" y="38"/>
                  </a:lnTo>
                  <a:lnTo>
                    <a:pt x="130" y="38"/>
                  </a:lnTo>
                  <a:lnTo>
                    <a:pt x="126" y="42"/>
                  </a:lnTo>
                  <a:lnTo>
                    <a:pt x="124" y="44"/>
                  </a:lnTo>
                  <a:lnTo>
                    <a:pt x="126" y="50"/>
                  </a:lnTo>
                  <a:lnTo>
                    <a:pt x="122" y="52"/>
                  </a:lnTo>
                  <a:lnTo>
                    <a:pt x="116" y="60"/>
                  </a:lnTo>
                  <a:lnTo>
                    <a:pt x="106" y="64"/>
                  </a:lnTo>
                  <a:lnTo>
                    <a:pt x="98" y="68"/>
                  </a:lnTo>
                  <a:lnTo>
                    <a:pt x="92" y="72"/>
                  </a:lnTo>
                  <a:lnTo>
                    <a:pt x="86" y="72"/>
                  </a:lnTo>
                  <a:lnTo>
                    <a:pt x="76" y="80"/>
                  </a:lnTo>
                  <a:lnTo>
                    <a:pt x="76" y="82"/>
                  </a:lnTo>
                  <a:lnTo>
                    <a:pt x="74" y="82"/>
                  </a:lnTo>
                  <a:lnTo>
                    <a:pt x="70" y="82"/>
                  </a:lnTo>
                  <a:lnTo>
                    <a:pt x="68" y="82"/>
                  </a:lnTo>
                  <a:lnTo>
                    <a:pt x="66" y="82"/>
                  </a:lnTo>
                  <a:lnTo>
                    <a:pt x="66" y="86"/>
                  </a:lnTo>
                  <a:lnTo>
                    <a:pt x="60" y="90"/>
                  </a:lnTo>
                  <a:lnTo>
                    <a:pt x="54" y="92"/>
                  </a:lnTo>
                  <a:lnTo>
                    <a:pt x="46" y="92"/>
                  </a:lnTo>
                  <a:lnTo>
                    <a:pt x="40" y="92"/>
                  </a:lnTo>
                  <a:lnTo>
                    <a:pt x="36" y="92"/>
                  </a:lnTo>
                  <a:lnTo>
                    <a:pt x="34" y="96"/>
                  </a:lnTo>
                  <a:lnTo>
                    <a:pt x="32" y="98"/>
                  </a:lnTo>
                  <a:lnTo>
                    <a:pt x="28" y="100"/>
                  </a:lnTo>
                  <a:lnTo>
                    <a:pt x="24" y="100"/>
                  </a:lnTo>
                  <a:lnTo>
                    <a:pt x="22" y="102"/>
                  </a:lnTo>
                  <a:lnTo>
                    <a:pt x="16" y="100"/>
                  </a:lnTo>
                  <a:lnTo>
                    <a:pt x="8" y="98"/>
                  </a:lnTo>
                  <a:lnTo>
                    <a:pt x="6" y="94"/>
                  </a:lnTo>
                  <a:lnTo>
                    <a:pt x="6" y="90"/>
                  </a:lnTo>
                  <a:lnTo>
                    <a:pt x="6" y="88"/>
                  </a:lnTo>
                  <a:lnTo>
                    <a:pt x="6" y="84"/>
                  </a:lnTo>
                  <a:lnTo>
                    <a:pt x="2" y="80"/>
                  </a:lnTo>
                  <a:lnTo>
                    <a:pt x="2" y="76"/>
                  </a:lnTo>
                  <a:lnTo>
                    <a:pt x="2" y="72"/>
                  </a:lnTo>
                  <a:lnTo>
                    <a:pt x="0" y="64"/>
                  </a:lnTo>
                  <a:lnTo>
                    <a:pt x="0" y="62"/>
                  </a:lnTo>
                  <a:lnTo>
                    <a:pt x="0" y="62"/>
                  </a:lnTo>
                  <a:lnTo>
                    <a:pt x="0" y="58"/>
                  </a:lnTo>
                  <a:lnTo>
                    <a:pt x="0" y="52"/>
                  </a:lnTo>
                  <a:lnTo>
                    <a:pt x="0" y="52"/>
                  </a:lnTo>
                  <a:lnTo>
                    <a:pt x="0" y="44"/>
                  </a:lnTo>
                  <a:lnTo>
                    <a:pt x="0" y="38"/>
                  </a:lnTo>
                  <a:lnTo>
                    <a:pt x="0" y="36"/>
                  </a:lnTo>
                  <a:lnTo>
                    <a:pt x="0" y="34"/>
                  </a:lnTo>
                  <a:lnTo>
                    <a:pt x="0" y="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8" name="Freeform 20">
              <a:extLst>
                <a:ext uri="{FF2B5EF4-FFF2-40B4-BE49-F238E27FC236}">
                  <a16:creationId xmlns:a16="http://schemas.microsoft.com/office/drawing/2014/main" id="{16C3A02B-BF18-4215-8BE3-7F5CE35E6A66}"/>
                </a:ext>
              </a:extLst>
            </p:cNvPr>
            <p:cNvSpPr>
              <a:spLocks/>
            </p:cNvSpPr>
            <p:nvPr/>
          </p:nvSpPr>
          <p:spPr bwMode="auto">
            <a:xfrm>
              <a:off x="2749278" y="4169614"/>
              <a:ext cx="150197" cy="142429"/>
            </a:xfrm>
            <a:custGeom>
              <a:avLst/>
              <a:gdLst/>
              <a:ahLst/>
              <a:cxnLst>
                <a:cxn ang="0">
                  <a:pos x="0" y="110"/>
                </a:cxn>
                <a:cxn ang="0">
                  <a:pos x="0" y="110"/>
                </a:cxn>
                <a:cxn ang="0">
                  <a:pos x="4" y="106"/>
                </a:cxn>
                <a:cxn ang="0">
                  <a:pos x="52" y="104"/>
                </a:cxn>
                <a:cxn ang="0">
                  <a:pos x="52" y="78"/>
                </a:cxn>
                <a:cxn ang="0">
                  <a:pos x="52" y="76"/>
                </a:cxn>
                <a:cxn ang="0">
                  <a:pos x="54" y="74"/>
                </a:cxn>
                <a:cxn ang="0">
                  <a:pos x="60" y="72"/>
                </a:cxn>
                <a:cxn ang="0">
                  <a:pos x="68" y="70"/>
                </a:cxn>
                <a:cxn ang="0">
                  <a:pos x="68" y="34"/>
                </a:cxn>
                <a:cxn ang="0">
                  <a:pos x="116" y="34"/>
                </a:cxn>
                <a:cxn ang="0">
                  <a:pos x="116" y="12"/>
                </a:cxn>
                <a:cxn ang="0">
                  <a:pos x="116" y="0"/>
                </a:cxn>
                <a:cxn ang="0">
                  <a:pos x="60" y="2"/>
                </a:cxn>
                <a:cxn ang="0">
                  <a:pos x="58" y="6"/>
                </a:cxn>
                <a:cxn ang="0">
                  <a:pos x="50" y="6"/>
                </a:cxn>
                <a:cxn ang="0">
                  <a:pos x="50" y="8"/>
                </a:cxn>
                <a:cxn ang="0">
                  <a:pos x="48" y="10"/>
                </a:cxn>
                <a:cxn ang="0">
                  <a:pos x="46" y="12"/>
                </a:cxn>
                <a:cxn ang="0">
                  <a:pos x="46" y="14"/>
                </a:cxn>
                <a:cxn ang="0">
                  <a:pos x="44" y="16"/>
                </a:cxn>
                <a:cxn ang="0">
                  <a:pos x="44" y="18"/>
                </a:cxn>
                <a:cxn ang="0">
                  <a:pos x="42" y="20"/>
                </a:cxn>
                <a:cxn ang="0">
                  <a:pos x="32" y="32"/>
                </a:cxn>
                <a:cxn ang="0">
                  <a:pos x="32" y="38"/>
                </a:cxn>
                <a:cxn ang="0">
                  <a:pos x="30" y="42"/>
                </a:cxn>
                <a:cxn ang="0">
                  <a:pos x="26" y="46"/>
                </a:cxn>
                <a:cxn ang="0">
                  <a:pos x="24" y="54"/>
                </a:cxn>
                <a:cxn ang="0">
                  <a:pos x="20" y="62"/>
                </a:cxn>
                <a:cxn ang="0">
                  <a:pos x="20" y="64"/>
                </a:cxn>
                <a:cxn ang="0">
                  <a:pos x="18" y="66"/>
                </a:cxn>
                <a:cxn ang="0">
                  <a:pos x="18" y="68"/>
                </a:cxn>
                <a:cxn ang="0">
                  <a:pos x="18" y="70"/>
                </a:cxn>
                <a:cxn ang="0">
                  <a:pos x="14" y="74"/>
                </a:cxn>
                <a:cxn ang="0">
                  <a:pos x="14" y="78"/>
                </a:cxn>
                <a:cxn ang="0">
                  <a:pos x="12" y="78"/>
                </a:cxn>
                <a:cxn ang="0">
                  <a:pos x="12" y="82"/>
                </a:cxn>
                <a:cxn ang="0">
                  <a:pos x="10" y="84"/>
                </a:cxn>
                <a:cxn ang="0">
                  <a:pos x="8" y="86"/>
                </a:cxn>
                <a:cxn ang="0">
                  <a:pos x="8" y="88"/>
                </a:cxn>
                <a:cxn ang="0">
                  <a:pos x="6" y="92"/>
                </a:cxn>
                <a:cxn ang="0">
                  <a:pos x="0" y="96"/>
                </a:cxn>
                <a:cxn ang="0">
                  <a:pos x="0" y="98"/>
                </a:cxn>
                <a:cxn ang="0">
                  <a:pos x="2" y="102"/>
                </a:cxn>
                <a:cxn ang="0">
                  <a:pos x="0" y="104"/>
                </a:cxn>
                <a:cxn ang="0">
                  <a:pos x="0" y="110"/>
                </a:cxn>
                <a:cxn ang="0">
                  <a:pos x="0" y="110"/>
                </a:cxn>
              </a:cxnLst>
              <a:rect l="0" t="0" r="r" b="b"/>
              <a:pathLst>
                <a:path w="116" h="110">
                  <a:moveTo>
                    <a:pt x="0" y="110"/>
                  </a:moveTo>
                  <a:lnTo>
                    <a:pt x="0" y="110"/>
                  </a:lnTo>
                  <a:lnTo>
                    <a:pt x="4" y="106"/>
                  </a:lnTo>
                  <a:lnTo>
                    <a:pt x="52" y="104"/>
                  </a:lnTo>
                  <a:lnTo>
                    <a:pt x="52" y="78"/>
                  </a:lnTo>
                  <a:lnTo>
                    <a:pt x="52" y="76"/>
                  </a:lnTo>
                  <a:lnTo>
                    <a:pt x="54" y="74"/>
                  </a:lnTo>
                  <a:lnTo>
                    <a:pt x="60" y="72"/>
                  </a:lnTo>
                  <a:lnTo>
                    <a:pt x="68" y="70"/>
                  </a:lnTo>
                  <a:lnTo>
                    <a:pt x="68" y="34"/>
                  </a:lnTo>
                  <a:lnTo>
                    <a:pt x="116" y="34"/>
                  </a:lnTo>
                  <a:lnTo>
                    <a:pt x="116" y="12"/>
                  </a:lnTo>
                  <a:lnTo>
                    <a:pt x="116" y="0"/>
                  </a:lnTo>
                  <a:lnTo>
                    <a:pt x="60" y="2"/>
                  </a:lnTo>
                  <a:lnTo>
                    <a:pt x="58" y="6"/>
                  </a:lnTo>
                  <a:lnTo>
                    <a:pt x="50" y="6"/>
                  </a:lnTo>
                  <a:lnTo>
                    <a:pt x="50" y="8"/>
                  </a:lnTo>
                  <a:lnTo>
                    <a:pt x="48" y="10"/>
                  </a:lnTo>
                  <a:lnTo>
                    <a:pt x="46" y="12"/>
                  </a:lnTo>
                  <a:lnTo>
                    <a:pt x="46" y="14"/>
                  </a:lnTo>
                  <a:lnTo>
                    <a:pt x="44" y="16"/>
                  </a:lnTo>
                  <a:lnTo>
                    <a:pt x="44" y="18"/>
                  </a:lnTo>
                  <a:lnTo>
                    <a:pt x="42" y="20"/>
                  </a:lnTo>
                  <a:lnTo>
                    <a:pt x="32" y="32"/>
                  </a:lnTo>
                  <a:lnTo>
                    <a:pt x="32" y="38"/>
                  </a:lnTo>
                  <a:lnTo>
                    <a:pt x="30" y="42"/>
                  </a:lnTo>
                  <a:lnTo>
                    <a:pt x="26" y="46"/>
                  </a:lnTo>
                  <a:lnTo>
                    <a:pt x="24" y="54"/>
                  </a:lnTo>
                  <a:lnTo>
                    <a:pt x="20" y="62"/>
                  </a:lnTo>
                  <a:lnTo>
                    <a:pt x="20" y="64"/>
                  </a:lnTo>
                  <a:lnTo>
                    <a:pt x="18" y="66"/>
                  </a:lnTo>
                  <a:lnTo>
                    <a:pt x="18" y="68"/>
                  </a:lnTo>
                  <a:lnTo>
                    <a:pt x="18" y="70"/>
                  </a:lnTo>
                  <a:lnTo>
                    <a:pt x="14" y="74"/>
                  </a:lnTo>
                  <a:lnTo>
                    <a:pt x="14" y="78"/>
                  </a:lnTo>
                  <a:lnTo>
                    <a:pt x="12" y="78"/>
                  </a:lnTo>
                  <a:lnTo>
                    <a:pt x="12" y="82"/>
                  </a:lnTo>
                  <a:lnTo>
                    <a:pt x="10" y="84"/>
                  </a:lnTo>
                  <a:lnTo>
                    <a:pt x="8" y="86"/>
                  </a:lnTo>
                  <a:lnTo>
                    <a:pt x="8" y="88"/>
                  </a:lnTo>
                  <a:lnTo>
                    <a:pt x="6" y="92"/>
                  </a:lnTo>
                  <a:lnTo>
                    <a:pt x="0" y="96"/>
                  </a:lnTo>
                  <a:lnTo>
                    <a:pt x="0" y="98"/>
                  </a:lnTo>
                  <a:lnTo>
                    <a:pt x="2" y="102"/>
                  </a:lnTo>
                  <a:lnTo>
                    <a:pt x="0" y="104"/>
                  </a:lnTo>
                  <a:lnTo>
                    <a:pt x="0" y="110"/>
                  </a:lnTo>
                  <a:lnTo>
                    <a:pt x="0" y="1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59" name="Freeform 21">
              <a:extLst>
                <a:ext uri="{FF2B5EF4-FFF2-40B4-BE49-F238E27FC236}">
                  <a16:creationId xmlns:a16="http://schemas.microsoft.com/office/drawing/2014/main" id="{767ED29B-A6F4-43A2-810B-6D5281655843}"/>
                </a:ext>
              </a:extLst>
            </p:cNvPr>
            <p:cNvSpPr>
              <a:spLocks/>
            </p:cNvSpPr>
            <p:nvPr/>
          </p:nvSpPr>
          <p:spPr bwMode="auto">
            <a:xfrm>
              <a:off x="4753636" y="4275788"/>
              <a:ext cx="119122" cy="305574"/>
            </a:xfrm>
            <a:custGeom>
              <a:avLst/>
              <a:gdLst/>
              <a:ahLst/>
              <a:cxnLst>
                <a:cxn ang="0">
                  <a:pos x="64" y="24"/>
                </a:cxn>
                <a:cxn ang="0">
                  <a:pos x="50" y="12"/>
                </a:cxn>
                <a:cxn ang="0">
                  <a:pos x="42" y="2"/>
                </a:cxn>
                <a:cxn ang="0">
                  <a:pos x="22" y="6"/>
                </a:cxn>
                <a:cxn ang="0">
                  <a:pos x="0" y="8"/>
                </a:cxn>
                <a:cxn ang="0">
                  <a:pos x="8" y="28"/>
                </a:cxn>
                <a:cxn ang="0">
                  <a:pos x="20" y="36"/>
                </a:cxn>
                <a:cxn ang="0">
                  <a:pos x="34" y="38"/>
                </a:cxn>
                <a:cxn ang="0">
                  <a:pos x="24" y="52"/>
                </a:cxn>
                <a:cxn ang="0">
                  <a:pos x="28" y="64"/>
                </a:cxn>
                <a:cxn ang="0">
                  <a:pos x="40" y="86"/>
                </a:cxn>
                <a:cxn ang="0">
                  <a:pos x="52" y="100"/>
                </a:cxn>
                <a:cxn ang="0">
                  <a:pos x="62" y="114"/>
                </a:cxn>
                <a:cxn ang="0">
                  <a:pos x="64" y="134"/>
                </a:cxn>
                <a:cxn ang="0">
                  <a:pos x="68" y="156"/>
                </a:cxn>
                <a:cxn ang="0">
                  <a:pos x="66" y="176"/>
                </a:cxn>
                <a:cxn ang="0">
                  <a:pos x="54" y="188"/>
                </a:cxn>
                <a:cxn ang="0">
                  <a:pos x="44" y="194"/>
                </a:cxn>
                <a:cxn ang="0">
                  <a:pos x="30" y="200"/>
                </a:cxn>
                <a:cxn ang="0">
                  <a:pos x="28" y="214"/>
                </a:cxn>
                <a:cxn ang="0">
                  <a:pos x="32" y="232"/>
                </a:cxn>
                <a:cxn ang="0">
                  <a:pos x="34" y="236"/>
                </a:cxn>
                <a:cxn ang="0">
                  <a:pos x="44" y="228"/>
                </a:cxn>
                <a:cxn ang="0">
                  <a:pos x="40" y="214"/>
                </a:cxn>
                <a:cxn ang="0">
                  <a:pos x="50" y="220"/>
                </a:cxn>
                <a:cxn ang="0">
                  <a:pos x="48" y="216"/>
                </a:cxn>
                <a:cxn ang="0">
                  <a:pos x="40" y="208"/>
                </a:cxn>
                <a:cxn ang="0">
                  <a:pos x="56" y="210"/>
                </a:cxn>
                <a:cxn ang="0">
                  <a:pos x="60" y="208"/>
                </a:cxn>
                <a:cxn ang="0">
                  <a:pos x="68" y="206"/>
                </a:cxn>
                <a:cxn ang="0">
                  <a:pos x="88" y="190"/>
                </a:cxn>
                <a:cxn ang="0">
                  <a:pos x="90" y="180"/>
                </a:cxn>
                <a:cxn ang="0">
                  <a:pos x="90" y="172"/>
                </a:cxn>
                <a:cxn ang="0">
                  <a:pos x="90" y="166"/>
                </a:cxn>
                <a:cxn ang="0">
                  <a:pos x="86" y="146"/>
                </a:cxn>
                <a:cxn ang="0">
                  <a:pos x="84" y="134"/>
                </a:cxn>
                <a:cxn ang="0">
                  <a:pos x="74" y="118"/>
                </a:cxn>
                <a:cxn ang="0">
                  <a:pos x="62" y="102"/>
                </a:cxn>
                <a:cxn ang="0">
                  <a:pos x="52" y="94"/>
                </a:cxn>
                <a:cxn ang="0">
                  <a:pos x="42" y="78"/>
                </a:cxn>
                <a:cxn ang="0">
                  <a:pos x="40" y="64"/>
                </a:cxn>
                <a:cxn ang="0">
                  <a:pos x="44" y="54"/>
                </a:cxn>
                <a:cxn ang="0">
                  <a:pos x="58" y="36"/>
                </a:cxn>
                <a:cxn ang="0">
                  <a:pos x="68" y="30"/>
                </a:cxn>
                <a:cxn ang="0">
                  <a:pos x="74" y="26"/>
                </a:cxn>
              </a:cxnLst>
              <a:rect l="0" t="0" r="r" b="b"/>
              <a:pathLst>
                <a:path w="92" h="236">
                  <a:moveTo>
                    <a:pt x="74" y="26"/>
                  </a:moveTo>
                  <a:lnTo>
                    <a:pt x="68" y="24"/>
                  </a:lnTo>
                  <a:lnTo>
                    <a:pt x="64" y="24"/>
                  </a:lnTo>
                  <a:lnTo>
                    <a:pt x="58" y="22"/>
                  </a:lnTo>
                  <a:lnTo>
                    <a:pt x="54" y="18"/>
                  </a:lnTo>
                  <a:lnTo>
                    <a:pt x="50" y="12"/>
                  </a:lnTo>
                  <a:lnTo>
                    <a:pt x="52" y="6"/>
                  </a:lnTo>
                  <a:lnTo>
                    <a:pt x="46" y="4"/>
                  </a:lnTo>
                  <a:lnTo>
                    <a:pt x="42" y="2"/>
                  </a:lnTo>
                  <a:lnTo>
                    <a:pt x="36" y="0"/>
                  </a:lnTo>
                  <a:lnTo>
                    <a:pt x="30" y="6"/>
                  </a:lnTo>
                  <a:lnTo>
                    <a:pt x="22" y="6"/>
                  </a:lnTo>
                  <a:lnTo>
                    <a:pt x="14" y="8"/>
                  </a:lnTo>
                  <a:lnTo>
                    <a:pt x="6" y="6"/>
                  </a:lnTo>
                  <a:lnTo>
                    <a:pt x="0" y="8"/>
                  </a:lnTo>
                  <a:lnTo>
                    <a:pt x="4" y="18"/>
                  </a:lnTo>
                  <a:lnTo>
                    <a:pt x="4" y="22"/>
                  </a:lnTo>
                  <a:lnTo>
                    <a:pt x="8" y="28"/>
                  </a:lnTo>
                  <a:lnTo>
                    <a:pt x="14" y="30"/>
                  </a:lnTo>
                  <a:lnTo>
                    <a:pt x="14" y="34"/>
                  </a:lnTo>
                  <a:lnTo>
                    <a:pt x="20" y="36"/>
                  </a:lnTo>
                  <a:lnTo>
                    <a:pt x="22" y="32"/>
                  </a:lnTo>
                  <a:lnTo>
                    <a:pt x="28" y="34"/>
                  </a:lnTo>
                  <a:lnTo>
                    <a:pt x="34" y="38"/>
                  </a:lnTo>
                  <a:lnTo>
                    <a:pt x="34" y="46"/>
                  </a:lnTo>
                  <a:lnTo>
                    <a:pt x="30" y="48"/>
                  </a:lnTo>
                  <a:lnTo>
                    <a:pt x="24" y="52"/>
                  </a:lnTo>
                  <a:lnTo>
                    <a:pt x="22" y="54"/>
                  </a:lnTo>
                  <a:lnTo>
                    <a:pt x="22" y="60"/>
                  </a:lnTo>
                  <a:lnTo>
                    <a:pt x="28" y="64"/>
                  </a:lnTo>
                  <a:lnTo>
                    <a:pt x="30" y="74"/>
                  </a:lnTo>
                  <a:lnTo>
                    <a:pt x="36" y="82"/>
                  </a:lnTo>
                  <a:lnTo>
                    <a:pt x="40" y="86"/>
                  </a:lnTo>
                  <a:lnTo>
                    <a:pt x="42" y="92"/>
                  </a:lnTo>
                  <a:lnTo>
                    <a:pt x="46" y="96"/>
                  </a:lnTo>
                  <a:lnTo>
                    <a:pt x="52" y="100"/>
                  </a:lnTo>
                  <a:lnTo>
                    <a:pt x="54" y="106"/>
                  </a:lnTo>
                  <a:lnTo>
                    <a:pt x="58" y="114"/>
                  </a:lnTo>
                  <a:lnTo>
                    <a:pt x="62" y="114"/>
                  </a:lnTo>
                  <a:lnTo>
                    <a:pt x="64" y="120"/>
                  </a:lnTo>
                  <a:lnTo>
                    <a:pt x="64" y="130"/>
                  </a:lnTo>
                  <a:lnTo>
                    <a:pt x="64" y="134"/>
                  </a:lnTo>
                  <a:lnTo>
                    <a:pt x="64" y="142"/>
                  </a:lnTo>
                  <a:lnTo>
                    <a:pt x="66" y="148"/>
                  </a:lnTo>
                  <a:lnTo>
                    <a:pt x="68" y="156"/>
                  </a:lnTo>
                  <a:lnTo>
                    <a:pt x="68" y="164"/>
                  </a:lnTo>
                  <a:lnTo>
                    <a:pt x="66" y="168"/>
                  </a:lnTo>
                  <a:lnTo>
                    <a:pt x="66" y="176"/>
                  </a:lnTo>
                  <a:lnTo>
                    <a:pt x="64" y="182"/>
                  </a:lnTo>
                  <a:lnTo>
                    <a:pt x="60" y="186"/>
                  </a:lnTo>
                  <a:lnTo>
                    <a:pt x="54" y="188"/>
                  </a:lnTo>
                  <a:lnTo>
                    <a:pt x="52" y="190"/>
                  </a:lnTo>
                  <a:lnTo>
                    <a:pt x="50" y="196"/>
                  </a:lnTo>
                  <a:lnTo>
                    <a:pt x="44" y="194"/>
                  </a:lnTo>
                  <a:lnTo>
                    <a:pt x="36" y="194"/>
                  </a:lnTo>
                  <a:lnTo>
                    <a:pt x="34" y="198"/>
                  </a:lnTo>
                  <a:lnTo>
                    <a:pt x="30" y="200"/>
                  </a:lnTo>
                  <a:lnTo>
                    <a:pt x="24" y="208"/>
                  </a:lnTo>
                  <a:lnTo>
                    <a:pt x="26" y="210"/>
                  </a:lnTo>
                  <a:lnTo>
                    <a:pt x="28" y="214"/>
                  </a:lnTo>
                  <a:lnTo>
                    <a:pt x="28" y="226"/>
                  </a:lnTo>
                  <a:lnTo>
                    <a:pt x="28" y="230"/>
                  </a:lnTo>
                  <a:lnTo>
                    <a:pt x="32" y="232"/>
                  </a:lnTo>
                  <a:lnTo>
                    <a:pt x="30" y="236"/>
                  </a:lnTo>
                  <a:lnTo>
                    <a:pt x="32" y="236"/>
                  </a:lnTo>
                  <a:lnTo>
                    <a:pt x="34" y="236"/>
                  </a:lnTo>
                  <a:lnTo>
                    <a:pt x="36" y="232"/>
                  </a:lnTo>
                  <a:lnTo>
                    <a:pt x="38" y="228"/>
                  </a:lnTo>
                  <a:lnTo>
                    <a:pt x="44" y="228"/>
                  </a:lnTo>
                  <a:lnTo>
                    <a:pt x="42" y="220"/>
                  </a:lnTo>
                  <a:lnTo>
                    <a:pt x="40" y="216"/>
                  </a:lnTo>
                  <a:lnTo>
                    <a:pt x="40" y="214"/>
                  </a:lnTo>
                  <a:lnTo>
                    <a:pt x="46" y="220"/>
                  </a:lnTo>
                  <a:lnTo>
                    <a:pt x="50" y="220"/>
                  </a:lnTo>
                  <a:lnTo>
                    <a:pt x="50" y="220"/>
                  </a:lnTo>
                  <a:lnTo>
                    <a:pt x="52" y="220"/>
                  </a:lnTo>
                  <a:lnTo>
                    <a:pt x="52" y="218"/>
                  </a:lnTo>
                  <a:lnTo>
                    <a:pt x="48" y="216"/>
                  </a:lnTo>
                  <a:lnTo>
                    <a:pt x="44" y="214"/>
                  </a:lnTo>
                  <a:lnTo>
                    <a:pt x="44" y="212"/>
                  </a:lnTo>
                  <a:lnTo>
                    <a:pt x="40" y="208"/>
                  </a:lnTo>
                  <a:lnTo>
                    <a:pt x="48" y="210"/>
                  </a:lnTo>
                  <a:lnTo>
                    <a:pt x="56" y="212"/>
                  </a:lnTo>
                  <a:lnTo>
                    <a:pt x="56" y="210"/>
                  </a:lnTo>
                  <a:lnTo>
                    <a:pt x="58" y="210"/>
                  </a:lnTo>
                  <a:lnTo>
                    <a:pt x="60" y="210"/>
                  </a:lnTo>
                  <a:lnTo>
                    <a:pt x="60" y="208"/>
                  </a:lnTo>
                  <a:lnTo>
                    <a:pt x="62" y="208"/>
                  </a:lnTo>
                  <a:lnTo>
                    <a:pt x="64" y="210"/>
                  </a:lnTo>
                  <a:lnTo>
                    <a:pt x="68" y="206"/>
                  </a:lnTo>
                  <a:lnTo>
                    <a:pt x="70" y="202"/>
                  </a:lnTo>
                  <a:lnTo>
                    <a:pt x="74" y="202"/>
                  </a:lnTo>
                  <a:lnTo>
                    <a:pt x="88" y="190"/>
                  </a:lnTo>
                  <a:lnTo>
                    <a:pt x="88" y="186"/>
                  </a:lnTo>
                  <a:lnTo>
                    <a:pt x="90" y="184"/>
                  </a:lnTo>
                  <a:lnTo>
                    <a:pt x="90" y="180"/>
                  </a:lnTo>
                  <a:lnTo>
                    <a:pt x="90" y="178"/>
                  </a:lnTo>
                  <a:lnTo>
                    <a:pt x="90" y="174"/>
                  </a:lnTo>
                  <a:lnTo>
                    <a:pt x="90" y="172"/>
                  </a:lnTo>
                  <a:lnTo>
                    <a:pt x="92" y="170"/>
                  </a:lnTo>
                  <a:lnTo>
                    <a:pt x="92" y="166"/>
                  </a:lnTo>
                  <a:lnTo>
                    <a:pt x="90" y="166"/>
                  </a:lnTo>
                  <a:lnTo>
                    <a:pt x="88" y="158"/>
                  </a:lnTo>
                  <a:lnTo>
                    <a:pt x="88" y="148"/>
                  </a:lnTo>
                  <a:lnTo>
                    <a:pt x="86" y="146"/>
                  </a:lnTo>
                  <a:lnTo>
                    <a:pt x="86" y="140"/>
                  </a:lnTo>
                  <a:lnTo>
                    <a:pt x="82" y="138"/>
                  </a:lnTo>
                  <a:lnTo>
                    <a:pt x="84" y="134"/>
                  </a:lnTo>
                  <a:lnTo>
                    <a:pt x="82" y="130"/>
                  </a:lnTo>
                  <a:lnTo>
                    <a:pt x="74" y="122"/>
                  </a:lnTo>
                  <a:lnTo>
                    <a:pt x="74" y="118"/>
                  </a:lnTo>
                  <a:lnTo>
                    <a:pt x="74" y="114"/>
                  </a:lnTo>
                  <a:lnTo>
                    <a:pt x="66" y="112"/>
                  </a:lnTo>
                  <a:lnTo>
                    <a:pt x="62" y="102"/>
                  </a:lnTo>
                  <a:lnTo>
                    <a:pt x="62" y="100"/>
                  </a:lnTo>
                  <a:lnTo>
                    <a:pt x="54" y="96"/>
                  </a:lnTo>
                  <a:lnTo>
                    <a:pt x="52" y="94"/>
                  </a:lnTo>
                  <a:lnTo>
                    <a:pt x="48" y="90"/>
                  </a:lnTo>
                  <a:lnTo>
                    <a:pt x="48" y="86"/>
                  </a:lnTo>
                  <a:lnTo>
                    <a:pt x="42" y="78"/>
                  </a:lnTo>
                  <a:lnTo>
                    <a:pt x="38" y="72"/>
                  </a:lnTo>
                  <a:lnTo>
                    <a:pt x="38" y="66"/>
                  </a:lnTo>
                  <a:lnTo>
                    <a:pt x="40" y="64"/>
                  </a:lnTo>
                  <a:lnTo>
                    <a:pt x="40" y="60"/>
                  </a:lnTo>
                  <a:lnTo>
                    <a:pt x="40" y="56"/>
                  </a:lnTo>
                  <a:lnTo>
                    <a:pt x="44" y="54"/>
                  </a:lnTo>
                  <a:lnTo>
                    <a:pt x="48" y="52"/>
                  </a:lnTo>
                  <a:lnTo>
                    <a:pt x="58" y="40"/>
                  </a:lnTo>
                  <a:lnTo>
                    <a:pt x="58" y="36"/>
                  </a:lnTo>
                  <a:lnTo>
                    <a:pt x="60" y="36"/>
                  </a:lnTo>
                  <a:lnTo>
                    <a:pt x="64" y="34"/>
                  </a:lnTo>
                  <a:lnTo>
                    <a:pt x="68" y="30"/>
                  </a:lnTo>
                  <a:lnTo>
                    <a:pt x="74" y="28"/>
                  </a:lnTo>
                  <a:lnTo>
                    <a:pt x="74" y="26"/>
                  </a:lnTo>
                  <a:lnTo>
                    <a:pt x="74" y="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0" name="Freeform 22">
              <a:extLst>
                <a:ext uri="{FF2B5EF4-FFF2-40B4-BE49-F238E27FC236}">
                  <a16:creationId xmlns:a16="http://schemas.microsoft.com/office/drawing/2014/main" id="{3437EC5F-3617-4C31-B419-7AD91AA462E5}"/>
                </a:ext>
              </a:extLst>
            </p:cNvPr>
            <p:cNvSpPr>
              <a:spLocks/>
            </p:cNvSpPr>
            <p:nvPr/>
          </p:nvSpPr>
          <p:spPr bwMode="auto">
            <a:xfrm>
              <a:off x="1798891" y="4503674"/>
              <a:ext cx="227886" cy="243423"/>
            </a:xfrm>
            <a:custGeom>
              <a:avLst/>
              <a:gdLst/>
              <a:ahLst/>
              <a:cxnLst>
                <a:cxn ang="0">
                  <a:pos x="14" y="16"/>
                </a:cxn>
                <a:cxn ang="0">
                  <a:pos x="2" y="40"/>
                </a:cxn>
                <a:cxn ang="0">
                  <a:pos x="0" y="54"/>
                </a:cxn>
                <a:cxn ang="0">
                  <a:pos x="14" y="66"/>
                </a:cxn>
                <a:cxn ang="0">
                  <a:pos x="12" y="74"/>
                </a:cxn>
                <a:cxn ang="0">
                  <a:pos x="28" y="90"/>
                </a:cxn>
                <a:cxn ang="0">
                  <a:pos x="46" y="92"/>
                </a:cxn>
                <a:cxn ang="0">
                  <a:pos x="70" y="110"/>
                </a:cxn>
                <a:cxn ang="0">
                  <a:pos x="68" y="122"/>
                </a:cxn>
                <a:cxn ang="0">
                  <a:pos x="82" y="136"/>
                </a:cxn>
                <a:cxn ang="0">
                  <a:pos x="88" y="158"/>
                </a:cxn>
                <a:cxn ang="0">
                  <a:pos x="88" y="166"/>
                </a:cxn>
                <a:cxn ang="0">
                  <a:pos x="92" y="182"/>
                </a:cxn>
                <a:cxn ang="0">
                  <a:pos x="108" y="182"/>
                </a:cxn>
                <a:cxn ang="0">
                  <a:pos x="118" y="176"/>
                </a:cxn>
                <a:cxn ang="0">
                  <a:pos x="126" y="166"/>
                </a:cxn>
                <a:cxn ang="0">
                  <a:pos x="132" y="160"/>
                </a:cxn>
                <a:cxn ang="0">
                  <a:pos x="118" y="160"/>
                </a:cxn>
                <a:cxn ang="0">
                  <a:pos x="114" y="146"/>
                </a:cxn>
                <a:cxn ang="0">
                  <a:pos x="108" y="132"/>
                </a:cxn>
                <a:cxn ang="0">
                  <a:pos x="120" y="132"/>
                </a:cxn>
                <a:cxn ang="0">
                  <a:pos x="136" y="136"/>
                </a:cxn>
                <a:cxn ang="0">
                  <a:pos x="140" y="130"/>
                </a:cxn>
                <a:cxn ang="0">
                  <a:pos x="154" y="128"/>
                </a:cxn>
                <a:cxn ang="0">
                  <a:pos x="156" y="122"/>
                </a:cxn>
                <a:cxn ang="0">
                  <a:pos x="154" y="96"/>
                </a:cxn>
                <a:cxn ang="0">
                  <a:pos x="166" y="86"/>
                </a:cxn>
                <a:cxn ang="0">
                  <a:pos x="168" y="80"/>
                </a:cxn>
                <a:cxn ang="0">
                  <a:pos x="160" y="70"/>
                </a:cxn>
                <a:cxn ang="0">
                  <a:pos x="172" y="64"/>
                </a:cxn>
                <a:cxn ang="0">
                  <a:pos x="168" y="54"/>
                </a:cxn>
                <a:cxn ang="0">
                  <a:pos x="158" y="56"/>
                </a:cxn>
                <a:cxn ang="0">
                  <a:pos x="162" y="46"/>
                </a:cxn>
                <a:cxn ang="0">
                  <a:pos x="156" y="38"/>
                </a:cxn>
                <a:cxn ang="0">
                  <a:pos x="152" y="34"/>
                </a:cxn>
                <a:cxn ang="0">
                  <a:pos x="142" y="26"/>
                </a:cxn>
                <a:cxn ang="0">
                  <a:pos x="150" y="22"/>
                </a:cxn>
                <a:cxn ang="0">
                  <a:pos x="126" y="26"/>
                </a:cxn>
                <a:cxn ang="0">
                  <a:pos x="104" y="30"/>
                </a:cxn>
                <a:cxn ang="0">
                  <a:pos x="94" y="22"/>
                </a:cxn>
                <a:cxn ang="0">
                  <a:pos x="74" y="26"/>
                </a:cxn>
                <a:cxn ang="0">
                  <a:pos x="66" y="12"/>
                </a:cxn>
                <a:cxn ang="0">
                  <a:pos x="50" y="4"/>
                </a:cxn>
                <a:cxn ang="0">
                  <a:pos x="44" y="6"/>
                </a:cxn>
                <a:cxn ang="0">
                  <a:pos x="32" y="16"/>
                </a:cxn>
                <a:cxn ang="0">
                  <a:pos x="36" y="36"/>
                </a:cxn>
                <a:cxn ang="0">
                  <a:pos x="28" y="48"/>
                </a:cxn>
                <a:cxn ang="0">
                  <a:pos x="22" y="36"/>
                </a:cxn>
                <a:cxn ang="0">
                  <a:pos x="30" y="22"/>
                </a:cxn>
                <a:cxn ang="0">
                  <a:pos x="28" y="16"/>
                </a:cxn>
                <a:cxn ang="0">
                  <a:pos x="24" y="8"/>
                </a:cxn>
              </a:cxnLst>
              <a:rect l="0" t="0" r="r" b="b"/>
              <a:pathLst>
                <a:path w="176" h="188">
                  <a:moveTo>
                    <a:pt x="28" y="4"/>
                  </a:moveTo>
                  <a:lnTo>
                    <a:pt x="28" y="4"/>
                  </a:lnTo>
                  <a:lnTo>
                    <a:pt x="20" y="6"/>
                  </a:lnTo>
                  <a:lnTo>
                    <a:pt x="14" y="16"/>
                  </a:lnTo>
                  <a:lnTo>
                    <a:pt x="8" y="30"/>
                  </a:lnTo>
                  <a:lnTo>
                    <a:pt x="2" y="32"/>
                  </a:lnTo>
                  <a:lnTo>
                    <a:pt x="4" y="34"/>
                  </a:lnTo>
                  <a:lnTo>
                    <a:pt x="2" y="40"/>
                  </a:lnTo>
                  <a:lnTo>
                    <a:pt x="2" y="46"/>
                  </a:lnTo>
                  <a:lnTo>
                    <a:pt x="2" y="48"/>
                  </a:lnTo>
                  <a:lnTo>
                    <a:pt x="0" y="50"/>
                  </a:lnTo>
                  <a:lnTo>
                    <a:pt x="0" y="54"/>
                  </a:lnTo>
                  <a:lnTo>
                    <a:pt x="0" y="56"/>
                  </a:lnTo>
                  <a:lnTo>
                    <a:pt x="2" y="56"/>
                  </a:lnTo>
                  <a:lnTo>
                    <a:pt x="8" y="54"/>
                  </a:lnTo>
                  <a:lnTo>
                    <a:pt x="14" y="66"/>
                  </a:lnTo>
                  <a:lnTo>
                    <a:pt x="12" y="68"/>
                  </a:lnTo>
                  <a:lnTo>
                    <a:pt x="10" y="68"/>
                  </a:lnTo>
                  <a:lnTo>
                    <a:pt x="10" y="70"/>
                  </a:lnTo>
                  <a:lnTo>
                    <a:pt x="12" y="74"/>
                  </a:lnTo>
                  <a:lnTo>
                    <a:pt x="16" y="80"/>
                  </a:lnTo>
                  <a:lnTo>
                    <a:pt x="18" y="86"/>
                  </a:lnTo>
                  <a:lnTo>
                    <a:pt x="18" y="88"/>
                  </a:lnTo>
                  <a:lnTo>
                    <a:pt x="28" y="90"/>
                  </a:lnTo>
                  <a:lnTo>
                    <a:pt x="32" y="90"/>
                  </a:lnTo>
                  <a:lnTo>
                    <a:pt x="36" y="90"/>
                  </a:lnTo>
                  <a:lnTo>
                    <a:pt x="42" y="90"/>
                  </a:lnTo>
                  <a:lnTo>
                    <a:pt x="46" y="92"/>
                  </a:lnTo>
                  <a:lnTo>
                    <a:pt x="52" y="102"/>
                  </a:lnTo>
                  <a:lnTo>
                    <a:pt x="62" y="102"/>
                  </a:lnTo>
                  <a:lnTo>
                    <a:pt x="70" y="102"/>
                  </a:lnTo>
                  <a:lnTo>
                    <a:pt x="70" y="110"/>
                  </a:lnTo>
                  <a:lnTo>
                    <a:pt x="68" y="112"/>
                  </a:lnTo>
                  <a:lnTo>
                    <a:pt x="66" y="114"/>
                  </a:lnTo>
                  <a:lnTo>
                    <a:pt x="68" y="118"/>
                  </a:lnTo>
                  <a:lnTo>
                    <a:pt x="68" y="122"/>
                  </a:lnTo>
                  <a:lnTo>
                    <a:pt x="70" y="124"/>
                  </a:lnTo>
                  <a:lnTo>
                    <a:pt x="74" y="128"/>
                  </a:lnTo>
                  <a:lnTo>
                    <a:pt x="78" y="132"/>
                  </a:lnTo>
                  <a:lnTo>
                    <a:pt x="82" y="136"/>
                  </a:lnTo>
                  <a:lnTo>
                    <a:pt x="88" y="142"/>
                  </a:lnTo>
                  <a:lnTo>
                    <a:pt x="94" y="144"/>
                  </a:lnTo>
                  <a:lnTo>
                    <a:pt x="92" y="152"/>
                  </a:lnTo>
                  <a:lnTo>
                    <a:pt x="88" y="158"/>
                  </a:lnTo>
                  <a:lnTo>
                    <a:pt x="86" y="160"/>
                  </a:lnTo>
                  <a:lnTo>
                    <a:pt x="84" y="164"/>
                  </a:lnTo>
                  <a:lnTo>
                    <a:pt x="86" y="166"/>
                  </a:lnTo>
                  <a:lnTo>
                    <a:pt x="88" y="166"/>
                  </a:lnTo>
                  <a:lnTo>
                    <a:pt x="90" y="164"/>
                  </a:lnTo>
                  <a:lnTo>
                    <a:pt x="90" y="170"/>
                  </a:lnTo>
                  <a:lnTo>
                    <a:pt x="94" y="174"/>
                  </a:lnTo>
                  <a:lnTo>
                    <a:pt x="92" y="182"/>
                  </a:lnTo>
                  <a:lnTo>
                    <a:pt x="98" y="188"/>
                  </a:lnTo>
                  <a:lnTo>
                    <a:pt x="100" y="186"/>
                  </a:lnTo>
                  <a:lnTo>
                    <a:pt x="106" y="184"/>
                  </a:lnTo>
                  <a:lnTo>
                    <a:pt x="108" y="182"/>
                  </a:lnTo>
                  <a:lnTo>
                    <a:pt x="110" y="180"/>
                  </a:lnTo>
                  <a:lnTo>
                    <a:pt x="112" y="178"/>
                  </a:lnTo>
                  <a:lnTo>
                    <a:pt x="114" y="178"/>
                  </a:lnTo>
                  <a:lnTo>
                    <a:pt x="118" y="176"/>
                  </a:lnTo>
                  <a:lnTo>
                    <a:pt x="120" y="174"/>
                  </a:lnTo>
                  <a:lnTo>
                    <a:pt x="122" y="172"/>
                  </a:lnTo>
                  <a:lnTo>
                    <a:pt x="124" y="170"/>
                  </a:lnTo>
                  <a:lnTo>
                    <a:pt x="126" y="166"/>
                  </a:lnTo>
                  <a:lnTo>
                    <a:pt x="128" y="166"/>
                  </a:lnTo>
                  <a:lnTo>
                    <a:pt x="132" y="164"/>
                  </a:lnTo>
                  <a:lnTo>
                    <a:pt x="134" y="164"/>
                  </a:lnTo>
                  <a:lnTo>
                    <a:pt x="132" y="160"/>
                  </a:lnTo>
                  <a:lnTo>
                    <a:pt x="130" y="160"/>
                  </a:lnTo>
                  <a:lnTo>
                    <a:pt x="128" y="158"/>
                  </a:lnTo>
                  <a:lnTo>
                    <a:pt x="122" y="160"/>
                  </a:lnTo>
                  <a:lnTo>
                    <a:pt x="118" y="160"/>
                  </a:lnTo>
                  <a:lnTo>
                    <a:pt x="116" y="158"/>
                  </a:lnTo>
                  <a:lnTo>
                    <a:pt x="114" y="156"/>
                  </a:lnTo>
                  <a:lnTo>
                    <a:pt x="114" y="152"/>
                  </a:lnTo>
                  <a:lnTo>
                    <a:pt x="114" y="146"/>
                  </a:lnTo>
                  <a:lnTo>
                    <a:pt x="112" y="138"/>
                  </a:lnTo>
                  <a:lnTo>
                    <a:pt x="110" y="134"/>
                  </a:lnTo>
                  <a:lnTo>
                    <a:pt x="110" y="132"/>
                  </a:lnTo>
                  <a:lnTo>
                    <a:pt x="108" y="132"/>
                  </a:lnTo>
                  <a:lnTo>
                    <a:pt x="106" y="130"/>
                  </a:lnTo>
                  <a:lnTo>
                    <a:pt x="110" y="130"/>
                  </a:lnTo>
                  <a:lnTo>
                    <a:pt x="116" y="132"/>
                  </a:lnTo>
                  <a:lnTo>
                    <a:pt x="120" y="132"/>
                  </a:lnTo>
                  <a:lnTo>
                    <a:pt x="124" y="132"/>
                  </a:lnTo>
                  <a:lnTo>
                    <a:pt x="128" y="134"/>
                  </a:lnTo>
                  <a:lnTo>
                    <a:pt x="134" y="136"/>
                  </a:lnTo>
                  <a:lnTo>
                    <a:pt x="136" y="136"/>
                  </a:lnTo>
                  <a:lnTo>
                    <a:pt x="134" y="134"/>
                  </a:lnTo>
                  <a:lnTo>
                    <a:pt x="136" y="132"/>
                  </a:lnTo>
                  <a:lnTo>
                    <a:pt x="138" y="130"/>
                  </a:lnTo>
                  <a:lnTo>
                    <a:pt x="140" y="130"/>
                  </a:lnTo>
                  <a:lnTo>
                    <a:pt x="148" y="132"/>
                  </a:lnTo>
                  <a:lnTo>
                    <a:pt x="150" y="132"/>
                  </a:lnTo>
                  <a:lnTo>
                    <a:pt x="150" y="130"/>
                  </a:lnTo>
                  <a:lnTo>
                    <a:pt x="154" y="128"/>
                  </a:lnTo>
                  <a:lnTo>
                    <a:pt x="154" y="126"/>
                  </a:lnTo>
                  <a:lnTo>
                    <a:pt x="156" y="124"/>
                  </a:lnTo>
                  <a:lnTo>
                    <a:pt x="156" y="124"/>
                  </a:lnTo>
                  <a:lnTo>
                    <a:pt x="156" y="122"/>
                  </a:lnTo>
                  <a:lnTo>
                    <a:pt x="164" y="122"/>
                  </a:lnTo>
                  <a:lnTo>
                    <a:pt x="164" y="116"/>
                  </a:lnTo>
                  <a:lnTo>
                    <a:pt x="164" y="112"/>
                  </a:lnTo>
                  <a:lnTo>
                    <a:pt x="154" y="96"/>
                  </a:lnTo>
                  <a:lnTo>
                    <a:pt x="158" y="94"/>
                  </a:lnTo>
                  <a:lnTo>
                    <a:pt x="158" y="90"/>
                  </a:lnTo>
                  <a:lnTo>
                    <a:pt x="158" y="88"/>
                  </a:lnTo>
                  <a:lnTo>
                    <a:pt x="166" y="86"/>
                  </a:lnTo>
                  <a:lnTo>
                    <a:pt x="168" y="86"/>
                  </a:lnTo>
                  <a:lnTo>
                    <a:pt x="170" y="84"/>
                  </a:lnTo>
                  <a:lnTo>
                    <a:pt x="170" y="82"/>
                  </a:lnTo>
                  <a:lnTo>
                    <a:pt x="168" y="80"/>
                  </a:lnTo>
                  <a:lnTo>
                    <a:pt x="166" y="80"/>
                  </a:lnTo>
                  <a:lnTo>
                    <a:pt x="164" y="76"/>
                  </a:lnTo>
                  <a:lnTo>
                    <a:pt x="162" y="74"/>
                  </a:lnTo>
                  <a:lnTo>
                    <a:pt x="160" y="70"/>
                  </a:lnTo>
                  <a:lnTo>
                    <a:pt x="160" y="68"/>
                  </a:lnTo>
                  <a:lnTo>
                    <a:pt x="162" y="68"/>
                  </a:lnTo>
                  <a:lnTo>
                    <a:pt x="166" y="68"/>
                  </a:lnTo>
                  <a:lnTo>
                    <a:pt x="172" y="64"/>
                  </a:lnTo>
                  <a:lnTo>
                    <a:pt x="174" y="62"/>
                  </a:lnTo>
                  <a:lnTo>
                    <a:pt x="176" y="54"/>
                  </a:lnTo>
                  <a:lnTo>
                    <a:pt x="174" y="52"/>
                  </a:lnTo>
                  <a:lnTo>
                    <a:pt x="168" y="54"/>
                  </a:lnTo>
                  <a:lnTo>
                    <a:pt x="166" y="54"/>
                  </a:lnTo>
                  <a:lnTo>
                    <a:pt x="164" y="54"/>
                  </a:lnTo>
                  <a:lnTo>
                    <a:pt x="160" y="54"/>
                  </a:lnTo>
                  <a:lnTo>
                    <a:pt x="158" y="56"/>
                  </a:lnTo>
                  <a:lnTo>
                    <a:pt x="146" y="58"/>
                  </a:lnTo>
                  <a:lnTo>
                    <a:pt x="148" y="54"/>
                  </a:lnTo>
                  <a:lnTo>
                    <a:pt x="162" y="50"/>
                  </a:lnTo>
                  <a:lnTo>
                    <a:pt x="162" y="46"/>
                  </a:lnTo>
                  <a:lnTo>
                    <a:pt x="164" y="42"/>
                  </a:lnTo>
                  <a:lnTo>
                    <a:pt x="164" y="40"/>
                  </a:lnTo>
                  <a:lnTo>
                    <a:pt x="164" y="38"/>
                  </a:lnTo>
                  <a:lnTo>
                    <a:pt x="156" y="38"/>
                  </a:lnTo>
                  <a:lnTo>
                    <a:pt x="158" y="40"/>
                  </a:lnTo>
                  <a:lnTo>
                    <a:pt x="156" y="38"/>
                  </a:lnTo>
                  <a:lnTo>
                    <a:pt x="156" y="38"/>
                  </a:lnTo>
                  <a:lnTo>
                    <a:pt x="152" y="34"/>
                  </a:lnTo>
                  <a:lnTo>
                    <a:pt x="150" y="38"/>
                  </a:lnTo>
                  <a:lnTo>
                    <a:pt x="148" y="38"/>
                  </a:lnTo>
                  <a:lnTo>
                    <a:pt x="144" y="32"/>
                  </a:lnTo>
                  <a:lnTo>
                    <a:pt x="142" y="26"/>
                  </a:lnTo>
                  <a:lnTo>
                    <a:pt x="146" y="26"/>
                  </a:lnTo>
                  <a:lnTo>
                    <a:pt x="150" y="26"/>
                  </a:lnTo>
                  <a:lnTo>
                    <a:pt x="150" y="24"/>
                  </a:lnTo>
                  <a:lnTo>
                    <a:pt x="150" y="22"/>
                  </a:lnTo>
                  <a:lnTo>
                    <a:pt x="130" y="22"/>
                  </a:lnTo>
                  <a:lnTo>
                    <a:pt x="132" y="26"/>
                  </a:lnTo>
                  <a:lnTo>
                    <a:pt x="126" y="24"/>
                  </a:lnTo>
                  <a:lnTo>
                    <a:pt x="126" y="26"/>
                  </a:lnTo>
                  <a:lnTo>
                    <a:pt x="120" y="28"/>
                  </a:lnTo>
                  <a:lnTo>
                    <a:pt x="120" y="30"/>
                  </a:lnTo>
                  <a:lnTo>
                    <a:pt x="112" y="32"/>
                  </a:lnTo>
                  <a:lnTo>
                    <a:pt x="104" y="30"/>
                  </a:lnTo>
                  <a:lnTo>
                    <a:pt x="98" y="28"/>
                  </a:lnTo>
                  <a:lnTo>
                    <a:pt x="98" y="26"/>
                  </a:lnTo>
                  <a:lnTo>
                    <a:pt x="96" y="24"/>
                  </a:lnTo>
                  <a:lnTo>
                    <a:pt x="94" y="22"/>
                  </a:lnTo>
                  <a:lnTo>
                    <a:pt x="86" y="22"/>
                  </a:lnTo>
                  <a:lnTo>
                    <a:pt x="78" y="24"/>
                  </a:lnTo>
                  <a:lnTo>
                    <a:pt x="76" y="26"/>
                  </a:lnTo>
                  <a:lnTo>
                    <a:pt x="74" y="26"/>
                  </a:lnTo>
                  <a:lnTo>
                    <a:pt x="70" y="24"/>
                  </a:lnTo>
                  <a:lnTo>
                    <a:pt x="74" y="20"/>
                  </a:lnTo>
                  <a:lnTo>
                    <a:pt x="68" y="12"/>
                  </a:lnTo>
                  <a:lnTo>
                    <a:pt x="66" y="12"/>
                  </a:lnTo>
                  <a:lnTo>
                    <a:pt x="64" y="10"/>
                  </a:lnTo>
                  <a:lnTo>
                    <a:pt x="58" y="10"/>
                  </a:lnTo>
                  <a:lnTo>
                    <a:pt x="52" y="8"/>
                  </a:lnTo>
                  <a:lnTo>
                    <a:pt x="50" y="4"/>
                  </a:lnTo>
                  <a:lnTo>
                    <a:pt x="48" y="0"/>
                  </a:lnTo>
                  <a:lnTo>
                    <a:pt x="46" y="0"/>
                  </a:lnTo>
                  <a:lnTo>
                    <a:pt x="44" y="0"/>
                  </a:lnTo>
                  <a:lnTo>
                    <a:pt x="44" y="6"/>
                  </a:lnTo>
                  <a:lnTo>
                    <a:pt x="50" y="8"/>
                  </a:lnTo>
                  <a:lnTo>
                    <a:pt x="52" y="12"/>
                  </a:lnTo>
                  <a:lnTo>
                    <a:pt x="40" y="14"/>
                  </a:lnTo>
                  <a:lnTo>
                    <a:pt x="32" y="16"/>
                  </a:lnTo>
                  <a:lnTo>
                    <a:pt x="32" y="28"/>
                  </a:lnTo>
                  <a:lnTo>
                    <a:pt x="32" y="30"/>
                  </a:lnTo>
                  <a:lnTo>
                    <a:pt x="36" y="34"/>
                  </a:lnTo>
                  <a:lnTo>
                    <a:pt x="36" y="36"/>
                  </a:lnTo>
                  <a:lnTo>
                    <a:pt x="36" y="40"/>
                  </a:lnTo>
                  <a:lnTo>
                    <a:pt x="38" y="46"/>
                  </a:lnTo>
                  <a:lnTo>
                    <a:pt x="32" y="48"/>
                  </a:lnTo>
                  <a:lnTo>
                    <a:pt x="28" y="48"/>
                  </a:lnTo>
                  <a:lnTo>
                    <a:pt x="28" y="46"/>
                  </a:lnTo>
                  <a:lnTo>
                    <a:pt x="26" y="46"/>
                  </a:lnTo>
                  <a:lnTo>
                    <a:pt x="24" y="40"/>
                  </a:lnTo>
                  <a:lnTo>
                    <a:pt x="22" y="36"/>
                  </a:lnTo>
                  <a:lnTo>
                    <a:pt x="22" y="32"/>
                  </a:lnTo>
                  <a:lnTo>
                    <a:pt x="26" y="28"/>
                  </a:lnTo>
                  <a:lnTo>
                    <a:pt x="30" y="26"/>
                  </a:lnTo>
                  <a:lnTo>
                    <a:pt x="30" y="22"/>
                  </a:lnTo>
                  <a:lnTo>
                    <a:pt x="28" y="20"/>
                  </a:lnTo>
                  <a:lnTo>
                    <a:pt x="26" y="20"/>
                  </a:lnTo>
                  <a:lnTo>
                    <a:pt x="26" y="18"/>
                  </a:lnTo>
                  <a:lnTo>
                    <a:pt x="28" y="16"/>
                  </a:lnTo>
                  <a:lnTo>
                    <a:pt x="26" y="14"/>
                  </a:lnTo>
                  <a:lnTo>
                    <a:pt x="22" y="14"/>
                  </a:lnTo>
                  <a:lnTo>
                    <a:pt x="22" y="12"/>
                  </a:lnTo>
                  <a:lnTo>
                    <a:pt x="24" y="8"/>
                  </a:lnTo>
                  <a:lnTo>
                    <a:pt x="28" y="8"/>
                  </a:lnTo>
                  <a:lnTo>
                    <a:pt x="28" y="4"/>
                  </a:lnTo>
                  <a:lnTo>
                    <a:pt x="28"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1" name="Freeform 23">
              <a:extLst>
                <a:ext uri="{FF2B5EF4-FFF2-40B4-BE49-F238E27FC236}">
                  <a16:creationId xmlns:a16="http://schemas.microsoft.com/office/drawing/2014/main" id="{79514124-627E-4C89-B2DB-02E36A97C78B}"/>
                </a:ext>
              </a:extLst>
            </p:cNvPr>
            <p:cNvSpPr>
              <a:spLocks/>
            </p:cNvSpPr>
            <p:nvPr/>
          </p:nvSpPr>
          <p:spPr bwMode="auto">
            <a:xfrm>
              <a:off x="1646104" y="3820017"/>
              <a:ext cx="5179" cy="12948"/>
            </a:xfrm>
            <a:custGeom>
              <a:avLst/>
              <a:gdLst/>
              <a:ahLst/>
              <a:cxnLst>
                <a:cxn ang="0">
                  <a:pos x="2" y="0"/>
                </a:cxn>
                <a:cxn ang="0">
                  <a:pos x="2" y="0"/>
                </a:cxn>
                <a:cxn ang="0">
                  <a:pos x="4" y="0"/>
                </a:cxn>
                <a:cxn ang="0">
                  <a:pos x="4" y="2"/>
                </a:cxn>
                <a:cxn ang="0">
                  <a:pos x="0" y="10"/>
                </a:cxn>
                <a:cxn ang="0">
                  <a:pos x="0" y="6"/>
                </a:cxn>
                <a:cxn ang="0">
                  <a:pos x="0" y="4"/>
                </a:cxn>
                <a:cxn ang="0">
                  <a:pos x="2" y="0"/>
                </a:cxn>
                <a:cxn ang="0">
                  <a:pos x="2" y="0"/>
                </a:cxn>
              </a:cxnLst>
              <a:rect l="0" t="0" r="r" b="b"/>
              <a:pathLst>
                <a:path w="4" h="10">
                  <a:moveTo>
                    <a:pt x="2" y="0"/>
                  </a:moveTo>
                  <a:lnTo>
                    <a:pt x="2" y="0"/>
                  </a:lnTo>
                  <a:lnTo>
                    <a:pt x="4" y="0"/>
                  </a:lnTo>
                  <a:lnTo>
                    <a:pt x="4" y="2"/>
                  </a:lnTo>
                  <a:lnTo>
                    <a:pt x="0" y="10"/>
                  </a:lnTo>
                  <a:lnTo>
                    <a:pt x="0" y="6"/>
                  </a:lnTo>
                  <a:lnTo>
                    <a:pt x="0" y="4"/>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2" name="Freeform 24">
              <a:extLst>
                <a:ext uri="{FF2B5EF4-FFF2-40B4-BE49-F238E27FC236}">
                  <a16:creationId xmlns:a16="http://schemas.microsoft.com/office/drawing/2014/main" id="{1D753284-26E3-4E93-AF36-2F64A3762DB3}"/>
                </a:ext>
              </a:extLst>
            </p:cNvPr>
            <p:cNvSpPr>
              <a:spLocks/>
            </p:cNvSpPr>
            <p:nvPr/>
          </p:nvSpPr>
          <p:spPr bwMode="auto">
            <a:xfrm>
              <a:off x="1646104" y="3820017"/>
              <a:ext cx="5179" cy="12948"/>
            </a:xfrm>
            <a:custGeom>
              <a:avLst/>
              <a:gdLst/>
              <a:ahLst/>
              <a:cxnLst>
                <a:cxn ang="0">
                  <a:pos x="2" y="0"/>
                </a:cxn>
                <a:cxn ang="0">
                  <a:pos x="2" y="0"/>
                </a:cxn>
                <a:cxn ang="0">
                  <a:pos x="4" y="0"/>
                </a:cxn>
                <a:cxn ang="0">
                  <a:pos x="4" y="2"/>
                </a:cxn>
                <a:cxn ang="0">
                  <a:pos x="0" y="10"/>
                </a:cxn>
                <a:cxn ang="0">
                  <a:pos x="0" y="6"/>
                </a:cxn>
                <a:cxn ang="0">
                  <a:pos x="0" y="4"/>
                </a:cxn>
                <a:cxn ang="0">
                  <a:pos x="2" y="0"/>
                </a:cxn>
                <a:cxn ang="0">
                  <a:pos x="2" y="0"/>
                </a:cxn>
              </a:cxnLst>
              <a:rect l="0" t="0" r="r" b="b"/>
              <a:pathLst>
                <a:path w="4" h="10">
                  <a:moveTo>
                    <a:pt x="2" y="0"/>
                  </a:moveTo>
                  <a:lnTo>
                    <a:pt x="2" y="0"/>
                  </a:lnTo>
                  <a:lnTo>
                    <a:pt x="4" y="0"/>
                  </a:lnTo>
                  <a:lnTo>
                    <a:pt x="4" y="2"/>
                  </a:lnTo>
                  <a:lnTo>
                    <a:pt x="0" y="10"/>
                  </a:lnTo>
                  <a:lnTo>
                    <a:pt x="0" y="6"/>
                  </a:lnTo>
                  <a:lnTo>
                    <a:pt x="0" y="4"/>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3" name="Freeform 25">
              <a:extLst>
                <a:ext uri="{FF2B5EF4-FFF2-40B4-BE49-F238E27FC236}">
                  <a16:creationId xmlns:a16="http://schemas.microsoft.com/office/drawing/2014/main" id="{3E7F3AC3-BF7B-4382-B590-9438CB67AEA1}"/>
                </a:ext>
              </a:extLst>
            </p:cNvPr>
            <p:cNvSpPr>
              <a:spLocks/>
            </p:cNvSpPr>
            <p:nvPr/>
          </p:nvSpPr>
          <p:spPr bwMode="auto">
            <a:xfrm>
              <a:off x="1809249" y="3770814"/>
              <a:ext cx="2590" cy="12948"/>
            </a:xfrm>
            <a:custGeom>
              <a:avLst/>
              <a:gdLst/>
              <a:ahLst/>
              <a:cxnLst>
                <a:cxn ang="0">
                  <a:pos x="2" y="0"/>
                </a:cxn>
                <a:cxn ang="0">
                  <a:pos x="2" y="0"/>
                </a:cxn>
                <a:cxn ang="0">
                  <a:pos x="2" y="10"/>
                </a:cxn>
                <a:cxn ang="0">
                  <a:pos x="0" y="10"/>
                </a:cxn>
                <a:cxn ang="0">
                  <a:pos x="0" y="4"/>
                </a:cxn>
                <a:cxn ang="0">
                  <a:pos x="2" y="0"/>
                </a:cxn>
                <a:cxn ang="0">
                  <a:pos x="2" y="0"/>
                </a:cxn>
              </a:cxnLst>
              <a:rect l="0" t="0" r="r" b="b"/>
              <a:pathLst>
                <a:path w="2" h="10">
                  <a:moveTo>
                    <a:pt x="2" y="0"/>
                  </a:moveTo>
                  <a:lnTo>
                    <a:pt x="2" y="0"/>
                  </a:lnTo>
                  <a:lnTo>
                    <a:pt x="2" y="10"/>
                  </a:lnTo>
                  <a:lnTo>
                    <a:pt x="0" y="10"/>
                  </a:lnTo>
                  <a:lnTo>
                    <a:pt x="0" y="4"/>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4" name="Freeform 26">
              <a:extLst>
                <a:ext uri="{FF2B5EF4-FFF2-40B4-BE49-F238E27FC236}">
                  <a16:creationId xmlns:a16="http://schemas.microsoft.com/office/drawing/2014/main" id="{363EF897-6AAD-4A2C-85FE-C16AF897AF35}"/>
                </a:ext>
              </a:extLst>
            </p:cNvPr>
            <p:cNvSpPr>
              <a:spLocks/>
            </p:cNvSpPr>
            <p:nvPr/>
          </p:nvSpPr>
          <p:spPr bwMode="auto">
            <a:xfrm>
              <a:off x="1809249" y="3770814"/>
              <a:ext cx="2590" cy="12948"/>
            </a:xfrm>
            <a:custGeom>
              <a:avLst/>
              <a:gdLst/>
              <a:ahLst/>
              <a:cxnLst>
                <a:cxn ang="0">
                  <a:pos x="2" y="0"/>
                </a:cxn>
                <a:cxn ang="0">
                  <a:pos x="2" y="0"/>
                </a:cxn>
                <a:cxn ang="0">
                  <a:pos x="2" y="10"/>
                </a:cxn>
                <a:cxn ang="0">
                  <a:pos x="0" y="10"/>
                </a:cxn>
                <a:cxn ang="0">
                  <a:pos x="0" y="4"/>
                </a:cxn>
                <a:cxn ang="0">
                  <a:pos x="2" y="0"/>
                </a:cxn>
                <a:cxn ang="0">
                  <a:pos x="2" y="0"/>
                </a:cxn>
              </a:cxnLst>
              <a:rect l="0" t="0" r="r" b="b"/>
              <a:pathLst>
                <a:path w="2" h="10">
                  <a:moveTo>
                    <a:pt x="2" y="0"/>
                  </a:moveTo>
                  <a:lnTo>
                    <a:pt x="2" y="0"/>
                  </a:lnTo>
                  <a:lnTo>
                    <a:pt x="2" y="10"/>
                  </a:lnTo>
                  <a:lnTo>
                    <a:pt x="0" y="10"/>
                  </a:lnTo>
                  <a:lnTo>
                    <a:pt x="0" y="4"/>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5" name="Freeform 27">
              <a:extLst>
                <a:ext uri="{FF2B5EF4-FFF2-40B4-BE49-F238E27FC236}">
                  <a16:creationId xmlns:a16="http://schemas.microsoft.com/office/drawing/2014/main" id="{7C145169-2261-47D9-A089-49A77522B371}"/>
                </a:ext>
              </a:extLst>
            </p:cNvPr>
            <p:cNvSpPr>
              <a:spLocks/>
            </p:cNvSpPr>
            <p:nvPr/>
          </p:nvSpPr>
          <p:spPr bwMode="auto">
            <a:xfrm>
              <a:off x="1498496" y="4110053"/>
              <a:ext cx="2590" cy="10358"/>
            </a:xfrm>
            <a:custGeom>
              <a:avLst/>
              <a:gdLst/>
              <a:ahLst/>
              <a:cxnLst>
                <a:cxn ang="0">
                  <a:pos x="0" y="0"/>
                </a:cxn>
                <a:cxn ang="0">
                  <a:pos x="0" y="0"/>
                </a:cxn>
                <a:cxn ang="0">
                  <a:pos x="2" y="6"/>
                </a:cxn>
                <a:cxn ang="0">
                  <a:pos x="0" y="6"/>
                </a:cxn>
                <a:cxn ang="0">
                  <a:pos x="0" y="8"/>
                </a:cxn>
                <a:cxn ang="0">
                  <a:pos x="0" y="2"/>
                </a:cxn>
                <a:cxn ang="0">
                  <a:pos x="0" y="0"/>
                </a:cxn>
                <a:cxn ang="0">
                  <a:pos x="0" y="0"/>
                </a:cxn>
              </a:cxnLst>
              <a:rect l="0" t="0" r="r" b="b"/>
              <a:pathLst>
                <a:path w="2" h="8">
                  <a:moveTo>
                    <a:pt x="0" y="0"/>
                  </a:moveTo>
                  <a:lnTo>
                    <a:pt x="0" y="0"/>
                  </a:lnTo>
                  <a:lnTo>
                    <a:pt x="2" y="6"/>
                  </a:lnTo>
                  <a:lnTo>
                    <a:pt x="0" y="6"/>
                  </a:lnTo>
                  <a:lnTo>
                    <a:pt x="0" y="8"/>
                  </a:lnTo>
                  <a:lnTo>
                    <a:pt x="0"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6" name="Freeform 28">
              <a:extLst>
                <a:ext uri="{FF2B5EF4-FFF2-40B4-BE49-F238E27FC236}">
                  <a16:creationId xmlns:a16="http://schemas.microsoft.com/office/drawing/2014/main" id="{32B8DFEA-30C7-43FE-B003-0435C50F4EBD}"/>
                </a:ext>
              </a:extLst>
            </p:cNvPr>
            <p:cNvSpPr>
              <a:spLocks/>
            </p:cNvSpPr>
            <p:nvPr/>
          </p:nvSpPr>
          <p:spPr bwMode="auto">
            <a:xfrm>
              <a:off x="1498496" y="4110053"/>
              <a:ext cx="2590" cy="10358"/>
            </a:xfrm>
            <a:custGeom>
              <a:avLst/>
              <a:gdLst/>
              <a:ahLst/>
              <a:cxnLst>
                <a:cxn ang="0">
                  <a:pos x="0" y="0"/>
                </a:cxn>
                <a:cxn ang="0">
                  <a:pos x="0" y="0"/>
                </a:cxn>
                <a:cxn ang="0">
                  <a:pos x="2" y="6"/>
                </a:cxn>
                <a:cxn ang="0">
                  <a:pos x="0" y="6"/>
                </a:cxn>
                <a:cxn ang="0">
                  <a:pos x="0" y="8"/>
                </a:cxn>
                <a:cxn ang="0">
                  <a:pos x="0" y="2"/>
                </a:cxn>
                <a:cxn ang="0">
                  <a:pos x="0" y="0"/>
                </a:cxn>
                <a:cxn ang="0">
                  <a:pos x="0" y="0"/>
                </a:cxn>
              </a:cxnLst>
              <a:rect l="0" t="0" r="r" b="b"/>
              <a:pathLst>
                <a:path w="2" h="8">
                  <a:moveTo>
                    <a:pt x="0" y="0"/>
                  </a:moveTo>
                  <a:lnTo>
                    <a:pt x="0" y="0"/>
                  </a:lnTo>
                  <a:lnTo>
                    <a:pt x="2" y="6"/>
                  </a:lnTo>
                  <a:lnTo>
                    <a:pt x="0" y="6"/>
                  </a:lnTo>
                  <a:lnTo>
                    <a:pt x="0" y="8"/>
                  </a:lnTo>
                  <a:lnTo>
                    <a:pt x="0"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7" name="Freeform 29">
              <a:extLst>
                <a:ext uri="{FF2B5EF4-FFF2-40B4-BE49-F238E27FC236}">
                  <a16:creationId xmlns:a16="http://schemas.microsoft.com/office/drawing/2014/main" id="{50BBBDDC-2261-4AAC-BDA2-EE43C474E847}"/>
                </a:ext>
              </a:extLst>
            </p:cNvPr>
            <p:cNvSpPr>
              <a:spLocks/>
            </p:cNvSpPr>
            <p:nvPr/>
          </p:nvSpPr>
          <p:spPr bwMode="auto">
            <a:xfrm>
              <a:off x="1501086" y="4123001"/>
              <a:ext cx="5179" cy="2590"/>
            </a:xfrm>
            <a:custGeom>
              <a:avLst/>
              <a:gdLst/>
              <a:ahLst/>
              <a:cxnLst>
                <a:cxn ang="0">
                  <a:pos x="0" y="0"/>
                </a:cxn>
                <a:cxn ang="0">
                  <a:pos x="0" y="2"/>
                </a:cxn>
                <a:cxn ang="0">
                  <a:pos x="4" y="2"/>
                </a:cxn>
                <a:cxn ang="0">
                  <a:pos x="4" y="0"/>
                </a:cxn>
                <a:cxn ang="0">
                  <a:pos x="0" y="0"/>
                </a:cxn>
                <a:cxn ang="0">
                  <a:pos x="0" y="0"/>
                </a:cxn>
              </a:cxnLst>
              <a:rect l="0" t="0" r="r" b="b"/>
              <a:pathLst>
                <a:path w="4" h="2">
                  <a:moveTo>
                    <a:pt x="0" y="0"/>
                  </a:moveTo>
                  <a:lnTo>
                    <a:pt x="0" y="2"/>
                  </a:lnTo>
                  <a:lnTo>
                    <a:pt x="4" y="2"/>
                  </a:lnTo>
                  <a:lnTo>
                    <a:pt x="4"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8" name="Freeform 30">
              <a:extLst>
                <a:ext uri="{FF2B5EF4-FFF2-40B4-BE49-F238E27FC236}">
                  <a16:creationId xmlns:a16="http://schemas.microsoft.com/office/drawing/2014/main" id="{61A93629-07BC-4DCA-AD1C-D6FAC5F5EFB9}"/>
                </a:ext>
              </a:extLst>
            </p:cNvPr>
            <p:cNvSpPr>
              <a:spLocks/>
            </p:cNvSpPr>
            <p:nvPr/>
          </p:nvSpPr>
          <p:spPr bwMode="auto">
            <a:xfrm>
              <a:off x="1501086" y="4123001"/>
              <a:ext cx="5179" cy="2590"/>
            </a:xfrm>
            <a:custGeom>
              <a:avLst/>
              <a:gdLst/>
              <a:ahLst/>
              <a:cxnLst>
                <a:cxn ang="0">
                  <a:pos x="4" y="0"/>
                </a:cxn>
                <a:cxn ang="0">
                  <a:pos x="4" y="2"/>
                </a:cxn>
                <a:cxn ang="0">
                  <a:pos x="0" y="2"/>
                </a:cxn>
                <a:cxn ang="0">
                  <a:pos x="0" y="0"/>
                </a:cxn>
                <a:cxn ang="0">
                  <a:pos x="4" y="0"/>
                </a:cxn>
                <a:cxn ang="0">
                  <a:pos x="4" y="0"/>
                </a:cxn>
              </a:cxnLst>
              <a:rect l="0" t="0" r="r" b="b"/>
              <a:pathLst>
                <a:path w="4" h="2">
                  <a:moveTo>
                    <a:pt x="4" y="0"/>
                  </a:moveTo>
                  <a:lnTo>
                    <a:pt x="4" y="2"/>
                  </a:lnTo>
                  <a:lnTo>
                    <a:pt x="0" y="2"/>
                  </a:lnTo>
                  <a:lnTo>
                    <a:pt x="0" y="0"/>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69" name="Freeform 31">
              <a:extLst>
                <a:ext uri="{FF2B5EF4-FFF2-40B4-BE49-F238E27FC236}">
                  <a16:creationId xmlns:a16="http://schemas.microsoft.com/office/drawing/2014/main" id="{477D8143-8D59-4B1F-9460-D83A15437553}"/>
                </a:ext>
              </a:extLst>
            </p:cNvPr>
            <p:cNvSpPr>
              <a:spLocks/>
            </p:cNvSpPr>
            <p:nvPr/>
          </p:nvSpPr>
          <p:spPr bwMode="auto">
            <a:xfrm>
              <a:off x="2055262" y="5394500"/>
              <a:ext cx="88047" cy="106174"/>
            </a:xfrm>
            <a:custGeom>
              <a:avLst/>
              <a:gdLst/>
              <a:ahLst/>
              <a:cxnLst>
                <a:cxn ang="0">
                  <a:pos x="62" y="56"/>
                </a:cxn>
                <a:cxn ang="0">
                  <a:pos x="62" y="54"/>
                </a:cxn>
                <a:cxn ang="0">
                  <a:pos x="68" y="46"/>
                </a:cxn>
                <a:cxn ang="0">
                  <a:pos x="66" y="46"/>
                </a:cxn>
                <a:cxn ang="0">
                  <a:pos x="62" y="42"/>
                </a:cxn>
                <a:cxn ang="0">
                  <a:pos x="60" y="38"/>
                </a:cxn>
                <a:cxn ang="0">
                  <a:pos x="58" y="34"/>
                </a:cxn>
                <a:cxn ang="0">
                  <a:pos x="56" y="32"/>
                </a:cxn>
                <a:cxn ang="0">
                  <a:pos x="54" y="30"/>
                </a:cxn>
                <a:cxn ang="0">
                  <a:pos x="48" y="28"/>
                </a:cxn>
                <a:cxn ang="0">
                  <a:pos x="44" y="24"/>
                </a:cxn>
                <a:cxn ang="0">
                  <a:pos x="40" y="20"/>
                </a:cxn>
                <a:cxn ang="0">
                  <a:pos x="38" y="18"/>
                </a:cxn>
                <a:cxn ang="0">
                  <a:pos x="36" y="18"/>
                </a:cxn>
                <a:cxn ang="0">
                  <a:pos x="34" y="18"/>
                </a:cxn>
                <a:cxn ang="0">
                  <a:pos x="32" y="16"/>
                </a:cxn>
                <a:cxn ang="0">
                  <a:pos x="28" y="8"/>
                </a:cxn>
                <a:cxn ang="0">
                  <a:pos x="18" y="0"/>
                </a:cxn>
                <a:cxn ang="0">
                  <a:pos x="10" y="4"/>
                </a:cxn>
                <a:cxn ang="0">
                  <a:pos x="8" y="6"/>
                </a:cxn>
                <a:cxn ang="0">
                  <a:pos x="6" y="10"/>
                </a:cxn>
                <a:cxn ang="0">
                  <a:pos x="6" y="14"/>
                </a:cxn>
                <a:cxn ang="0">
                  <a:pos x="6" y="18"/>
                </a:cxn>
                <a:cxn ang="0">
                  <a:pos x="4" y="20"/>
                </a:cxn>
                <a:cxn ang="0">
                  <a:pos x="4" y="22"/>
                </a:cxn>
                <a:cxn ang="0">
                  <a:pos x="2" y="24"/>
                </a:cxn>
                <a:cxn ang="0">
                  <a:pos x="2" y="28"/>
                </a:cxn>
                <a:cxn ang="0">
                  <a:pos x="2" y="32"/>
                </a:cxn>
                <a:cxn ang="0">
                  <a:pos x="0" y="34"/>
                </a:cxn>
                <a:cxn ang="0">
                  <a:pos x="0" y="36"/>
                </a:cxn>
                <a:cxn ang="0">
                  <a:pos x="0" y="44"/>
                </a:cxn>
                <a:cxn ang="0">
                  <a:pos x="0" y="48"/>
                </a:cxn>
                <a:cxn ang="0">
                  <a:pos x="0" y="58"/>
                </a:cxn>
                <a:cxn ang="0">
                  <a:pos x="0" y="64"/>
                </a:cxn>
                <a:cxn ang="0">
                  <a:pos x="2" y="70"/>
                </a:cxn>
                <a:cxn ang="0">
                  <a:pos x="4" y="70"/>
                </a:cxn>
                <a:cxn ang="0">
                  <a:pos x="8" y="72"/>
                </a:cxn>
                <a:cxn ang="0">
                  <a:pos x="12" y="72"/>
                </a:cxn>
                <a:cxn ang="0">
                  <a:pos x="16" y="78"/>
                </a:cxn>
                <a:cxn ang="0">
                  <a:pos x="16" y="78"/>
                </a:cxn>
                <a:cxn ang="0">
                  <a:pos x="22" y="80"/>
                </a:cxn>
                <a:cxn ang="0">
                  <a:pos x="22" y="82"/>
                </a:cxn>
                <a:cxn ang="0">
                  <a:pos x="28" y="80"/>
                </a:cxn>
                <a:cxn ang="0">
                  <a:pos x="30" y="80"/>
                </a:cxn>
                <a:cxn ang="0">
                  <a:pos x="36" y="80"/>
                </a:cxn>
                <a:cxn ang="0">
                  <a:pos x="38" y="82"/>
                </a:cxn>
                <a:cxn ang="0">
                  <a:pos x="48" y="80"/>
                </a:cxn>
                <a:cxn ang="0">
                  <a:pos x="56" y="76"/>
                </a:cxn>
                <a:cxn ang="0">
                  <a:pos x="56" y="74"/>
                </a:cxn>
                <a:cxn ang="0">
                  <a:pos x="60" y="68"/>
                </a:cxn>
                <a:cxn ang="0">
                  <a:pos x="62" y="62"/>
                </a:cxn>
                <a:cxn ang="0">
                  <a:pos x="64" y="58"/>
                </a:cxn>
                <a:cxn ang="0">
                  <a:pos x="62" y="56"/>
                </a:cxn>
                <a:cxn ang="0">
                  <a:pos x="62" y="56"/>
                </a:cxn>
              </a:cxnLst>
              <a:rect l="0" t="0" r="r" b="b"/>
              <a:pathLst>
                <a:path w="68" h="82">
                  <a:moveTo>
                    <a:pt x="62" y="56"/>
                  </a:moveTo>
                  <a:lnTo>
                    <a:pt x="62" y="54"/>
                  </a:lnTo>
                  <a:lnTo>
                    <a:pt x="68" y="46"/>
                  </a:lnTo>
                  <a:lnTo>
                    <a:pt x="66" y="46"/>
                  </a:lnTo>
                  <a:lnTo>
                    <a:pt x="62" y="42"/>
                  </a:lnTo>
                  <a:lnTo>
                    <a:pt x="60" y="38"/>
                  </a:lnTo>
                  <a:lnTo>
                    <a:pt x="58" y="34"/>
                  </a:lnTo>
                  <a:lnTo>
                    <a:pt x="56" y="32"/>
                  </a:lnTo>
                  <a:lnTo>
                    <a:pt x="54" y="30"/>
                  </a:lnTo>
                  <a:lnTo>
                    <a:pt x="48" y="28"/>
                  </a:lnTo>
                  <a:lnTo>
                    <a:pt x="44" y="24"/>
                  </a:lnTo>
                  <a:lnTo>
                    <a:pt x="40" y="20"/>
                  </a:lnTo>
                  <a:lnTo>
                    <a:pt x="38" y="18"/>
                  </a:lnTo>
                  <a:lnTo>
                    <a:pt x="36" y="18"/>
                  </a:lnTo>
                  <a:lnTo>
                    <a:pt x="34" y="18"/>
                  </a:lnTo>
                  <a:lnTo>
                    <a:pt x="32" y="16"/>
                  </a:lnTo>
                  <a:lnTo>
                    <a:pt x="28" y="8"/>
                  </a:lnTo>
                  <a:lnTo>
                    <a:pt x="18" y="0"/>
                  </a:lnTo>
                  <a:lnTo>
                    <a:pt x="10" y="4"/>
                  </a:lnTo>
                  <a:lnTo>
                    <a:pt x="8" y="6"/>
                  </a:lnTo>
                  <a:lnTo>
                    <a:pt x="6" y="10"/>
                  </a:lnTo>
                  <a:lnTo>
                    <a:pt x="6" y="14"/>
                  </a:lnTo>
                  <a:lnTo>
                    <a:pt x="6" y="18"/>
                  </a:lnTo>
                  <a:lnTo>
                    <a:pt x="4" y="20"/>
                  </a:lnTo>
                  <a:lnTo>
                    <a:pt x="4" y="22"/>
                  </a:lnTo>
                  <a:lnTo>
                    <a:pt x="2" y="24"/>
                  </a:lnTo>
                  <a:lnTo>
                    <a:pt x="2" y="28"/>
                  </a:lnTo>
                  <a:lnTo>
                    <a:pt x="2" y="32"/>
                  </a:lnTo>
                  <a:lnTo>
                    <a:pt x="0" y="34"/>
                  </a:lnTo>
                  <a:lnTo>
                    <a:pt x="0" y="36"/>
                  </a:lnTo>
                  <a:lnTo>
                    <a:pt x="0" y="44"/>
                  </a:lnTo>
                  <a:lnTo>
                    <a:pt x="0" y="48"/>
                  </a:lnTo>
                  <a:lnTo>
                    <a:pt x="0" y="58"/>
                  </a:lnTo>
                  <a:lnTo>
                    <a:pt x="0" y="64"/>
                  </a:lnTo>
                  <a:lnTo>
                    <a:pt x="2" y="70"/>
                  </a:lnTo>
                  <a:lnTo>
                    <a:pt x="4" y="70"/>
                  </a:lnTo>
                  <a:lnTo>
                    <a:pt x="8" y="72"/>
                  </a:lnTo>
                  <a:lnTo>
                    <a:pt x="12" y="72"/>
                  </a:lnTo>
                  <a:lnTo>
                    <a:pt x="16" y="78"/>
                  </a:lnTo>
                  <a:lnTo>
                    <a:pt x="16" y="78"/>
                  </a:lnTo>
                  <a:lnTo>
                    <a:pt x="22" y="80"/>
                  </a:lnTo>
                  <a:lnTo>
                    <a:pt x="22" y="82"/>
                  </a:lnTo>
                  <a:lnTo>
                    <a:pt x="28" y="80"/>
                  </a:lnTo>
                  <a:lnTo>
                    <a:pt x="30" y="80"/>
                  </a:lnTo>
                  <a:lnTo>
                    <a:pt x="36" y="80"/>
                  </a:lnTo>
                  <a:lnTo>
                    <a:pt x="38" y="82"/>
                  </a:lnTo>
                  <a:lnTo>
                    <a:pt x="48" y="80"/>
                  </a:lnTo>
                  <a:lnTo>
                    <a:pt x="56" y="76"/>
                  </a:lnTo>
                  <a:lnTo>
                    <a:pt x="56" y="74"/>
                  </a:lnTo>
                  <a:lnTo>
                    <a:pt x="60" y="68"/>
                  </a:lnTo>
                  <a:lnTo>
                    <a:pt x="62" y="62"/>
                  </a:lnTo>
                  <a:lnTo>
                    <a:pt x="64" y="58"/>
                  </a:lnTo>
                  <a:lnTo>
                    <a:pt x="62" y="56"/>
                  </a:lnTo>
                  <a:lnTo>
                    <a:pt x="62" y="5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0" name="Freeform 32">
              <a:extLst>
                <a:ext uri="{FF2B5EF4-FFF2-40B4-BE49-F238E27FC236}">
                  <a16:creationId xmlns:a16="http://schemas.microsoft.com/office/drawing/2014/main" id="{080C9B8B-A799-4890-8DC8-D3C7EA4ED55A}"/>
                </a:ext>
              </a:extLst>
            </p:cNvPr>
            <p:cNvSpPr>
              <a:spLocks/>
            </p:cNvSpPr>
            <p:nvPr/>
          </p:nvSpPr>
          <p:spPr bwMode="auto">
            <a:xfrm>
              <a:off x="3891296" y="4211048"/>
              <a:ext cx="90636" cy="59561"/>
            </a:xfrm>
            <a:custGeom>
              <a:avLst/>
              <a:gdLst/>
              <a:ahLst/>
              <a:cxnLst>
                <a:cxn ang="0">
                  <a:pos x="70" y="14"/>
                </a:cxn>
                <a:cxn ang="0">
                  <a:pos x="70" y="14"/>
                </a:cxn>
                <a:cxn ang="0">
                  <a:pos x="68" y="6"/>
                </a:cxn>
                <a:cxn ang="0">
                  <a:pos x="64" y="6"/>
                </a:cxn>
                <a:cxn ang="0">
                  <a:pos x="66" y="0"/>
                </a:cxn>
                <a:cxn ang="0">
                  <a:pos x="64" y="0"/>
                </a:cxn>
                <a:cxn ang="0">
                  <a:pos x="60" y="4"/>
                </a:cxn>
                <a:cxn ang="0">
                  <a:pos x="56" y="6"/>
                </a:cxn>
                <a:cxn ang="0">
                  <a:pos x="52" y="12"/>
                </a:cxn>
                <a:cxn ang="0">
                  <a:pos x="48" y="16"/>
                </a:cxn>
                <a:cxn ang="0">
                  <a:pos x="40" y="22"/>
                </a:cxn>
                <a:cxn ang="0">
                  <a:pos x="38" y="24"/>
                </a:cxn>
                <a:cxn ang="0">
                  <a:pos x="36" y="24"/>
                </a:cxn>
                <a:cxn ang="0">
                  <a:pos x="36" y="28"/>
                </a:cxn>
                <a:cxn ang="0">
                  <a:pos x="32" y="26"/>
                </a:cxn>
                <a:cxn ang="0">
                  <a:pos x="28" y="24"/>
                </a:cxn>
                <a:cxn ang="0">
                  <a:pos x="24" y="22"/>
                </a:cxn>
                <a:cxn ang="0">
                  <a:pos x="20" y="22"/>
                </a:cxn>
                <a:cxn ang="0">
                  <a:pos x="20" y="24"/>
                </a:cxn>
                <a:cxn ang="0">
                  <a:pos x="18" y="26"/>
                </a:cxn>
                <a:cxn ang="0">
                  <a:pos x="14" y="26"/>
                </a:cxn>
                <a:cxn ang="0">
                  <a:pos x="10" y="24"/>
                </a:cxn>
                <a:cxn ang="0">
                  <a:pos x="8" y="22"/>
                </a:cxn>
                <a:cxn ang="0">
                  <a:pos x="4" y="20"/>
                </a:cxn>
                <a:cxn ang="0">
                  <a:pos x="6" y="14"/>
                </a:cxn>
                <a:cxn ang="0">
                  <a:pos x="0" y="12"/>
                </a:cxn>
                <a:cxn ang="0">
                  <a:pos x="0" y="18"/>
                </a:cxn>
                <a:cxn ang="0">
                  <a:pos x="8" y="26"/>
                </a:cxn>
                <a:cxn ang="0">
                  <a:pos x="8" y="38"/>
                </a:cxn>
                <a:cxn ang="0">
                  <a:pos x="50" y="46"/>
                </a:cxn>
                <a:cxn ang="0">
                  <a:pos x="54" y="46"/>
                </a:cxn>
                <a:cxn ang="0">
                  <a:pos x="56" y="42"/>
                </a:cxn>
                <a:cxn ang="0">
                  <a:pos x="58" y="36"/>
                </a:cxn>
                <a:cxn ang="0">
                  <a:pos x="60" y="34"/>
                </a:cxn>
                <a:cxn ang="0">
                  <a:pos x="60" y="30"/>
                </a:cxn>
                <a:cxn ang="0">
                  <a:pos x="60" y="26"/>
                </a:cxn>
                <a:cxn ang="0">
                  <a:pos x="58" y="26"/>
                </a:cxn>
                <a:cxn ang="0">
                  <a:pos x="60" y="22"/>
                </a:cxn>
                <a:cxn ang="0">
                  <a:pos x="64" y="20"/>
                </a:cxn>
                <a:cxn ang="0">
                  <a:pos x="62" y="18"/>
                </a:cxn>
                <a:cxn ang="0">
                  <a:pos x="60" y="16"/>
                </a:cxn>
                <a:cxn ang="0">
                  <a:pos x="60" y="12"/>
                </a:cxn>
                <a:cxn ang="0">
                  <a:pos x="62" y="12"/>
                </a:cxn>
                <a:cxn ang="0">
                  <a:pos x="64" y="16"/>
                </a:cxn>
                <a:cxn ang="0">
                  <a:pos x="66" y="16"/>
                </a:cxn>
                <a:cxn ang="0">
                  <a:pos x="68" y="14"/>
                </a:cxn>
                <a:cxn ang="0">
                  <a:pos x="70" y="12"/>
                </a:cxn>
                <a:cxn ang="0">
                  <a:pos x="70" y="14"/>
                </a:cxn>
                <a:cxn ang="0">
                  <a:pos x="70" y="14"/>
                </a:cxn>
              </a:cxnLst>
              <a:rect l="0" t="0" r="r" b="b"/>
              <a:pathLst>
                <a:path w="70" h="46">
                  <a:moveTo>
                    <a:pt x="70" y="14"/>
                  </a:moveTo>
                  <a:lnTo>
                    <a:pt x="70" y="14"/>
                  </a:lnTo>
                  <a:lnTo>
                    <a:pt x="68" y="6"/>
                  </a:lnTo>
                  <a:lnTo>
                    <a:pt x="64" y="6"/>
                  </a:lnTo>
                  <a:lnTo>
                    <a:pt x="66" y="0"/>
                  </a:lnTo>
                  <a:lnTo>
                    <a:pt x="64" y="0"/>
                  </a:lnTo>
                  <a:lnTo>
                    <a:pt x="60" y="4"/>
                  </a:lnTo>
                  <a:lnTo>
                    <a:pt x="56" y="6"/>
                  </a:lnTo>
                  <a:lnTo>
                    <a:pt x="52" y="12"/>
                  </a:lnTo>
                  <a:lnTo>
                    <a:pt x="48" y="16"/>
                  </a:lnTo>
                  <a:lnTo>
                    <a:pt x="40" y="22"/>
                  </a:lnTo>
                  <a:lnTo>
                    <a:pt x="38" y="24"/>
                  </a:lnTo>
                  <a:lnTo>
                    <a:pt x="36" y="24"/>
                  </a:lnTo>
                  <a:lnTo>
                    <a:pt x="36" y="28"/>
                  </a:lnTo>
                  <a:lnTo>
                    <a:pt x="32" y="26"/>
                  </a:lnTo>
                  <a:lnTo>
                    <a:pt x="28" y="24"/>
                  </a:lnTo>
                  <a:lnTo>
                    <a:pt x="24" y="22"/>
                  </a:lnTo>
                  <a:lnTo>
                    <a:pt x="20" y="22"/>
                  </a:lnTo>
                  <a:lnTo>
                    <a:pt x="20" y="24"/>
                  </a:lnTo>
                  <a:lnTo>
                    <a:pt x="18" y="26"/>
                  </a:lnTo>
                  <a:lnTo>
                    <a:pt x="14" y="26"/>
                  </a:lnTo>
                  <a:lnTo>
                    <a:pt x="10" y="24"/>
                  </a:lnTo>
                  <a:lnTo>
                    <a:pt x="8" y="22"/>
                  </a:lnTo>
                  <a:lnTo>
                    <a:pt x="4" y="20"/>
                  </a:lnTo>
                  <a:lnTo>
                    <a:pt x="6" y="14"/>
                  </a:lnTo>
                  <a:lnTo>
                    <a:pt x="0" y="12"/>
                  </a:lnTo>
                  <a:lnTo>
                    <a:pt x="0" y="18"/>
                  </a:lnTo>
                  <a:lnTo>
                    <a:pt x="8" y="26"/>
                  </a:lnTo>
                  <a:lnTo>
                    <a:pt x="8" y="38"/>
                  </a:lnTo>
                  <a:lnTo>
                    <a:pt x="50" y="46"/>
                  </a:lnTo>
                  <a:lnTo>
                    <a:pt x="54" y="46"/>
                  </a:lnTo>
                  <a:lnTo>
                    <a:pt x="56" y="42"/>
                  </a:lnTo>
                  <a:lnTo>
                    <a:pt x="58" y="36"/>
                  </a:lnTo>
                  <a:lnTo>
                    <a:pt x="60" y="34"/>
                  </a:lnTo>
                  <a:lnTo>
                    <a:pt x="60" y="30"/>
                  </a:lnTo>
                  <a:lnTo>
                    <a:pt x="60" y="26"/>
                  </a:lnTo>
                  <a:lnTo>
                    <a:pt x="58" y="26"/>
                  </a:lnTo>
                  <a:lnTo>
                    <a:pt x="60" y="22"/>
                  </a:lnTo>
                  <a:lnTo>
                    <a:pt x="64" y="20"/>
                  </a:lnTo>
                  <a:lnTo>
                    <a:pt x="62" y="18"/>
                  </a:lnTo>
                  <a:lnTo>
                    <a:pt x="60" y="16"/>
                  </a:lnTo>
                  <a:lnTo>
                    <a:pt x="60" y="12"/>
                  </a:lnTo>
                  <a:lnTo>
                    <a:pt x="62" y="12"/>
                  </a:lnTo>
                  <a:lnTo>
                    <a:pt x="64" y="16"/>
                  </a:lnTo>
                  <a:lnTo>
                    <a:pt x="66" y="16"/>
                  </a:lnTo>
                  <a:lnTo>
                    <a:pt x="68" y="14"/>
                  </a:lnTo>
                  <a:lnTo>
                    <a:pt x="70" y="12"/>
                  </a:lnTo>
                  <a:lnTo>
                    <a:pt x="70" y="14"/>
                  </a:lnTo>
                  <a:lnTo>
                    <a:pt x="70"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1" name="Freeform 33">
              <a:extLst>
                <a:ext uri="{FF2B5EF4-FFF2-40B4-BE49-F238E27FC236}">
                  <a16:creationId xmlns:a16="http://schemas.microsoft.com/office/drawing/2014/main" id="{C8F42CCE-8400-4F76-AB55-2DC2E78FF7FA}"/>
                </a:ext>
              </a:extLst>
            </p:cNvPr>
            <p:cNvSpPr>
              <a:spLocks/>
            </p:cNvSpPr>
            <p:nvPr/>
          </p:nvSpPr>
          <p:spPr bwMode="auto">
            <a:xfrm>
              <a:off x="3891296" y="4211048"/>
              <a:ext cx="90636" cy="59561"/>
            </a:xfrm>
            <a:custGeom>
              <a:avLst/>
              <a:gdLst/>
              <a:ahLst/>
              <a:cxnLst>
                <a:cxn ang="0">
                  <a:pos x="70" y="14"/>
                </a:cxn>
                <a:cxn ang="0">
                  <a:pos x="70" y="14"/>
                </a:cxn>
                <a:cxn ang="0">
                  <a:pos x="68" y="6"/>
                </a:cxn>
                <a:cxn ang="0">
                  <a:pos x="64" y="6"/>
                </a:cxn>
                <a:cxn ang="0">
                  <a:pos x="66" y="0"/>
                </a:cxn>
                <a:cxn ang="0">
                  <a:pos x="64" y="0"/>
                </a:cxn>
                <a:cxn ang="0">
                  <a:pos x="60" y="4"/>
                </a:cxn>
                <a:cxn ang="0">
                  <a:pos x="56" y="6"/>
                </a:cxn>
                <a:cxn ang="0">
                  <a:pos x="52" y="12"/>
                </a:cxn>
                <a:cxn ang="0">
                  <a:pos x="48" y="16"/>
                </a:cxn>
                <a:cxn ang="0">
                  <a:pos x="40" y="22"/>
                </a:cxn>
                <a:cxn ang="0">
                  <a:pos x="38" y="24"/>
                </a:cxn>
                <a:cxn ang="0">
                  <a:pos x="36" y="24"/>
                </a:cxn>
                <a:cxn ang="0">
                  <a:pos x="36" y="28"/>
                </a:cxn>
                <a:cxn ang="0">
                  <a:pos x="32" y="26"/>
                </a:cxn>
                <a:cxn ang="0">
                  <a:pos x="28" y="24"/>
                </a:cxn>
                <a:cxn ang="0">
                  <a:pos x="24" y="22"/>
                </a:cxn>
                <a:cxn ang="0">
                  <a:pos x="20" y="22"/>
                </a:cxn>
                <a:cxn ang="0">
                  <a:pos x="20" y="24"/>
                </a:cxn>
                <a:cxn ang="0">
                  <a:pos x="18" y="26"/>
                </a:cxn>
                <a:cxn ang="0">
                  <a:pos x="14" y="26"/>
                </a:cxn>
                <a:cxn ang="0">
                  <a:pos x="10" y="24"/>
                </a:cxn>
                <a:cxn ang="0">
                  <a:pos x="8" y="22"/>
                </a:cxn>
                <a:cxn ang="0">
                  <a:pos x="4" y="20"/>
                </a:cxn>
                <a:cxn ang="0">
                  <a:pos x="6" y="14"/>
                </a:cxn>
                <a:cxn ang="0">
                  <a:pos x="0" y="12"/>
                </a:cxn>
                <a:cxn ang="0">
                  <a:pos x="0" y="18"/>
                </a:cxn>
                <a:cxn ang="0">
                  <a:pos x="8" y="26"/>
                </a:cxn>
                <a:cxn ang="0">
                  <a:pos x="8" y="38"/>
                </a:cxn>
                <a:cxn ang="0">
                  <a:pos x="50" y="46"/>
                </a:cxn>
                <a:cxn ang="0">
                  <a:pos x="54" y="46"/>
                </a:cxn>
                <a:cxn ang="0">
                  <a:pos x="56" y="42"/>
                </a:cxn>
                <a:cxn ang="0">
                  <a:pos x="58" y="36"/>
                </a:cxn>
                <a:cxn ang="0">
                  <a:pos x="60" y="34"/>
                </a:cxn>
                <a:cxn ang="0">
                  <a:pos x="60" y="30"/>
                </a:cxn>
                <a:cxn ang="0">
                  <a:pos x="60" y="26"/>
                </a:cxn>
                <a:cxn ang="0">
                  <a:pos x="58" y="26"/>
                </a:cxn>
                <a:cxn ang="0">
                  <a:pos x="60" y="22"/>
                </a:cxn>
                <a:cxn ang="0">
                  <a:pos x="64" y="20"/>
                </a:cxn>
                <a:cxn ang="0">
                  <a:pos x="62" y="18"/>
                </a:cxn>
                <a:cxn ang="0">
                  <a:pos x="60" y="16"/>
                </a:cxn>
                <a:cxn ang="0">
                  <a:pos x="60" y="12"/>
                </a:cxn>
                <a:cxn ang="0">
                  <a:pos x="62" y="12"/>
                </a:cxn>
                <a:cxn ang="0">
                  <a:pos x="64" y="16"/>
                </a:cxn>
                <a:cxn ang="0">
                  <a:pos x="66" y="16"/>
                </a:cxn>
                <a:cxn ang="0">
                  <a:pos x="68" y="14"/>
                </a:cxn>
                <a:cxn ang="0">
                  <a:pos x="70" y="12"/>
                </a:cxn>
                <a:cxn ang="0">
                  <a:pos x="70" y="14"/>
                </a:cxn>
                <a:cxn ang="0">
                  <a:pos x="70" y="14"/>
                </a:cxn>
              </a:cxnLst>
              <a:rect l="0" t="0" r="r" b="b"/>
              <a:pathLst>
                <a:path w="70" h="46">
                  <a:moveTo>
                    <a:pt x="70" y="14"/>
                  </a:moveTo>
                  <a:lnTo>
                    <a:pt x="70" y="14"/>
                  </a:lnTo>
                  <a:lnTo>
                    <a:pt x="68" y="6"/>
                  </a:lnTo>
                  <a:lnTo>
                    <a:pt x="64" y="6"/>
                  </a:lnTo>
                  <a:lnTo>
                    <a:pt x="66" y="0"/>
                  </a:lnTo>
                  <a:lnTo>
                    <a:pt x="64" y="0"/>
                  </a:lnTo>
                  <a:lnTo>
                    <a:pt x="60" y="4"/>
                  </a:lnTo>
                  <a:lnTo>
                    <a:pt x="56" y="6"/>
                  </a:lnTo>
                  <a:lnTo>
                    <a:pt x="52" y="12"/>
                  </a:lnTo>
                  <a:lnTo>
                    <a:pt x="48" y="16"/>
                  </a:lnTo>
                  <a:lnTo>
                    <a:pt x="40" y="22"/>
                  </a:lnTo>
                  <a:lnTo>
                    <a:pt x="38" y="24"/>
                  </a:lnTo>
                  <a:lnTo>
                    <a:pt x="36" y="24"/>
                  </a:lnTo>
                  <a:lnTo>
                    <a:pt x="36" y="28"/>
                  </a:lnTo>
                  <a:lnTo>
                    <a:pt x="32" y="26"/>
                  </a:lnTo>
                  <a:lnTo>
                    <a:pt x="28" y="24"/>
                  </a:lnTo>
                  <a:lnTo>
                    <a:pt x="24" y="22"/>
                  </a:lnTo>
                  <a:lnTo>
                    <a:pt x="20" y="22"/>
                  </a:lnTo>
                  <a:lnTo>
                    <a:pt x="20" y="24"/>
                  </a:lnTo>
                  <a:lnTo>
                    <a:pt x="18" y="26"/>
                  </a:lnTo>
                  <a:lnTo>
                    <a:pt x="14" y="26"/>
                  </a:lnTo>
                  <a:lnTo>
                    <a:pt x="10" y="24"/>
                  </a:lnTo>
                  <a:lnTo>
                    <a:pt x="8" y="22"/>
                  </a:lnTo>
                  <a:lnTo>
                    <a:pt x="4" y="20"/>
                  </a:lnTo>
                  <a:lnTo>
                    <a:pt x="6" y="14"/>
                  </a:lnTo>
                  <a:lnTo>
                    <a:pt x="0" y="12"/>
                  </a:lnTo>
                  <a:lnTo>
                    <a:pt x="0" y="18"/>
                  </a:lnTo>
                  <a:lnTo>
                    <a:pt x="8" y="26"/>
                  </a:lnTo>
                  <a:lnTo>
                    <a:pt x="8" y="38"/>
                  </a:lnTo>
                  <a:lnTo>
                    <a:pt x="50" y="46"/>
                  </a:lnTo>
                  <a:lnTo>
                    <a:pt x="54" y="46"/>
                  </a:lnTo>
                  <a:lnTo>
                    <a:pt x="56" y="42"/>
                  </a:lnTo>
                  <a:lnTo>
                    <a:pt x="58" y="36"/>
                  </a:lnTo>
                  <a:lnTo>
                    <a:pt x="60" y="34"/>
                  </a:lnTo>
                  <a:lnTo>
                    <a:pt x="60" y="30"/>
                  </a:lnTo>
                  <a:lnTo>
                    <a:pt x="60" y="26"/>
                  </a:lnTo>
                  <a:lnTo>
                    <a:pt x="58" y="26"/>
                  </a:lnTo>
                  <a:lnTo>
                    <a:pt x="60" y="22"/>
                  </a:lnTo>
                  <a:lnTo>
                    <a:pt x="64" y="20"/>
                  </a:lnTo>
                  <a:lnTo>
                    <a:pt x="62" y="18"/>
                  </a:lnTo>
                  <a:lnTo>
                    <a:pt x="60" y="16"/>
                  </a:lnTo>
                  <a:lnTo>
                    <a:pt x="60" y="12"/>
                  </a:lnTo>
                  <a:lnTo>
                    <a:pt x="62" y="12"/>
                  </a:lnTo>
                  <a:lnTo>
                    <a:pt x="64" y="16"/>
                  </a:lnTo>
                  <a:lnTo>
                    <a:pt x="66" y="16"/>
                  </a:lnTo>
                  <a:lnTo>
                    <a:pt x="68" y="14"/>
                  </a:lnTo>
                  <a:lnTo>
                    <a:pt x="70" y="12"/>
                  </a:lnTo>
                  <a:lnTo>
                    <a:pt x="70" y="14"/>
                  </a:lnTo>
                  <a:lnTo>
                    <a:pt x="70"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2" name="Freeform 34">
              <a:extLst>
                <a:ext uri="{FF2B5EF4-FFF2-40B4-BE49-F238E27FC236}">
                  <a16:creationId xmlns:a16="http://schemas.microsoft.com/office/drawing/2014/main" id="{EC6CBA41-97E7-4F86-A991-2E9AFF4ED69C}"/>
                </a:ext>
              </a:extLst>
            </p:cNvPr>
            <p:cNvSpPr>
              <a:spLocks noEditPoints="1"/>
            </p:cNvSpPr>
            <p:nvPr/>
          </p:nvSpPr>
          <p:spPr bwMode="auto">
            <a:xfrm>
              <a:off x="3430345" y="3589541"/>
              <a:ext cx="284857" cy="204579"/>
            </a:xfrm>
            <a:custGeom>
              <a:avLst/>
              <a:gdLst/>
              <a:ahLst/>
              <a:cxnLst>
                <a:cxn ang="0">
                  <a:pos x="194" y="104"/>
                </a:cxn>
                <a:cxn ang="0">
                  <a:pos x="180" y="114"/>
                </a:cxn>
                <a:cxn ang="0">
                  <a:pos x="168" y="118"/>
                </a:cxn>
                <a:cxn ang="0">
                  <a:pos x="156" y="124"/>
                </a:cxn>
                <a:cxn ang="0">
                  <a:pos x="138" y="122"/>
                </a:cxn>
                <a:cxn ang="0">
                  <a:pos x="146" y="132"/>
                </a:cxn>
                <a:cxn ang="0">
                  <a:pos x="150" y="134"/>
                </a:cxn>
                <a:cxn ang="0">
                  <a:pos x="158" y="138"/>
                </a:cxn>
                <a:cxn ang="0">
                  <a:pos x="172" y="138"/>
                </a:cxn>
                <a:cxn ang="0">
                  <a:pos x="160" y="146"/>
                </a:cxn>
                <a:cxn ang="0">
                  <a:pos x="134" y="142"/>
                </a:cxn>
                <a:cxn ang="0">
                  <a:pos x="124" y="134"/>
                </a:cxn>
                <a:cxn ang="0">
                  <a:pos x="136" y="130"/>
                </a:cxn>
                <a:cxn ang="0">
                  <a:pos x="132" y="124"/>
                </a:cxn>
                <a:cxn ang="0">
                  <a:pos x="120" y="128"/>
                </a:cxn>
                <a:cxn ang="0">
                  <a:pos x="108" y="122"/>
                </a:cxn>
                <a:cxn ang="0">
                  <a:pos x="114" y="118"/>
                </a:cxn>
                <a:cxn ang="0">
                  <a:pos x="100" y="116"/>
                </a:cxn>
                <a:cxn ang="0">
                  <a:pos x="84" y="112"/>
                </a:cxn>
                <a:cxn ang="0">
                  <a:pos x="80" y="100"/>
                </a:cxn>
                <a:cxn ang="0">
                  <a:pos x="74" y="84"/>
                </a:cxn>
                <a:cxn ang="0">
                  <a:pos x="56" y="70"/>
                </a:cxn>
                <a:cxn ang="0">
                  <a:pos x="44" y="76"/>
                </a:cxn>
                <a:cxn ang="0">
                  <a:pos x="32" y="84"/>
                </a:cxn>
                <a:cxn ang="0">
                  <a:pos x="22" y="90"/>
                </a:cxn>
                <a:cxn ang="0">
                  <a:pos x="8" y="84"/>
                </a:cxn>
                <a:cxn ang="0">
                  <a:pos x="2" y="72"/>
                </a:cxn>
                <a:cxn ang="0">
                  <a:pos x="12" y="66"/>
                </a:cxn>
                <a:cxn ang="0">
                  <a:pos x="14" y="48"/>
                </a:cxn>
                <a:cxn ang="0">
                  <a:pos x="14" y="30"/>
                </a:cxn>
                <a:cxn ang="0">
                  <a:pos x="16" y="16"/>
                </a:cxn>
                <a:cxn ang="0">
                  <a:pos x="18" y="6"/>
                </a:cxn>
                <a:cxn ang="0">
                  <a:pos x="26" y="8"/>
                </a:cxn>
                <a:cxn ang="0">
                  <a:pos x="58" y="8"/>
                </a:cxn>
                <a:cxn ang="0">
                  <a:pos x="70" y="6"/>
                </a:cxn>
                <a:cxn ang="0">
                  <a:pos x="78" y="6"/>
                </a:cxn>
                <a:cxn ang="0">
                  <a:pos x="96" y="8"/>
                </a:cxn>
                <a:cxn ang="0">
                  <a:pos x="106" y="0"/>
                </a:cxn>
                <a:cxn ang="0">
                  <a:pos x="116" y="0"/>
                </a:cxn>
                <a:cxn ang="0">
                  <a:pos x="126" y="4"/>
                </a:cxn>
                <a:cxn ang="0">
                  <a:pos x="130" y="14"/>
                </a:cxn>
                <a:cxn ang="0">
                  <a:pos x="134" y="20"/>
                </a:cxn>
                <a:cxn ang="0">
                  <a:pos x="148" y="24"/>
                </a:cxn>
                <a:cxn ang="0">
                  <a:pos x="156" y="28"/>
                </a:cxn>
                <a:cxn ang="0">
                  <a:pos x="166" y="40"/>
                </a:cxn>
                <a:cxn ang="0">
                  <a:pos x="186" y="36"/>
                </a:cxn>
                <a:cxn ang="0">
                  <a:pos x="194" y="44"/>
                </a:cxn>
                <a:cxn ang="0">
                  <a:pos x="212" y="58"/>
                </a:cxn>
                <a:cxn ang="0">
                  <a:pos x="216" y="66"/>
                </a:cxn>
                <a:cxn ang="0">
                  <a:pos x="218" y="70"/>
                </a:cxn>
                <a:cxn ang="0">
                  <a:pos x="220" y="82"/>
                </a:cxn>
                <a:cxn ang="0">
                  <a:pos x="206" y="96"/>
                </a:cxn>
                <a:cxn ang="0">
                  <a:pos x="92" y="124"/>
                </a:cxn>
                <a:cxn ang="0">
                  <a:pos x="80" y="118"/>
                </a:cxn>
                <a:cxn ang="0">
                  <a:pos x="72" y="126"/>
                </a:cxn>
                <a:cxn ang="0">
                  <a:pos x="72" y="136"/>
                </a:cxn>
                <a:cxn ang="0">
                  <a:pos x="80" y="134"/>
                </a:cxn>
                <a:cxn ang="0">
                  <a:pos x="90" y="128"/>
                </a:cxn>
              </a:cxnLst>
              <a:rect l="0" t="0" r="r" b="b"/>
              <a:pathLst>
                <a:path w="220" h="158">
                  <a:moveTo>
                    <a:pt x="202" y="104"/>
                  </a:moveTo>
                  <a:lnTo>
                    <a:pt x="202" y="104"/>
                  </a:lnTo>
                  <a:lnTo>
                    <a:pt x="196" y="104"/>
                  </a:lnTo>
                  <a:lnTo>
                    <a:pt x="194" y="104"/>
                  </a:lnTo>
                  <a:lnTo>
                    <a:pt x="192" y="108"/>
                  </a:lnTo>
                  <a:lnTo>
                    <a:pt x="188" y="108"/>
                  </a:lnTo>
                  <a:lnTo>
                    <a:pt x="182" y="110"/>
                  </a:lnTo>
                  <a:lnTo>
                    <a:pt x="180" y="114"/>
                  </a:lnTo>
                  <a:lnTo>
                    <a:pt x="176" y="114"/>
                  </a:lnTo>
                  <a:lnTo>
                    <a:pt x="172" y="114"/>
                  </a:lnTo>
                  <a:lnTo>
                    <a:pt x="170" y="118"/>
                  </a:lnTo>
                  <a:lnTo>
                    <a:pt x="168" y="118"/>
                  </a:lnTo>
                  <a:lnTo>
                    <a:pt x="166" y="116"/>
                  </a:lnTo>
                  <a:lnTo>
                    <a:pt x="164" y="116"/>
                  </a:lnTo>
                  <a:lnTo>
                    <a:pt x="156" y="122"/>
                  </a:lnTo>
                  <a:lnTo>
                    <a:pt x="156" y="124"/>
                  </a:lnTo>
                  <a:lnTo>
                    <a:pt x="150" y="124"/>
                  </a:lnTo>
                  <a:lnTo>
                    <a:pt x="146" y="124"/>
                  </a:lnTo>
                  <a:lnTo>
                    <a:pt x="146" y="122"/>
                  </a:lnTo>
                  <a:lnTo>
                    <a:pt x="138" y="122"/>
                  </a:lnTo>
                  <a:lnTo>
                    <a:pt x="138" y="126"/>
                  </a:lnTo>
                  <a:lnTo>
                    <a:pt x="142" y="128"/>
                  </a:lnTo>
                  <a:lnTo>
                    <a:pt x="144" y="128"/>
                  </a:lnTo>
                  <a:lnTo>
                    <a:pt x="146" y="132"/>
                  </a:lnTo>
                  <a:lnTo>
                    <a:pt x="148" y="132"/>
                  </a:lnTo>
                  <a:lnTo>
                    <a:pt x="150" y="132"/>
                  </a:lnTo>
                  <a:lnTo>
                    <a:pt x="150" y="134"/>
                  </a:lnTo>
                  <a:lnTo>
                    <a:pt x="150" y="134"/>
                  </a:lnTo>
                  <a:lnTo>
                    <a:pt x="150" y="136"/>
                  </a:lnTo>
                  <a:lnTo>
                    <a:pt x="152" y="136"/>
                  </a:lnTo>
                  <a:lnTo>
                    <a:pt x="152" y="138"/>
                  </a:lnTo>
                  <a:lnTo>
                    <a:pt x="158" y="138"/>
                  </a:lnTo>
                  <a:lnTo>
                    <a:pt x="166" y="138"/>
                  </a:lnTo>
                  <a:lnTo>
                    <a:pt x="168" y="138"/>
                  </a:lnTo>
                  <a:lnTo>
                    <a:pt x="170" y="136"/>
                  </a:lnTo>
                  <a:lnTo>
                    <a:pt x="172" y="138"/>
                  </a:lnTo>
                  <a:lnTo>
                    <a:pt x="172" y="140"/>
                  </a:lnTo>
                  <a:lnTo>
                    <a:pt x="170" y="144"/>
                  </a:lnTo>
                  <a:lnTo>
                    <a:pt x="164" y="146"/>
                  </a:lnTo>
                  <a:lnTo>
                    <a:pt x="160" y="146"/>
                  </a:lnTo>
                  <a:lnTo>
                    <a:pt x="152" y="150"/>
                  </a:lnTo>
                  <a:lnTo>
                    <a:pt x="132" y="158"/>
                  </a:lnTo>
                  <a:lnTo>
                    <a:pt x="134" y="150"/>
                  </a:lnTo>
                  <a:lnTo>
                    <a:pt x="134" y="142"/>
                  </a:lnTo>
                  <a:lnTo>
                    <a:pt x="126" y="138"/>
                  </a:lnTo>
                  <a:lnTo>
                    <a:pt x="120" y="140"/>
                  </a:lnTo>
                  <a:lnTo>
                    <a:pt x="122" y="136"/>
                  </a:lnTo>
                  <a:lnTo>
                    <a:pt x="124" y="134"/>
                  </a:lnTo>
                  <a:lnTo>
                    <a:pt x="134" y="132"/>
                  </a:lnTo>
                  <a:lnTo>
                    <a:pt x="134" y="132"/>
                  </a:lnTo>
                  <a:lnTo>
                    <a:pt x="136" y="132"/>
                  </a:lnTo>
                  <a:lnTo>
                    <a:pt x="136" y="130"/>
                  </a:lnTo>
                  <a:lnTo>
                    <a:pt x="134" y="126"/>
                  </a:lnTo>
                  <a:lnTo>
                    <a:pt x="134" y="126"/>
                  </a:lnTo>
                  <a:lnTo>
                    <a:pt x="132" y="126"/>
                  </a:lnTo>
                  <a:lnTo>
                    <a:pt x="132" y="124"/>
                  </a:lnTo>
                  <a:lnTo>
                    <a:pt x="124" y="124"/>
                  </a:lnTo>
                  <a:lnTo>
                    <a:pt x="124" y="126"/>
                  </a:lnTo>
                  <a:lnTo>
                    <a:pt x="122" y="128"/>
                  </a:lnTo>
                  <a:lnTo>
                    <a:pt x="120" y="128"/>
                  </a:lnTo>
                  <a:lnTo>
                    <a:pt x="118" y="124"/>
                  </a:lnTo>
                  <a:lnTo>
                    <a:pt x="114" y="124"/>
                  </a:lnTo>
                  <a:lnTo>
                    <a:pt x="114" y="122"/>
                  </a:lnTo>
                  <a:lnTo>
                    <a:pt x="108" y="122"/>
                  </a:lnTo>
                  <a:lnTo>
                    <a:pt x="110" y="120"/>
                  </a:lnTo>
                  <a:lnTo>
                    <a:pt x="116" y="120"/>
                  </a:lnTo>
                  <a:lnTo>
                    <a:pt x="116" y="118"/>
                  </a:lnTo>
                  <a:lnTo>
                    <a:pt x="114" y="118"/>
                  </a:lnTo>
                  <a:lnTo>
                    <a:pt x="112" y="114"/>
                  </a:lnTo>
                  <a:lnTo>
                    <a:pt x="110" y="114"/>
                  </a:lnTo>
                  <a:lnTo>
                    <a:pt x="110" y="116"/>
                  </a:lnTo>
                  <a:lnTo>
                    <a:pt x="100" y="116"/>
                  </a:lnTo>
                  <a:lnTo>
                    <a:pt x="98" y="118"/>
                  </a:lnTo>
                  <a:lnTo>
                    <a:pt x="96" y="118"/>
                  </a:lnTo>
                  <a:lnTo>
                    <a:pt x="92" y="124"/>
                  </a:lnTo>
                  <a:lnTo>
                    <a:pt x="84" y="112"/>
                  </a:lnTo>
                  <a:lnTo>
                    <a:pt x="82" y="110"/>
                  </a:lnTo>
                  <a:lnTo>
                    <a:pt x="80" y="108"/>
                  </a:lnTo>
                  <a:lnTo>
                    <a:pt x="80" y="104"/>
                  </a:lnTo>
                  <a:lnTo>
                    <a:pt x="80" y="100"/>
                  </a:lnTo>
                  <a:lnTo>
                    <a:pt x="78" y="96"/>
                  </a:lnTo>
                  <a:lnTo>
                    <a:pt x="76" y="94"/>
                  </a:lnTo>
                  <a:lnTo>
                    <a:pt x="76" y="90"/>
                  </a:lnTo>
                  <a:lnTo>
                    <a:pt x="74" y="84"/>
                  </a:lnTo>
                  <a:lnTo>
                    <a:pt x="70" y="80"/>
                  </a:lnTo>
                  <a:lnTo>
                    <a:pt x="66" y="76"/>
                  </a:lnTo>
                  <a:lnTo>
                    <a:pt x="60" y="72"/>
                  </a:lnTo>
                  <a:lnTo>
                    <a:pt x="56" y="70"/>
                  </a:lnTo>
                  <a:lnTo>
                    <a:pt x="52" y="72"/>
                  </a:lnTo>
                  <a:lnTo>
                    <a:pt x="48" y="72"/>
                  </a:lnTo>
                  <a:lnTo>
                    <a:pt x="44" y="74"/>
                  </a:lnTo>
                  <a:lnTo>
                    <a:pt x="44" y="76"/>
                  </a:lnTo>
                  <a:lnTo>
                    <a:pt x="42" y="76"/>
                  </a:lnTo>
                  <a:lnTo>
                    <a:pt x="38" y="80"/>
                  </a:lnTo>
                  <a:lnTo>
                    <a:pt x="36" y="82"/>
                  </a:lnTo>
                  <a:lnTo>
                    <a:pt x="32" y="84"/>
                  </a:lnTo>
                  <a:lnTo>
                    <a:pt x="30" y="84"/>
                  </a:lnTo>
                  <a:lnTo>
                    <a:pt x="30" y="86"/>
                  </a:lnTo>
                  <a:lnTo>
                    <a:pt x="26" y="88"/>
                  </a:lnTo>
                  <a:lnTo>
                    <a:pt x="22" y="90"/>
                  </a:lnTo>
                  <a:lnTo>
                    <a:pt x="20" y="86"/>
                  </a:lnTo>
                  <a:lnTo>
                    <a:pt x="16" y="84"/>
                  </a:lnTo>
                  <a:lnTo>
                    <a:pt x="12" y="84"/>
                  </a:lnTo>
                  <a:lnTo>
                    <a:pt x="8" y="84"/>
                  </a:lnTo>
                  <a:lnTo>
                    <a:pt x="4" y="82"/>
                  </a:lnTo>
                  <a:lnTo>
                    <a:pt x="2" y="78"/>
                  </a:lnTo>
                  <a:lnTo>
                    <a:pt x="0" y="78"/>
                  </a:lnTo>
                  <a:lnTo>
                    <a:pt x="2" y="72"/>
                  </a:lnTo>
                  <a:lnTo>
                    <a:pt x="6" y="70"/>
                  </a:lnTo>
                  <a:lnTo>
                    <a:pt x="8" y="70"/>
                  </a:lnTo>
                  <a:lnTo>
                    <a:pt x="12" y="68"/>
                  </a:lnTo>
                  <a:lnTo>
                    <a:pt x="12" y="66"/>
                  </a:lnTo>
                  <a:lnTo>
                    <a:pt x="10" y="62"/>
                  </a:lnTo>
                  <a:lnTo>
                    <a:pt x="10" y="58"/>
                  </a:lnTo>
                  <a:lnTo>
                    <a:pt x="10" y="56"/>
                  </a:lnTo>
                  <a:lnTo>
                    <a:pt x="14" y="48"/>
                  </a:lnTo>
                  <a:lnTo>
                    <a:pt x="18" y="40"/>
                  </a:lnTo>
                  <a:lnTo>
                    <a:pt x="16" y="36"/>
                  </a:lnTo>
                  <a:lnTo>
                    <a:pt x="14" y="32"/>
                  </a:lnTo>
                  <a:lnTo>
                    <a:pt x="14" y="30"/>
                  </a:lnTo>
                  <a:lnTo>
                    <a:pt x="14" y="26"/>
                  </a:lnTo>
                  <a:lnTo>
                    <a:pt x="16" y="20"/>
                  </a:lnTo>
                  <a:lnTo>
                    <a:pt x="16" y="18"/>
                  </a:lnTo>
                  <a:lnTo>
                    <a:pt x="16" y="16"/>
                  </a:lnTo>
                  <a:lnTo>
                    <a:pt x="14" y="10"/>
                  </a:lnTo>
                  <a:lnTo>
                    <a:pt x="14" y="8"/>
                  </a:lnTo>
                  <a:lnTo>
                    <a:pt x="16" y="6"/>
                  </a:lnTo>
                  <a:lnTo>
                    <a:pt x="18" y="6"/>
                  </a:lnTo>
                  <a:lnTo>
                    <a:pt x="20" y="6"/>
                  </a:lnTo>
                  <a:lnTo>
                    <a:pt x="22" y="8"/>
                  </a:lnTo>
                  <a:lnTo>
                    <a:pt x="24" y="10"/>
                  </a:lnTo>
                  <a:lnTo>
                    <a:pt x="26" y="8"/>
                  </a:lnTo>
                  <a:lnTo>
                    <a:pt x="28" y="6"/>
                  </a:lnTo>
                  <a:lnTo>
                    <a:pt x="38" y="6"/>
                  </a:lnTo>
                  <a:lnTo>
                    <a:pt x="52" y="6"/>
                  </a:lnTo>
                  <a:lnTo>
                    <a:pt x="58" y="8"/>
                  </a:lnTo>
                  <a:lnTo>
                    <a:pt x="64" y="6"/>
                  </a:lnTo>
                  <a:lnTo>
                    <a:pt x="68" y="6"/>
                  </a:lnTo>
                  <a:lnTo>
                    <a:pt x="70" y="10"/>
                  </a:lnTo>
                  <a:lnTo>
                    <a:pt x="70" y="6"/>
                  </a:lnTo>
                  <a:lnTo>
                    <a:pt x="72" y="8"/>
                  </a:lnTo>
                  <a:lnTo>
                    <a:pt x="74" y="8"/>
                  </a:lnTo>
                  <a:lnTo>
                    <a:pt x="76" y="8"/>
                  </a:lnTo>
                  <a:lnTo>
                    <a:pt x="78" y="6"/>
                  </a:lnTo>
                  <a:lnTo>
                    <a:pt x="82" y="8"/>
                  </a:lnTo>
                  <a:lnTo>
                    <a:pt x="88" y="8"/>
                  </a:lnTo>
                  <a:lnTo>
                    <a:pt x="94" y="8"/>
                  </a:lnTo>
                  <a:lnTo>
                    <a:pt x="96" y="8"/>
                  </a:lnTo>
                  <a:lnTo>
                    <a:pt x="98" y="6"/>
                  </a:lnTo>
                  <a:lnTo>
                    <a:pt x="98" y="2"/>
                  </a:lnTo>
                  <a:lnTo>
                    <a:pt x="100" y="0"/>
                  </a:lnTo>
                  <a:lnTo>
                    <a:pt x="106" y="0"/>
                  </a:lnTo>
                  <a:lnTo>
                    <a:pt x="108" y="4"/>
                  </a:lnTo>
                  <a:lnTo>
                    <a:pt x="112" y="4"/>
                  </a:lnTo>
                  <a:lnTo>
                    <a:pt x="114" y="2"/>
                  </a:lnTo>
                  <a:lnTo>
                    <a:pt x="116" y="0"/>
                  </a:lnTo>
                  <a:lnTo>
                    <a:pt x="120" y="2"/>
                  </a:lnTo>
                  <a:lnTo>
                    <a:pt x="124" y="2"/>
                  </a:lnTo>
                  <a:lnTo>
                    <a:pt x="126" y="2"/>
                  </a:lnTo>
                  <a:lnTo>
                    <a:pt x="126" y="4"/>
                  </a:lnTo>
                  <a:lnTo>
                    <a:pt x="128" y="6"/>
                  </a:lnTo>
                  <a:lnTo>
                    <a:pt x="128" y="8"/>
                  </a:lnTo>
                  <a:lnTo>
                    <a:pt x="130" y="12"/>
                  </a:lnTo>
                  <a:lnTo>
                    <a:pt x="130" y="14"/>
                  </a:lnTo>
                  <a:lnTo>
                    <a:pt x="132" y="14"/>
                  </a:lnTo>
                  <a:lnTo>
                    <a:pt x="132" y="16"/>
                  </a:lnTo>
                  <a:lnTo>
                    <a:pt x="132" y="18"/>
                  </a:lnTo>
                  <a:lnTo>
                    <a:pt x="134" y="20"/>
                  </a:lnTo>
                  <a:lnTo>
                    <a:pt x="134" y="20"/>
                  </a:lnTo>
                  <a:lnTo>
                    <a:pt x="138" y="20"/>
                  </a:lnTo>
                  <a:lnTo>
                    <a:pt x="142" y="20"/>
                  </a:lnTo>
                  <a:lnTo>
                    <a:pt x="148" y="24"/>
                  </a:lnTo>
                  <a:lnTo>
                    <a:pt x="152" y="22"/>
                  </a:lnTo>
                  <a:lnTo>
                    <a:pt x="154" y="22"/>
                  </a:lnTo>
                  <a:lnTo>
                    <a:pt x="154" y="24"/>
                  </a:lnTo>
                  <a:lnTo>
                    <a:pt x="156" y="28"/>
                  </a:lnTo>
                  <a:lnTo>
                    <a:pt x="162" y="30"/>
                  </a:lnTo>
                  <a:lnTo>
                    <a:pt x="164" y="32"/>
                  </a:lnTo>
                  <a:lnTo>
                    <a:pt x="164" y="36"/>
                  </a:lnTo>
                  <a:lnTo>
                    <a:pt x="166" y="40"/>
                  </a:lnTo>
                  <a:lnTo>
                    <a:pt x="174" y="36"/>
                  </a:lnTo>
                  <a:lnTo>
                    <a:pt x="178" y="34"/>
                  </a:lnTo>
                  <a:lnTo>
                    <a:pt x="182" y="34"/>
                  </a:lnTo>
                  <a:lnTo>
                    <a:pt x="186" y="36"/>
                  </a:lnTo>
                  <a:lnTo>
                    <a:pt x="186" y="38"/>
                  </a:lnTo>
                  <a:lnTo>
                    <a:pt x="188" y="40"/>
                  </a:lnTo>
                  <a:lnTo>
                    <a:pt x="192" y="42"/>
                  </a:lnTo>
                  <a:lnTo>
                    <a:pt x="194" y="44"/>
                  </a:lnTo>
                  <a:lnTo>
                    <a:pt x="212" y="50"/>
                  </a:lnTo>
                  <a:lnTo>
                    <a:pt x="214" y="54"/>
                  </a:lnTo>
                  <a:lnTo>
                    <a:pt x="212" y="56"/>
                  </a:lnTo>
                  <a:lnTo>
                    <a:pt x="212" y="58"/>
                  </a:lnTo>
                  <a:lnTo>
                    <a:pt x="216" y="60"/>
                  </a:lnTo>
                  <a:lnTo>
                    <a:pt x="218" y="60"/>
                  </a:lnTo>
                  <a:lnTo>
                    <a:pt x="218" y="62"/>
                  </a:lnTo>
                  <a:lnTo>
                    <a:pt x="216" y="66"/>
                  </a:lnTo>
                  <a:lnTo>
                    <a:pt x="214" y="66"/>
                  </a:lnTo>
                  <a:lnTo>
                    <a:pt x="216" y="68"/>
                  </a:lnTo>
                  <a:lnTo>
                    <a:pt x="218" y="70"/>
                  </a:lnTo>
                  <a:lnTo>
                    <a:pt x="218" y="70"/>
                  </a:lnTo>
                  <a:lnTo>
                    <a:pt x="218" y="72"/>
                  </a:lnTo>
                  <a:lnTo>
                    <a:pt x="218" y="76"/>
                  </a:lnTo>
                  <a:lnTo>
                    <a:pt x="220" y="78"/>
                  </a:lnTo>
                  <a:lnTo>
                    <a:pt x="220" y="82"/>
                  </a:lnTo>
                  <a:lnTo>
                    <a:pt x="218" y="92"/>
                  </a:lnTo>
                  <a:lnTo>
                    <a:pt x="216" y="94"/>
                  </a:lnTo>
                  <a:lnTo>
                    <a:pt x="212" y="94"/>
                  </a:lnTo>
                  <a:lnTo>
                    <a:pt x="206" y="96"/>
                  </a:lnTo>
                  <a:lnTo>
                    <a:pt x="204" y="100"/>
                  </a:lnTo>
                  <a:lnTo>
                    <a:pt x="202" y="104"/>
                  </a:lnTo>
                  <a:lnTo>
                    <a:pt x="202" y="104"/>
                  </a:lnTo>
                  <a:close/>
                  <a:moveTo>
                    <a:pt x="92" y="124"/>
                  </a:moveTo>
                  <a:lnTo>
                    <a:pt x="92" y="124"/>
                  </a:lnTo>
                  <a:lnTo>
                    <a:pt x="90" y="122"/>
                  </a:lnTo>
                  <a:lnTo>
                    <a:pt x="84" y="120"/>
                  </a:lnTo>
                  <a:lnTo>
                    <a:pt x="80" y="118"/>
                  </a:lnTo>
                  <a:lnTo>
                    <a:pt x="78" y="118"/>
                  </a:lnTo>
                  <a:lnTo>
                    <a:pt x="76" y="120"/>
                  </a:lnTo>
                  <a:lnTo>
                    <a:pt x="74" y="122"/>
                  </a:lnTo>
                  <a:lnTo>
                    <a:pt x="72" y="126"/>
                  </a:lnTo>
                  <a:lnTo>
                    <a:pt x="70" y="132"/>
                  </a:lnTo>
                  <a:lnTo>
                    <a:pt x="68" y="134"/>
                  </a:lnTo>
                  <a:lnTo>
                    <a:pt x="70" y="134"/>
                  </a:lnTo>
                  <a:lnTo>
                    <a:pt x="72" y="136"/>
                  </a:lnTo>
                  <a:lnTo>
                    <a:pt x="74" y="136"/>
                  </a:lnTo>
                  <a:lnTo>
                    <a:pt x="74" y="134"/>
                  </a:lnTo>
                  <a:lnTo>
                    <a:pt x="76" y="134"/>
                  </a:lnTo>
                  <a:lnTo>
                    <a:pt x="80" y="134"/>
                  </a:lnTo>
                  <a:lnTo>
                    <a:pt x="82" y="136"/>
                  </a:lnTo>
                  <a:lnTo>
                    <a:pt x="82" y="134"/>
                  </a:lnTo>
                  <a:lnTo>
                    <a:pt x="86" y="132"/>
                  </a:lnTo>
                  <a:lnTo>
                    <a:pt x="90" y="128"/>
                  </a:lnTo>
                  <a:lnTo>
                    <a:pt x="92" y="124"/>
                  </a:lnTo>
                  <a:lnTo>
                    <a:pt x="92" y="12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3" name="Freeform 35">
              <a:extLst>
                <a:ext uri="{FF2B5EF4-FFF2-40B4-BE49-F238E27FC236}">
                  <a16:creationId xmlns:a16="http://schemas.microsoft.com/office/drawing/2014/main" id="{32FED9AF-4F11-4349-BDAA-FE8C20FCB517}"/>
                </a:ext>
              </a:extLst>
            </p:cNvPr>
            <p:cNvSpPr>
              <a:spLocks/>
            </p:cNvSpPr>
            <p:nvPr/>
          </p:nvSpPr>
          <p:spPr bwMode="auto">
            <a:xfrm>
              <a:off x="3554647" y="4721201"/>
              <a:ext cx="2590" cy="5179"/>
            </a:xfrm>
            <a:custGeom>
              <a:avLst/>
              <a:gdLst/>
              <a:ahLst/>
              <a:cxnLst>
                <a:cxn ang="0">
                  <a:pos x="2" y="0"/>
                </a:cxn>
                <a:cxn ang="0">
                  <a:pos x="2" y="0"/>
                </a:cxn>
                <a:cxn ang="0">
                  <a:pos x="0" y="4"/>
                </a:cxn>
                <a:cxn ang="0">
                  <a:pos x="2" y="2"/>
                </a:cxn>
                <a:cxn ang="0">
                  <a:pos x="2" y="0"/>
                </a:cxn>
              </a:cxnLst>
              <a:rect l="0" t="0" r="r" b="b"/>
              <a:pathLst>
                <a:path w="2" h="4">
                  <a:moveTo>
                    <a:pt x="2" y="0"/>
                  </a:moveTo>
                  <a:lnTo>
                    <a:pt x="2" y="0"/>
                  </a:lnTo>
                  <a:lnTo>
                    <a:pt x="0" y="4"/>
                  </a:lnTo>
                  <a:lnTo>
                    <a:pt x="2" y="2"/>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4" name="Freeform 36">
              <a:extLst>
                <a:ext uri="{FF2B5EF4-FFF2-40B4-BE49-F238E27FC236}">
                  <a16:creationId xmlns:a16="http://schemas.microsoft.com/office/drawing/2014/main" id="{8C0B1B84-6BC2-49E6-89EA-5AC75134CE0E}"/>
                </a:ext>
              </a:extLst>
            </p:cNvPr>
            <p:cNvSpPr>
              <a:spLocks/>
            </p:cNvSpPr>
            <p:nvPr/>
          </p:nvSpPr>
          <p:spPr bwMode="auto">
            <a:xfrm>
              <a:off x="3554647" y="4721201"/>
              <a:ext cx="2590" cy="5179"/>
            </a:xfrm>
            <a:custGeom>
              <a:avLst/>
              <a:gdLst/>
              <a:ahLst/>
              <a:cxnLst>
                <a:cxn ang="0">
                  <a:pos x="2" y="0"/>
                </a:cxn>
                <a:cxn ang="0">
                  <a:pos x="2" y="0"/>
                </a:cxn>
                <a:cxn ang="0">
                  <a:pos x="0" y="4"/>
                </a:cxn>
                <a:cxn ang="0">
                  <a:pos x="2" y="2"/>
                </a:cxn>
                <a:cxn ang="0">
                  <a:pos x="2" y="0"/>
                </a:cxn>
              </a:cxnLst>
              <a:rect l="0" t="0" r="r" b="b"/>
              <a:pathLst>
                <a:path w="2" h="4">
                  <a:moveTo>
                    <a:pt x="2" y="0"/>
                  </a:moveTo>
                  <a:lnTo>
                    <a:pt x="2" y="0"/>
                  </a:lnTo>
                  <a:lnTo>
                    <a:pt x="0" y="4"/>
                  </a:lnTo>
                  <a:lnTo>
                    <a:pt x="2" y="2"/>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5" name="Freeform 37">
              <a:extLst>
                <a:ext uri="{FF2B5EF4-FFF2-40B4-BE49-F238E27FC236}">
                  <a16:creationId xmlns:a16="http://schemas.microsoft.com/office/drawing/2014/main" id="{CE8254D0-6FE3-4853-9B49-F73C9C430090}"/>
                </a:ext>
              </a:extLst>
            </p:cNvPr>
            <p:cNvSpPr>
              <a:spLocks/>
            </p:cNvSpPr>
            <p:nvPr/>
          </p:nvSpPr>
          <p:spPr bwMode="auto">
            <a:xfrm>
              <a:off x="3479548" y="3848502"/>
              <a:ext cx="46613" cy="41434"/>
            </a:xfrm>
            <a:custGeom>
              <a:avLst/>
              <a:gdLst/>
              <a:ahLst/>
              <a:cxnLst>
                <a:cxn ang="0">
                  <a:pos x="24" y="2"/>
                </a:cxn>
                <a:cxn ang="0">
                  <a:pos x="24" y="2"/>
                </a:cxn>
                <a:cxn ang="0">
                  <a:pos x="20" y="2"/>
                </a:cxn>
                <a:cxn ang="0">
                  <a:pos x="16" y="2"/>
                </a:cxn>
                <a:cxn ang="0">
                  <a:pos x="12" y="0"/>
                </a:cxn>
                <a:cxn ang="0">
                  <a:pos x="8" y="2"/>
                </a:cxn>
                <a:cxn ang="0">
                  <a:pos x="8" y="4"/>
                </a:cxn>
                <a:cxn ang="0">
                  <a:pos x="12" y="8"/>
                </a:cxn>
                <a:cxn ang="0">
                  <a:pos x="14" y="10"/>
                </a:cxn>
                <a:cxn ang="0">
                  <a:pos x="14" y="12"/>
                </a:cxn>
                <a:cxn ang="0">
                  <a:pos x="12" y="14"/>
                </a:cxn>
                <a:cxn ang="0">
                  <a:pos x="10" y="14"/>
                </a:cxn>
                <a:cxn ang="0">
                  <a:pos x="6" y="14"/>
                </a:cxn>
                <a:cxn ang="0">
                  <a:pos x="6" y="12"/>
                </a:cxn>
                <a:cxn ang="0">
                  <a:pos x="4" y="14"/>
                </a:cxn>
                <a:cxn ang="0">
                  <a:pos x="4" y="18"/>
                </a:cxn>
                <a:cxn ang="0">
                  <a:pos x="2" y="20"/>
                </a:cxn>
                <a:cxn ang="0">
                  <a:pos x="0" y="22"/>
                </a:cxn>
                <a:cxn ang="0">
                  <a:pos x="2" y="24"/>
                </a:cxn>
                <a:cxn ang="0">
                  <a:pos x="4" y="24"/>
                </a:cxn>
                <a:cxn ang="0">
                  <a:pos x="0" y="26"/>
                </a:cxn>
                <a:cxn ang="0">
                  <a:pos x="0" y="30"/>
                </a:cxn>
                <a:cxn ang="0">
                  <a:pos x="0" y="32"/>
                </a:cxn>
                <a:cxn ang="0">
                  <a:pos x="2" y="32"/>
                </a:cxn>
                <a:cxn ang="0">
                  <a:pos x="10" y="24"/>
                </a:cxn>
                <a:cxn ang="0">
                  <a:pos x="18" y="22"/>
                </a:cxn>
                <a:cxn ang="0">
                  <a:pos x="18" y="20"/>
                </a:cxn>
                <a:cxn ang="0">
                  <a:pos x="20" y="18"/>
                </a:cxn>
                <a:cxn ang="0">
                  <a:pos x="28" y="18"/>
                </a:cxn>
                <a:cxn ang="0">
                  <a:pos x="34" y="16"/>
                </a:cxn>
                <a:cxn ang="0">
                  <a:pos x="36" y="12"/>
                </a:cxn>
                <a:cxn ang="0">
                  <a:pos x="30" y="8"/>
                </a:cxn>
                <a:cxn ang="0">
                  <a:pos x="26" y="6"/>
                </a:cxn>
                <a:cxn ang="0">
                  <a:pos x="24" y="4"/>
                </a:cxn>
                <a:cxn ang="0">
                  <a:pos x="24" y="2"/>
                </a:cxn>
                <a:cxn ang="0">
                  <a:pos x="24" y="2"/>
                </a:cxn>
              </a:cxnLst>
              <a:rect l="0" t="0" r="r" b="b"/>
              <a:pathLst>
                <a:path w="36" h="32">
                  <a:moveTo>
                    <a:pt x="24" y="2"/>
                  </a:moveTo>
                  <a:lnTo>
                    <a:pt x="24" y="2"/>
                  </a:lnTo>
                  <a:lnTo>
                    <a:pt x="20" y="2"/>
                  </a:lnTo>
                  <a:lnTo>
                    <a:pt x="16" y="2"/>
                  </a:lnTo>
                  <a:lnTo>
                    <a:pt x="12" y="0"/>
                  </a:lnTo>
                  <a:lnTo>
                    <a:pt x="8" y="2"/>
                  </a:lnTo>
                  <a:lnTo>
                    <a:pt x="8" y="4"/>
                  </a:lnTo>
                  <a:lnTo>
                    <a:pt x="12" y="8"/>
                  </a:lnTo>
                  <a:lnTo>
                    <a:pt x="14" y="10"/>
                  </a:lnTo>
                  <a:lnTo>
                    <a:pt x="14" y="12"/>
                  </a:lnTo>
                  <a:lnTo>
                    <a:pt x="12" y="14"/>
                  </a:lnTo>
                  <a:lnTo>
                    <a:pt x="10" y="14"/>
                  </a:lnTo>
                  <a:lnTo>
                    <a:pt x="6" y="14"/>
                  </a:lnTo>
                  <a:lnTo>
                    <a:pt x="6" y="12"/>
                  </a:lnTo>
                  <a:lnTo>
                    <a:pt x="4" y="14"/>
                  </a:lnTo>
                  <a:lnTo>
                    <a:pt x="4" y="18"/>
                  </a:lnTo>
                  <a:lnTo>
                    <a:pt x="2" y="20"/>
                  </a:lnTo>
                  <a:lnTo>
                    <a:pt x="0" y="22"/>
                  </a:lnTo>
                  <a:lnTo>
                    <a:pt x="2" y="24"/>
                  </a:lnTo>
                  <a:lnTo>
                    <a:pt x="4" y="24"/>
                  </a:lnTo>
                  <a:lnTo>
                    <a:pt x="0" y="26"/>
                  </a:lnTo>
                  <a:lnTo>
                    <a:pt x="0" y="30"/>
                  </a:lnTo>
                  <a:lnTo>
                    <a:pt x="0" y="32"/>
                  </a:lnTo>
                  <a:lnTo>
                    <a:pt x="2" y="32"/>
                  </a:lnTo>
                  <a:lnTo>
                    <a:pt x="10" y="24"/>
                  </a:lnTo>
                  <a:lnTo>
                    <a:pt x="18" y="22"/>
                  </a:lnTo>
                  <a:lnTo>
                    <a:pt x="18" y="20"/>
                  </a:lnTo>
                  <a:lnTo>
                    <a:pt x="20" y="18"/>
                  </a:lnTo>
                  <a:lnTo>
                    <a:pt x="28" y="18"/>
                  </a:lnTo>
                  <a:lnTo>
                    <a:pt x="34" y="16"/>
                  </a:lnTo>
                  <a:lnTo>
                    <a:pt x="36" y="12"/>
                  </a:lnTo>
                  <a:lnTo>
                    <a:pt x="30" y="8"/>
                  </a:lnTo>
                  <a:lnTo>
                    <a:pt x="26" y="6"/>
                  </a:lnTo>
                  <a:lnTo>
                    <a:pt x="24" y="4"/>
                  </a:lnTo>
                  <a:lnTo>
                    <a:pt x="24" y="2"/>
                  </a:lnTo>
                  <a:lnTo>
                    <a:pt x="24"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6" name="Freeform 38">
              <a:extLst>
                <a:ext uri="{FF2B5EF4-FFF2-40B4-BE49-F238E27FC236}">
                  <a16:creationId xmlns:a16="http://schemas.microsoft.com/office/drawing/2014/main" id="{2C86586A-AFB2-4078-A4CF-C4189985DF34}"/>
                </a:ext>
              </a:extLst>
            </p:cNvPr>
            <p:cNvSpPr>
              <a:spLocks/>
            </p:cNvSpPr>
            <p:nvPr/>
          </p:nvSpPr>
          <p:spPr bwMode="auto">
            <a:xfrm>
              <a:off x="3158436" y="3957266"/>
              <a:ext cx="67330" cy="147608"/>
            </a:xfrm>
            <a:custGeom>
              <a:avLst/>
              <a:gdLst/>
              <a:ahLst/>
              <a:cxnLst>
                <a:cxn ang="0">
                  <a:pos x="52" y="68"/>
                </a:cxn>
                <a:cxn ang="0">
                  <a:pos x="42" y="64"/>
                </a:cxn>
                <a:cxn ang="0">
                  <a:pos x="40" y="58"/>
                </a:cxn>
                <a:cxn ang="0">
                  <a:pos x="46" y="46"/>
                </a:cxn>
                <a:cxn ang="0">
                  <a:pos x="48" y="42"/>
                </a:cxn>
                <a:cxn ang="0">
                  <a:pos x="46" y="34"/>
                </a:cxn>
                <a:cxn ang="0">
                  <a:pos x="44" y="28"/>
                </a:cxn>
                <a:cxn ang="0">
                  <a:pos x="50" y="14"/>
                </a:cxn>
                <a:cxn ang="0">
                  <a:pos x="52" y="6"/>
                </a:cxn>
                <a:cxn ang="0">
                  <a:pos x="46" y="8"/>
                </a:cxn>
                <a:cxn ang="0">
                  <a:pos x="40" y="2"/>
                </a:cxn>
                <a:cxn ang="0">
                  <a:pos x="38" y="2"/>
                </a:cxn>
                <a:cxn ang="0">
                  <a:pos x="36" y="0"/>
                </a:cxn>
                <a:cxn ang="0">
                  <a:pos x="26" y="4"/>
                </a:cxn>
                <a:cxn ang="0">
                  <a:pos x="8" y="4"/>
                </a:cxn>
                <a:cxn ang="0">
                  <a:pos x="8" y="14"/>
                </a:cxn>
                <a:cxn ang="0">
                  <a:pos x="12" y="18"/>
                </a:cxn>
                <a:cxn ang="0">
                  <a:pos x="12" y="28"/>
                </a:cxn>
                <a:cxn ang="0">
                  <a:pos x="14" y="38"/>
                </a:cxn>
                <a:cxn ang="0">
                  <a:pos x="12" y="42"/>
                </a:cxn>
                <a:cxn ang="0">
                  <a:pos x="8" y="48"/>
                </a:cxn>
                <a:cxn ang="0">
                  <a:pos x="0" y="52"/>
                </a:cxn>
                <a:cxn ang="0">
                  <a:pos x="2" y="68"/>
                </a:cxn>
                <a:cxn ang="0">
                  <a:pos x="6" y="68"/>
                </a:cxn>
                <a:cxn ang="0">
                  <a:pos x="10" y="82"/>
                </a:cxn>
                <a:cxn ang="0">
                  <a:pos x="20" y="114"/>
                </a:cxn>
                <a:cxn ang="0">
                  <a:pos x="26" y="112"/>
                </a:cxn>
                <a:cxn ang="0">
                  <a:pos x="28" y="108"/>
                </a:cxn>
                <a:cxn ang="0">
                  <a:pos x="32" y="104"/>
                </a:cxn>
                <a:cxn ang="0">
                  <a:pos x="30" y="94"/>
                </a:cxn>
                <a:cxn ang="0">
                  <a:pos x="32" y="88"/>
                </a:cxn>
                <a:cxn ang="0">
                  <a:pos x="40" y="86"/>
                </a:cxn>
                <a:cxn ang="0">
                  <a:pos x="46" y="82"/>
                </a:cxn>
                <a:cxn ang="0">
                  <a:pos x="48" y="76"/>
                </a:cxn>
                <a:cxn ang="0">
                  <a:pos x="52" y="68"/>
                </a:cxn>
              </a:cxnLst>
              <a:rect l="0" t="0" r="r" b="b"/>
              <a:pathLst>
                <a:path w="52" h="114">
                  <a:moveTo>
                    <a:pt x="52" y="68"/>
                  </a:moveTo>
                  <a:lnTo>
                    <a:pt x="52" y="68"/>
                  </a:lnTo>
                  <a:lnTo>
                    <a:pt x="46" y="66"/>
                  </a:lnTo>
                  <a:lnTo>
                    <a:pt x="42" y="64"/>
                  </a:lnTo>
                  <a:lnTo>
                    <a:pt x="40" y="62"/>
                  </a:lnTo>
                  <a:lnTo>
                    <a:pt x="40" y="58"/>
                  </a:lnTo>
                  <a:lnTo>
                    <a:pt x="40" y="54"/>
                  </a:lnTo>
                  <a:lnTo>
                    <a:pt x="46" y="46"/>
                  </a:lnTo>
                  <a:lnTo>
                    <a:pt x="46" y="42"/>
                  </a:lnTo>
                  <a:lnTo>
                    <a:pt x="48" y="42"/>
                  </a:lnTo>
                  <a:lnTo>
                    <a:pt x="48" y="38"/>
                  </a:lnTo>
                  <a:lnTo>
                    <a:pt x="46" y="34"/>
                  </a:lnTo>
                  <a:lnTo>
                    <a:pt x="48" y="28"/>
                  </a:lnTo>
                  <a:lnTo>
                    <a:pt x="44" y="28"/>
                  </a:lnTo>
                  <a:lnTo>
                    <a:pt x="44" y="18"/>
                  </a:lnTo>
                  <a:lnTo>
                    <a:pt x="50" y="14"/>
                  </a:lnTo>
                  <a:lnTo>
                    <a:pt x="52" y="8"/>
                  </a:lnTo>
                  <a:lnTo>
                    <a:pt x="52" y="6"/>
                  </a:lnTo>
                  <a:lnTo>
                    <a:pt x="50" y="6"/>
                  </a:lnTo>
                  <a:lnTo>
                    <a:pt x="46" y="8"/>
                  </a:lnTo>
                  <a:lnTo>
                    <a:pt x="42" y="6"/>
                  </a:lnTo>
                  <a:lnTo>
                    <a:pt x="40" y="2"/>
                  </a:lnTo>
                  <a:lnTo>
                    <a:pt x="38" y="0"/>
                  </a:lnTo>
                  <a:lnTo>
                    <a:pt x="38" y="2"/>
                  </a:lnTo>
                  <a:lnTo>
                    <a:pt x="36" y="2"/>
                  </a:lnTo>
                  <a:lnTo>
                    <a:pt x="36" y="0"/>
                  </a:lnTo>
                  <a:lnTo>
                    <a:pt x="30" y="0"/>
                  </a:lnTo>
                  <a:lnTo>
                    <a:pt x="26" y="4"/>
                  </a:lnTo>
                  <a:lnTo>
                    <a:pt x="16" y="4"/>
                  </a:lnTo>
                  <a:lnTo>
                    <a:pt x="8" y="4"/>
                  </a:lnTo>
                  <a:lnTo>
                    <a:pt x="8" y="10"/>
                  </a:lnTo>
                  <a:lnTo>
                    <a:pt x="8" y="14"/>
                  </a:lnTo>
                  <a:lnTo>
                    <a:pt x="10" y="16"/>
                  </a:lnTo>
                  <a:lnTo>
                    <a:pt x="12" y="18"/>
                  </a:lnTo>
                  <a:lnTo>
                    <a:pt x="12" y="22"/>
                  </a:lnTo>
                  <a:lnTo>
                    <a:pt x="12" y="28"/>
                  </a:lnTo>
                  <a:lnTo>
                    <a:pt x="14" y="36"/>
                  </a:lnTo>
                  <a:lnTo>
                    <a:pt x="14" y="38"/>
                  </a:lnTo>
                  <a:lnTo>
                    <a:pt x="12" y="40"/>
                  </a:lnTo>
                  <a:lnTo>
                    <a:pt x="12" y="42"/>
                  </a:lnTo>
                  <a:lnTo>
                    <a:pt x="10" y="42"/>
                  </a:lnTo>
                  <a:lnTo>
                    <a:pt x="8" y="48"/>
                  </a:lnTo>
                  <a:lnTo>
                    <a:pt x="4" y="52"/>
                  </a:lnTo>
                  <a:lnTo>
                    <a:pt x="0" y="52"/>
                  </a:lnTo>
                  <a:lnTo>
                    <a:pt x="0" y="56"/>
                  </a:lnTo>
                  <a:lnTo>
                    <a:pt x="2" y="68"/>
                  </a:lnTo>
                  <a:lnTo>
                    <a:pt x="4" y="68"/>
                  </a:lnTo>
                  <a:lnTo>
                    <a:pt x="6" y="68"/>
                  </a:lnTo>
                  <a:lnTo>
                    <a:pt x="8" y="70"/>
                  </a:lnTo>
                  <a:lnTo>
                    <a:pt x="10" y="82"/>
                  </a:lnTo>
                  <a:lnTo>
                    <a:pt x="16" y="84"/>
                  </a:lnTo>
                  <a:lnTo>
                    <a:pt x="20" y="114"/>
                  </a:lnTo>
                  <a:lnTo>
                    <a:pt x="24" y="114"/>
                  </a:lnTo>
                  <a:lnTo>
                    <a:pt x="26" y="112"/>
                  </a:lnTo>
                  <a:lnTo>
                    <a:pt x="28" y="112"/>
                  </a:lnTo>
                  <a:lnTo>
                    <a:pt x="28" y="108"/>
                  </a:lnTo>
                  <a:lnTo>
                    <a:pt x="30" y="106"/>
                  </a:lnTo>
                  <a:lnTo>
                    <a:pt x="32" y="104"/>
                  </a:lnTo>
                  <a:lnTo>
                    <a:pt x="32" y="102"/>
                  </a:lnTo>
                  <a:lnTo>
                    <a:pt x="30" y="94"/>
                  </a:lnTo>
                  <a:lnTo>
                    <a:pt x="32" y="90"/>
                  </a:lnTo>
                  <a:lnTo>
                    <a:pt x="32" y="88"/>
                  </a:lnTo>
                  <a:lnTo>
                    <a:pt x="36" y="88"/>
                  </a:lnTo>
                  <a:lnTo>
                    <a:pt x="40" y="86"/>
                  </a:lnTo>
                  <a:lnTo>
                    <a:pt x="42" y="86"/>
                  </a:lnTo>
                  <a:lnTo>
                    <a:pt x="46" y="82"/>
                  </a:lnTo>
                  <a:lnTo>
                    <a:pt x="48" y="78"/>
                  </a:lnTo>
                  <a:lnTo>
                    <a:pt x="48" y="76"/>
                  </a:lnTo>
                  <a:lnTo>
                    <a:pt x="48" y="74"/>
                  </a:lnTo>
                  <a:lnTo>
                    <a:pt x="52" y="68"/>
                  </a:lnTo>
                  <a:lnTo>
                    <a:pt x="52"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7" name="Freeform 39">
              <a:extLst>
                <a:ext uri="{FF2B5EF4-FFF2-40B4-BE49-F238E27FC236}">
                  <a16:creationId xmlns:a16="http://schemas.microsoft.com/office/drawing/2014/main" id="{9AB8D9D1-2C07-4578-8E41-4D4E7EA2B836}"/>
                </a:ext>
              </a:extLst>
            </p:cNvPr>
            <p:cNvSpPr>
              <a:spLocks/>
            </p:cNvSpPr>
            <p:nvPr/>
          </p:nvSpPr>
          <p:spPr bwMode="auto">
            <a:xfrm>
              <a:off x="3158436" y="3957266"/>
              <a:ext cx="67330" cy="147608"/>
            </a:xfrm>
            <a:custGeom>
              <a:avLst/>
              <a:gdLst/>
              <a:ahLst/>
              <a:cxnLst>
                <a:cxn ang="0">
                  <a:pos x="52" y="68"/>
                </a:cxn>
                <a:cxn ang="0">
                  <a:pos x="42" y="64"/>
                </a:cxn>
                <a:cxn ang="0">
                  <a:pos x="40" y="58"/>
                </a:cxn>
                <a:cxn ang="0">
                  <a:pos x="46" y="46"/>
                </a:cxn>
                <a:cxn ang="0">
                  <a:pos x="48" y="42"/>
                </a:cxn>
                <a:cxn ang="0">
                  <a:pos x="46" y="34"/>
                </a:cxn>
                <a:cxn ang="0">
                  <a:pos x="44" y="28"/>
                </a:cxn>
                <a:cxn ang="0">
                  <a:pos x="50" y="14"/>
                </a:cxn>
                <a:cxn ang="0">
                  <a:pos x="52" y="6"/>
                </a:cxn>
                <a:cxn ang="0">
                  <a:pos x="46" y="8"/>
                </a:cxn>
                <a:cxn ang="0">
                  <a:pos x="40" y="2"/>
                </a:cxn>
                <a:cxn ang="0">
                  <a:pos x="38" y="2"/>
                </a:cxn>
                <a:cxn ang="0">
                  <a:pos x="36" y="0"/>
                </a:cxn>
                <a:cxn ang="0">
                  <a:pos x="26" y="4"/>
                </a:cxn>
                <a:cxn ang="0">
                  <a:pos x="8" y="4"/>
                </a:cxn>
                <a:cxn ang="0">
                  <a:pos x="8" y="14"/>
                </a:cxn>
                <a:cxn ang="0">
                  <a:pos x="12" y="18"/>
                </a:cxn>
                <a:cxn ang="0">
                  <a:pos x="12" y="28"/>
                </a:cxn>
                <a:cxn ang="0">
                  <a:pos x="14" y="38"/>
                </a:cxn>
                <a:cxn ang="0">
                  <a:pos x="12" y="42"/>
                </a:cxn>
                <a:cxn ang="0">
                  <a:pos x="8" y="48"/>
                </a:cxn>
                <a:cxn ang="0">
                  <a:pos x="0" y="52"/>
                </a:cxn>
                <a:cxn ang="0">
                  <a:pos x="2" y="68"/>
                </a:cxn>
                <a:cxn ang="0">
                  <a:pos x="6" y="68"/>
                </a:cxn>
                <a:cxn ang="0">
                  <a:pos x="10" y="82"/>
                </a:cxn>
                <a:cxn ang="0">
                  <a:pos x="20" y="114"/>
                </a:cxn>
                <a:cxn ang="0">
                  <a:pos x="26" y="112"/>
                </a:cxn>
                <a:cxn ang="0">
                  <a:pos x="28" y="108"/>
                </a:cxn>
                <a:cxn ang="0">
                  <a:pos x="32" y="104"/>
                </a:cxn>
                <a:cxn ang="0">
                  <a:pos x="30" y="94"/>
                </a:cxn>
                <a:cxn ang="0">
                  <a:pos x="32" y="88"/>
                </a:cxn>
                <a:cxn ang="0">
                  <a:pos x="40" y="86"/>
                </a:cxn>
                <a:cxn ang="0">
                  <a:pos x="46" y="82"/>
                </a:cxn>
                <a:cxn ang="0">
                  <a:pos x="48" y="76"/>
                </a:cxn>
                <a:cxn ang="0">
                  <a:pos x="52" y="68"/>
                </a:cxn>
              </a:cxnLst>
              <a:rect l="0" t="0" r="r" b="b"/>
              <a:pathLst>
                <a:path w="52" h="114">
                  <a:moveTo>
                    <a:pt x="52" y="68"/>
                  </a:moveTo>
                  <a:lnTo>
                    <a:pt x="52" y="68"/>
                  </a:lnTo>
                  <a:lnTo>
                    <a:pt x="46" y="66"/>
                  </a:lnTo>
                  <a:lnTo>
                    <a:pt x="42" y="64"/>
                  </a:lnTo>
                  <a:lnTo>
                    <a:pt x="40" y="62"/>
                  </a:lnTo>
                  <a:lnTo>
                    <a:pt x="40" y="58"/>
                  </a:lnTo>
                  <a:lnTo>
                    <a:pt x="40" y="54"/>
                  </a:lnTo>
                  <a:lnTo>
                    <a:pt x="46" y="46"/>
                  </a:lnTo>
                  <a:lnTo>
                    <a:pt x="46" y="42"/>
                  </a:lnTo>
                  <a:lnTo>
                    <a:pt x="48" y="42"/>
                  </a:lnTo>
                  <a:lnTo>
                    <a:pt x="48" y="38"/>
                  </a:lnTo>
                  <a:lnTo>
                    <a:pt x="46" y="34"/>
                  </a:lnTo>
                  <a:lnTo>
                    <a:pt x="48" y="28"/>
                  </a:lnTo>
                  <a:lnTo>
                    <a:pt x="44" y="28"/>
                  </a:lnTo>
                  <a:lnTo>
                    <a:pt x="44" y="18"/>
                  </a:lnTo>
                  <a:lnTo>
                    <a:pt x="50" y="14"/>
                  </a:lnTo>
                  <a:lnTo>
                    <a:pt x="52" y="8"/>
                  </a:lnTo>
                  <a:lnTo>
                    <a:pt x="52" y="6"/>
                  </a:lnTo>
                  <a:lnTo>
                    <a:pt x="50" y="6"/>
                  </a:lnTo>
                  <a:lnTo>
                    <a:pt x="46" y="8"/>
                  </a:lnTo>
                  <a:lnTo>
                    <a:pt x="42" y="6"/>
                  </a:lnTo>
                  <a:lnTo>
                    <a:pt x="40" y="2"/>
                  </a:lnTo>
                  <a:lnTo>
                    <a:pt x="38" y="0"/>
                  </a:lnTo>
                  <a:lnTo>
                    <a:pt x="38" y="2"/>
                  </a:lnTo>
                  <a:lnTo>
                    <a:pt x="36" y="2"/>
                  </a:lnTo>
                  <a:lnTo>
                    <a:pt x="36" y="0"/>
                  </a:lnTo>
                  <a:lnTo>
                    <a:pt x="30" y="0"/>
                  </a:lnTo>
                  <a:lnTo>
                    <a:pt x="26" y="4"/>
                  </a:lnTo>
                  <a:lnTo>
                    <a:pt x="16" y="4"/>
                  </a:lnTo>
                  <a:lnTo>
                    <a:pt x="8" y="4"/>
                  </a:lnTo>
                  <a:lnTo>
                    <a:pt x="8" y="10"/>
                  </a:lnTo>
                  <a:lnTo>
                    <a:pt x="8" y="14"/>
                  </a:lnTo>
                  <a:lnTo>
                    <a:pt x="10" y="16"/>
                  </a:lnTo>
                  <a:lnTo>
                    <a:pt x="12" y="18"/>
                  </a:lnTo>
                  <a:lnTo>
                    <a:pt x="12" y="22"/>
                  </a:lnTo>
                  <a:lnTo>
                    <a:pt x="12" y="28"/>
                  </a:lnTo>
                  <a:lnTo>
                    <a:pt x="14" y="36"/>
                  </a:lnTo>
                  <a:lnTo>
                    <a:pt x="14" y="38"/>
                  </a:lnTo>
                  <a:lnTo>
                    <a:pt x="12" y="40"/>
                  </a:lnTo>
                  <a:lnTo>
                    <a:pt x="12" y="42"/>
                  </a:lnTo>
                  <a:lnTo>
                    <a:pt x="10" y="42"/>
                  </a:lnTo>
                  <a:lnTo>
                    <a:pt x="8" y="48"/>
                  </a:lnTo>
                  <a:lnTo>
                    <a:pt x="4" y="52"/>
                  </a:lnTo>
                  <a:lnTo>
                    <a:pt x="0" y="52"/>
                  </a:lnTo>
                  <a:lnTo>
                    <a:pt x="0" y="56"/>
                  </a:lnTo>
                  <a:lnTo>
                    <a:pt x="2" y="68"/>
                  </a:lnTo>
                  <a:lnTo>
                    <a:pt x="4" y="68"/>
                  </a:lnTo>
                  <a:lnTo>
                    <a:pt x="6" y="68"/>
                  </a:lnTo>
                  <a:lnTo>
                    <a:pt x="8" y="70"/>
                  </a:lnTo>
                  <a:lnTo>
                    <a:pt x="10" y="82"/>
                  </a:lnTo>
                  <a:lnTo>
                    <a:pt x="16" y="84"/>
                  </a:lnTo>
                  <a:lnTo>
                    <a:pt x="20" y="114"/>
                  </a:lnTo>
                  <a:lnTo>
                    <a:pt x="24" y="114"/>
                  </a:lnTo>
                  <a:lnTo>
                    <a:pt x="26" y="112"/>
                  </a:lnTo>
                  <a:lnTo>
                    <a:pt x="28" y="112"/>
                  </a:lnTo>
                  <a:lnTo>
                    <a:pt x="28" y="108"/>
                  </a:lnTo>
                  <a:lnTo>
                    <a:pt x="30" y="106"/>
                  </a:lnTo>
                  <a:lnTo>
                    <a:pt x="32" y="104"/>
                  </a:lnTo>
                  <a:lnTo>
                    <a:pt x="32" y="102"/>
                  </a:lnTo>
                  <a:lnTo>
                    <a:pt x="30" y="94"/>
                  </a:lnTo>
                  <a:lnTo>
                    <a:pt x="32" y="90"/>
                  </a:lnTo>
                  <a:lnTo>
                    <a:pt x="32" y="88"/>
                  </a:lnTo>
                  <a:lnTo>
                    <a:pt x="36" y="88"/>
                  </a:lnTo>
                  <a:lnTo>
                    <a:pt x="40" y="86"/>
                  </a:lnTo>
                  <a:lnTo>
                    <a:pt x="42" y="86"/>
                  </a:lnTo>
                  <a:lnTo>
                    <a:pt x="46" y="82"/>
                  </a:lnTo>
                  <a:lnTo>
                    <a:pt x="48" y="78"/>
                  </a:lnTo>
                  <a:lnTo>
                    <a:pt x="48" y="76"/>
                  </a:lnTo>
                  <a:lnTo>
                    <a:pt x="48" y="74"/>
                  </a:lnTo>
                  <a:lnTo>
                    <a:pt x="52" y="68"/>
                  </a:lnTo>
                  <a:lnTo>
                    <a:pt x="52"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8" name="Freeform 40">
              <a:extLst>
                <a:ext uri="{FF2B5EF4-FFF2-40B4-BE49-F238E27FC236}">
                  <a16:creationId xmlns:a16="http://schemas.microsoft.com/office/drawing/2014/main" id="{EC868DD0-691B-445C-B949-0658A0649DD2}"/>
                </a:ext>
              </a:extLst>
            </p:cNvPr>
            <p:cNvSpPr>
              <a:spLocks/>
            </p:cNvSpPr>
            <p:nvPr/>
          </p:nvSpPr>
          <p:spPr bwMode="auto">
            <a:xfrm>
              <a:off x="3031545" y="4506263"/>
              <a:ext cx="33665" cy="129481"/>
            </a:xfrm>
            <a:custGeom>
              <a:avLst/>
              <a:gdLst/>
              <a:ahLst/>
              <a:cxnLst>
                <a:cxn ang="0">
                  <a:pos x="16" y="98"/>
                </a:cxn>
                <a:cxn ang="0">
                  <a:pos x="16" y="98"/>
                </a:cxn>
                <a:cxn ang="0">
                  <a:pos x="20" y="92"/>
                </a:cxn>
                <a:cxn ang="0">
                  <a:pos x="20" y="96"/>
                </a:cxn>
                <a:cxn ang="0">
                  <a:pos x="20" y="98"/>
                </a:cxn>
                <a:cxn ang="0">
                  <a:pos x="18" y="100"/>
                </a:cxn>
                <a:cxn ang="0">
                  <a:pos x="20" y="100"/>
                </a:cxn>
                <a:cxn ang="0">
                  <a:pos x="22" y="96"/>
                </a:cxn>
                <a:cxn ang="0">
                  <a:pos x="24" y="96"/>
                </a:cxn>
                <a:cxn ang="0">
                  <a:pos x="26" y="96"/>
                </a:cxn>
                <a:cxn ang="0">
                  <a:pos x="26" y="94"/>
                </a:cxn>
                <a:cxn ang="0">
                  <a:pos x="24" y="88"/>
                </a:cxn>
                <a:cxn ang="0">
                  <a:pos x="24" y="84"/>
                </a:cxn>
                <a:cxn ang="0">
                  <a:pos x="24" y="82"/>
                </a:cxn>
                <a:cxn ang="0">
                  <a:pos x="22" y="76"/>
                </a:cxn>
                <a:cxn ang="0">
                  <a:pos x="22" y="72"/>
                </a:cxn>
                <a:cxn ang="0">
                  <a:pos x="24" y="66"/>
                </a:cxn>
                <a:cxn ang="0">
                  <a:pos x="24" y="62"/>
                </a:cxn>
                <a:cxn ang="0">
                  <a:pos x="24" y="56"/>
                </a:cxn>
                <a:cxn ang="0">
                  <a:pos x="22" y="50"/>
                </a:cxn>
                <a:cxn ang="0">
                  <a:pos x="24" y="46"/>
                </a:cxn>
                <a:cxn ang="0">
                  <a:pos x="24" y="38"/>
                </a:cxn>
                <a:cxn ang="0">
                  <a:pos x="24" y="36"/>
                </a:cxn>
                <a:cxn ang="0">
                  <a:pos x="22" y="34"/>
                </a:cxn>
                <a:cxn ang="0">
                  <a:pos x="22" y="28"/>
                </a:cxn>
                <a:cxn ang="0">
                  <a:pos x="22" y="22"/>
                </a:cxn>
                <a:cxn ang="0">
                  <a:pos x="22" y="20"/>
                </a:cxn>
                <a:cxn ang="0">
                  <a:pos x="12" y="16"/>
                </a:cxn>
                <a:cxn ang="0">
                  <a:pos x="12" y="2"/>
                </a:cxn>
                <a:cxn ang="0">
                  <a:pos x="6" y="2"/>
                </a:cxn>
                <a:cxn ang="0">
                  <a:pos x="0" y="0"/>
                </a:cxn>
                <a:cxn ang="0">
                  <a:pos x="0" y="6"/>
                </a:cxn>
                <a:cxn ang="0">
                  <a:pos x="0" y="12"/>
                </a:cxn>
                <a:cxn ang="0">
                  <a:pos x="0" y="14"/>
                </a:cxn>
                <a:cxn ang="0">
                  <a:pos x="4" y="16"/>
                </a:cxn>
                <a:cxn ang="0">
                  <a:pos x="4" y="22"/>
                </a:cxn>
                <a:cxn ang="0">
                  <a:pos x="6" y="28"/>
                </a:cxn>
                <a:cxn ang="0">
                  <a:pos x="4" y="34"/>
                </a:cxn>
                <a:cxn ang="0">
                  <a:pos x="4" y="36"/>
                </a:cxn>
                <a:cxn ang="0">
                  <a:pos x="4" y="38"/>
                </a:cxn>
                <a:cxn ang="0">
                  <a:pos x="6" y="38"/>
                </a:cxn>
                <a:cxn ang="0">
                  <a:pos x="6" y="40"/>
                </a:cxn>
                <a:cxn ang="0">
                  <a:pos x="4" y="46"/>
                </a:cxn>
                <a:cxn ang="0">
                  <a:pos x="4" y="46"/>
                </a:cxn>
                <a:cxn ang="0">
                  <a:pos x="4" y="50"/>
                </a:cxn>
                <a:cxn ang="0">
                  <a:pos x="8" y="54"/>
                </a:cxn>
                <a:cxn ang="0">
                  <a:pos x="10" y="58"/>
                </a:cxn>
                <a:cxn ang="0">
                  <a:pos x="8" y="72"/>
                </a:cxn>
                <a:cxn ang="0">
                  <a:pos x="6" y="76"/>
                </a:cxn>
                <a:cxn ang="0">
                  <a:pos x="8" y="78"/>
                </a:cxn>
                <a:cxn ang="0">
                  <a:pos x="8" y="80"/>
                </a:cxn>
                <a:cxn ang="0">
                  <a:pos x="8" y="82"/>
                </a:cxn>
                <a:cxn ang="0">
                  <a:pos x="16" y="98"/>
                </a:cxn>
                <a:cxn ang="0">
                  <a:pos x="16" y="98"/>
                </a:cxn>
              </a:cxnLst>
              <a:rect l="0" t="0" r="r" b="b"/>
              <a:pathLst>
                <a:path w="26" h="100">
                  <a:moveTo>
                    <a:pt x="16" y="98"/>
                  </a:moveTo>
                  <a:lnTo>
                    <a:pt x="16" y="98"/>
                  </a:lnTo>
                  <a:lnTo>
                    <a:pt x="20" y="92"/>
                  </a:lnTo>
                  <a:lnTo>
                    <a:pt x="20" y="96"/>
                  </a:lnTo>
                  <a:lnTo>
                    <a:pt x="20" y="98"/>
                  </a:lnTo>
                  <a:lnTo>
                    <a:pt x="18" y="100"/>
                  </a:lnTo>
                  <a:lnTo>
                    <a:pt x="20" y="100"/>
                  </a:lnTo>
                  <a:lnTo>
                    <a:pt x="22" y="96"/>
                  </a:lnTo>
                  <a:lnTo>
                    <a:pt x="24" y="96"/>
                  </a:lnTo>
                  <a:lnTo>
                    <a:pt x="26" y="96"/>
                  </a:lnTo>
                  <a:lnTo>
                    <a:pt x="26" y="94"/>
                  </a:lnTo>
                  <a:lnTo>
                    <a:pt x="24" y="88"/>
                  </a:lnTo>
                  <a:lnTo>
                    <a:pt x="24" y="84"/>
                  </a:lnTo>
                  <a:lnTo>
                    <a:pt x="24" y="82"/>
                  </a:lnTo>
                  <a:lnTo>
                    <a:pt x="22" y="76"/>
                  </a:lnTo>
                  <a:lnTo>
                    <a:pt x="22" y="72"/>
                  </a:lnTo>
                  <a:lnTo>
                    <a:pt x="24" y="66"/>
                  </a:lnTo>
                  <a:lnTo>
                    <a:pt x="24" y="62"/>
                  </a:lnTo>
                  <a:lnTo>
                    <a:pt x="24" y="56"/>
                  </a:lnTo>
                  <a:lnTo>
                    <a:pt x="22" y="50"/>
                  </a:lnTo>
                  <a:lnTo>
                    <a:pt x="24" y="46"/>
                  </a:lnTo>
                  <a:lnTo>
                    <a:pt x="24" y="38"/>
                  </a:lnTo>
                  <a:lnTo>
                    <a:pt x="24" y="36"/>
                  </a:lnTo>
                  <a:lnTo>
                    <a:pt x="22" y="34"/>
                  </a:lnTo>
                  <a:lnTo>
                    <a:pt x="22" y="28"/>
                  </a:lnTo>
                  <a:lnTo>
                    <a:pt x="22" y="22"/>
                  </a:lnTo>
                  <a:lnTo>
                    <a:pt x="22" y="20"/>
                  </a:lnTo>
                  <a:lnTo>
                    <a:pt x="12" y="16"/>
                  </a:lnTo>
                  <a:lnTo>
                    <a:pt x="12" y="2"/>
                  </a:lnTo>
                  <a:lnTo>
                    <a:pt x="6" y="2"/>
                  </a:lnTo>
                  <a:lnTo>
                    <a:pt x="0" y="0"/>
                  </a:lnTo>
                  <a:lnTo>
                    <a:pt x="0" y="6"/>
                  </a:lnTo>
                  <a:lnTo>
                    <a:pt x="0" y="12"/>
                  </a:lnTo>
                  <a:lnTo>
                    <a:pt x="0" y="14"/>
                  </a:lnTo>
                  <a:lnTo>
                    <a:pt x="4" y="16"/>
                  </a:lnTo>
                  <a:lnTo>
                    <a:pt x="4" y="22"/>
                  </a:lnTo>
                  <a:lnTo>
                    <a:pt x="6" y="28"/>
                  </a:lnTo>
                  <a:lnTo>
                    <a:pt x="4" y="34"/>
                  </a:lnTo>
                  <a:lnTo>
                    <a:pt x="4" y="36"/>
                  </a:lnTo>
                  <a:lnTo>
                    <a:pt x="4" y="38"/>
                  </a:lnTo>
                  <a:lnTo>
                    <a:pt x="6" y="38"/>
                  </a:lnTo>
                  <a:lnTo>
                    <a:pt x="6" y="40"/>
                  </a:lnTo>
                  <a:lnTo>
                    <a:pt x="4" y="46"/>
                  </a:lnTo>
                  <a:lnTo>
                    <a:pt x="4" y="46"/>
                  </a:lnTo>
                  <a:lnTo>
                    <a:pt x="4" y="50"/>
                  </a:lnTo>
                  <a:lnTo>
                    <a:pt x="8" y="54"/>
                  </a:lnTo>
                  <a:lnTo>
                    <a:pt x="10" y="58"/>
                  </a:lnTo>
                  <a:lnTo>
                    <a:pt x="8" y="72"/>
                  </a:lnTo>
                  <a:lnTo>
                    <a:pt x="6" y="76"/>
                  </a:lnTo>
                  <a:lnTo>
                    <a:pt x="8" y="78"/>
                  </a:lnTo>
                  <a:lnTo>
                    <a:pt x="8" y="80"/>
                  </a:lnTo>
                  <a:lnTo>
                    <a:pt x="8" y="82"/>
                  </a:lnTo>
                  <a:lnTo>
                    <a:pt x="16" y="98"/>
                  </a:lnTo>
                  <a:lnTo>
                    <a:pt x="16" y="9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79" name="Freeform 41">
              <a:extLst>
                <a:ext uri="{FF2B5EF4-FFF2-40B4-BE49-F238E27FC236}">
                  <a16:creationId xmlns:a16="http://schemas.microsoft.com/office/drawing/2014/main" id="{06BB10B9-0333-4A5B-BB94-1B363E9C5F19}"/>
                </a:ext>
              </a:extLst>
            </p:cNvPr>
            <p:cNvSpPr>
              <a:spLocks/>
            </p:cNvSpPr>
            <p:nvPr/>
          </p:nvSpPr>
          <p:spPr bwMode="auto">
            <a:xfrm>
              <a:off x="4678538" y="4337939"/>
              <a:ext cx="124301" cy="305574"/>
            </a:xfrm>
            <a:custGeom>
              <a:avLst/>
              <a:gdLst/>
              <a:ahLst/>
              <a:cxnLst>
                <a:cxn ang="0">
                  <a:pos x="36" y="6"/>
                </a:cxn>
                <a:cxn ang="0">
                  <a:pos x="38" y="16"/>
                </a:cxn>
                <a:cxn ang="0">
                  <a:pos x="42" y="24"/>
                </a:cxn>
                <a:cxn ang="0">
                  <a:pos x="46" y="36"/>
                </a:cxn>
                <a:cxn ang="0">
                  <a:pos x="60" y="24"/>
                </a:cxn>
                <a:cxn ang="0">
                  <a:pos x="66" y="30"/>
                </a:cxn>
                <a:cxn ang="0">
                  <a:pos x="84" y="42"/>
                </a:cxn>
                <a:cxn ang="0">
                  <a:pos x="88" y="60"/>
                </a:cxn>
                <a:cxn ang="0">
                  <a:pos x="94" y="72"/>
                </a:cxn>
                <a:cxn ang="0">
                  <a:pos x="92" y="84"/>
                </a:cxn>
                <a:cxn ang="0">
                  <a:pos x="78" y="96"/>
                </a:cxn>
                <a:cxn ang="0">
                  <a:pos x="62" y="100"/>
                </a:cxn>
                <a:cxn ang="0">
                  <a:pos x="58" y="120"/>
                </a:cxn>
                <a:cxn ang="0">
                  <a:pos x="64" y="142"/>
                </a:cxn>
                <a:cxn ang="0">
                  <a:pos x="58" y="132"/>
                </a:cxn>
                <a:cxn ang="0">
                  <a:pos x="50" y="122"/>
                </a:cxn>
                <a:cxn ang="0">
                  <a:pos x="40" y="114"/>
                </a:cxn>
                <a:cxn ang="0">
                  <a:pos x="32" y="112"/>
                </a:cxn>
                <a:cxn ang="0">
                  <a:pos x="30" y="122"/>
                </a:cxn>
                <a:cxn ang="0">
                  <a:pos x="30" y="134"/>
                </a:cxn>
                <a:cxn ang="0">
                  <a:pos x="26" y="154"/>
                </a:cxn>
                <a:cxn ang="0">
                  <a:pos x="20" y="174"/>
                </a:cxn>
                <a:cxn ang="0">
                  <a:pos x="26" y="180"/>
                </a:cxn>
                <a:cxn ang="0">
                  <a:pos x="32" y="188"/>
                </a:cxn>
                <a:cxn ang="0">
                  <a:pos x="38" y="208"/>
                </a:cxn>
                <a:cxn ang="0">
                  <a:pos x="46" y="212"/>
                </a:cxn>
                <a:cxn ang="0">
                  <a:pos x="52" y="220"/>
                </a:cxn>
                <a:cxn ang="0">
                  <a:pos x="52" y="234"/>
                </a:cxn>
                <a:cxn ang="0">
                  <a:pos x="42" y="236"/>
                </a:cxn>
                <a:cxn ang="0">
                  <a:pos x="32" y="230"/>
                </a:cxn>
                <a:cxn ang="0">
                  <a:pos x="28" y="212"/>
                </a:cxn>
                <a:cxn ang="0">
                  <a:pos x="22" y="204"/>
                </a:cxn>
                <a:cxn ang="0">
                  <a:pos x="10" y="182"/>
                </a:cxn>
                <a:cxn ang="0">
                  <a:pos x="16" y="168"/>
                </a:cxn>
                <a:cxn ang="0">
                  <a:pos x="12" y="160"/>
                </a:cxn>
                <a:cxn ang="0">
                  <a:pos x="16" y="146"/>
                </a:cxn>
                <a:cxn ang="0">
                  <a:pos x="20" y="132"/>
                </a:cxn>
                <a:cxn ang="0">
                  <a:pos x="22" y="108"/>
                </a:cxn>
                <a:cxn ang="0">
                  <a:pos x="6" y="76"/>
                </a:cxn>
                <a:cxn ang="0">
                  <a:pos x="8" y="62"/>
                </a:cxn>
                <a:cxn ang="0">
                  <a:pos x="2" y="34"/>
                </a:cxn>
                <a:cxn ang="0">
                  <a:pos x="2" y="16"/>
                </a:cxn>
                <a:cxn ang="0">
                  <a:pos x="14" y="10"/>
                </a:cxn>
                <a:cxn ang="0">
                  <a:pos x="20" y="0"/>
                </a:cxn>
                <a:cxn ang="0">
                  <a:pos x="32" y="2"/>
                </a:cxn>
              </a:cxnLst>
              <a:rect l="0" t="0" r="r" b="b"/>
              <a:pathLst>
                <a:path w="96" h="236">
                  <a:moveTo>
                    <a:pt x="32" y="2"/>
                  </a:moveTo>
                  <a:lnTo>
                    <a:pt x="32" y="6"/>
                  </a:lnTo>
                  <a:lnTo>
                    <a:pt x="36" y="6"/>
                  </a:lnTo>
                  <a:lnTo>
                    <a:pt x="40" y="6"/>
                  </a:lnTo>
                  <a:lnTo>
                    <a:pt x="42" y="10"/>
                  </a:lnTo>
                  <a:lnTo>
                    <a:pt x="38" y="16"/>
                  </a:lnTo>
                  <a:lnTo>
                    <a:pt x="40" y="18"/>
                  </a:lnTo>
                  <a:lnTo>
                    <a:pt x="40" y="22"/>
                  </a:lnTo>
                  <a:lnTo>
                    <a:pt x="42" y="24"/>
                  </a:lnTo>
                  <a:lnTo>
                    <a:pt x="44" y="30"/>
                  </a:lnTo>
                  <a:lnTo>
                    <a:pt x="42" y="34"/>
                  </a:lnTo>
                  <a:lnTo>
                    <a:pt x="46" y="36"/>
                  </a:lnTo>
                  <a:lnTo>
                    <a:pt x="50" y="34"/>
                  </a:lnTo>
                  <a:lnTo>
                    <a:pt x="52" y="30"/>
                  </a:lnTo>
                  <a:lnTo>
                    <a:pt x="60" y="24"/>
                  </a:lnTo>
                  <a:lnTo>
                    <a:pt x="64" y="26"/>
                  </a:lnTo>
                  <a:lnTo>
                    <a:pt x="64" y="28"/>
                  </a:lnTo>
                  <a:lnTo>
                    <a:pt x="66" y="30"/>
                  </a:lnTo>
                  <a:lnTo>
                    <a:pt x="72" y="34"/>
                  </a:lnTo>
                  <a:lnTo>
                    <a:pt x="78" y="34"/>
                  </a:lnTo>
                  <a:lnTo>
                    <a:pt x="84" y="42"/>
                  </a:lnTo>
                  <a:lnTo>
                    <a:pt x="84" y="48"/>
                  </a:lnTo>
                  <a:lnTo>
                    <a:pt x="84" y="56"/>
                  </a:lnTo>
                  <a:lnTo>
                    <a:pt x="88" y="60"/>
                  </a:lnTo>
                  <a:lnTo>
                    <a:pt x="92" y="64"/>
                  </a:lnTo>
                  <a:lnTo>
                    <a:pt x="94" y="68"/>
                  </a:lnTo>
                  <a:lnTo>
                    <a:pt x="94" y="72"/>
                  </a:lnTo>
                  <a:lnTo>
                    <a:pt x="96" y="74"/>
                  </a:lnTo>
                  <a:lnTo>
                    <a:pt x="94" y="80"/>
                  </a:lnTo>
                  <a:lnTo>
                    <a:pt x="92" y="84"/>
                  </a:lnTo>
                  <a:lnTo>
                    <a:pt x="88" y="88"/>
                  </a:lnTo>
                  <a:lnTo>
                    <a:pt x="84" y="92"/>
                  </a:lnTo>
                  <a:lnTo>
                    <a:pt x="78" y="96"/>
                  </a:lnTo>
                  <a:lnTo>
                    <a:pt x="74" y="96"/>
                  </a:lnTo>
                  <a:lnTo>
                    <a:pt x="68" y="96"/>
                  </a:lnTo>
                  <a:lnTo>
                    <a:pt x="62" y="100"/>
                  </a:lnTo>
                  <a:lnTo>
                    <a:pt x="58" y="102"/>
                  </a:lnTo>
                  <a:lnTo>
                    <a:pt x="58" y="110"/>
                  </a:lnTo>
                  <a:lnTo>
                    <a:pt x="58" y="120"/>
                  </a:lnTo>
                  <a:lnTo>
                    <a:pt x="62" y="124"/>
                  </a:lnTo>
                  <a:lnTo>
                    <a:pt x="64" y="132"/>
                  </a:lnTo>
                  <a:lnTo>
                    <a:pt x="64" y="142"/>
                  </a:lnTo>
                  <a:lnTo>
                    <a:pt x="62" y="138"/>
                  </a:lnTo>
                  <a:lnTo>
                    <a:pt x="60" y="134"/>
                  </a:lnTo>
                  <a:lnTo>
                    <a:pt x="58" y="132"/>
                  </a:lnTo>
                  <a:lnTo>
                    <a:pt x="56" y="132"/>
                  </a:lnTo>
                  <a:lnTo>
                    <a:pt x="54" y="126"/>
                  </a:lnTo>
                  <a:lnTo>
                    <a:pt x="50" y="122"/>
                  </a:lnTo>
                  <a:lnTo>
                    <a:pt x="44" y="122"/>
                  </a:lnTo>
                  <a:lnTo>
                    <a:pt x="42" y="116"/>
                  </a:lnTo>
                  <a:lnTo>
                    <a:pt x="40" y="114"/>
                  </a:lnTo>
                  <a:lnTo>
                    <a:pt x="36" y="112"/>
                  </a:lnTo>
                  <a:lnTo>
                    <a:pt x="32" y="110"/>
                  </a:lnTo>
                  <a:lnTo>
                    <a:pt x="32" y="112"/>
                  </a:lnTo>
                  <a:lnTo>
                    <a:pt x="30" y="112"/>
                  </a:lnTo>
                  <a:lnTo>
                    <a:pt x="30" y="118"/>
                  </a:lnTo>
                  <a:lnTo>
                    <a:pt x="30" y="122"/>
                  </a:lnTo>
                  <a:lnTo>
                    <a:pt x="30" y="124"/>
                  </a:lnTo>
                  <a:lnTo>
                    <a:pt x="30" y="130"/>
                  </a:lnTo>
                  <a:lnTo>
                    <a:pt x="30" y="134"/>
                  </a:lnTo>
                  <a:lnTo>
                    <a:pt x="28" y="138"/>
                  </a:lnTo>
                  <a:lnTo>
                    <a:pt x="26" y="146"/>
                  </a:lnTo>
                  <a:lnTo>
                    <a:pt x="26" y="154"/>
                  </a:lnTo>
                  <a:lnTo>
                    <a:pt x="24" y="156"/>
                  </a:lnTo>
                  <a:lnTo>
                    <a:pt x="22" y="166"/>
                  </a:lnTo>
                  <a:lnTo>
                    <a:pt x="20" y="174"/>
                  </a:lnTo>
                  <a:lnTo>
                    <a:pt x="22" y="176"/>
                  </a:lnTo>
                  <a:lnTo>
                    <a:pt x="24" y="178"/>
                  </a:lnTo>
                  <a:lnTo>
                    <a:pt x="26" y="180"/>
                  </a:lnTo>
                  <a:lnTo>
                    <a:pt x="28" y="190"/>
                  </a:lnTo>
                  <a:lnTo>
                    <a:pt x="30" y="190"/>
                  </a:lnTo>
                  <a:lnTo>
                    <a:pt x="32" y="188"/>
                  </a:lnTo>
                  <a:lnTo>
                    <a:pt x="32" y="200"/>
                  </a:lnTo>
                  <a:lnTo>
                    <a:pt x="34" y="206"/>
                  </a:lnTo>
                  <a:lnTo>
                    <a:pt x="38" y="208"/>
                  </a:lnTo>
                  <a:lnTo>
                    <a:pt x="42" y="208"/>
                  </a:lnTo>
                  <a:lnTo>
                    <a:pt x="46" y="210"/>
                  </a:lnTo>
                  <a:lnTo>
                    <a:pt x="46" y="212"/>
                  </a:lnTo>
                  <a:lnTo>
                    <a:pt x="46" y="214"/>
                  </a:lnTo>
                  <a:lnTo>
                    <a:pt x="50" y="218"/>
                  </a:lnTo>
                  <a:lnTo>
                    <a:pt x="52" y="220"/>
                  </a:lnTo>
                  <a:lnTo>
                    <a:pt x="54" y="226"/>
                  </a:lnTo>
                  <a:lnTo>
                    <a:pt x="52" y="228"/>
                  </a:lnTo>
                  <a:lnTo>
                    <a:pt x="52" y="234"/>
                  </a:lnTo>
                  <a:lnTo>
                    <a:pt x="46" y="232"/>
                  </a:lnTo>
                  <a:lnTo>
                    <a:pt x="46" y="236"/>
                  </a:lnTo>
                  <a:lnTo>
                    <a:pt x="42" y="236"/>
                  </a:lnTo>
                  <a:lnTo>
                    <a:pt x="42" y="230"/>
                  </a:lnTo>
                  <a:lnTo>
                    <a:pt x="36" y="228"/>
                  </a:lnTo>
                  <a:lnTo>
                    <a:pt x="32" y="230"/>
                  </a:lnTo>
                  <a:lnTo>
                    <a:pt x="32" y="222"/>
                  </a:lnTo>
                  <a:lnTo>
                    <a:pt x="30" y="214"/>
                  </a:lnTo>
                  <a:lnTo>
                    <a:pt x="28" y="212"/>
                  </a:lnTo>
                  <a:lnTo>
                    <a:pt x="28" y="210"/>
                  </a:lnTo>
                  <a:lnTo>
                    <a:pt x="26" y="206"/>
                  </a:lnTo>
                  <a:lnTo>
                    <a:pt x="22" y="204"/>
                  </a:lnTo>
                  <a:lnTo>
                    <a:pt x="14" y="194"/>
                  </a:lnTo>
                  <a:lnTo>
                    <a:pt x="10" y="188"/>
                  </a:lnTo>
                  <a:lnTo>
                    <a:pt x="10" y="182"/>
                  </a:lnTo>
                  <a:lnTo>
                    <a:pt x="10" y="176"/>
                  </a:lnTo>
                  <a:lnTo>
                    <a:pt x="12" y="170"/>
                  </a:lnTo>
                  <a:lnTo>
                    <a:pt x="16" y="168"/>
                  </a:lnTo>
                  <a:lnTo>
                    <a:pt x="14" y="166"/>
                  </a:lnTo>
                  <a:lnTo>
                    <a:pt x="14" y="162"/>
                  </a:lnTo>
                  <a:lnTo>
                    <a:pt x="12" y="160"/>
                  </a:lnTo>
                  <a:lnTo>
                    <a:pt x="12" y="156"/>
                  </a:lnTo>
                  <a:lnTo>
                    <a:pt x="16" y="150"/>
                  </a:lnTo>
                  <a:lnTo>
                    <a:pt x="16" y="146"/>
                  </a:lnTo>
                  <a:lnTo>
                    <a:pt x="18" y="146"/>
                  </a:lnTo>
                  <a:lnTo>
                    <a:pt x="18" y="140"/>
                  </a:lnTo>
                  <a:lnTo>
                    <a:pt x="20" y="132"/>
                  </a:lnTo>
                  <a:lnTo>
                    <a:pt x="26" y="124"/>
                  </a:lnTo>
                  <a:lnTo>
                    <a:pt x="26" y="118"/>
                  </a:lnTo>
                  <a:lnTo>
                    <a:pt x="22" y="108"/>
                  </a:lnTo>
                  <a:lnTo>
                    <a:pt x="14" y="100"/>
                  </a:lnTo>
                  <a:lnTo>
                    <a:pt x="10" y="88"/>
                  </a:lnTo>
                  <a:lnTo>
                    <a:pt x="6" y="76"/>
                  </a:lnTo>
                  <a:lnTo>
                    <a:pt x="14" y="72"/>
                  </a:lnTo>
                  <a:lnTo>
                    <a:pt x="14" y="68"/>
                  </a:lnTo>
                  <a:lnTo>
                    <a:pt x="8" y="62"/>
                  </a:lnTo>
                  <a:lnTo>
                    <a:pt x="2" y="54"/>
                  </a:lnTo>
                  <a:lnTo>
                    <a:pt x="0" y="42"/>
                  </a:lnTo>
                  <a:lnTo>
                    <a:pt x="2" y="34"/>
                  </a:lnTo>
                  <a:lnTo>
                    <a:pt x="2" y="28"/>
                  </a:lnTo>
                  <a:lnTo>
                    <a:pt x="0" y="20"/>
                  </a:lnTo>
                  <a:lnTo>
                    <a:pt x="2" y="16"/>
                  </a:lnTo>
                  <a:lnTo>
                    <a:pt x="6" y="16"/>
                  </a:lnTo>
                  <a:lnTo>
                    <a:pt x="10" y="10"/>
                  </a:lnTo>
                  <a:lnTo>
                    <a:pt x="14" y="10"/>
                  </a:lnTo>
                  <a:lnTo>
                    <a:pt x="14" y="6"/>
                  </a:lnTo>
                  <a:lnTo>
                    <a:pt x="16" y="0"/>
                  </a:lnTo>
                  <a:lnTo>
                    <a:pt x="20" y="0"/>
                  </a:lnTo>
                  <a:lnTo>
                    <a:pt x="24" y="2"/>
                  </a:lnTo>
                  <a:lnTo>
                    <a:pt x="32" y="2"/>
                  </a:lnTo>
                  <a:lnTo>
                    <a:pt x="32"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0" name="Freeform 42">
              <a:extLst>
                <a:ext uri="{FF2B5EF4-FFF2-40B4-BE49-F238E27FC236}">
                  <a16:creationId xmlns:a16="http://schemas.microsoft.com/office/drawing/2014/main" id="{22F35932-01C2-47BA-8DA4-310AE95EA7C5}"/>
                </a:ext>
              </a:extLst>
            </p:cNvPr>
            <p:cNvSpPr>
              <a:spLocks/>
            </p:cNvSpPr>
            <p:nvPr/>
          </p:nvSpPr>
          <p:spPr bwMode="auto">
            <a:xfrm>
              <a:off x="4163205" y="3871809"/>
              <a:ext cx="124301" cy="116532"/>
            </a:xfrm>
            <a:custGeom>
              <a:avLst/>
              <a:gdLst/>
              <a:ahLst/>
              <a:cxnLst>
                <a:cxn ang="0">
                  <a:pos x="40" y="8"/>
                </a:cxn>
                <a:cxn ang="0">
                  <a:pos x="44" y="0"/>
                </a:cxn>
                <a:cxn ang="0">
                  <a:pos x="36" y="2"/>
                </a:cxn>
                <a:cxn ang="0">
                  <a:pos x="34" y="6"/>
                </a:cxn>
                <a:cxn ang="0">
                  <a:pos x="28" y="2"/>
                </a:cxn>
                <a:cxn ang="0">
                  <a:pos x="24" y="0"/>
                </a:cxn>
                <a:cxn ang="0">
                  <a:pos x="20" y="2"/>
                </a:cxn>
                <a:cxn ang="0">
                  <a:pos x="24" y="10"/>
                </a:cxn>
                <a:cxn ang="0">
                  <a:pos x="22" y="14"/>
                </a:cxn>
                <a:cxn ang="0">
                  <a:pos x="18" y="18"/>
                </a:cxn>
                <a:cxn ang="0">
                  <a:pos x="20" y="20"/>
                </a:cxn>
                <a:cxn ang="0">
                  <a:pos x="18" y="22"/>
                </a:cxn>
                <a:cxn ang="0">
                  <a:pos x="10" y="28"/>
                </a:cxn>
                <a:cxn ang="0">
                  <a:pos x="8" y="26"/>
                </a:cxn>
                <a:cxn ang="0">
                  <a:pos x="2" y="26"/>
                </a:cxn>
                <a:cxn ang="0">
                  <a:pos x="0" y="32"/>
                </a:cxn>
                <a:cxn ang="0">
                  <a:pos x="4" y="38"/>
                </a:cxn>
                <a:cxn ang="0">
                  <a:pos x="12" y="38"/>
                </a:cxn>
                <a:cxn ang="0">
                  <a:pos x="14" y="40"/>
                </a:cxn>
                <a:cxn ang="0">
                  <a:pos x="10" y="48"/>
                </a:cxn>
                <a:cxn ang="0">
                  <a:pos x="14" y="52"/>
                </a:cxn>
                <a:cxn ang="0">
                  <a:pos x="10" y="58"/>
                </a:cxn>
                <a:cxn ang="0">
                  <a:pos x="4" y="68"/>
                </a:cxn>
                <a:cxn ang="0">
                  <a:pos x="14" y="68"/>
                </a:cxn>
                <a:cxn ang="0">
                  <a:pos x="22" y="62"/>
                </a:cxn>
                <a:cxn ang="0">
                  <a:pos x="30" y="60"/>
                </a:cxn>
                <a:cxn ang="0">
                  <a:pos x="36" y="70"/>
                </a:cxn>
                <a:cxn ang="0">
                  <a:pos x="32" y="84"/>
                </a:cxn>
                <a:cxn ang="0">
                  <a:pos x="44" y="88"/>
                </a:cxn>
                <a:cxn ang="0">
                  <a:pos x="54" y="78"/>
                </a:cxn>
                <a:cxn ang="0">
                  <a:pos x="66" y="72"/>
                </a:cxn>
                <a:cxn ang="0">
                  <a:pos x="80" y="72"/>
                </a:cxn>
                <a:cxn ang="0">
                  <a:pos x="96" y="70"/>
                </a:cxn>
                <a:cxn ang="0">
                  <a:pos x="92" y="62"/>
                </a:cxn>
                <a:cxn ang="0">
                  <a:pos x="88" y="48"/>
                </a:cxn>
                <a:cxn ang="0">
                  <a:pos x="90" y="38"/>
                </a:cxn>
                <a:cxn ang="0">
                  <a:pos x="80" y="40"/>
                </a:cxn>
                <a:cxn ang="0">
                  <a:pos x="76" y="32"/>
                </a:cxn>
                <a:cxn ang="0">
                  <a:pos x="70" y="24"/>
                </a:cxn>
                <a:cxn ang="0">
                  <a:pos x="60" y="26"/>
                </a:cxn>
                <a:cxn ang="0">
                  <a:pos x="56" y="26"/>
                </a:cxn>
                <a:cxn ang="0">
                  <a:pos x="52" y="24"/>
                </a:cxn>
                <a:cxn ang="0">
                  <a:pos x="48" y="22"/>
                </a:cxn>
                <a:cxn ang="0">
                  <a:pos x="42" y="24"/>
                </a:cxn>
                <a:cxn ang="0">
                  <a:pos x="40" y="22"/>
                </a:cxn>
                <a:cxn ang="0">
                  <a:pos x="26" y="18"/>
                </a:cxn>
                <a:cxn ang="0">
                  <a:pos x="40" y="18"/>
                </a:cxn>
                <a:cxn ang="0">
                  <a:pos x="40" y="16"/>
                </a:cxn>
              </a:cxnLst>
              <a:rect l="0" t="0" r="r" b="b"/>
              <a:pathLst>
                <a:path w="96" h="90">
                  <a:moveTo>
                    <a:pt x="40" y="16"/>
                  </a:moveTo>
                  <a:lnTo>
                    <a:pt x="40" y="8"/>
                  </a:lnTo>
                  <a:lnTo>
                    <a:pt x="46" y="6"/>
                  </a:lnTo>
                  <a:lnTo>
                    <a:pt x="44" y="0"/>
                  </a:lnTo>
                  <a:lnTo>
                    <a:pt x="40" y="0"/>
                  </a:lnTo>
                  <a:lnTo>
                    <a:pt x="36" y="2"/>
                  </a:lnTo>
                  <a:lnTo>
                    <a:pt x="36" y="4"/>
                  </a:lnTo>
                  <a:lnTo>
                    <a:pt x="34" y="6"/>
                  </a:lnTo>
                  <a:lnTo>
                    <a:pt x="32" y="6"/>
                  </a:lnTo>
                  <a:lnTo>
                    <a:pt x="28" y="2"/>
                  </a:lnTo>
                  <a:lnTo>
                    <a:pt x="26" y="0"/>
                  </a:lnTo>
                  <a:lnTo>
                    <a:pt x="24" y="0"/>
                  </a:lnTo>
                  <a:lnTo>
                    <a:pt x="22" y="2"/>
                  </a:lnTo>
                  <a:lnTo>
                    <a:pt x="20" y="2"/>
                  </a:lnTo>
                  <a:lnTo>
                    <a:pt x="22" y="8"/>
                  </a:lnTo>
                  <a:lnTo>
                    <a:pt x="24" y="10"/>
                  </a:lnTo>
                  <a:lnTo>
                    <a:pt x="24" y="12"/>
                  </a:lnTo>
                  <a:lnTo>
                    <a:pt x="22" y="14"/>
                  </a:lnTo>
                  <a:lnTo>
                    <a:pt x="20" y="16"/>
                  </a:lnTo>
                  <a:lnTo>
                    <a:pt x="18" y="18"/>
                  </a:lnTo>
                  <a:lnTo>
                    <a:pt x="18" y="22"/>
                  </a:lnTo>
                  <a:lnTo>
                    <a:pt x="20" y="20"/>
                  </a:lnTo>
                  <a:lnTo>
                    <a:pt x="20" y="22"/>
                  </a:lnTo>
                  <a:lnTo>
                    <a:pt x="18" y="22"/>
                  </a:lnTo>
                  <a:lnTo>
                    <a:pt x="12" y="26"/>
                  </a:lnTo>
                  <a:lnTo>
                    <a:pt x="10" y="28"/>
                  </a:lnTo>
                  <a:lnTo>
                    <a:pt x="8" y="28"/>
                  </a:lnTo>
                  <a:lnTo>
                    <a:pt x="8" y="26"/>
                  </a:lnTo>
                  <a:lnTo>
                    <a:pt x="6" y="26"/>
                  </a:lnTo>
                  <a:lnTo>
                    <a:pt x="2" y="26"/>
                  </a:lnTo>
                  <a:lnTo>
                    <a:pt x="0" y="30"/>
                  </a:lnTo>
                  <a:lnTo>
                    <a:pt x="0" y="32"/>
                  </a:lnTo>
                  <a:lnTo>
                    <a:pt x="0" y="34"/>
                  </a:lnTo>
                  <a:lnTo>
                    <a:pt x="4" y="38"/>
                  </a:lnTo>
                  <a:lnTo>
                    <a:pt x="6" y="38"/>
                  </a:lnTo>
                  <a:lnTo>
                    <a:pt x="12" y="38"/>
                  </a:lnTo>
                  <a:lnTo>
                    <a:pt x="14" y="38"/>
                  </a:lnTo>
                  <a:lnTo>
                    <a:pt x="14" y="40"/>
                  </a:lnTo>
                  <a:lnTo>
                    <a:pt x="10" y="46"/>
                  </a:lnTo>
                  <a:lnTo>
                    <a:pt x="10" y="48"/>
                  </a:lnTo>
                  <a:lnTo>
                    <a:pt x="12" y="50"/>
                  </a:lnTo>
                  <a:lnTo>
                    <a:pt x="14" y="52"/>
                  </a:lnTo>
                  <a:lnTo>
                    <a:pt x="12" y="56"/>
                  </a:lnTo>
                  <a:lnTo>
                    <a:pt x="10" y="58"/>
                  </a:lnTo>
                  <a:lnTo>
                    <a:pt x="8" y="60"/>
                  </a:lnTo>
                  <a:lnTo>
                    <a:pt x="4" y="68"/>
                  </a:lnTo>
                  <a:lnTo>
                    <a:pt x="10" y="66"/>
                  </a:lnTo>
                  <a:lnTo>
                    <a:pt x="14" y="68"/>
                  </a:lnTo>
                  <a:lnTo>
                    <a:pt x="20" y="64"/>
                  </a:lnTo>
                  <a:lnTo>
                    <a:pt x="22" y="62"/>
                  </a:lnTo>
                  <a:lnTo>
                    <a:pt x="26" y="58"/>
                  </a:lnTo>
                  <a:lnTo>
                    <a:pt x="30" y="60"/>
                  </a:lnTo>
                  <a:lnTo>
                    <a:pt x="32" y="64"/>
                  </a:lnTo>
                  <a:lnTo>
                    <a:pt x="36" y="70"/>
                  </a:lnTo>
                  <a:lnTo>
                    <a:pt x="34" y="74"/>
                  </a:lnTo>
                  <a:lnTo>
                    <a:pt x="32" y="84"/>
                  </a:lnTo>
                  <a:lnTo>
                    <a:pt x="38" y="90"/>
                  </a:lnTo>
                  <a:lnTo>
                    <a:pt x="44" y="88"/>
                  </a:lnTo>
                  <a:lnTo>
                    <a:pt x="50" y="82"/>
                  </a:lnTo>
                  <a:lnTo>
                    <a:pt x="54" y="78"/>
                  </a:lnTo>
                  <a:lnTo>
                    <a:pt x="58" y="76"/>
                  </a:lnTo>
                  <a:lnTo>
                    <a:pt x="66" y="72"/>
                  </a:lnTo>
                  <a:lnTo>
                    <a:pt x="70" y="70"/>
                  </a:lnTo>
                  <a:lnTo>
                    <a:pt x="80" y="72"/>
                  </a:lnTo>
                  <a:lnTo>
                    <a:pt x="90" y="72"/>
                  </a:lnTo>
                  <a:lnTo>
                    <a:pt x="96" y="70"/>
                  </a:lnTo>
                  <a:lnTo>
                    <a:pt x="94" y="66"/>
                  </a:lnTo>
                  <a:lnTo>
                    <a:pt x="92" y="62"/>
                  </a:lnTo>
                  <a:lnTo>
                    <a:pt x="90" y="56"/>
                  </a:lnTo>
                  <a:lnTo>
                    <a:pt x="88" y="48"/>
                  </a:lnTo>
                  <a:lnTo>
                    <a:pt x="90" y="42"/>
                  </a:lnTo>
                  <a:lnTo>
                    <a:pt x="90" y="38"/>
                  </a:lnTo>
                  <a:lnTo>
                    <a:pt x="88" y="36"/>
                  </a:lnTo>
                  <a:lnTo>
                    <a:pt x="80" y="40"/>
                  </a:lnTo>
                  <a:lnTo>
                    <a:pt x="76" y="36"/>
                  </a:lnTo>
                  <a:lnTo>
                    <a:pt x="76" y="32"/>
                  </a:lnTo>
                  <a:lnTo>
                    <a:pt x="76" y="26"/>
                  </a:lnTo>
                  <a:lnTo>
                    <a:pt x="70" y="24"/>
                  </a:lnTo>
                  <a:lnTo>
                    <a:pt x="64" y="26"/>
                  </a:lnTo>
                  <a:lnTo>
                    <a:pt x="60" y="26"/>
                  </a:lnTo>
                  <a:lnTo>
                    <a:pt x="58" y="26"/>
                  </a:lnTo>
                  <a:lnTo>
                    <a:pt x="56" y="26"/>
                  </a:lnTo>
                  <a:lnTo>
                    <a:pt x="54" y="26"/>
                  </a:lnTo>
                  <a:lnTo>
                    <a:pt x="52" y="24"/>
                  </a:lnTo>
                  <a:lnTo>
                    <a:pt x="50" y="22"/>
                  </a:lnTo>
                  <a:lnTo>
                    <a:pt x="48" y="22"/>
                  </a:lnTo>
                  <a:lnTo>
                    <a:pt x="44" y="24"/>
                  </a:lnTo>
                  <a:lnTo>
                    <a:pt x="42" y="24"/>
                  </a:lnTo>
                  <a:lnTo>
                    <a:pt x="40" y="22"/>
                  </a:lnTo>
                  <a:lnTo>
                    <a:pt x="40" y="22"/>
                  </a:lnTo>
                  <a:lnTo>
                    <a:pt x="30" y="22"/>
                  </a:lnTo>
                  <a:lnTo>
                    <a:pt x="26" y="18"/>
                  </a:lnTo>
                  <a:lnTo>
                    <a:pt x="34" y="14"/>
                  </a:lnTo>
                  <a:lnTo>
                    <a:pt x="40" y="18"/>
                  </a:lnTo>
                  <a:lnTo>
                    <a:pt x="40" y="16"/>
                  </a:lnTo>
                  <a:lnTo>
                    <a:pt x="40" y="1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1" name="Freeform 43">
              <a:extLst>
                <a:ext uri="{FF2B5EF4-FFF2-40B4-BE49-F238E27FC236}">
                  <a16:creationId xmlns:a16="http://schemas.microsoft.com/office/drawing/2014/main" id="{BC84817D-564F-48FD-A349-B6CFC33F9E91}"/>
                </a:ext>
              </a:extLst>
            </p:cNvPr>
            <p:cNvSpPr>
              <a:spLocks/>
            </p:cNvSpPr>
            <p:nvPr/>
          </p:nvSpPr>
          <p:spPr bwMode="auto">
            <a:xfrm>
              <a:off x="3552057" y="5293505"/>
              <a:ext cx="20717" cy="31075"/>
            </a:xfrm>
            <a:custGeom>
              <a:avLst/>
              <a:gdLst/>
              <a:ahLst/>
              <a:cxnLst>
                <a:cxn ang="0">
                  <a:pos x="14" y="14"/>
                </a:cxn>
                <a:cxn ang="0">
                  <a:pos x="14" y="14"/>
                </a:cxn>
                <a:cxn ang="0">
                  <a:pos x="16" y="6"/>
                </a:cxn>
                <a:cxn ang="0">
                  <a:pos x="16" y="4"/>
                </a:cxn>
                <a:cxn ang="0">
                  <a:pos x="14" y="2"/>
                </a:cxn>
                <a:cxn ang="0">
                  <a:pos x="10" y="0"/>
                </a:cxn>
                <a:cxn ang="0">
                  <a:pos x="8" y="0"/>
                </a:cxn>
                <a:cxn ang="0">
                  <a:pos x="6" y="2"/>
                </a:cxn>
                <a:cxn ang="0">
                  <a:pos x="4" y="0"/>
                </a:cxn>
                <a:cxn ang="0">
                  <a:pos x="2" y="0"/>
                </a:cxn>
                <a:cxn ang="0">
                  <a:pos x="2" y="2"/>
                </a:cxn>
                <a:cxn ang="0">
                  <a:pos x="0" y="8"/>
                </a:cxn>
                <a:cxn ang="0">
                  <a:pos x="0" y="12"/>
                </a:cxn>
                <a:cxn ang="0">
                  <a:pos x="0" y="16"/>
                </a:cxn>
                <a:cxn ang="0">
                  <a:pos x="2" y="18"/>
                </a:cxn>
                <a:cxn ang="0">
                  <a:pos x="6" y="20"/>
                </a:cxn>
                <a:cxn ang="0">
                  <a:pos x="12" y="22"/>
                </a:cxn>
                <a:cxn ang="0">
                  <a:pos x="16" y="24"/>
                </a:cxn>
                <a:cxn ang="0">
                  <a:pos x="14" y="14"/>
                </a:cxn>
                <a:cxn ang="0">
                  <a:pos x="14" y="14"/>
                </a:cxn>
              </a:cxnLst>
              <a:rect l="0" t="0" r="r" b="b"/>
              <a:pathLst>
                <a:path w="16" h="24">
                  <a:moveTo>
                    <a:pt x="14" y="14"/>
                  </a:moveTo>
                  <a:lnTo>
                    <a:pt x="14" y="14"/>
                  </a:lnTo>
                  <a:lnTo>
                    <a:pt x="16" y="6"/>
                  </a:lnTo>
                  <a:lnTo>
                    <a:pt x="16" y="4"/>
                  </a:lnTo>
                  <a:lnTo>
                    <a:pt x="14" y="2"/>
                  </a:lnTo>
                  <a:lnTo>
                    <a:pt x="10" y="0"/>
                  </a:lnTo>
                  <a:lnTo>
                    <a:pt x="8" y="0"/>
                  </a:lnTo>
                  <a:lnTo>
                    <a:pt x="6" y="2"/>
                  </a:lnTo>
                  <a:lnTo>
                    <a:pt x="4" y="0"/>
                  </a:lnTo>
                  <a:lnTo>
                    <a:pt x="2" y="0"/>
                  </a:lnTo>
                  <a:lnTo>
                    <a:pt x="2" y="2"/>
                  </a:lnTo>
                  <a:lnTo>
                    <a:pt x="0" y="8"/>
                  </a:lnTo>
                  <a:lnTo>
                    <a:pt x="0" y="12"/>
                  </a:lnTo>
                  <a:lnTo>
                    <a:pt x="0" y="16"/>
                  </a:lnTo>
                  <a:lnTo>
                    <a:pt x="2" y="18"/>
                  </a:lnTo>
                  <a:lnTo>
                    <a:pt x="6" y="20"/>
                  </a:lnTo>
                  <a:lnTo>
                    <a:pt x="12" y="22"/>
                  </a:lnTo>
                  <a:lnTo>
                    <a:pt x="16" y="24"/>
                  </a:lnTo>
                  <a:lnTo>
                    <a:pt x="14" y="14"/>
                  </a:lnTo>
                  <a:lnTo>
                    <a:pt x="14"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2" name="Freeform 44">
              <a:extLst>
                <a:ext uri="{FF2B5EF4-FFF2-40B4-BE49-F238E27FC236}">
                  <a16:creationId xmlns:a16="http://schemas.microsoft.com/office/drawing/2014/main" id="{12DD330E-8887-4FCA-914F-DE748CB15D61}"/>
                </a:ext>
              </a:extLst>
            </p:cNvPr>
            <p:cNvSpPr>
              <a:spLocks/>
            </p:cNvSpPr>
            <p:nvPr/>
          </p:nvSpPr>
          <p:spPr bwMode="auto">
            <a:xfrm>
              <a:off x="3552057" y="5293505"/>
              <a:ext cx="20717" cy="31075"/>
            </a:xfrm>
            <a:custGeom>
              <a:avLst/>
              <a:gdLst/>
              <a:ahLst/>
              <a:cxnLst>
                <a:cxn ang="0">
                  <a:pos x="14" y="14"/>
                </a:cxn>
                <a:cxn ang="0">
                  <a:pos x="14" y="14"/>
                </a:cxn>
                <a:cxn ang="0">
                  <a:pos x="16" y="6"/>
                </a:cxn>
                <a:cxn ang="0">
                  <a:pos x="16" y="4"/>
                </a:cxn>
                <a:cxn ang="0">
                  <a:pos x="14" y="2"/>
                </a:cxn>
                <a:cxn ang="0">
                  <a:pos x="10" y="0"/>
                </a:cxn>
                <a:cxn ang="0">
                  <a:pos x="8" y="0"/>
                </a:cxn>
                <a:cxn ang="0">
                  <a:pos x="6" y="2"/>
                </a:cxn>
                <a:cxn ang="0">
                  <a:pos x="4" y="0"/>
                </a:cxn>
                <a:cxn ang="0">
                  <a:pos x="2" y="0"/>
                </a:cxn>
                <a:cxn ang="0">
                  <a:pos x="2" y="2"/>
                </a:cxn>
                <a:cxn ang="0">
                  <a:pos x="0" y="8"/>
                </a:cxn>
                <a:cxn ang="0">
                  <a:pos x="0" y="12"/>
                </a:cxn>
                <a:cxn ang="0">
                  <a:pos x="0" y="16"/>
                </a:cxn>
                <a:cxn ang="0">
                  <a:pos x="2" y="18"/>
                </a:cxn>
                <a:cxn ang="0">
                  <a:pos x="6" y="20"/>
                </a:cxn>
                <a:cxn ang="0">
                  <a:pos x="12" y="22"/>
                </a:cxn>
                <a:cxn ang="0">
                  <a:pos x="16" y="24"/>
                </a:cxn>
                <a:cxn ang="0">
                  <a:pos x="14" y="14"/>
                </a:cxn>
                <a:cxn ang="0">
                  <a:pos x="14" y="14"/>
                </a:cxn>
              </a:cxnLst>
              <a:rect l="0" t="0" r="r" b="b"/>
              <a:pathLst>
                <a:path w="16" h="24">
                  <a:moveTo>
                    <a:pt x="14" y="14"/>
                  </a:moveTo>
                  <a:lnTo>
                    <a:pt x="14" y="14"/>
                  </a:lnTo>
                  <a:lnTo>
                    <a:pt x="16" y="6"/>
                  </a:lnTo>
                  <a:lnTo>
                    <a:pt x="16" y="4"/>
                  </a:lnTo>
                  <a:lnTo>
                    <a:pt x="14" y="2"/>
                  </a:lnTo>
                  <a:lnTo>
                    <a:pt x="10" y="0"/>
                  </a:lnTo>
                  <a:lnTo>
                    <a:pt x="8" y="0"/>
                  </a:lnTo>
                  <a:lnTo>
                    <a:pt x="6" y="2"/>
                  </a:lnTo>
                  <a:lnTo>
                    <a:pt x="4" y="0"/>
                  </a:lnTo>
                  <a:lnTo>
                    <a:pt x="2" y="0"/>
                  </a:lnTo>
                  <a:lnTo>
                    <a:pt x="2" y="2"/>
                  </a:lnTo>
                  <a:lnTo>
                    <a:pt x="0" y="8"/>
                  </a:lnTo>
                  <a:lnTo>
                    <a:pt x="0" y="12"/>
                  </a:lnTo>
                  <a:lnTo>
                    <a:pt x="0" y="16"/>
                  </a:lnTo>
                  <a:lnTo>
                    <a:pt x="2" y="18"/>
                  </a:lnTo>
                  <a:lnTo>
                    <a:pt x="6" y="20"/>
                  </a:lnTo>
                  <a:lnTo>
                    <a:pt x="12" y="22"/>
                  </a:lnTo>
                  <a:lnTo>
                    <a:pt x="16" y="24"/>
                  </a:lnTo>
                  <a:lnTo>
                    <a:pt x="14" y="14"/>
                  </a:lnTo>
                  <a:lnTo>
                    <a:pt x="14"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3" name="Freeform 45">
              <a:extLst>
                <a:ext uri="{FF2B5EF4-FFF2-40B4-BE49-F238E27FC236}">
                  <a16:creationId xmlns:a16="http://schemas.microsoft.com/office/drawing/2014/main" id="{AE1ABBAB-624C-480F-A483-0A11DCF299B8}"/>
                </a:ext>
              </a:extLst>
            </p:cNvPr>
            <p:cNvSpPr>
              <a:spLocks/>
            </p:cNvSpPr>
            <p:nvPr/>
          </p:nvSpPr>
          <p:spPr bwMode="auto">
            <a:xfrm>
              <a:off x="2060442" y="4620206"/>
              <a:ext cx="67330" cy="106174"/>
            </a:xfrm>
            <a:custGeom>
              <a:avLst/>
              <a:gdLst/>
              <a:ahLst/>
              <a:cxnLst>
                <a:cxn ang="0">
                  <a:pos x="50" y="2"/>
                </a:cxn>
                <a:cxn ang="0">
                  <a:pos x="50" y="2"/>
                </a:cxn>
                <a:cxn ang="0">
                  <a:pos x="48" y="2"/>
                </a:cxn>
                <a:cxn ang="0">
                  <a:pos x="46" y="2"/>
                </a:cxn>
                <a:cxn ang="0">
                  <a:pos x="44" y="0"/>
                </a:cxn>
                <a:cxn ang="0">
                  <a:pos x="38" y="0"/>
                </a:cxn>
                <a:cxn ang="0">
                  <a:pos x="38" y="2"/>
                </a:cxn>
                <a:cxn ang="0">
                  <a:pos x="32" y="4"/>
                </a:cxn>
                <a:cxn ang="0">
                  <a:pos x="26" y="4"/>
                </a:cxn>
                <a:cxn ang="0">
                  <a:pos x="20" y="2"/>
                </a:cxn>
                <a:cxn ang="0">
                  <a:pos x="18" y="2"/>
                </a:cxn>
                <a:cxn ang="0">
                  <a:pos x="14" y="6"/>
                </a:cxn>
                <a:cxn ang="0">
                  <a:pos x="14" y="4"/>
                </a:cxn>
                <a:cxn ang="0">
                  <a:pos x="8" y="16"/>
                </a:cxn>
                <a:cxn ang="0">
                  <a:pos x="8" y="24"/>
                </a:cxn>
                <a:cxn ang="0">
                  <a:pos x="4" y="28"/>
                </a:cxn>
                <a:cxn ang="0">
                  <a:pos x="0" y="30"/>
                </a:cxn>
                <a:cxn ang="0">
                  <a:pos x="0" y="32"/>
                </a:cxn>
                <a:cxn ang="0">
                  <a:pos x="0" y="34"/>
                </a:cxn>
                <a:cxn ang="0">
                  <a:pos x="2" y="40"/>
                </a:cxn>
                <a:cxn ang="0">
                  <a:pos x="2" y="50"/>
                </a:cxn>
                <a:cxn ang="0">
                  <a:pos x="4" y="54"/>
                </a:cxn>
                <a:cxn ang="0">
                  <a:pos x="6" y="56"/>
                </a:cxn>
                <a:cxn ang="0">
                  <a:pos x="6" y="58"/>
                </a:cxn>
                <a:cxn ang="0">
                  <a:pos x="4" y="62"/>
                </a:cxn>
                <a:cxn ang="0">
                  <a:pos x="6" y="74"/>
                </a:cxn>
                <a:cxn ang="0">
                  <a:pos x="8" y="80"/>
                </a:cxn>
                <a:cxn ang="0">
                  <a:pos x="12" y="78"/>
                </a:cxn>
                <a:cxn ang="0">
                  <a:pos x="22" y="82"/>
                </a:cxn>
                <a:cxn ang="0">
                  <a:pos x="24" y="76"/>
                </a:cxn>
                <a:cxn ang="0">
                  <a:pos x="20" y="74"/>
                </a:cxn>
                <a:cxn ang="0">
                  <a:pos x="22" y="66"/>
                </a:cxn>
                <a:cxn ang="0">
                  <a:pos x="32" y="70"/>
                </a:cxn>
                <a:cxn ang="0">
                  <a:pos x="36" y="68"/>
                </a:cxn>
                <a:cxn ang="0">
                  <a:pos x="38" y="70"/>
                </a:cxn>
                <a:cxn ang="0">
                  <a:pos x="44" y="70"/>
                </a:cxn>
                <a:cxn ang="0">
                  <a:pos x="48" y="60"/>
                </a:cxn>
                <a:cxn ang="0">
                  <a:pos x="52" y="54"/>
                </a:cxn>
                <a:cxn ang="0">
                  <a:pos x="52" y="50"/>
                </a:cxn>
                <a:cxn ang="0">
                  <a:pos x="48" y="46"/>
                </a:cxn>
                <a:cxn ang="0">
                  <a:pos x="46" y="42"/>
                </a:cxn>
                <a:cxn ang="0">
                  <a:pos x="44" y="38"/>
                </a:cxn>
                <a:cxn ang="0">
                  <a:pos x="44" y="20"/>
                </a:cxn>
                <a:cxn ang="0">
                  <a:pos x="50" y="10"/>
                </a:cxn>
                <a:cxn ang="0">
                  <a:pos x="50" y="4"/>
                </a:cxn>
                <a:cxn ang="0">
                  <a:pos x="50" y="6"/>
                </a:cxn>
                <a:cxn ang="0">
                  <a:pos x="50" y="4"/>
                </a:cxn>
                <a:cxn ang="0">
                  <a:pos x="50" y="4"/>
                </a:cxn>
                <a:cxn ang="0">
                  <a:pos x="50" y="2"/>
                </a:cxn>
                <a:cxn ang="0">
                  <a:pos x="50" y="2"/>
                </a:cxn>
              </a:cxnLst>
              <a:rect l="0" t="0" r="r" b="b"/>
              <a:pathLst>
                <a:path w="52" h="82">
                  <a:moveTo>
                    <a:pt x="50" y="2"/>
                  </a:moveTo>
                  <a:lnTo>
                    <a:pt x="50" y="2"/>
                  </a:lnTo>
                  <a:lnTo>
                    <a:pt x="48" y="2"/>
                  </a:lnTo>
                  <a:lnTo>
                    <a:pt x="46" y="2"/>
                  </a:lnTo>
                  <a:lnTo>
                    <a:pt x="44" y="0"/>
                  </a:lnTo>
                  <a:lnTo>
                    <a:pt x="38" y="0"/>
                  </a:lnTo>
                  <a:lnTo>
                    <a:pt x="38" y="2"/>
                  </a:lnTo>
                  <a:lnTo>
                    <a:pt x="32" y="4"/>
                  </a:lnTo>
                  <a:lnTo>
                    <a:pt x="26" y="4"/>
                  </a:lnTo>
                  <a:lnTo>
                    <a:pt x="20" y="2"/>
                  </a:lnTo>
                  <a:lnTo>
                    <a:pt x="18" y="2"/>
                  </a:lnTo>
                  <a:lnTo>
                    <a:pt x="14" y="6"/>
                  </a:lnTo>
                  <a:lnTo>
                    <a:pt x="14" y="4"/>
                  </a:lnTo>
                  <a:lnTo>
                    <a:pt x="8" y="16"/>
                  </a:lnTo>
                  <a:lnTo>
                    <a:pt x="8" y="24"/>
                  </a:lnTo>
                  <a:lnTo>
                    <a:pt x="4" y="28"/>
                  </a:lnTo>
                  <a:lnTo>
                    <a:pt x="0" y="30"/>
                  </a:lnTo>
                  <a:lnTo>
                    <a:pt x="0" y="32"/>
                  </a:lnTo>
                  <a:lnTo>
                    <a:pt x="0" y="34"/>
                  </a:lnTo>
                  <a:lnTo>
                    <a:pt x="2" y="40"/>
                  </a:lnTo>
                  <a:lnTo>
                    <a:pt x="2" y="50"/>
                  </a:lnTo>
                  <a:lnTo>
                    <a:pt x="4" y="54"/>
                  </a:lnTo>
                  <a:lnTo>
                    <a:pt x="6" y="56"/>
                  </a:lnTo>
                  <a:lnTo>
                    <a:pt x="6" y="58"/>
                  </a:lnTo>
                  <a:lnTo>
                    <a:pt x="4" y="62"/>
                  </a:lnTo>
                  <a:lnTo>
                    <a:pt x="6" y="74"/>
                  </a:lnTo>
                  <a:lnTo>
                    <a:pt x="8" y="80"/>
                  </a:lnTo>
                  <a:lnTo>
                    <a:pt x="12" y="78"/>
                  </a:lnTo>
                  <a:lnTo>
                    <a:pt x="22" y="82"/>
                  </a:lnTo>
                  <a:lnTo>
                    <a:pt x="24" y="76"/>
                  </a:lnTo>
                  <a:lnTo>
                    <a:pt x="20" y="74"/>
                  </a:lnTo>
                  <a:lnTo>
                    <a:pt x="22" y="66"/>
                  </a:lnTo>
                  <a:lnTo>
                    <a:pt x="32" y="70"/>
                  </a:lnTo>
                  <a:lnTo>
                    <a:pt x="36" y="68"/>
                  </a:lnTo>
                  <a:lnTo>
                    <a:pt x="38" y="70"/>
                  </a:lnTo>
                  <a:lnTo>
                    <a:pt x="44" y="70"/>
                  </a:lnTo>
                  <a:lnTo>
                    <a:pt x="48" y="60"/>
                  </a:lnTo>
                  <a:lnTo>
                    <a:pt x="52" y="54"/>
                  </a:lnTo>
                  <a:lnTo>
                    <a:pt x="52" y="50"/>
                  </a:lnTo>
                  <a:lnTo>
                    <a:pt x="48" y="46"/>
                  </a:lnTo>
                  <a:lnTo>
                    <a:pt x="46" y="42"/>
                  </a:lnTo>
                  <a:lnTo>
                    <a:pt x="44" y="38"/>
                  </a:lnTo>
                  <a:lnTo>
                    <a:pt x="44" y="20"/>
                  </a:lnTo>
                  <a:lnTo>
                    <a:pt x="50" y="10"/>
                  </a:lnTo>
                  <a:lnTo>
                    <a:pt x="50" y="4"/>
                  </a:lnTo>
                  <a:lnTo>
                    <a:pt x="50" y="6"/>
                  </a:lnTo>
                  <a:lnTo>
                    <a:pt x="50" y="4"/>
                  </a:lnTo>
                  <a:lnTo>
                    <a:pt x="50" y="4"/>
                  </a:lnTo>
                  <a:lnTo>
                    <a:pt x="50" y="2"/>
                  </a:lnTo>
                  <a:lnTo>
                    <a:pt x="5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4" name="Freeform 46">
              <a:extLst>
                <a:ext uri="{FF2B5EF4-FFF2-40B4-BE49-F238E27FC236}">
                  <a16:creationId xmlns:a16="http://schemas.microsoft.com/office/drawing/2014/main" id="{A9028CB3-BAF3-4085-A103-4888D2814873}"/>
                </a:ext>
              </a:extLst>
            </p:cNvPr>
            <p:cNvSpPr>
              <a:spLocks/>
            </p:cNvSpPr>
            <p:nvPr/>
          </p:nvSpPr>
          <p:spPr bwMode="auto">
            <a:xfrm>
              <a:off x="3399270" y="4262840"/>
              <a:ext cx="282268" cy="414338"/>
            </a:xfrm>
            <a:custGeom>
              <a:avLst/>
              <a:gdLst/>
              <a:ahLst/>
              <a:cxnLst>
                <a:cxn ang="0">
                  <a:pos x="216" y="76"/>
                </a:cxn>
                <a:cxn ang="0">
                  <a:pos x="204" y="64"/>
                </a:cxn>
                <a:cxn ang="0">
                  <a:pos x="206" y="40"/>
                </a:cxn>
                <a:cxn ang="0">
                  <a:pos x="200" y="24"/>
                </a:cxn>
                <a:cxn ang="0">
                  <a:pos x="190" y="10"/>
                </a:cxn>
                <a:cxn ang="0">
                  <a:pos x="176" y="2"/>
                </a:cxn>
                <a:cxn ang="0">
                  <a:pos x="162" y="20"/>
                </a:cxn>
                <a:cxn ang="0">
                  <a:pos x="144" y="16"/>
                </a:cxn>
                <a:cxn ang="0">
                  <a:pos x="34" y="50"/>
                </a:cxn>
                <a:cxn ang="0">
                  <a:pos x="26" y="120"/>
                </a:cxn>
                <a:cxn ang="0">
                  <a:pos x="16" y="126"/>
                </a:cxn>
                <a:cxn ang="0">
                  <a:pos x="14" y="138"/>
                </a:cxn>
                <a:cxn ang="0">
                  <a:pos x="8" y="154"/>
                </a:cxn>
                <a:cxn ang="0">
                  <a:pos x="0" y="164"/>
                </a:cxn>
                <a:cxn ang="0">
                  <a:pos x="2" y="170"/>
                </a:cxn>
                <a:cxn ang="0">
                  <a:pos x="12" y="174"/>
                </a:cxn>
                <a:cxn ang="0">
                  <a:pos x="10" y="184"/>
                </a:cxn>
                <a:cxn ang="0">
                  <a:pos x="12" y="200"/>
                </a:cxn>
                <a:cxn ang="0">
                  <a:pos x="20" y="218"/>
                </a:cxn>
                <a:cxn ang="0">
                  <a:pos x="26" y="232"/>
                </a:cxn>
                <a:cxn ang="0">
                  <a:pos x="32" y="248"/>
                </a:cxn>
                <a:cxn ang="0">
                  <a:pos x="42" y="252"/>
                </a:cxn>
                <a:cxn ang="0">
                  <a:pos x="54" y="258"/>
                </a:cxn>
                <a:cxn ang="0">
                  <a:pos x="64" y="270"/>
                </a:cxn>
                <a:cxn ang="0">
                  <a:pos x="70" y="284"/>
                </a:cxn>
                <a:cxn ang="0">
                  <a:pos x="78" y="298"/>
                </a:cxn>
                <a:cxn ang="0">
                  <a:pos x="86" y="296"/>
                </a:cxn>
                <a:cxn ang="0">
                  <a:pos x="96" y="300"/>
                </a:cxn>
                <a:cxn ang="0">
                  <a:pos x="110" y="310"/>
                </a:cxn>
                <a:cxn ang="0">
                  <a:pos x="122" y="314"/>
                </a:cxn>
                <a:cxn ang="0">
                  <a:pos x="140" y="312"/>
                </a:cxn>
                <a:cxn ang="0">
                  <a:pos x="152" y="312"/>
                </a:cxn>
                <a:cxn ang="0">
                  <a:pos x="168" y="304"/>
                </a:cxn>
                <a:cxn ang="0">
                  <a:pos x="186" y="306"/>
                </a:cxn>
                <a:cxn ang="0">
                  <a:pos x="180" y="298"/>
                </a:cxn>
                <a:cxn ang="0">
                  <a:pos x="168" y="286"/>
                </a:cxn>
                <a:cxn ang="0">
                  <a:pos x="160" y="270"/>
                </a:cxn>
                <a:cxn ang="0">
                  <a:pos x="146" y="260"/>
                </a:cxn>
                <a:cxn ang="0">
                  <a:pos x="150" y="250"/>
                </a:cxn>
                <a:cxn ang="0">
                  <a:pos x="158" y="226"/>
                </a:cxn>
                <a:cxn ang="0">
                  <a:pos x="162" y="210"/>
                </a:cxn>
                <a:cxn ang="0">
                  <a:pos x="174" y="192"/>
                </a:cxn>
                <a:cxn ang="0">
                  <a:pos x="184" y="170"/>
                </a:cxn>
                <a:cxn ang="0">
                  <a:pos x="196" y="144"/>
                </a:cxn>
                <a:cxn ang="0">
                  <a:pos x="200" y="118"/>
                </a:cxn>
                <a:cxn ang="0">
                  <a:pos x="202" y="98"/>
                </a:cxn>
                <a:cxn ang="0">
                  <a:pos x="206" y="90"/>
                </a:cxn>
                <a:cxn ang="0">
                  <a:pos x="218" y="84"/>
                </a:cxn>
              </a:cxnLst>
              <a:rect l="0" t="0" r="r" b="b"/>
              <a:pathLst>
                <a:path w="218" h="320">
                  <a:moveTo>
                    <a:pt x="218" y="84"/>
                  </a:moveTo>
                  <a:lnTo>
                    <a:pt x="218" y="84"/>
                  </a:lnTo>
                  <a:lnTo>
                    <a:pt x="218" y="80"/>
                  </a:lnTo>
                  <a:lnTo>
                    <a:pt x="216" y="76"/>
                  </a:lnTo>
                  <a:lnTo>
                    <a:pt x="208" y="74"/>
                  </a:lnTo>
                  <a:lnTo>
                    <a:pt x="206" y="70"/>
                  </a:lnTo>
                  <a:lnTo>
                    <a:pt x="206" y="66"/>
                  </a:lnTo>
                  <a:lnTo>
                    <a:pt x="204" y="64"/>
                  </a:lnTo>
                  <a:lnTo>
                    <a:pt x="204" y="56"/>
                  </a:lnTo>
                  <a:lnTo>
                    <a:pt x="204" y="52"/>
                  </a:lnTo>
                  <a:lnTo>
                    <a:pt x="206" y="50"/>
                  </a:lnTo>
                  <a:lnTo>
                    <a:pt x="206" y="40"/>
                  </a:lnTo>
                  <a:lnTo>
                    <a:pt x="204" y="38"/>
                  </a:lnTo>
                  <a:lnTo>
                    <a:pt x="206" y="32"/>
                  </a:lnTo>
                  <a:lnTo>
                    <a:pt x="202" y="30"/>
                  </a:lnTo>
                  <a:lnTo>
                    <a:pt x="200" y="24"/>
                  </a:lnTo>
                  <a:lnTo>
                    <a:pt x="200" y="16"/>
                  </a:lnTo>
                  <a:lnTo>
                    <a:pt x="196" y="16"/>
                  </a:lnTo>
                  <a:lnTo>
                    <a:pt x="194" y="14"/>
                  </a:lnTo>
                  <a:lnTo>
                    <a:pt x="190" y="10"/>
                  </a:lnTo>
                  <a:lnTo>
                    <a:pt x="186" y="4"/>
                  </a:lnTo>
                  <a:lnTo>
                    <a:pt x="184" y="4"/>
                  </a:lnTo>
                  <a:lnTo>
                    <a:pt x="184" y="0"/>
                  </a:lnTo>
                  <a:lnTo>
                    <a:pt x="176" y="2"/>
                  </a:lnTo>
                  <a:lnTo>
                    <a:pt x="172" y="2"/>
                  </a:lnTo>
                  <a:lnTo>
                    <a:pt x="168" y="10"/>
                  </a:lnTo>
                  <a:lnTo>
                    <a:pt x="162" y="12"/>
                  </a:lnTo>
                  <a:lnTo>
                    <a:pt x="162" y="20"/>
                  </a:lnTo>
                  <a:lnTo>
                    <a:pt x="158" y="22"/>
                  </a:lnTo>
                  <a:lnTo>
                    <a:pt x="156" y="18"/>
                  </a:lnTo>
                  <a:lnTo>
                    <a:pt x="144" y="18"/>
                  </a:lnTo>
                  <a:lnTo>
                    <a:pt x="144" y="16"/>
                  </a:lnTo>
                  <a:lnTo>
                    <a:pt x="140" y="18"/>
                  </a:lnTo>
                  <a:lnTo>
                    <a:pt x="46" y="18"/>
                  </a:lnTo>
                  <a:lnTo>
                    <a:pt x="46" y="50"/>
                  </a:lnTo>
                  <a:lnTo>
                    <a:pt x="34" y="50"/>
                  </a:lnTo>
                  <a:lnTo>
                    <a:pt x="34" y="60"/>
                  </a:lnTo>
                  <a:lnTo>
                    <a:pt x="34" y="120"/>
                  </a:lnTo>
                  <a:lnTo>
                    <a:pt x="30" y="122"/>
                  </a:lnTo>
                  <a:lnTo>
                    <a:pt x="26" y="120"/>
                  </a:lnTo>
                  <a:lnTo>
                    <a:pt x="22" y="120"/>
                  </a:lnTo>
                  <a:lnTo>
                    <a:pt x="20" y="120"/>
                  </a:lnTo>
                  <a:lnTo>
                    <a:pt x="20" y="122"/>
                  </a:lnTo>
                  <a:lnTo>
                    <a:pt x="16" y="126"/>
                  </a:lnTo>
                  <a:lnTo>
                    <a:pt x="16" y="128"/>
                  </a:lnTo>
                  <a:lnTo>
                    <a:pt x="16" y="130"/>
                  </a:lnTo>
                  <a:lnTo>
                    <a:pt x="16" y="134"/>
                  </a:lnTo>
                  <a:lnTo>
                    <a:pt x="14" y="138"/>
                  </a:lnTo>
                  <a:lnTo>
                    <a:pt x="12" y="140"/>
                  </a:lnTo>
                  <a:lnTo>
                    <a:pt x="12" y="144"/>
                  </a:lnTo>
                  <a:lnTo>
                    <a:pt x="10" y="148"/>
                  </a:lnTo>
                  <a:lnTo>
                    <a:pt x="8" y="154"/>
                  </a:lnTo>
                  <a:lnTo>
                    <a:pt x="6" y="156"/>
                  </a:lnTo>
                  <a:lnTo>
                    <a:pt x="4" y="158"/>
                  </a:lnTo>
                  <a:lnTo>
                    <a:pt x="4" y="162"/>
                  </a:lnTo>
                  <a:lnTo>
                    <a:pt x="0" y="164"/>
                  </a:lnTo>
                  <a:lnTo>
                    <a:pt x="0" y="166"/>
                  </a:lnTo>
                  <a:lnTo>
                    <a:pt x="0" y="170"/>
                  </a:lnTo>
                  <a:lnTo>
                    <a:pt x="0" y="170"/>
                  </a:lnTo>
                  <a:lnTo>
                    <a:pt x="2" y="170"/>
                  </a:lnTo>
                  <a:lnTo>
                    <a:pt x="6" y="170"/>
                  </a:lnTo>
                  <a:lnTo>
                    <a:pt x="8" y="170"/>
                  </a:lnTo>
                  <a:lnTo>
                    <a:pt x="12" y="172"/>
                  </a:lnTo>
                  <a:lnTo>
                    <a:pt x="12" y="174"/>
                  </a:lnTo>
                  <a:lnTo>
                    <a:pt x="10" y="176"/>
                  </a:lnTo>
                  <a:lnTo>
                    <a:pt x="8" y="178"/>
                  </a:lnTo>
                  <a:lnTo>
                    <a:pt x="8" y="180"/>
                  </a:lnTo>
                  <a:lnTo>
                    <a:pt x="10" y="184"/>
                  </a:lnTo>
                  <a:lnTo>
                    <a:pt x="10" y="190"/>
                  </a:lnTo>
                  <a:lnTo>
                    <a:pt x="8" y="192"/>
                  </a:lnTo>
                  <a:lnTo>
                    <a:pt x="12" y="196"/>
                  </a:lnTo>
                  <a:lnTo>
                    <a:pt x="12" y="200"/>
                  </a:lnTo>
                  <a:lnTo>
                    <a:pt x="12" y="202"/>
                  </a:lnTo>
                  <a:lnTo>
                    <a:pt x="20" y="210"/>
                  </a:lnTo>
                  <a:lnTo>
                    <a:pt x="20" y="212"/>
                  </a:lnTo>
                  <a:lnTo>
                    <a:pt x="20" y="218"/>
                  </a:lnTo>
                  <a:lnTo>
                    <a:pt x="20" y="222"/>
                  </a:lnTo>
                  <a:lnTo>
                    <a:pt x="22" y="224"/>
                  </a:lnTo>
                  <a:lnTo>
                    <a:pt x="26" y="226"/>
                  </a:lnTo>
                  <a:lnTo>
                    <a:pt x="26" y="232"/>
                  </a:lnTo>
                  <a:lnTo>
                    <a:pt x="26" y="236"/>
                  </a:lnTo>
                  <a:lnTo>
                    <a:pt x="26" y="238"/>
                  </a:lnTo>
                  <a:lnTo>
                    <a:pt x="30" y="244"/>
                  </a:lnTo>
                  <a:lnTo>
                    <a:pt x="32" y="248"/>
                  </a:lnTo>
                  <a:lnTo>
                    <a:pt x="34" y="248"/>
                  </a:lnTo>
                  <a:lnTo>
                    <a:pt x="34" y="250"/>
                  </a:lnTo>
                  <a:lnTo>
                    <a:pt x="38" y="250"/>
                  </a:lnTo>
                  <a:lnTo>
                    <a:pt x="42" y="252"/>
                  </a:lnTo>
                  <a:lnTo>
                    <a:pt x="44" y="254"/>
                  </a:lnTo>
                  <a:lnTo>
                    <a:pt x="48" y="256"/>
                  </a:lnTo>
                  <a:lnTo>
                    <a:pt x="50" y="256"/>
                  </a:lnTo>
                  <a:lnTo>
                    <a:pt x="54" y="258"/>
                  </a:lnTo>
                  <a:lnTo>
                    <a:pt x="54" y="264"/>
                  </a:lnTo>
                  <a:lnTo>
                    <a:pt x="56" y="266"/>
                  </a:lnTo>
                  <a:lnTo>
                    <a:pt x="60" y="268"/>
                  </a:lnTo>
                  <a:lnTo>
                    <a:pt x="64" y="270"/>
                  </a:lnTo>
                  <a:lnTo>
                    <a:pt x="68" y="276"/>
                  </a:lnTo>
                  <a:lnTo>
                    <a:pt x="68" y="282"/>
                  </a:lnTo>
                  <a:lnTo>
                    <a:pt x="68" y="284"/>
                  </a:lnTo>
                  <a:lnTo>
                    <a:pt x="70" y="284"/>
                  </a:lnTo>
                  <a:lnTo>
                    <a:pt x="72" y="286"/>
                  </a:lnTo>
                  <a:lnTo>
                    <a:pt x="72" y="288"/>
                  </a:lnTo>
                  <a:lnTo>
                    <a:pt x="76" y="294"/>
                  </a:lnTo>
                  <a:lnTo>
                    <a:pt x="78" y="298"/>
                  </a:lnTo>
                  <a:lnTo>
                    <a:pt x="80" y="302"/>
                  </a:lnTo>
                  <a:lnTo>
                    <a:pt x="84" y="302"/>
                  </a:lnTo>
                  <a:lnTo>
                    <a:pt x="86" y="298"/>
                  </a:lnTo>
                  <a:lnTo>
                    <a:pt x="86" y="296"/>
                  </a:lnTo>
                  <a:lnTo>
                    <a:pt x="88" y="298"/>
                  </a:lnTo>
                  <a:lnTo>
                    <a:pt x="94" y="302"/>
                  </a:lnTo>
                  <a:lnTo>
                    <a:pt x="94" y="302"/>
                  </a:lnTo>
                  <a:lnTo>
                    <a:pt x="96" y="300"/>
                  </a:lnTo>
                  <a:lnTo>
                    <a:pt x="98" y="298"/>
                  </a:lnTo>
                  <a:lnTo>
                    <a:pt x="100" y="298"/>
                  </a:lnTo>
                  <a:lnTo>
                    <a:pt x="104" y="302"/>
                  </a:lnTo>
                  <a:lnTo>
                    <a:pt x="110" y="310"/>
                  </a:lnTo>
                  <a:lnTo>
                    <a:pt x="114" y="312"/>
                  </a:lnTo>
                  <a:lnTo>
                    <a:pt x="118" y="314"/>
                  </a:lnTo>
                  <a:lnTo>
                    <a:pt x="120" y="316"/>
                  </a:lnTo>
                  <a:lnTo>
                    <a:pt x="122" y="314"/>
                  </a:lnTo>
                  <a:lnTo>
                    <a:pt x="130" y="320"/>
                  </a:lnTo>
                  <a:lnTo>
                    <a:pt x="132" y="316"/>
                  </a:lnTo>
                  <a:lnTo>
                    <a:pt x="136" y="314"/>
                  </a:lnTo>
                  <a:lnTo>
                    <a:pt x="140" y="312"/>
                  </a:lnTo>
                  <a:lnTo>
                    <a:pt x="142" y="312"/>
                  </a:lnTo>
                  <a:lnTo>
                    <a:pt x="144" y="312"/>
                  </a:lnTo>
                  <a:lnTo>
                    <a:pt x="148" y="310"/>
                  </a:lnTo>
                  <a:lnTo>
                    <a:pt x="152" y="312"/>
                  </a:lnTo>
                  <a:lnTo>
                    <a:pt x="154" y="314"/>
                  </a:lnTo>
                  <a:lnTo>
                    <a:pt x="158" y="310"/>
                  </a:lnTo>
                  <a:lnTo>
                    <a:pt x="164" y="308"/>
                  </a:lnTo>
                  <a:lnTo>
                    <a:pt x="168" y="304"/>
                  </a:lnTo>
                  <a:lnTo>
                    <a:pt x="174" y="304"/>
                  </a:lnTo>
                  <a:lnTo>
                    <a:pt x="180" y="304"/>
                  </a:lnTo>
                  <a:lnTo>
                    <a:pt x="186" y="310"/>
                  </a:lnTo>
                  <a:lnTo>
                    <a:pt x="186" y="306"/>
                  </a:lnTo>
                  <a:lnTo>
                    <a:pt x="186" y="302"/>
                  </a:lnTo>
                  <a:lnTo>
                    <a:pt x="186" y="300"/>
                  </a:lnTo>
                  <a:lnTo>
                    <a:pt x="184" y="298"/>
                  </a:lnTo>
                  <a:lnTo>
                    <a:pt x="180" y="298"/>
                  </a:lnTo>
                  <a:lnTo>
                    <a:pt x="174" y="296"/>
                  </a:lnTo>
                  <a:lnTo>
                    <a:pt x="172" y="296"/>
                  </a:lnTo>
                  <a:lnTo>
                    <a:pt x="172" y="292"/>
                  </a:lnTo>
                  <a:lnTo>
                    <a:pt x="168" y="286"/>
                  </a:lnTo>
                  <a:lnTo>
                    <a:pt x="166" y="280"/>
                  </a:lnTo>
                  <a:lnTo>
                    <a:pt x="166" y="276"/>
                  </a:lnTo>
                  <a:lnTo>
                    <a:pt x="162" y="274"/>
                  </a:lnTo>
                  <a:lnTo>
                    <a:pt x="160" y="270"/>
                  </a:lnTo>
                  <a:lnTo>
                    <a:pt x="158" y="266"/>
                  </a:lnTo>
                  <a:lnTo>
                    <a:pt x="156" y="262"/>
                  </a:lnTo>
                  <a:lnTo>
                    <a:pt x="152" y="260"/>
                  </a:lnTo>
                  <a:lnTo>
                    <a:pt x="146" y="260"/>
                  </a:lnTo>
                  <a:lnTo>
                    <a:pt x="144" y="260"/>
                  </a:lnTo>
                  <a:lnTo>
                    <a:pt x="142" y="258"/>
                  </a:lnTo>
                  <a:lnTo>
                    <a:pt x="144" y="250"/>
                  </a:lnTo>
                  <a:lnTo>
                    <a:pt x="150" y="250"/>
                  </a:lnTo>
                  <a:lnTo>
                    <a:pt x="154" y="248"/>
                  </a:lnTo>
                  <a:lnTo>
                    <a:pt x="156" y="244"/>
                  </a:lnTo>
                  <a:lnTo>
                    <a:pt x="158" y="240"/>
                  </a:lnTo>
                  <a:lnTo>
                    <a:pt x="158" y="226"/>
                  </a:lnTo>
                  <a:lnTo>
                    <a:pt x="158" y="224"/>
                  </a:lnTo>
                  <a:lnTo>
                    <a:pt x="160" y="220"/>
                  </a:lnTo>
                  <a:lnTo>
                    <a:pt x="162" y="214"/>
                  </a:lnTo>
                  <a:lnTo>
                    <a:pt x="162" y="210"/>
                  </a:lnTo>
                  <a:lnTo>
                    <a:pt x="162" y="202"/>
                  </a:lnTo>
                  <a:lnTo>
                    <a:pt x="168" y="198"/>
                  </a:lnTo>
                  <a:lnTo>
                    <a:pt x="172" y="196"/>
                  </a:lnTo>
                  <a:lnTo>
                    <a:pt x="174" y="192"/>
                  </a:lnTo>
                  <a:lnTo>
                    <a:pt x="178" y="184"/>
                  </a:lnTo>
                  <a:lnTo>
                    <a:pt x="180" y="178"/>
                  </a:lnTo>
                  <a:lnTo>
                    <a:pt x="182" y="172"/>
                  </a:lnTo>
                  <a:lnTo>
                    <a:pt x="184" y="170"/>
                  </a:lnTo>
                  <a:lnTo>
                    <a:pt x="186" y="166"/>
                  </a:lnTo>
                  <a:lnTo>
                    <a:pt x="190" y="162"/>
                  </a:lnTo>
                  <a:lnTo>
                    <a:pt x="196" y="150"/>
                  </a:lnTo>
                  <a:lnTo>
                    <a:pt x="196" y="144"/>
                  </a:lnTo>
                  <a:lnTo>
                    <a:pt x="196" y="136"/>
                  </a:lnTo>
                  <a:lnTo>
                    <a:pt x="196" y="130"/>
                  </a:lnTo>
                  <a:lnTo>
                    <a:pt x="196" y="124"/>
                  </a:lnTo>
                  <a:lnTo>
                    <a:pt x="200" y="118"/>
                  </a:lnTo>
                  <a:lnTo>
                    <a:pt x="200" y="114"/>
                  </a:lnTo>
                  <a:lnTo>
                    <a:pt x="200" y="108"/>
                  </a:lnTo>
                  <a:lnTo>
                    <a:pt x="202" y="104"/>
                  </a:lnTo>
                  <a:lnTo>
                    <a:pt x="202" y="98"/>
                  </a:lnTo>
                  <a:lnTo>
                    <a:pt x="202" y="96"/>
                  </a:lnTo>
                  <a:lnTo>
                    <a:pt x="204" y="96"/>
                  </a:lnTo>
                  <a:lnTo>
                    <a:pt x="204" y="94"/>
                  </a:lnTo>
                  <a:lnTo>
                    <a:pt x="206" y="90"/>
                  </a:lnTo>
                  <a:lnTo>
                    <a:pt x="208" y="88"/>
                  </a:lnTo>
                  <a:lnTo>
                    <a:pt x="210" y="88"/>
                  </a:lnTo>
                  <a:lnTo>
                    <a:pt x="216" y="90"/>
                  </a:lnTo>
                  <a:lnTo>
                    <a:pt x="218" y="84"/>
                  </a:lnTo>
                  <a:lnTo>
                    <a:pt x="218" y="8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5" name="Freeform 47">
              <a:extLst>
                <a:ext uri="{FF2B5EF4-FFF2-40B4-BE49-F238E27FC236}">
                  <a16:creationId xmlns:a16="http://schemas.microsoft.com/office/drawing/2014/main" id="{07924245-41D9-455A-A5BF-614F69ED1078}"/>
                </a:ext>
              </a:extLst>
            </p:cNvPr>
            <p:cNvSpPr>
              <a:spLocks/>
            </p:cNvSpPr>
            <p:nvPr/>
          </p:nvSpPr>
          <p:spPr bwMode="auto">
            <a:xfrm>
              <a:off x="4365195" y="4552876"/>
              <a:ext cx="38844" cy="82868"/>
            </a:xfrm>
            <a:custGeom>
              <a:avLst/>
              <a:gdLst/>
              <a:ahLst/>
              <a:cxnLst>
                <a:cxn ang="0">
                  <a:pos x="4" y="0"/>
                </a:cxn>
                <a:cxn ang="0">
                  <a:pos x="4" y="0"/>
                </a:cxn>
                <a:cxn ang="0">
                  <a:pos x="4" y="2"/>
                </a:cxn>
                <a:cxn ang="0">
                  <a:pos x="4" y="6"/>
                </a:cxn>
                <a:cxn ang="0">
                  <a:pos x="6" y="8"/>
                </a:cxn>
                <a:cxn ang="0">
                  <a:pos x="6" y="10"/>
                </a:cxn>
                <a:cxn ang="0">
                  <a:pos x="4" y="12"/>
                </a:cxn>
                <a:cxn ang="0">
                  <a:pos x="4" y="18"/>
                </a:cxn>
                <a:cxn ang="0">
                  <a:pos x="0" y="28"/>
                </a:cxn>
                <a:cxn ang="0">
                  <a:pos x="0" y="36"/>
                </a:cxn>
                <a:cxn ang="0">
                  <a:pos x="2" y="44"/>
                </a:cxn>
                <a:cxn ang="0">
                  <a:pos x="2" y="50"/>
                </a:cxn>
                <a:cxn ang="0">
                  <a:pos x="4" y="56"/>
                </a:cxn>
                <a:cxn ang="0">
                  <a:pos x="6" y="58"/>
                </a:cxn>
                <a:cxn ang="0">
                  <a:pos x="8" y="62"/>
                </a:cxn>
                <a:cxn ang="0">
                  <a:pos x="14" y="64"/>
                </a:cxn>
                <a:cxn ang="0">
                  <a:pos x="20" y="60"/>
                </a:cxn>
                <a:cxn ang="0">
                  <a:pos x="26" y="56"/>
                </a:cxn>
                <a:cxn ang="0">
                  <a:pos x="28" y="52"/>
                </a:cxn>
                <a:cxn ang="0">
                  <a:pos x="30" y="48"/>
                </a:cxn>
                <a:cxn ang="0">
                  <a:pos x="30" y="38"/>
                </a:cxn>
                <a:cxn ang="0">
                  <a:pos x="28" y="38"/>
                </a:cxn>
                <a:cxn ang="0">
                  <a:pos x="28" y="30"/>
                </a:cxn>
                <a:cxn ang="0">
                  <a:pos x="24" y="26"/>
                </a:cxn>
                <a:cxn ang="0">
                  <a:pos x="22" y="20"/>
                </a:cxn>
                <a:cxn ang="0">
                  <a:pos x="20" y="20"/>
                </a:cxn>
                <a:cxn ang="0">
                  <a:pos x="16" y="16"/>
                </a:cxn>
                <a:cxn ang="0">
                  <a:pos x="16" y="14"/>
                </a:cxn>
                <a:cxn ang="0">
                  <a:pos x="12" y="12"/>
                </a:cxn>
                <a:cxn ang="0">
                  <a:pos x="10" y="6"/>
                </a:cxn>
                <a:cxn ang="0">
                  <a:pos x="8" y="0"/>
                </a:cxn>
                <a:cxn ang="0">
                  <a:pos x="4" y="0"/>
                </a:cxn>
                <a:cxn ang="0">
                  <a:pos x="4" y="0"/>
                </a:cxn>
              </a:cxnLst>
              <a:rect l="0" t="0" r="r" b="b"/>
              <a:pathLst>
                <a:path w="30" h="64">
                  <a:moveTo>
                    <a:pt x="4" y="0"/>
                  </a:moveTo>
                  <a:lnTo>
                    <a:pt x="4" y="0"/>
                  </a:lnTo>
                  <a:lnTo>
                    <a:pt x="4" y="2"/>
                  </a:lnTo>
                  <a:lnTo>
                    <a:pt x="4" y="6"/>
                  </a:lnTo>
                  <a:lnTo>
                    <a:pt x="6" y="8"/>
                  </a:lnTo>
                  <a:lnTo>
                    <a:pt x="6" y="10"/>
                  </a:lnTo>
                  <a:lnTo>
                    <a:pt x="4" y="12"/>
                  </a:lnTo>
                  <a:lnTo>
                    <a:pt x="4" y="18"/>
                  </a:lnTo>
                  <a:lnTo>
                    <a:pt x="0" y="28"/>
                  </a:lnTo>
                  <a:lnTo>
                    <a:pt x="0" y="36"/>
                  </a:lnTo>
                  <a:lnTo>
                    <a:pt x="2" y="44"/>
                  </a:lnTo>
                  <a:lnTo>
                    <a:pt x="2" y="50"/>
                  </a:lnTo>
                  <a:lnTo>
                    <a:pt x="4" y="56"/>
                  </a:lnTo>
                  <a:lnTo>
                    <a:pt x="6" y="58"/>
                  </a:lnTo>
                  <a:lnTo>
                    <a:pt x="8" y="62"/>
                  </a:lnTo>
                  <a:lnTo>
                    <a:pt x="14" y="64"/>
                  </a:lnTo>
                  <a:lnTo>
                    <a:pt x="20" y="60"/>
                  </a:lnTo>
                  <a:lnTo>
                    <a:pt x="26" y="56"/>
                  </a:lnTo>
                  <a:lnTo>
                    <a:pt x="28" y="52"/>
                  </a:lnTo>
                  <a:lnTo>
                    <a:pt x="30" y="48"/>
                  </a:lnTo>
                  <a:lnTo>
                    <a:pt x="30" y="38"/>
                  </a:lnTo>
                  <a:lnTo>
                    <a:pt x="28" y="38"/>
                  </a:lnTo>
                  <a:lnTo>
                    <a:pt x="28" y="30"/>
                  </a:lnTo>
                  <a:lnTo>
                    <a:pt x="24" y="26"/>
                  </a:lnTo>
                  <a:lnTo>
                    <a:pt x="22" y="20"/>
                  </a:lnTo>
                  <a:lnTo>
                    <a:pt x="20" y="20"/>
                  </a:lnTo>
                  <a:lnTo>
                    <a:pt x="16" y="16"/>
                  </a:lnTo>
                  <a:lnTo>
                    <a:pt x="16" y="14"/>
                  </a:lnTo>
                  <a:lnTo>
                    <a:pt x="12" y="12"/>
                  </a:lnTo>
                  <a:lnTo>
                    <a:pt x="10" y="6"/>
                  </a:lnTo>
                  <a:lnTo>
                    <a:pt x="8" y="0"/>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6" name="Freeform 48">
              <a:extLst>
                <a:ext uri="{FF2B5EF4-FFF2-40B4-BE49-F238E27FC236}">
                  <a16:creationId xmlns:a16="http://schemas.microsoft.com/office/drawing/2014/main" id="{32A570B2-B0F0-4CB6-955A-D4BEB078C145}"/>
                </a:ext>
              </a:extLst>
            </p:cNvPr>
            <p:cNvSpPr>
              <a:spLocks/>
            </p:cNvSpPr>
            <p:nvPr/>
          </p:nvSpPr>
          <p:spPr bwMode="auto">
            <a:xfrm>
              <a:off x="3057442" y="3902884"/>
              <a:ext cx="7769" cy="7769"/>
            </a:xfrm>
            <a:custGeom>
              <a:avLst/>
              <a:gdLst/>
              <a:ahLst/>
              <a:cxnLst>
                <a:cxn ang="0">
                  <a:pos x="4" y="0"/>
                </a:cxn>
                <a:cxn ang="0">
                  <a:pos x="4" y="0"/>
                </a:cxn>
                <a:cxn ang="0">
                  <a:pos x="2" y="4"/>
                </a:cxn>
                <a:cxn ang="0">
                  <a:pos x="0" y="6"/>
                </a:cxn>
                <a:cxn ang="0">
                  <a:pos x="2" y="6"/>
                </a:cxn>
                <a:cxn ang="0">
                  <a:pos x="6" y="2"/>
                </a:cxn>
                <a:cxn ang="0">
                  <a:pos x="6" y="0"/>
                </a:cxn>
                <a:cxn ang="0">
                  <a:pos x="4" y="0"/>
                </a:cxn>
              </a:cxnLst>
              <a:rect l="0" t="0" r="r" b="b"/>
              <a:pathLst>
                <a:path w="6" h="6">
                  <a:moveTo>
                    <a:pt x="4" y="0"/>
                  </a:moveTo>
                  <a:lnTo>
                    <a:pt x="4" y="0"/>
                  </a:lnTo>
                  <a:lnTo>
                    <a:pt x="2" y="4"/>
                  </a:lnTo>
                  <a:lnTo>
                    <a:pt x="0" y="6"/>
                  </a:lnTo>
                  <a:lnTo>
                    <a:pt x="2" y="6"/>
                  </a:lnTo>
                  <a:lnTo>
                    <a:pt x="6" y="2"/>
                  </a:lnTo>
                  <a:lnTo>
                    <a:pt x="6"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7" name="Freeform 49">
              <a:extLst>
                <a:ext uri="{FF2B5EF4-FFF2-40B4-BE49-F238E27FC236}">
                  <a16:creationId xmlns:a16="http://schemas.microsoft.com/office/drawing/2014/main" id="{8DA0FDE3-B1B0-4534-99F5-BA0E2BF6112A}"/>
                </a:ext>
              </a:extLst>
            </p:cNvPr>
            <p:cNvSpPr>
              <a:spLocks/>
            </p:cNvSpPr>
            <p:nvPr/>
          </p:nvSpPr>
          <p:spPr bwMode="auto">
            <a:xfrm>
              <a:off x="3057442" y="3902884"/>
              <a:ext cx="7769" cy="7769"/>
            </a:xfrm>
            <a:custGeom>
              <a:avLst/>
              <a:gdLst/>
              <a:ahLst/>
              <a:cxnLst>
                <a:cxn ang="0">
                  <a:pos x="4" y="0"/>
                </a:cxn>
                <a:cxn ang="0">
                  <a:pos x="4" y="0"/>
                </a:cxn>
                <a:cxn ang="0">
                  <a:pos x="2" y="4"/>
                </a:cxn>
                <a:cxn ang="0">
                  <a:pos x="0" y="6"/>
                </a:cxn>
                <a:cxn ang="0">
                  <a:pos x="2" y="6"/>
                </a:cxn>
                <a:cxn ang="0">
                  <a:pos x="6" y="2"/>
                </a:cxn>
                <a:cxn ang="0">
                  <a:pos x="6" y="0"/>
                </a:cxn>
                <a:cxn ang="0">
                  <a:pos x="4" y="0"/>
                </a:cxn>
              </a:cxnLst>
              <a:rect l="0" t="0" r="r" b="b"/>
              <a:pathLst>
                <a:path w="6" h="6">
                  <a:moveTo>
                    <a:pt x="4" y="0"/>
                  </a:moveTo>
                  <a:lnTo>
                    <a:pt x="4" y="0"/>
                  </a:lnTo>
                  <a:lnTo>
                    <a:pt x="2" y="4"/>
                  </a:lnTo>
                  <a:lnTo>
                    <a:pt x="0" y="6"/>
                  </a:lnTo>
                  <a:lnTo>
                    <a:pt x="2" y="6"/>
                  </a:lnTo>
                  <a:lnTo>
                    <a:pt x="6" y="2"/>
                  </a:lnTo>
                  <a:lnTo>
                    <a:pt x="6"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8" name="Freeform 50">
              <a:extLst>
                <a:ext uri="{FF2B5EF4-FFF2-40B4-BE49-F238E27FC236}">
                  <a16:creationId xmlns:a16="http://schemas.microsoft.com/office/drawing/2014/main" id="{DD1A97DA-AFA3-43C8-BA74-C08A19665BB2}"/>
                </a:ext>
              </a:extLst>
            </p:cNvPr>
            <p:cNvSpPr>
              <a:spLocks/>
            </p:cNvSpPr>
            <p:nvPr/>
          </p:nvSpPr>
          <p:spPr bwMode="auto">
            <a:xfrm>
              <a:off x="3117003" y="3889936"/>
              <a:ext cx="7769" cy="5179"/>
            </a:xfrm>
            <a:custGeom>
              <a:avLst/>
              <a:gdLst/>
              <a:ahLst/>
              <a:cxnLst>
                <a:cxn ang="0">
                  <a:pos x="0" y="0"/>
                </a:cxn>
                <a:cxn ang="0">
                  <a:pos x="0" y="4"/>
                </a:cxn>
                <a:cxn ang="0">
                  <a:pos x="4" y="4"/>
                </a:cxn>
                <a:cxn ang="0">
                  <a:pos x="6" y="4"/>
                </a:cxn>
                <a:cxn ang="0">
                  <a:pos x="6" y="2"/>
                </a:cxn>
                <a:cxn ang="0">
                  <a:pos x="6" y="0"/>
                </a:cxn>
                <a:cxn ang="0">
                  <a:pos x="0" y="0"/>
                </a:cxn>
              </a:cxnLst>
              <a:rect l="0" t="0" r="r" b="b"/>
              <a:pathLst>
                <a:path w="6" h="4">
                  <a:moveTo>
                    <a:pt x="0" y="0"/>
                  </a:moveTo>
                  <a:lnTo>
                    <a:pt x="0" y="4"/>
                  </a:lnTo>
                  <a:lnTo>
                    <a:pt x="4" y="4"/>
                  </a:lnTo>
                  <a:lnTo>
                    <a:pt x="6" y="4"/>
                  </a:lnTo>
                  <a:lnTo>
                    <a:pt x="6" y="2"/>
                  </a:lnTo>
                  <a:lnTo>
                    <a:pt x="6"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9" name="Freeform 51">
              <a:extLst>
                <a:ext uri="{FF2B5EF4-FFF2-40B4-BE49-F238E27FC236}">
                  <a16:creationId xmlns:a16="http://schemas.microsoft.com/office/drawing/2014/main" id="{924254E9-9B50-4758-A2CA-2B7114D24FC9}"/>
                </a:ext>
              </a:extLst>
            </p:cNvPr>
            <p:cNvSpPr>
              <a:spLocks/>
            </p:cNvSpPr>
            <p:nvPr/>
          </p:nvSpPr>
          <p:spPr bwMode="auto">
            <a:xfrm>
              <a:off x="3117003" y="3889936"/>
              <a:ext cx="7769" cy="5179"/>
            </a:xfrm>
            <a:custGeom>
              <a:avLst/>
              <a:gdLst/>
              <a:ahLst/>
              <a:cxnLst>
                <a:cxn ang="0">
                  <a:pos x="0" y="0"/>
                </a:cxn>
                <a:cxn ang="0">
                  <a:pos x="0" y="4"/>
                </a:cxn>
                <a:cxn ang="0">
                  <a:pos x="4" y="4"/>
                </a:cxn>
                <a:cxn ang="0">
                  <a:pos x="6" y="4"/>
                </a:cxn>
                <a:cxn ang="0">
                  <a:pos x="6" y="2"/>
                </a:cxn>
                <a:cxn ang="0">
                  <a:pos x="6" y="0"/>
                </a:cxn>
                <a:cxn ang="0">
                  <a:pos x="0" y="0"/>
                </a:cxn>
              </a:cxnLst>
              <a:rect l="0" t="0" r="r" b="b"/>
              <a:pathLst>
                <a:path w="6" h="4">
                  <a:moveTo>
                    <a:pt x="0" y="0"/>
                  </a:moveTo>
                  <a:lnTo>
                    <a:pt x="0" y="4"/>
                  </a:lnTo>
                  <a:lnTo>
                    <a:pt x="4" y="4"/>
                  </a:lnTo>
                  <a:lnTo>
                    <a:pt x="6" y="4"/>
                  </a:lnTo>
                  <a:lnTo>
                    <a:pt x="6" y="2"/>
                  </a:lnTo>
                  <a:lnTo>
                    <a:pt x="6"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0" name="Freeform 52">
              <a:extLst>
                <a:ext uri="{FF2B5EF4-FFF2-40B4-BE49-F238E27FC236}">
                  <a16:creationId xmlns:a16="http://schemas.microsoft.com/office/drawing/2014/main" id="{E82D66BB-0FE4-4431-8863-D721B15F1F01}"/>
                </a:ext>
              </a:extLst>
            </p:cNvPr>
            <p:cNvSpPr>
              <a:spLocks/>
            </p:cNvSpPr>
            <p:nvPr/>
          </p:nvSpPr>
          <p:spPr bwMode="auto">
            <a:xfrm>
              <a:off x="3088517" y="3889936"/>
              <a:ext cx="12948" cy="18127"/>
            </a:xfrm>
            <a:custGeom>
              <a:avLst/>
              <a:gdLst/>
              <a:ahLst/>
              <a:cxnLst>
                <a:cxn ang="0">
                  <a:pos x="4" y="0"/>
                </a:cxn>
                <a:cxn ang="0">
                  <a:pos x="4" y="0"/>
                </a:cxn>
                <a:cxn ang="0">
                  <a:pos x="0" y="2"/>
                </a:cxn>
                <a:cxn ang="0">
                  <a:pos x="2" y="4"/>
                </a:cxn>
                <a:cxn ang="0">
                  <a:pos x="2" y="6"/>
                </a:cxn>
                <a:cxn ang="0">
                  <a:pos x="2" y="10"/>
                </a:cxn>
                <a:cxn ang="0">
                  <a:pos x="2" y="14"/>
                </a:cxn>
                <a:cxn ang="0">
                  <a:pos x="4" y="14"/>
                </a:cxn>
                <a:cxn ang="0">
                  <a:pos x="8" y="10"/>
                </a:cxn>
                <a:cxn ang="0">
                  <a:pos x="10" y="6"/>
                </a:cxn>
                <a:cxn ang="0">
                  <a:pos x="10" y="4"/>
                </a:cxn>
                <a:cxn ang="0">
                  <a:pos x="4" y="0"/>
                </a:cxn>
              </a:cxnLst>
              <a:rect l="0" t="0" r="r" b="b"/>
              <a:pathLst>
                <a:path w="10" h="14">
                  <a:moveTo>
                    <a:pt x="4" y="0"/>
                  </a:moveTo>
                  <a:lnTo>
                    <a:pt x="4" y="0"/>
                  </a:lnTo>
                  <a:lnTo>
                    <a:pt x="0" y="2"/>
                  </a:lnTo>
                  <a:lnTo>
                    <a:pt x="2" y="4"/>
                  </a:lnTo>
                  <a:lnTo>
                    <a:pt x="2" y="6"/>
                  </a:lnTo>
                  <a:lnTo>
                    <a:pt x="2" y="10"/>
                  </a:lnTo>
                  <a:lnTo>
                    <a:pt x="2" y="14"/>
                  </a:lnTo>
                  <a:lnTo>
                    <a:pt x="4" y="14"/>
                  </a:lnTo>
                  <a:lnTo>
                    <a:pt x="8" y="10"/>
                  </a:lnTo>
                  <a:lnTo>
                    <a:pt x="10" y="6"/>
                  </a:lnTo>
                  <a:lnTo>
                    <a:pt x="10" y="4"/>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1" name="Freeform 53">
              <a:extLst>
                <a:ext uri="{FF2B5EF4-FFF2-40B4-BE49-F238E27FC236}">
                  <a16:creationId xmlns:a16="http://schemas.microsoft.com/office/drawing/2014/main" id="{FF88B55E-86E8-47E7-8DB5-06B91F418D00}"/>
                </a:ext>
              </a:extLst>
            </p:cNvPr>
            <p:cNvSpPr>
              <a:spLocks/>
            </p:cNvSpPr>
            <p:nvPr/>
          </p:nvSpPr>
          <p:spPr bwMode="auto">
            <a:xfrm>
              <a:off x="3088517" y="3889936"/>
              <a:ext cx="12948" cy="18127"/>
            </a:xfrm>
            <a:custGeom>
              <a:avLst/>
              <a:gdLst/>
              <a:ahLst/>
              <a:cxnLst>
                <a:cxn ang="0">
                  <a:pos x="4" y="0"/>
                </a:cxn>
                <a:cxn ang="0">
                  <a:pos x="4" y="0"/>
                </a:cxn>
                <a:cxn ang="0">
                  <a:pos x="0" y="2"/>
                </a:cxn>
                <a:cxn ang="0">
                  <a:pos x="2" y="4"/>
                </a:cxn>
                <a:cxn ang="0">
                  <a:pos x="2" y="6"/>
                </a:cxn>
                <a:cxn ang="0">
                  <a:pos x="2" y="10"/>
                </a:cxn>
                <a:cxn ang="0">
                  <a:pos x="2" y="14"/>
                </a:cxn>
                <a:cxn ang="0">
                  <a:pos x="4" y="14"/>
                </a:cxn>
                <a:cxn ang="0">
                  <a:pos x="8" y="10"/>
                </a:cxn>
                <a:cxn ang="0">
                  <a:pos x="10" y="6"/>
                </a:cxn>
                <a:cxn ang="0">
                  <a:pos x="10" y="4"/>
                </a:cxn>
                <a:cxn ang="0">
                  <a:pos x="4" y="0"/>
                </a:cxn>
              </a:cxnLst>
              <a:rect l="0" t="0" r="r" b="b"/>
              <a:pathLst>
                <a:path w="10" h="14">
                  <a:moveTo>
                    <a:pt x="4" y="0"/>
                  </a:moveTo>
                  <a:lnTo>
                    <a:pt x="4" y="0"/>
                  </a:lnTo>
                  <a:lnTo>
                    <a:pt x="0" y="2"/>
                  </a:lnTo>
                  <a:lnTo>
                    <a:pt x="2" y="4"/>
                  </a:lnTo>
                  <a:lnTo>
                    <a:pt x="2" y="6"/>
                  </a:lnTo>
                  <a:lnTo>
                    <a:pt x="2" y="10"/>
                  </a:lnTo>
                  <a:lnTo>
                    <a:pt x="2" y="14"/>
                  </a:lnTo>
                  <a:lnTo>
                    <a:pt x="4" y="14"/>
                  </a:lnTo>
                  <a:lnTo>
                    <a:pt x="8" y="10"/>
                  </a:lnTo>
                  <a:lnTo>
                    <a:pt x="10" y="6"/>
                  </a:lnTo>
                  <a:lnTo>
                    <a:pt x="10" y="4"/>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2" name="Freeform 54">
              <a:extLst>
                <a:ext uri="{FF2B5EF4-FFF2-40B4-BE49-F238E27FC236}">
                  <a16:creationId xmlns:a16="http://schemas.microsoft.com/office/drawing/2014/main" id="{0A7809C8-0855-4CE3-A87B-0BF95AC2A525}"/>
                </a:ext>
              </a:extLst>
            </p:cNvPr>
            <p:cNvSpPr>
              <a:spLocks/>
            </p:cNvSpPr>
            <p:nvPr/>
          </p:nvSpPr>
          <p:spPr bwMode="auto">
            <a:xfrm>
              <a:off x="5152436" y="3933959"/>
              <a:ext cx="49203" cy="93226"/>
            </a:xfrm>
            <a:custGeom>
              <a:avLst/>
              <a:gdLst/>
              <a:ahLst/>
              <a:cxnLst>
                <a:cxn ang="0">
                  <a:pos x="6" y="10"/>
                </a:cxn>
                <a:cxn ang="0">
                  <a:pos x="6" y="10"/>
                </a:cxn>
                <a:cxn ang="0">
                  <a:pos x="8" y="20"/>
                </a:cxn>
                <a:cxn ang="0">
                  <a:pos x="10" y="20"/>
                </a:cxn>
                <a:cxn ang="0">
                  <a:pos x="10" y="22"/>
                </a:cxn>
                <a:cxn ang="0">
                  <a:pos x="10" y="24"/>
                </a:cxn>
                <a:cxn ang="0">
                  <a:pos x="4" y="24"/>
                </a:cxn>
                <a:cxn ang="0">
                  <a:pos x="4" y="28"/>
                </a:cxn>
                <a:cxn ang="0">
                  <a:pos x="10" y="32"/>
                </a:cxn>
                <a:cxn ang="0">
                  <a:pos x="6" y="32"/>
                </a:cxn>
                <a:cxn ang="0">
                  <a:pos x="6" y="34"/>
                </a:cxn>
                <a:cxn ang="0">
                  <a:pos x="6" y="36"/>
                </a:cxn>
                <a:cxn ang="0">
                  <a:pos x="10" y="42"/>
                </a:cxn>
                <a:cxn ang="0">
                  <a:pos x="8" y="46"/>
                </a:cxn>
                <a:cxn ang="0">
                  <a:pos x="4" y="50"/>
                </a:cxn>
                <a:cxn ang="0">
                  <a:pos x="4" y="54"/>
                </a:cxn>
                <a:cxn ang="0">
                  <a:pos x="4" y="58"/>
                </a:cxn>
                <a:cxn ang="0">
                  <a:pos x="2" y="62"/>
                </a:cxn>
                <a:cxn ang="0">
                  <a:pos x="2" y="66"/>
                </a:cxn>
                <a:cxn ang="0">
                  <a:pos x="2" y="68"/>
                </a:cxn>
                <a:cxn ang="0">
                  <a:pos x="0" y="70"/>
                </a:cxn>
                <a:cxn ang="0">
                  <a:pos x="4" y="72"/>
                </a:cxn>
                <a:cxn ang="0">
                  <a:pos x="6" y="72"/>
                </a:cxn>
                <a:cxn ang="0">
                  <a:pos x="14" y="68"/>
                </a:cxn>
                <a:cxn ang="0">
                  <a:pos x="14" y="64"/>
                </a:cxn>
                <a:cxn ang="0">
                  <a:pos x="22" y="62"/>
                </a:cxn>
                <a:cxn ang="0">
                  <a:pos x="28" y="62"/>
                </a:cxn>
                <a:cxn ang="0">
                  <a:pos x="28" y="58"/>
                </a:cxn>
                <a:cxn ang="0">
                  <a:pos x="28" y="56"/>
                </a:cxn>
                <a:cxn ang="0">
                  <a:pos x="34" y="56"/>
                </a:cxn>
                <a:cxn ang="0">
                  <a:pos x="36" y="54"/>
                </a:cxn>
                <a:cxn ang="0">
                  <a:pos x="38" y="50"/>
                </a:cxn>
                <a:cxn ang="0">
                  <a:pos x="38" y="38"/>
                </a:cxn>
                <a:cxn ang="0">
                  <a:pos x="38" y="24"/>
                </a:cxn>
                <a:cxn ang="0">
                  <a:pos x="36" y="20"/>
                </a:cxn>
                <a:cxn ang="0">
                  <a:pos x="32" y="16"/>
                </a:cxn>
                <a:cxn ang="0">
                  <a:pos x="32" y="12"/>
                </a:cxn>
                <a:cxn ang="0">
                  <a:pos x="30" y="10"/>
                </a:cxn>
                <a:cxn ang="0">
                  <a:pos x="28" y="10"/>
                </a:cxn>
                <a:cxn ang="0">
                  <a:pos x="28" y="6"/>
                </a:cxn>
                <a:cxn ang="0">
                  <a:pos x="28" y="4"/>
                </a:cxn>
                <a:cxn ang="0">
                  <a:pos x="28" y="2"/>
                </a:cxn>
                <a:cxn ang="0">
                  <a:pos x="22" y="4"/>
                </a:cxn>
                <a:cxn ang="0">
                  <a:pos x="16" y="0"/>
                </a:cxn>
                <a:cxn ang="0">
                  <a:pos x="12" y="2"/>
                </a:cxn>
                <a:cxn ang="0">
                  <a:pos x="4" y="10"/>
                </a:cxn>
                <a:cxn ang="0">
                  <a:pos x="6" y="10"/>
                </a:cxn>
                <a:cxn ang="0">
                  <a:pos x="6" y="10"/>
                </a:cxn>
              </a:cxnLst>
              <a:rect l="0" t="0" r="r" b="b"/>
              <a:pathLst>
                <a:path w="38" h="72">
                  <a:moveTo>
                    <a:pt x="6" y="10"/>
                  </a:moveTo>
                  <a:lnTo>
                    <a:pt x="6" y="10"/>
                  </a:lnTo>
                  <a:lnTo>
                    <a:pt x="8" y="20"/>
                  </a:lnTo>
                  <a:lnTo>
                    <a:pt x="10" y="20"/>
                  </a:lnTo>
                  <a:lnTo>
                    <a:pt x="10" y="22"/>
                  </a:lnTo>
                  <a:lnTo>
                    <a:pt x="10" y="24"/>
                  </a:lnTo>
                  <a:lnTo>
                    <a:pt x="4" y="24"/>
                  </a:lnTo>
                  <a:lnTo>
                    <a:pt x="4" y="28"/>
                  </a:lnTo>
                  <a:lnTo>
                    <a:pt x="10" y="32"/>
                  </a:lnTo>
                  <a:lnTo>
                    <a:pt x="6" y="32"/>
                  </a:lnTo>
                  <a:lnTo>
                    <a:pt x="6" y="34"/>
                  </a:lnTo>
                  <a:lnTo>
                    <a:pt x="6" y="36"/>
                  </a:lnTo>
                  <a:lnTo>
                    <a:pt x="10" y="42"/>
                  </a:lnTo>
                  <a:lnTo>
                    <a:pt x="8" y="46"/>
                  </a:lnTo>
                  <a:lnTo>
                    <a:pt x="4" y="50"/>
                  </a:lnTo>
                  <a:lnTo>
                    <a:pt x="4" y="54"/>
                  </a:lnTo>
                  <a:lnTo>
                    <a:pt x="4" y="58"/>
                  </a:lnTo>
                  <a:lnTo>
                    <a:pt x="2" y="62"/>
                  </a:lnTo>
                  <a:lnTo>
                    <a:pt x="2" y="66"/>
                  </a:lnTo>
                  <a:lnTo>
                    <a:pt x="2" y="68"/>
                  </a:lnTo>
                  <a:lnTo>
                    <a:pt x="0" y="70"/>
                  </a:lnTo>
                  <a:lnTo>
                    <a:pt x="4" y="72"/>
                  </a:lnTo>
                  <a:lnTo>
                    <a:pt x="6" y="72"/>
                  </a:lnTo>
                  <a:lnTo>
                    <a:pt x="14" y="68"/>
                  </a:lnTo>
                  <a:lnTo>
                    <a:pt x="14" y="64"/>
                  </a:lnTo>
                  <a:lnTo>
                    <a:pt x="22" y="62"/>
                  </a:lnTo>
                  <a:lnTo>
                    <a:pt x="28" y="62"/>
                  </a:lnTo>
                  <a:lnTo>
                    <a:pt x="28" y="58"/>
                  </a:lnTo>
                  <a:lnTo>
                    <a:pt x="28" y="56"/>
                  </a:lnTo>
                  <a:lnTo>
                    <a:pt x="34" y="56"/>
                  </a:lnTo>
                  <a:lnTo>
                    <a:pt x="36" y="54"/>
                  </a:lnTo>
                  <a:lnTo>
                    <a:pt x="38" y="50"/>
                  </a:lnTo>
                  <a:lnTo>
                    <a:pt x="38" y="38"/>
                  </a:lnTo>
                  <a:lnTo>
                    <a:pt x="38" y="24"/>
                  </a:lnTo>
                  <a:lnTo>
                    <a:pt x="36" y="20"/>
                  </a:lnTo>
                  <a:lnTo>
                    <a:pt x="32" y="16"/>
                  </a:lnTo>
                  <a:lnTo>
                    <a:pt x="32" y="12"/>
                  </a:lnTo>
                  <a:lnTo>
                    <a:pt x="30" y="10"/>
                  </a:lnTo>
                  <a:lnTo>
                    <a:pt x="28" y="10"/>
                  </a:lnTo>
                  <a:lnTo>
                    <a:pt x="28" y="6"/>
                  </a:lnTo>
                  <a:lnTo>
                    <a:pt x="28" y="4"/>
                  </a:lnTo>
                  <a:lnTo>
                    <a:pt x="28" y="2"/>
                  </a:lnTo>
                  <a:lnTo>
                    <a:pt x="22" y="4"/>
                  </a:lnTo>
                  <a:lnTo>
                    <a:pt x="16" y="0"/>
                  </a:lnTo>
                  <a:lnTo>
                    <a:pt x="12" y="2"/>
                  </a:lnTo>
                  <a:lnTo>
                    <a:pt x="4" y="10"/>
                  </a:lnTo>
                  <a:lnTo>
                    <a:pt x="6" y="10"/>
                  </a:lnTo>
                  <a:lnTo>
                    <a:pt x="6"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3" name="Freeform 55">
              <a:extLst>
                <a:ext uri="{FF2B5EF4-FFF2-40B4-BE49-F238E27FC236}">
                  <a16:creationId xmlns:a16="http://schemas.microsoft.com/office/drawing/2014/main" id="{15B176A3-84E6-4216-82DB-4BCDFA900E7F}"/>
                </a:ext>
              </a:extLst>
            </p:cNvPr>
            <p:cNvSpPr>
              <a:spLocks/>
            </p:cNvSpPr>
            <p:nvPr/>
          </p:nvSpPr>
          <p:spPr bwMode="auto">
            <a:xfrm>
              <a:off x="3733330" y="4511443"/>
              <a:ext cx="163145" cy="261551"/>
            </a:xfrm>
            <a:custGeom>
              <a:avLst/>
              <a:gdLst/>
              <a:ahLst/>
              <a:cxnLst>
                <a:cxn ang="0">
                  <a:pos x="12" y="202"/>
                </a:cxn>
                <a:cxn ang="0">
                  <a:pos x="14" y="194"/>
                </a:cxn>
                <a:cxn ang="0">
                  <a:pos x="18" y="186"/>
                </a:cxn>
                <a:cxn ang="0">
                  <a:pos x="26" y="178"/>
                </a:cxn>
                <a:cxn ang="0">
                  <a:pos x="36" y="166"/>
                </a:cxn>
                <a:cxn ang="0">
                  <a:pos x="52" y="158"/>
                </a:cxn>
                <a:cxn ang="0">
                  <a:pos x="60" y="150"/>
                </a:cxn>
                <a:cxn ang="0">
                  <a:pos x="66" y="144"/>
                </a:cxn>
                <a:cxn ang="0">
                  <a:pos x="66" y="140"/>
                </a:cxn>
                <a:cxn ang="0">
                  <a:pos x="76" y="134"/>
                </a:cxn>
                <a:cxn ang="0">
                  <a:pos x="76" y="126"/>
                </a:cxn>
                <a:cxn ang="0">
                  <a:pos x="82" y="124"/>
                </a:cxn>
                <a:cxn ang="0">
                  <a:pos x="86" y="116"/>
                </a:cxn>
                <a:cxn ang="0">
                  <a:pos x="94" y="106"/>
                </a:cxn>
                <a:cxn ang="0">
                  <a:pos x="94" y="98"/>
                </a:cxn>
                <a:cxn ang="0">
                  <a:pos x="98" y="92"/>
                </a:cxn>
                <a:cxn ang="0">
                  <a:pos x="102" y="76"/>
                </a:cxn>
                <a:cxn ang="0">
                  <a:pos x="106" y="66"/>
                </a:cxn>
                <a:cxn ang="0">
                  <a:pos x="108" y="60"/>
                </a:cxn>
                <a:cxn ang="0">
                  <a:pos x="116" y="46"/>
                </a:cxn>
                <a:cxn ang="0">
                  <a:pos x="118" y="40"/>
                </a:cxn>
                <a:cxn ang="0">
                  <a:pos x="122" y="26"/>
                </a:cxn>
                <a:cxn ang="0">
                  <a:pos x="126" y="2"/>
                </a:cxn>
                <a:cxn ang="0">
                  <a:pos x="120" y="0"/>
                </a:cxn>
                <a:cxn ang="0">
                  <a:pos x="104" y="8"/>
                </a:cxn>
                <a:cxn ang="0">
                  <a:pos x="92" y="8"/>
                </a:cxn>
                <a:cxn ang="0">
                  <a:pos x="82" y="12"/>
                </a:cxn>
                <a:cxn ang="0">
                  <a:pos x="76" y="16"/>
                </a:cxn>
                <a:cxn ang="0">
                  <a:pos x="66" y="20"/>
                </a:cxn>
                <a:cxn ang="0">
                  <a:pos x="62" y="18"/>
                </a:cxn>
                <a:cxn ang="0">
                  <a:pos x="54" y="16"/>
                </a:cxn>
                <a:cxn ang="0">
                  <a:pos x="36" y="20"/>
                </a:cxn>
                <a:cxn ang="0">
                  <a:pos x="34" y="16"/>
                </a:cxn>
                <a:cxn ang="0">
                  <a:pos x="24" y="6"/>
                </a:cxn>
                <a:cxn ang="0">
                  <a:pos x="14" y="20"/>
                </a:cxn>
                <a:cxn ang="0">
                  <a:pos x="22" y="30"/>
                </a:cxn>
                <a:cxn ang="0">
                  <a:pos x="28" y="38"/>
                </a:cxn>
                <a:cxn ang="0">
                  <a:pos x="68" y="56"/>
                </a:cxn>
                <a:cxn ang="0">
                  <a:pos x="50" y="108"/>
                </a:cxn>
                <a:cxn ang="0">
                  <a:pos x="30" y="112"/>
                </a:cxn>
                <a:cxn ang="0">
                  <a:pos x="14" y="116"/>
                </a:cxn>
                <a:cxn ang="0">
                  <a:pos x="0" y="138"/>
                </a:cxn>
                <a:cxn ang="0">
                  <a:pos x="10" y="202"/>
                </a:cxn>
                <a:cxn ang="0">
                  <a:pos x="12" y="202"/>
                </a:cxn>
              </a:cxnLst>
              <a:rect l="0" t="0" r="r" b="b"/>
              <a:pathLst>
                <a:path w="126" h="202">
                  <a:moveTo>
                    <a:pt x="12" y="202"/>
                  </a:moveTo>
                  <a:lnTo>
                    <a:pt x="12" y="202"/>
                  </a:lnTo>
                  <a:lnTo>
                    <a:pt x="14" y="196"/>
                  </a:lnTo>
                  <a:lnTo>
                    <a:pt x="14" y="194"/>
                  </a:lnTo>
                  <a:lnTo>
                    <a:pt x="18" y="190"/>
                  </a:lnTo>
                  <a:lnTo>
                    <a:pt x="18" y="186"/>
                  </a:lnTo>
                  <a:lnTo>
                    <a:pt x="24" y="182"/>
                  </a:lnTo>
                  <a:lnTo>
                    <a:pt x="26" y="178"/>
                  </a:lnTo>
                  <a:lnTo>
                    <a:pt x="32" y="174"/>
                  </a:lnTo>
                  <a:lnTo>
                    <a:pt x="36" y="166"/>
                  </a:lnTo>
                  <a:lnTo>
                    <a:pt x="44" y="162"/>
                  </a:lnTo>
                  <a:lnTo>
                    <a:pt x="52" y="158"/>
                  </a:lnTo>
                  <a:lnTo>
                    <a:pt x="52" y="154"/>
                  </a:lnTo>
                  <a:lnTo>
                    <a:pt x="60" y="150"/>
                  </a:lnTo>
                  <a:lnTo>
                    <a:pt x="62" y="146"/>
                  </a:lnTo>
                  <a:lnTo>
                    <a:pt x="66" y="144"/>
                  </a:lnTo>
                  <a:lnTo>
                    <a:pt x="66" y="142"/>
                  </a:lnTo>
                  <a:lnTo>
                    <a:pt x="66" y="140"/>
                  </a:lnTo>
                  <a:lnTo>
                    <a:pt x="70" y="140"/>
                  </a:lnTo>
                  <a:lnTo>
                    <a:pt x="76" y="134"/>
                  </a:lnTo>
                  <a:lnTo>
                    <a:pt x="76" y="130"/>
                  </a:lnTo>
                  <a:lnTo>
                    <a:pt x="76" y="126"/>
                  </a:lnTo>
                  <a:lnTo>
                    <a:pt x="78" y="126"/>
                  </a:lnTo>
                  <a:lnTo>
                    <a:pt x="82" y="124"/>
                  </a:lnTo>
                  <a:lnTo>
                    <a:pt x="86" y="122"/>
                  </a:lnTo>
                  <a:lnTo>
                    <a:pt x="86" y="116"/>
                  </a:lnTo>
                  <a:lnTo>
                    <a:pt x="90" y="108"/>
                  </a:lnTo>
                  <a:lnTo>
                    <a:pt x="94" y="106"/>
                  </a:lnTo>
                  <a:lnTo>
                    <a:pt x="94" y="102"/>
                  </a:lnTo>
                  <a:lnTo>
                    <a:pt x="94" y="98"/>
                  </a:lnTo>
                  <a:lnTo>
                    <a:pt x="96" y="96"/>
                  </a:lnTo>
                  <a:lnTo>
                    <a:pt x="98" y="92"/>
                  </a:lnTo>
                  <a:lnTo>
                    <a:pt x="98" y="86"/>
                  </a:lnTo>
                  <a:lnTo>
                    <a:pt x="102" y="76"/>
                  </a:lnTo>
                  <a:lnTo>
                    <a:pt x="104" y="66"/>
                  </a:lnTo>
                  <a:lnTo>
                    <a:pt x="106" y="66"/>
                  </a:lnTo>
                  <a:lnTo>
                    <a:pt x="106" y="62"/>
                  </a:lnTo>
                  <a:lnTo>
                    <a:pt x="108" y="60"/>
                  </a:lnTo>
                  <a:lnTo>
                    <a:pt x="116" y="50"/>
                  </a:lnTo>
                  <a:lnTo>
                    <a:pt x="116" y="46"/>
                  </a:lnTo>
                  <a:lnTo>
                    <a:pt x="116" y="42"/>
                  </a:lnTo>
                  <a:lnTo>
                    <a:pt x="118" y="40"/>
                  </a:lnTo>
                  <a:lnTo>
                    <a:pt x="118" y="38"/>
                  </a:lnTo>
                  <a:lnTo>
                    <a:pt x="122" y="26"/>
                  </a:lnTo>
                  <a:lnTo>
                    <a:pt x="124" y="14"/>
                  </a:lnTo>
                  <a:lnTo>
                    <a:pt x="126" y="2"/>
                  </a:lnTo>
                  <a:lnTo>
                    <a:pt x="122" y="0"/>
                  </a:lnTo>
                  <a:lnTo>
                    <a:pt x="120" y="0"/>
                  </a:lnTo>
                  <a:lnTo>
                    <a:pt x="118" y="2"/>
                  </a:lnTo>
                  <a:lnTo>
                    <a:pt x="104" y="8"/>
                  </a:lnTo>
                  <a:lnTo>
                    <a:pt x="96" y="8"/>
                  </a:lnTo>
                  <a:lnTo>
                    <a:pt x="92" y="8"/>
                  </a:lnTo>
                  <a:lnTo>
                    <a:pt x="88" y="10"/>
                  </a:lnTo>
                  <a:lnTo>
                    <a:pt x="82" y="12"/>
                  </a:lnTo>
                  <a:lnTo>
                    <a:pt x="78" y="12"/>
                  </a:lnTo>
                  <a:lnTo>
                    <a:pt x="76" y="16"/>
                  </a:lnTo>
                  <a:lnTo>
                    <a:pt x="68" y="18"/>
                  </a:lnTo>
                  <a:lnTo>
                    <a:pt x="66" y="20"/>
                  </a:lnTo>
                  <a:lnTo>
                    <a:pt x="64" y="20"/>
                  </a:lnTo>
                  <a:lnTo>
                    <a:pt x="62" y="18"/>
                  </a:lnTo>
                  <a:lnTo>
                    <a:pt x="60" y="16"/>
                  </a:lnTo>
                  <a:lnTo>
                    <a:pt x="54" y="16"/>
                  </a:lnTo>
                  <a:lnTo>
                    <a:pt x="48" y="18"/>
                  </a:lnTo>
                  <a:lnTo>
                    <a:pt x="36" y="20"/>
                  </a:lnTo>
                  <a:lnTo>
                    <a:pt x="36" y="18"/>
                  </a:lnTo>
                  <a:lnTo>
                    <a:pt x="34" y="16"/>
                  </a:lnTo>
                  <a:lnTo>
                    <a:pt x="30" y="14"/>
                  </a:lnTo>
                  <a:lnTo>
                    <a:pt x="24" y="6"/>
                  </a:lnTo>
                  <a:lnTo>
                    <a:pt x="18" y="14"/>
                  </a:lnTo>
                  <a:lnTo>
                    <a:pt x="14" y="20"/>
                  </a:lnTo>
                  <a:lnTo>
                    <a:pt x="20" y="26"/>
                  </a:lnTo>
                  <a:lnTo>
                    <a:pt x="22" y="30"/>
                  </a:lnTo>
                  <a:lnTo>
                    <a:pt x="24" y="34"/>
                  </a:lnTo>
                  <a:lnTo>
                    <a:pt x="28" y="38"/>
                  </a:lnTo>
                  <a:lnTo>
                    <a:pt x="34" y="40"/>
                  </a:lnTo>
                  <a:lnTo>
                    <a:pt x="68" y="56"/>
                  </a:lnTo>
                  <a:lnTo>
                    <a:pt x="86" y="56"/>
                  </a:lnTo>
                  <a:lnTo>
                    <a:pt x="50" y="108"/>
                  </a:lnTo>
                  <a:lnTo>
                    <a:pt x="34" y="108"/>
                  </a:lnTo>
                  <a:lnTo>
                    <a:pt x="30" y="112"/>
                  </a:lnTo>
                  <a:lnTo>
                    <a:pt x="18" y="112"/>
                  </a:lnTo>
                  <a:lnTo>
                    <a:pt x="14" y="116"/>
                  </a:lnTo>
                  <a:lnTo>
                    <a:pt x="6" y="132"/>
                  </a:lnTo>
                  <a:lnTo>
                    <a:pt x="0" y="138"/>
                  </a:lnTo>
                  <a:lnTo>
                    <a:pt x="0" y="192"/>
                  </a:lnTo>
                  <a:lnTo>
                    <a:pt x="10" y="202"/>
                  </a:lnTo>
                  <a:lnTo>
                    <a:pt x="12" y="202"/>
                  </a:lnTo>
                  <a:lnTo>
                    <a:pt x="12" y="20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4" name="Freeform 56">
              <a:extLst>
                <a:ext uri="{FF2B5EF4-FFF2-40B4-BE49-F238E27FC236}">
                  <a16:creationId xmlns:a16="http://schemas.microsoft.com/office/drawing/2014/main" id="{C72A2658-5A5B-4520-865B-F3B69FD74BC8}"/>
                </a:ext>
              </a:extLst>
            </p:cNvPr>
            <p:cNvSpPr>
              <a:spLocks noEditPoints="1"/>
            </p:cNvSpPr>
            <p:nvPr/>
          </p:nvSpPr>
          <p:spPr bwMode="auto">
            <a:xfrm>
              <a:off x="5649641" y="4905063"/>
              <a:ext cx="95816" cy="88047"/>
            </a:xfrm>
            <a:custGeom>
              <a:avLst/>
              <a:gdLst/>
              <a:ahLst/>
              <a:cxnLst>
                <a:cxn ang="0">
                  <a:pos x="64" y="58"/>
                </a:cxn>
                <a:cxn ang="0">
                  <a:pos x="64" y="58"/>
                </a:cxn>
                <a:cxn ang="0">
                  <a:pos x="64" y="60"/>
                </a:cxn>
                <a:cxn ang="0">
                  <a:pos x="64" y="62"/>
                </a:cxn>
                <a:cxn ang="0">
                  <a:pos x="68" y="64"/>
                </a:cxn>
                <a:cxn ang="0">
                  <a:pos x="70" y="66"/>
                </a:cxn>
                <a:cxn ang="0">
                  <a:pos x="74" y="68"/>
                </a:cxn>
                <a:cxn ang="0">
                  <a:pos x="74" y="66"/>
                </a:cxn>
                <a:cxn ang="0">
                  <a:pos x="72" y="66"/>
                </a:cxn>
                <a:cxn ang="0">
                  <a:pos x="70" y="62"/>
                </a:cxn>
                <a:cxn ang="0">
                  <a:pos x="64" y="58"/>
                </a:cxn>
                <a:cxn ang="0">
                  <a:pos x="64" y="58"/>
                </a:cxn>
                <a:cxn ang="0">
                  <a:pos x="40" y="42"/>
                </a:cxn>
                <a:cxn ang="0">
                  <a:pos x="40" y="42"/>
                </a:cxn>
                <a:cxn ang="0">
                  <a:pos x="40" y="44"/>
                </a:cxn>
                <a:cxn ang="0">
                  <a:pos x="40" y="48"/>
                </a:cxn>
                <a:cxn ang="0">
                  <a:pos x="44" y="50"/>
                </a:cxn>
                <a:cxn ang="0">
                  <a:pos x="48" y="50"/>
                </a:cxn>
                <a:cxn ang="0">
                  <a:pos x="56" y="50"/>
                </a:cxn>
                <a:cxn ang="0">
                  <a:pos x="54" y="46"/>
                </a:cxn>
                <a:cxn ang="0">
                  <a:pos x="40" y="42"/>
                </a:cxn>
                <a:cxn ang="0">
                  <a:pos x="40" y="42"/>
                </a:cxn>
                <a:cxn ang="0">
                  <a:pos x="52" y="28"/>
                </a:cxn>
                <a:cxn ang="0">
                  <a:pos x="52" y="28"/>
                </a:cxn>
                <a:cxn ang="0">
                  <a:pos x="54" y="34"/>
                </a:cxn>
                <a:cxn ang="0">
                  <a:pos x="56" y="38"/>
                </a:cxn>
                <a:cxn ang="0">
                  <a:pos x="60" y="42"/>
                </a:cxn>
                <a:cxn ang="0">
                  <a:pos x="60" y="44"/>
                </a:cxn>
                <a:cxn ang="0">
                  <a:pos x="64" y="44"/>
                </a:cxn>
                <a:cxn ang="0">
                  <a:pos x="60" y="36"/>
                </a:cxn>
                <a:cxn ang="0">
                  <a:pos x="54" y="28"/>
                </a:cxn>
                <a:cxn ang="0">
                  <a:pos x="52" y="28"/>
                </a:cxn>
                <a:cxn ang="0">
                  <a:pos x="52" y="28"/>
                </a:cxn>
                <a:cxn ang="0">
                  <a:pos x="10" y="18"/>
                </a:cxn>
                <a:cxn ang="0">
                  <a:pos x="10" y="18"/>
                </a:cxn>
                <a:cxn ang="0">
                  <a:pos x="8" y="24"/>
                </a:cxn>
                <a:cxn ang="0">
                  <a:pos x="12" y="28"/>
                </a:cxn>
                <a:cxn ang="0">
                  <a:pos x="14" y="28"/>
                </a:cxn>
                <a:cxn ang="0">
                  <a:pos x="16" y="28"/>
                </a:cxn>
                <a:cxn ang="0">
                  <a:pos x="16" y="24"/>
                </a:cxn>
                <a:cxn ang="0">
                  <a:pos x="14" y="20"/>
                </a:cxn>
                <a:cxn ang="0">
                  <a:pos x="10" y="18"/>
                </a:cxn>
                <a:cxn ang="0">
                  <a:pos x="10" y="18"/>
                </a:cxn>
                <a:cxn ang="0">
                  <a:pos x="26" y="12"/>
                </a:cxn>
                <a:cxn ang="0">
                  <a:pos x="26" y="12"/>
                </a:cxn>
                <a:cxn ang="0">
                  <a:pos x="24" y="16"/>
                </a:cxn>
                <a:cxn ang="0">
                  <a:pos x="40" y="26"/>
                </a:cxn>
                <a:cxn ang="0">
                  <a:pos x="40" y="24"/>
                </a:cxn>
                <a:cxn ang="0">
                  <a:pos x="36" y="20"/>
                </a:cxn>
                <a:cxn ang="0">
                  <a:pos x="34" y="16"/>
                </a:cxn>
                <a:cxn ang="0">
                  <a:pos x="26" y="12"/>
                </a:cxn>
                <a:cxn ang="0">
                  <a:pos x="26" y="12"/>
                </a:cxn>
                <a:cxn ang="0">
                  <a:pos x="0" y="0"/>
                </a:cxn>
                <a:cxn ang="0">
                  <a:pos x="0" y="0"/>
                </a:cxn>
                <a:cxn ang="0">
                  <a:pos x="2" y="4"/>
                </a:cxn>
                <a:cxn ang="0">
                  <a:pos x="4" y="8"/>
                </a:cxn>
                <a:cxn ang="0">
                  <a:pos x="6" y="10"/>
                </a:cxn>
                <a:cxn ang="0">
                  <a:pos x="10" y="10"/>
                </a:cxn>
                <a:cxn ang="0">
                  <a:pos x="8" y="8"/>
                </a:cxn>
                <a:cxn ang="0">
                  <a:pos x="0" y="0"/>
                </a:cxn>
                <a:cxn ang="0">
                  <a:pos x="0" y="0"/>
                </a:cxn>
              </a:cxnLst>
              <a:rect l="0" t="0" r="r" b="b"/>
              <a:pathLst>
                <a:path w="74" h="68">
                  <a:moveTo>
                    <a:pt x="64" y="58"/>
                  </a:moveTo>
                  <a:lnTo>
                    <a:pt x="64" y="58"/>
                  </a:lnTo>
                  <a:lnTo>
                    <a:pt x="64" y="60"/>
                  </a:lnTo>
                  <a:lnTo>
                    <a:pt x="64" y="62"/>
                  </a:lnTo>
                  <a:lnTo>
                    <a:pt x="68" y="64"/>
                  </a:lnTo>
                  <a:lnTo>
                    <a:pt x="70" y="66"/>
                  </a:lnTo>
                  <a:lnTo>
                    <a:pt x="74" y="68"/>
                  </a:lnTo>
                  <a:lnTo>
                    <a:pt x="74" y="66"/>
                  </a:lnTo>
                  <a:lnTo>
                    <a:pt x="72" y="66"/>
                  </a:lnTo>
                  <a:lnTo>
                    <a:pt x="70" y="62"/>
                  </a:lnTo>
                  <a:lnTo>
                    <a:pt x="64" y="58"/>
                  </a:lnTo>
                  <a:lnTo>
                    <a:pt x="64" y="58"/>
                  </a:lnTo>
                  <a:close/>
                  <a:moveTo>
                    <a:pt x="40" y="42"/>
                  </a:moveTo>
                  <a:lnTo>
                    <a:pt x="40" y="42"/>
                  </a:lnTo>
                  <a:lnTo>
                    <a:pt x="40" y="44"/>
                  </a:lnTo>
                  <a:lnTo>
                    <a:pt x="40" y="48"/>
                  </a:lnTo>
                  <a:lnTo>
                    <a:pt x="44" y="50"/>
                  </a:lnTo>
                  <a:lnTo>
                    <a:pt x="48" y="50"/>
                  </a:lnTo>
                  <a:lnTo>
                    <a:pt x="56" y="50"/>
                  </a:lnTo>
                  <a:lnTo>
                    <a:pt x="54" y="46"/>
                  </a:lnTo>
                  <a:lnTo>
                    <a:pt x="40" y="42"/>
                  </a:lnTo>
                  <a:lnTo>
                    <a:pt x="40" y="42"/>
                  </a:lnTo>
                  <a:close/>
                  <a:moveTo>
                    <a:pt x="52" y="28"/>
                  </a:moveTo>
                  <a:lnTo>
                    <a:pt x="52" y="28"/>
                  </a:lnTo>
                  <a:lnTo>
                    <a:pt x="54" y="34"/>
                  </a:lnTo>
                  <a:lnTo>
                    <a:pt x="56" y="38"/>
                  </a:lnTo>
                  <a:lnTo>
                    <a:pt x="60" y="42"/>
                  </a:lnTo>
                  <a:lnTo>
                    <a:pt x="60" y="44"/>
                  </a:lnTo>
                  <a:lnTo>
                    <a:pt x="64" y="44"/>
                  </a:lnTo>
                  <a:lnTo>
                    <a:pt x="60" y="36"/>
                  </a:lnTo>
                  <a:lnTo>
                    <a:pt x="54" y="28"/>
                  </a:lnTo>
                  <a:lnTo>
                    <a:pt x="52" y="28"/>
                  </a:lnTo>
                  <a:lnTo>
                    <a:pt x="52" y="28"/>
                  </a:lnTo>
                  <a:close/>
                  <a:moveTo>
                    <a:pt x="10" y="18"/>
                  </a:moveTo>
                  <a:lnTo>
                    <a:pt x="10" y="18"/>
                  </a:lnTo>
                  <a:lnTo>
                    <a:pt x="8" y="24"/>
                  </a:lnTo>
                  <a:lnTo>
                    <a:pt x="12" y="28"/>
                  </a:lnTo>
                  <a:lnTo>
                    <a:pt x="14" y="28"/>
                  </a:lnTo>
                  <a:lnTo>
                    <a:pt x="16" y="28"/>
                  </a:lnTo>
                  <a:lnTo>
                    <a:pt x="16" y="24"/>
                  </a:lnTo>
                  <a:lnTo>
                    <a:pt x="14" y="20"/>
                  </a:lnTo>
                  <a:lnTo>
                    <a:pt x="10" y="18"/>
                  </a:lnTo>
                  <a:lnTo>
                    <a:pt x="10" y="18"/>
                  </a:lnTo>
                  <a:close/>
                  <a:moveTo>
                    <a:pt x="26" y="12"/>
                  </a:moveTo>
                  <a:lnTo>
                    <a:pt x="26" y="12"/>
                  </a:lnTo>
                  <a:lnTo>
                    <a:pt x="24" y="16"/>
                  </a:lnTo>
                  <a:lnTo>
                    <a:pt x="40" y="26"/>
                  </a:lnTo>
                  <a:lnTo>
                    <a:pt x="40" y="24"/>
                  </a:lnTo>
                  <a:lnTo>
                    <a:pt x="36" y="20"/>
                  </a:lnTo>
                  <a:lnTo>
                    <a:pt x="34" y="16"/>
                  </a:lnTo>
                  <a:lnTo>
                    <a:pt x="26" y="12"/>
                  </a:lnTo>
                  <a:lnTo>
                    <a:pt x="26" y="12"/>
                  </a:lnTo>
                  <a:close/>
                  <a:moveTo>
                    <a:pt x="0" y="0"/>
                  </a:moveTo>
                  <a:lnTo>
                    <a:pt x="0" y="0"/>
                  </a:lnTo>
                  <a:lnTo>
                    <a:pt x="2" y="4"/>
                  </a:lnTo>
                  <a:lnTo>
                    <a:pt x="4" y="8"/>
                  </a:lnTo>
                  <a:lnTo>
                    <a:pt x="6" y="10"/>
                  </a:lnTo>
                  <a:lnTo>
                    <a:pt x="10" y="10"/>
                  </a:lnTo>
                  <a:lnTo>
                    <a:pt x="8" y="8"/>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5" name="Freeform 57">
              <a:extLst>
                <a:ext uri="{FF2B5EF4-FFF2-40B4-BE49-F238E27FC236}">
                  <a16:creationId xmlns:a16="http://schemas.microsoft.com/office/drawing/2014/main" id="{22F7FA03-7F88-4922-BF8E-CFB77A9D5205}"/>
                </a:ext>
              </a:extLst>
            </p:cNvPr>
            <p:cNvSpPr>
              <a:spLocks/>
            </p:cNvSpPr>
            <p:nvPr/>
          </p:nvSpPr>
          <p:spPr bwMode="auto">
            <a:xfrm>
              <a:off x="5732509" y="4980162"/>
              <a:ext cx="12948" cy="12948"/>
            </a:xfrm>
            <a:custGeom>
              <a:avLst/>
              <a:gdLst/>
              <a:ahLst/>
              <a:cxnLst>
                <a:cxn ang="0">
                  <a:pos x="0" y="0"/>
                </a:cxn>
                <a:cxn ang="0">
                  <a:pos x="0" y="0"/>
                </a:cxn>
                <a:cxn ang="0">
                  <a:pos x="0" y="2"/>
                </a:cxn>
                <a:cxn ang="0">
                  <a:pos x="0" y="4"/>
                </a:cxn>
                <a:cxn ang="0">
                  <a:pos x="4" y="6"/>
                </a:cxn>
                <a:cxn ang="0">
                  <a:pos x="6" y="8"/>
                </a:cxn>
                <a:cxn ang="0">
                  <a:pos x="10" y="10"/>
                </a:cxn>
                <a:cxn ang="0">
                  <a:pos x="10" y="8"/>
                </a:cxn>
                <a:cxn ang="0">
                  <a:pos x="8" y="8"/>
                </a:cxn>
                <a:cxn ang="0">
                  <a:pos x="6" y="4"/>
                </a:cxn>
                <a:cxn ang="0">
                  <a:pos x="0" y="0"/>
                </a:cxn>
                <a:cxn ang="0">
                  <a:pos x="0" y="0"/>
                </a:cxn>
              </a:cxnLst>
              <a:rect l="0" t="0" r="r" b="b"/>
              <a:pathLst>
                <a:path w="10" h="10">
                  <a:moveTo>
                    <a:pt x="0" y="0"/>
                  </a:moveTo>
                  <a:lnTo>
                    <a:pt x="0" y="0"/>
                  </a:lnTo>
                  <a:lnTo>
                    <a:pt x="0" y="2"/>
                  </a:lnTo>
                  <a:lnTo>
                    <a:pt x="0" y="4"/>
                  </a:lnTo>
                  <a:lnTo>
                    <a:pt x="4" y="6"/>
                  </a:lnTo>
                  <a:lnTo>
                    <a:pt x="6" y="8"/>
                  </a:lnTo>
                  <a:lnTo>
                    <a:pt x="10" y="10"/>
                  </a:lnTo>
                  <a:lnTo>
                    <a:pt x="10" y="8"/>
                  </a:lnTo>
                  <a:lnTo>
                    <a:pt x="8" y="8"/>
                  </a:lnTo>
                  <a:lnTo>
                    <a:pt x="6" y="4"/>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6" name="Freeform 58">
              <a:extLst>
                <a:ext uri="{FF2B5EF4-FFF2-40B4-BE49-F238E27FC236}">
                  <a16:creationId xmlns:a16="http://schemas.microsoft.com/office/drawing/2014/main" id="{3557FC36-5BE7-4773-867F-410ACE7F5D9B}"/>
                </a:ext>
              </a:extLst>
            </p:cNvPr>
            <p:cNvSpPr>
              <a:spLocks/>
            </p:cNvSpPr>
            <p:nvPr/>
          </p:nvSpPr>
          <p:spPr bwMode="auto">
            <a:xfrm>
              <a:off x="5701434" y="4959445"/>
              <a:ext cx="20717" cy="10358"/>
            </a:xfrm>
            <a:custGeom>
              <a:avLst/>
              <a:gdLst/>
              <a:ahLst/>
              <a:cxnLst>
                <a:cxn ang="0">
                  <a:pos x="0" y="0"/>
                </a:cxn>
                <a:cxn ang="0">
                  <a:pos x="0" y="0"/>
                </a:cxn>
                <a:cxn ang="0">
                  <a:pos x="0" y="2"/>
                </a:cxn>
                <a:cxn ang="0">
                  <a:pos x="0" y="6"/>
                </a:cxn>
                <a:cxn ang="0">
                  <a:pos x="4" y="8"/>
                </a:cxn>
                <a:cxn ang="0">
                  <a:pos x="8" y="8"/>
                </a:cxn>
                <a:cxn ang="0">
                  <a:pos x="16" y="8"/>
                </a:cxn>
                <a:cxn ang="0">
                  <a:pos x="14" y="4"/>
                </a:cxn>
                <a:cxn ang="0">
                  <a:pos x="0" y="0"/>
                </a:cxn>
              </a:cxnLst>
              <a:rect l="0" t="0" r="r" b="b"/>
              <a:pathLst>
                <a:path w="16" h="8">
                  <a:moveTo>
                    <a:pt x="0" y="0"/>
                  </a:moveTo>
                  <a:lnTo>
                    <a:pt x="0" y="0"/>
                  </a:lnTo>
                  <a:lnTo>
                    <a:pt x="0" y="2"/>
                  </a:lnTo>
                  <a:lnTo>
                    <a:pt x="0" y="6"/>
                  </a:lnTo>
                  <a:lnTo>
                    <a:pt x="4" y="8"/>
                  </a:lnTo>
                  <a:lnTo>
                    <a:pt x="8" y="8"/>
                  </a:lnTo>
                  <a:lnTo>
                    <a:pt x="16" y="8"/>
                  </a:lnTo>
                  <a:lnTo>
                    <a:pt x="14" y="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7" name="Freeform 59">
              <a:extLst>
                <a:ext uri="{FF2B5EF4-FFF2-40B4-BE49-F238E27FC236}">
                  <a16:creationId xmlns:a16="http://schemas.microsoft.com/office/drawing/2014/main" id="{1BFBD813-BF99-476F-8E56-B86FF0433F5C}"/>
                </a:ext>
              </a:extLst>
            </p:cNvPr>
            <p:cNvSpPr>
              <a:spLocks/>
            </p:cNvSpPr>
            <p:nvPr/>
          </p:nvSpPr>
          <p:spPr bwMode="auto">
            <a:xfrm>
              <a:off x="5701434" y="4959445"/>
              <a:ext cx="20717" cy="10358"/>
            </a:xfrm>
            <a:custGeom>
              <a:avLst/>
              <a:gdLst/>
              <a:ahLst/>
              <a:cxnLst>
                <a:cxn ang="0">
                  <a:pos x="0" y="0"/>
                </a:cxn>
                <a:cxn ang="0">
                  <a:pos x="0" y="0"/>
                </a:cxn>
                <a:cxn ang="0">
                  <a:pos x="0" y="2"/>
                </a:cxn>
                <a:cxn ang="0">
                  <a:pos x="0" y="6"/>
                </a:cxn>
                <a:cxn ang="0">
                  <a:pos x="4" y="8"/>
                </a:cxn>
                <a:cxn ang="0">
                  <a:pos x="8" y="8"/>
                </a:cxn>
                <a:cxn ang="0">
                  <a:pos x="16" y="8"/>
                </a:cxn>
                <a:cxn ang="0">
                  <a:pos x="14" y="4"/>
                </a:cxn>
                <a:cxn ang="0">
                  <a:pos x="0" y="0"/>
                </a:cxn>
              </a:cxnLst>
              <a:rect l="0" t="0" r="r" b="b"/>
              <a:pathLst>
                <a:path w="16" h="8">
                  <a:moveTo>
                    <a:pt x="0" y="0"/>
                  </a:moveTo>
                  <a:lnTo>
                    <a:pt x="0" y="0"/>
                  </a:lnTo>
                  <a:lnTo>
                    <a:pt x="0" y="2"/>
                  </a:lnTo>
                  <a:lnTo>
                    <a:pt x="0" y="6"/>
                  </a:lnTo>
                  <a:lnTo>
                    <a:pt x="4" y="8"/>
                  </a:lnTo>
                  <a:lnTo>
                    <a:pt x="8" y="8"/>
                  </a:lnTo>
                  <a:lnTo>
                    <a:pt x="16" y="8"/>
                  </a:lnTo>
                  <a:lnTo>
                    <a:pt x="14" y="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8" name="Freeform 60">
              <a:extLst>
                <a:ext uri="{FF2B5EF4-FFF2-40B4-BE49-F238E27FC236}">
                  <a16:creationId xmlns:a16="http://schemas.microsoft.com/office/drawing/2014/main" id="{40CF2763-4554-434F-9678-CEF8C4A21540}"/>
                </a:ext>
              </a:extLst>
            </p:cNvPr>
            <p:cNvSpPr>
              <a:spLocks/>
            </p:cNvSpPr>
            <p:nvPr/>
          </p:nvSpPr>
          <p:spPr bwMode="auto">
            <a:xfrm>
              <a:off x="5716971" y="4941318"/>
              <a:ext cx="15538" cy="20717"/>
            </a:xfrm>
            <a:custGeom>
              <a:avLst/>
              <a:gdLst/>
              <a:ahLst/>
              <a:cxnLst>
                <a:cxn ang="0">
                  <a:pos x="0" y="0"/>
                </a:cxn>
                <a:cxn ang="0">
                  <a:pos x="0" y="0"/>
                </a:cxn>
                <a:cxn ang="0">
                  <a:pos x="2" y="6"/>
                </a:cxn>
                <a:cxn ang="0">
                  <a:pos x="4" y="10"/>
                </a:cxn>
                <a:cxn ang="0">
                  <a:pos x="8" y="14"/>
                </a:cxn>
                <a:cxn ang="0">
                  <a:pos x="8" y="16"/>
                </a:cxn>
                <a:cxn ang="0">
                  <a:pos x="12" y="16"/>
                </a:cxn>
                <a:cxn ang="0">
                  <a:pos x="8" y="8"/>
                </a:cxn>
                <a:cxn ang="0">
                  <a:pos x="2" y="0"/>
                </a:cxn>
                <a:cxn ang="0">
                  <a:pos x="0" y="0"/>
                </a:cxn>
              </a:cxnLst>
              <a:rect l="0" t="0" r="r" b="b"/>
              <a:pathLst>
                <a:path w="12" h="16">
                  <a:moveTo>
                    <a:pt x="0" y="0"/>
                  </a:moveTo>
                  <a:lnTo>
                    <a:pt x="0" y="0"/>
                  </a:lnTo>
                  <a:lnTo>
                    <a:pt x="2" y="6"/>
                  </a:lnTo>
                  <a:lnTo>
                    <a:pt x="4" y="10"/>
                  </a:lnTo>
                  <a:lnTo>
                    <a:pt x="8" y="14"/>
                  </a:lnTo>
                  <a:lnTo>
                    <a:pt x="8" y="16"/>
                  </a:lnTo>
                  <a:lnTo>
                    <a:pt x="12" y="16"/>
                  </a:lnTo>
                  <a:lnTo>
                    <a:pt x="8" y="8"/>
                  </a:ln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99" name="Freeform 61">
              <a:extLst>
                <a:ext uri="{FF2B5EF4-FFF2-40B4-BE49-F238E27FC236}">
                  <a16:creationId xmlns:a16="http://schemas.microsoft.com/office/drawing/2014/main" id="{40EEAB7C-3536-47D3-940D-CE2BE172E427}"/>
                </a:ext>
              </a:extLst>
            </p:cNvPr>
            <p:cNvSpPr>
              <a:spLocks/>
            </p:cNvSpPr>
            <p:nvPr/>
          </p:nvSpPr>
          <p:spPr bwMode="auto">
            <a:xfrm>
              <a:off x="5716971" y="4941318"/>
              <a:ext cx="15538" cy="20717"/>
            </a:xfrm>
            <a:custGeom>
              <a:avLst/>
              <a:gdLst/>
              <a:ahLst/>
              <a:cxnLst>
                <a:cxn ang="0">
                  <a:pos x="0" y="0"/>
                </a:cxn>
                <a:cxn ang="0">
                  <a:pos x="0" y="0"/>
                </a:cxn>
                <a:cxn ang="0">
                  <a:pos x="2" y="6"/>
                </a:cxn>
                <a:cxn ang="0">
                  <a:pos x="4" y="10"/>
                </a:cxn>
                <a:cxn ang="0">
                  <a:pos x="8" y="14"/>
                </a:cxn>
                <a:cxn ang="0">
                  <a:pos x="8" y="16"/>
                </a:cxn>
                <a:cxn ang="0">
                  <a:pos x="12" y="16"/>
                </a:cxn>
                <a:cxn ang="0">
                  <a:pos x="8" y="8"/>
                </a:cxn>
                <a:cxn ang="0">
                  <a:pos x="2" y="0"/>
                </a:cxn>
                <a:cxn ang="0">
                  <a:pos x="0" y="0"/>
                </a:cxn>
              </a:cxnLst>
              <a:rect l="0" t="0" r="r" b="b"/>
              <a:pathLst>
                <a:path w="12" h="16">
                  <a:moveTo>
                    <a:pt x="0" y="0"/>
                  </a:moveTo>
                  <a:lnTo>
                    <a:pt x="0" y="0"/>
                  </a:lnTo>
                  <a:lnTo>
                    <a:pt x="2" y="6"/>
                  </a:lnTo>
                  <a:lnTo>
                    <a:pt x="4" y="10"/>
                  </a:lnTo>
                  <a:lnTo>
                    <a:pt x="8" y="14"/>
                  </a:lnTo>
                  <a:lnTo>
                    <a:pt x="8" y="16"/>
                  </a:lnTo>
                  <a:lnTo>
                    <a:pt x="12" y="16"/>
                  </a:lnTo>
                  <a:lnTo>
                    <a:pt x="8" y="8"/>
                  </a:lnTo>
                  <a:lnTo>
                    <a:pt x="2"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0" name="Freeform 62">
              <a:extLst>
                <a:ext uri="{FF2B5EF4-FFF2-40B4-BE49-F238E27FC236}">
                  <a16:creationId xmlns:a16="http://schemas.microsoft.com/office/drawing/2014/main" id="{25BB4E27-3D4A-4A41-A022-EE2419D9417C}"/>
                </a:ext>
              </a:extLst>
            </p:cNvPr>
            <p:cNvSpPr>
              <a:spLocks/>
            </p:cNvSpPr>
            <p:nvPr/>
          </p:nvSpPr>
          <p:spPr bwMode="auto">
            <a:xfrm>
              <a:off x="5660000" y="4928370"/>
              <a:ext cx="10358" cy="12948"/>
            </a:xfrm>
            <a:custGeom>
              <a:avLst/>
              <a:gdLst/>
              <a:ahLst/>
              <a:cxnLst>
                <a:cxn ang="0">
                  <a:pos x="2" y="0"/>
                </a:cxn>
                <a:cxn ang="0">
                  <a:pos x="2" y="0"/>
                </a:cxn>
                <a:cxn ang="0">
                  <a:pos x="0" y="6"/>
                </a:cxn>
                <a:cxn ang="0">
                  <a:pos x="4" y="10"/>
                </a:cxn>
                <a:cxn ang="0">
                  <a:pos x="6" y="10"/>
                </a:cxn>
                <a:cxn ang="0">
                  <a:pos x="8" y="10"/>
                </a:cxn>
                <a:cxn ang="0">
                  <a:pos x="8" y="6"/>
                </a:cxn>
                <a:cxn ang="0">
                  <a:pos x="6" y="2"/>
                </a:cxn>
                <a:cxn ang="0">
                  <a:pos x="2" y="0"/>
                </a:cxn>
              </a:cxnLst>
              <a:rect l="0" t="0" r="r" b="b"/>
              <a:pathLst>
                <a:path w="8" h="10">
                  <a:moveTo>
                    <a:pt x="2" y="0"/>
                  </a:moveTo>
                  <a:lnTo>
                    <a:pt x="2" y="0"/>
                  </a:lnTo>
                  <a:lnTo>
                    <a:pt x="0" y="6"/>
                  </a:lnTo>
                  <a:lnTo>
                    <a:pt x="4" y="10"/>
                  </a:lnTo>
                  <a:lnTo>
                    <a:pt x="6" y="10"/>
                  </a:lnTo>
                  <a:lnTo>
                    <a:pt x="8" y="10"/>
                  </a:lnTo>
                  <a:lnTo>
                    <a:pt x="8" y="6"/>
                  </a:lnTo>
                  <a:lnTo>
                    <a:pt x="6" y="2"/>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1" name="Freeform 63">
              <a:extLst>
                <a:ext uri="{FF2B5EF4-FFF2-40B4-BE49-F238E27FC236}">
                  <a16:creationId xmlns:a16="http://schemas.microsoft.com/office/drawing/2014/main" id="{B7EDEDE7-BEBA-4612-AF3A-E3720D43828B}"/>
                </a:ext>
              </a:extLst>
            </p:cNvPr>
            <p:cNvSpPr>
              <a:spLocks/>
            </p:cNvSpPr>
            <p:nvPr/>
          </p:nvSpPr>
          <p:spPr bwMode="auto">
            <a:xfrm>
              <a:off x="5660000" y="4928370"/>
              <a:ext cx="10358" cy="12948"/>
            </a:xfrm>
            <a:custGeom>
              <a:avLst/>
              <a:gdLst/>
              <a:ahLst/>
              <a:cxnLst>
                <a:cxn ang="0">
                  <a:pos x="2" y="0"/>
                </a:cxn>
                <a:cxn ang="0">
                  <a:pos x="2" y="0"/>
                </a:cxn>
                <a:cxn ang="0">
                  <a:pos x="0" y="6"/>
                </a:cxn>
                <a:cxn ang="0">
                  <a:pos x="4" y="10"/>
                </a:cxn>
                <a:cxn ang="0">
                  <a:pos x="6" y="10"/>
                </a:cxn>
                <a:cxn ang="0">
                  <a:pos x="8" y="10"/>
                </a:cxn>
                <a:cxn ang="0">
                  <a:pos x="8" y="6"/>
                </a:cxn>
                <a:cxn ang="0">
                  <a:pos x="6" y="2"/>
                </a:cxn>
                <a:cxn ang="0">
                  <a:pos x="2" y="0"/>
                </a:cxn>
              </a:cxnLst>
              <a:rect l="0" t="0" r="r" b="b"/>
              <a:pathLst>
                <a:path w="8" h="10">
                  <a:moveTo>
                    <a:pt x="2" y="0"/>
                  </a:moveTo>
                  <a:lnTo>
                    <a:pt x="2" y="0"/>
                  </a:lnTo>
                  <a:lnTo>
                    <a:pt x="0" y="6"/>
                  </a:lnTo>
                  <a:lnTo>
                    <a:pt x="4" y="10"/>
                  </a:lnTo>
                  <a:lnTo>
                    <a:pt x="6" y="10"/>
                  </a:lnTo>
                  <a:lnTo>
                    <a:pt x="8" y="10"/>
                  </a:lnTo>
                  <a:lnTo>
                    <a:pt x="8" y="6"/>
                  </a:lnTo>
                  <a:lnTo>
                    <a:pt x="6" y="2"/>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2" name="Freeform 64">
              <a:extLst>
                <a:ext uri="{FF2B5EF4-FFF2-40B4-BE49-F238E27FC236}">
                  <a16:creationId xmlns:a16="http://schemas.microsoft.com/office/drawing/2014/main" id="{1092096A-C3F6-45F0-89B0-51BC9069CAC6}"/>
                </a:ext>
              </a:extLst>
            </p:cNvPr>
            <p:cNvSpPr>
              <a:spLocks/>
            </p:cNvSpPr>
            <p:nvPr/>
          </p:nvSpPr>
          <p:spPr bwMode="auto">
            <a:xfrm>
              <a:off x="5680717" y="4920601"/>
              <a:ext cx="20717" cy="18127"/>
            </a:xfrm>
            <a:custGeom>
              <a:avLst/>
              <a:gdLst/>
              <a:ahLst/>
              <a:cxnLst>
                <a:cxn ang="0">
                  <a:pos x="2" y="0"/>
                </a:cxn>
                <a:cxn ang="0">
                  <a:pos x="2" y="0"/>
                </a:cxn>
                <a:cxn ang="0">
                  <a:pos x="0" y="4"/>
                </a:cxn>
                <a:cxn ang="0">
                  <a:pos x="16" y="14"/>
                </a:cxn>
                <a:cxn ang="0">
                  <a:pos x="16" y="12"/>
                </a:cxn>
                <a:cxn ang="0">
                  <a:pos x="12" y="8"/>
                </a:cxn>
                <a:cxn ang="0">
                  <a:pos x="10" y="4"/>
                </a:cxn>
                <a:cxn ang="0">
                  <a:pos x="2" y="0"/>
                </a:cxn>
              </a:cxnLst>
              <a:rect l="0" t="0" r="r" b="b"/>
              <a:pathLst>
                <a:path w="16" h="14">
                  <a:moveTo>
                    <a:pt x="2" y="0"/>
                  </a:moveTo>
                  <a:lnTo>
                    <a:pt x="2" y="0"/>
                  </a:lnTo>
                  <a:lnTo>
                    <a:pt x="0" y="4"/>
                  </a:lnTo>
                  <a:lnTo>
                    <a:pt x="16" y="14"/>
                  </a:lnTo>
                  <a:lnTo>
                    <a:pt x="16" y="12"/>
                  </a:lnTo>
                  <a:lnTo>
                    <a:pt x="12" y="8"/>
                  </a:lnTo>
                  <a:lnTo>
                    <a:pt x="10" y="4"/>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3" name="Freeform 65">
              <a:extLst>
                <a:ext uri="{FF2B5EF4-FFF2-40B4-BE49-F238E27FC236}">
                  <a16:creationId xmlns:a16="http://schemas.microsoft.com/office/drawing/2014/main" id="{102D83A4-3845-438B-9859-D7434FDD797C}"/>
                </a:ext>
              </a:extLst>
            </p:cNvPr>
            <p:cNvSpPr>
              <a:spLocks/>
            </p:cNvSpPr>
            <p:nvPr/>
          </p:nvSpPr>
          <p:spPr bwMode="auto">
            <a:xfrm>
              <a:off x="5680717" y="4920601"/>
              <a:ext cx="20717" cy="18127"/>
            </a:xfrm>
            <a:custGeom>
              <a:avLst/>
              <a:gdLst/>
              <a:ahLst/>
              <a:cxnLst>
                <a:cxn ang="0">
                  <a:pos x="2" y="0"/>
                </a:cxn>
                <a:cxn ang="0">
                  <a:pos x="2" y="0"/>
                </a:cxn>
                <a:cxn ang="0">
                  <a:pos x="0" y="4"/>
                </a:cxn>
                <a:cxn ang="0">
                  <a:pos x="16" y="14"/>
                </a:cxn>
                <a:cxn ang="0">
                  <a:pos x="16" y="12"/>
                </a:cxn>
                <a:cxn ang="0">
                  <a:pos x="12" y="8"/>
                </a:cxn>
                <a:cxn ang="0">
                  <a:pos x="10" y="4"/>
                </a:cxn>
                <a:cxn ang="0">
                  <a:pos x="2" y="0"/>
                </a:cxn>
              </a:cxnLst>
              <a:rect l="0" t="0" r="r" b="b"/>
              <a:pathLst>
                <a:path w="16" h="14">
                  <a:moveTo>
                    <a:pt x="2" y="0"/>
                  </a:moveTo>
                  <a:lnTo>
                    <a:pt x="2" y="0"/>
                  </a:lnTo>
                  <a:lnTo>
                    <a:pt x="0" y="4"/>
                  </a:lnTo>
                  <a:lnTo>
                    <a:pt x="16" y="14"/>
                  </a:lnTo>
                  <a:lnTo>
                    <a:pt x="16" y="12"/>
                  </a:lnTo>
                  <a:lnTo>
                    <a:pt x="12" y="8"/>
                  </a:lnTo>
                  <a:lnTo>
                    <a:pt x="10" y="4"/>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4" name="Freeform 66">
              <a:extLst>
                <a:ext uri="{FF2B5EF4-FFF2-40B4-BE49-F238E27FC236}">
                  <a16:creationId xmlns:a16="http://schemas.microsoft.com/office/drawing/2014/main" id="{15FC9177-1316-4176-B3B9-5C6DAE003CCC}"/>
                </a:ext>
              </a:extLst>
            </p:cNvPr>
            <p:cNvSpPr>
              <a:spLocks/>
            </p:cNvSpPr>
            <p:nvPr/>
          </p:nvSpPr>
          <p:spPr bwMode="auto">
            <a:xfrm>
              <a:off x="5649641" y="4905063"/>
              <a:ext cx="12948" cy="12948"/>
            </a:xfrm>
            <a:custGeom>
              <a:avLst/>
              <a:gdLst/>
              <a:ahLst/>
              <a:cxnLst>
                <a:cxn ang="0">
                  <a:pos x="0" y="0"/>
                </a:cxn>
                <a:cxn ang="0">
                  <a:pos x="0" y="0"/>
                </a:cxn>
                <a:cxn ang="0">
                  <a:pos x="2" y="4"/>
                </a:cxn>
                <a:cxn ang="0">
                  <a:pos x="4" y="8"/>
                </a:cxn>
                <a:cxn ang="0">
                  <a:pos x="6" y="10"/>
                </a:cxn>
                <a:cxn ang="0">
                  <a:pos x="10" y="10"/>
                </a:cxn>
                <a:cxn ang="0">
                  <a:pos x="8" y="8"/>
                </a:cxn>
                <a:cxn ang="0">
                  <a:pos x="0" y="0"/>
                </a:cxn>
              </a:cxnLst>
              <a:rect l="0" t="0" r="r" b="b"/>
              <a:pathLst>
                <a:path w="10" h="10">
                  <a:moveTo>
                    <a:pt x="0" y="0"/>
                  </a:moveTo>
                  <a:lnTo>
                    <a:pt x="0" y="0"/>
                  </a:lnTo>
                  <a:lnTo>
                    <a:pt x="2" y="4"/>
                  </a:lnTo>
                  <a:lnTo>
                    <a:pt x="4" y="8"/>
                  </a:lnTo>
                  <a:lnTo>
                    <a:pt x="6" y="10"/>
                  </a:lnTo>
                  <a:lnTo>
                    <a:pt x="10" y="10"/>
                  </a:lnTo>
                  <a:lnTo>
                    <a:pt x="8" y="8"/>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5" name="Freeform 67">
              <a:extLst>
                <a:ext uri="{FF2B5EF4-FFF2-40B4-BE49-F238E27FC236}">
                  <a16:creationId xmlns:a16="http://schemas.microsoft.com/office/drawing/2014/main" id="{542F68BB-C7BB-4CEA-91DA-DC5CBDB8365F}"/>
                </a:ext>
              </a:extLst>
            </p:cNvPr>
            <p:cNvSpPr>
              <a:spLocks/>
            </p:cNvSpPr>
            <p:nvPr/>
          </p:nvSpPr>
          <p:spPr bwMode="auto">
            <a:xfrm>
              <a:off x="5649641" y="4905063"/>
              <a:ext cx="12948" cy="12948"/>
            </a:xfrm>
            <a:custGeom>
              <a:avLst/>
              <a:gdLst/>
              <a:ahLst/>
              <a:cxnLst>
                <a:cxn ang="0">
                  <a:pos x="0" y="0"/>
                </a:cxn>
                <a:cxn ang="0">
                  <a:pos x="0" y="0"/>
                </a:cxn>
                <a:cxn ang="0">
                  <a:pos x="2" y="4"/>
                </a:cxn>
                <a:cxn ang="0">
                  <a:pos x="4" y="8"/>
                </a:cxn>
                <a:cxn ang="0">
                  <a:pos x="6" y="10"/>
                </a:cxn>
                <a:cxn ang="0">
                  <a:pos x="10" y="10"/>
                </a:cxn>
                <a:cxn ang="0">
                  <a:pos x="8" y="8"/>
                </a:cxn>
                <a:cxn ang="0">
                  <a:pos x="0" y="0"/>
                </a:cxn>
              </a:cxnLst>
              <a:rect l="0" t="0" r="r" b="b"/>
              <a:pathLst>
                <a:path w="10" h="10">
                  <a:moveTo>
                    <a:pt x="0" y="0"/>
                  </a:moveTo>
                  <a:lnTo>
                    <a:pt x="0" y="0"/>
                  </a:lnTo>
                  <a:lnTo>
                    <a:pt x="2" y="4"/>
                  </a:lnTo>
                  <a:lnTo>
                    <a:pt x="4" y="8"/>
                  </a:lnTo>
                  <a:lnTo>
                    <a:pt x="6" y="10"/>
                  </a:lnTo>
                  <a:lnTo>
                    <a:pt x="10" y="10"/>
                  </a:lnTo>
                  <a:lnTo>
                    <a:pt x="8" y="8"/>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6" name="Freeform 68">
              <a:extLst>
                <a:ext uri="{FF2B5EF4-FFF2-40B4-BE49-F238E27FC236}">
                  <a16:creationId xmlns:a16="http://schemas.microsoft.com/office/drawing/2014/main" id="{5CC30451-6618-439F-9D71-521040352CC0}"/>
                </a:ext>
              </a:extLst>
            </p:cNvPr>
            <p:cNvSpPr>
              <a:spLocks/>
            </p:cNvSpPr>
            <p:nvPr/>
          </p:nvSpPr>
          <p:spPr bwMode="auto">
            <a:xfrm>
              <a:off x="3256842" y="3716432"/>
              <a:ext cx="56971" cy="54382"/>
            </a:xfrm>
            <a:custGeom>
              <a:avLst/>
              <a:gdLst/>
              <a:ahLst/>
              <a:cxnLst>
                <a:cxn ang="0">
                  <a:pos x="6" y="32"/>
                </a:cxn>
                <a:cxn ang="0">
                  <a:pos x="6" y="32"/>
                </a:cxn>
                <a:cxn ang="0">
                  <a:pos x="6" y="34"/>
                </a:cxn>
                <a:cxn ang="0">
                  <a:pos x="6" y="36"/>
                </a:cxn>
                <a:cxn ang="0">
                  <a:pos x="4" y="36"/>
                </a:cxn>
                <a:cxn ang="0">
                  <a:pos x="4" y="40"/>
                </a:cxn>
                <a:cxn ang="0">
                  <a:pos x="2" y="40"/>
                </a:cxn>
                <a:cxn ang="0">
                  <a:pos x="4" y="42"/>
                </a:cxn>
                <a:cxn ang="0">
                  <a:pos x="12" y="40"/>
                </a:cxn>
                <a:cxn ang="0">
                  <a:pos x="16" y="38"/>
                </a:cxn>
                <a:cxn ang="0">
                  <a:pos x="20" y="36"/>
                </a:cxn>
                <a:cxn ang="0">
                  <a:pos x="22" y="32"/>
                </a:cxn>
                <a:cxn ang="0">
                  <a:pos x="20" y="28"/>
                </a:cxn>
                <a:cxn ang="0">
                  <a:pos x="22" y="28"/>
                </a:cxn>
                <a:cxn ang="0">
                  <a:pos x="22" y="28"/>
                </a:cxn>
                <a:cxn ang="0">
                  <a:pos x="24" y="30"/>
                </a:cxn>
                <a:cxn ang="0">
                  <a:pos x="26" y="30"/>
                </a:cxn>
                <a:cxn ang="0">
                  <a:pos x="28" y="30"/>
                </a:cxn>
                <a:cxn ang="0">
                  <a:pos x="30" y="28"/>
                </a:cxn>
                <a:cxn ang="0">
                  <a:pos x="32" y="20"/>
                </a:cxn>
                <a:cxn ang="0">
                  <a:pos x="34" y="18"/>
                </a:cxn>
                <a:cxn ang="0">
                  <a:pos x="36" y="18"/>
                </a:cxn>
                <a:cxn ang="0">
                  <a:pos x="38" y="18"/>
                </a:cxn>
                <a:cxn ang="0">
                  <a:pos x="40" y="14"/>
                </a:cxn>
                <a:cxn ang="0">
                  <a:pos x="42" y="12"/>
                </a:cxn>
                <a:cxn ang="0">
                  <a:pos x="44" y="10"/>
                </a:cxn>
                <a:cxn ang="0">
                  <a:pos x="44" y="6"/>
                </a:cxn>
                <a:cxn ang="0">
                  <a:pos x="42" y="2"/>
                </a:cxn>
                <a:cxn ang="0">
                  <a:pos x="42" y="0"/>
                </a:cxn>
                <a:cxn ang="0">
                  <a:pos x="36" y="4"/>
                </a:cxn>
                <a:cxn ang="0">
                  <a:pos x="34" y="4"/>
                </a:cxn>
                <a:cxn ang="0">
                  <a:pos x="30" y="2"/>
                </a:cxn>
                <a:cxn ang="0">
                  <a:pos x="26" y="4"/>
                </a:cxn>
                <a:cxn ang="0">
                  <a:pos x="22" y="6"/>
                </a:cxn>
                <a:cxn ang="0">
                  <a:pos x="20" y="10"/>
                </a:cxn>
                <a:cxn ang="0">
                  <a:pos x="14" y="8"/>
                </a:cxn>
                <a:cxn ang="0">
                  <a:pos x="8" y="8"/>
                </a:cxn>
                <a:cxn ang="0">
                  <a:pos x="8" y="10"/>
                </a:cxn>
                <a:cxn ang="0">
                  <a:pos x="6" y="12"/>
                </a:cxn>
                <a:cxn ang="0">
                  <a:pos x="2" y="12"/>
                </a:cxn>
                <a:cxn ang="0">
                  <a:pos x="0" y="16"/>
                </a:cxn>
                <a:cxn ang="0">
                  <a:pos x="0" y="20"/>
                </a:cxn>
                <a:cxn ang="0">
                  <a:pos x="2" y="22"/>
                </a:cxn>
                <a:cxn ang="0">
                  <a:pos x="4" y="22"/>
                </a:cxn>
                <a:cxn ang="0">
                  <a:pos x="6" y="26"/>
                </a:cxn>
                <a:cxn ang="0">
                  <a:pos x="4" y="28"/>
                </a:cxn>
                <a:cxn ang="0">
                  <a:pos x="4" y="30"/>
                </a:cxn>
                <a:cxn ang="0">
                  <a:pos x="6" y="30"/>
                </a:cxn>
                <a:cxn ang="0">
                  <a:pos x="6" y="32"/>
                </a:cxn>
                <a:cxn ang="0">
                  <a:pos x="6" y="32"/>
                </a:cxn>
              </a:cxnLst>
              <a:rect l="0" t="0" r="r" b="b"/>
              <a:pathLst>
                <a:path w="44" h="42">
                  <a:moveTo>
                    <a:pt x="6" y="32"/>
                  </a:moveTo>
                  <a:lnTo>
                    <a:pt x="6" y="32"/>
                  </a:lnTo>
                  <a:lnTo>
                    <a:pt x="6" y="34"/>
                  </a:lnTo>
                  <a:lnTo>
                    <a:pt x="6" y="36"/>
                  </a:lnTo>
                  <a:lnTo>
                    <a:pt x="4" y="36"/>
                  </a:lnTo>
                  <a:lnTo>
                    <a:pt x="4" y="40"/>
                  </a:lnTo>
                  <a:lnTo>
                    <a:pt x="2" y="40"/>
                  </a:lnTo>
                  <a:lnTo>
                    <a:pt x="4" y="42"/>
                  </a:lnTo>
                  <a:lnTo>
                    <a:pt x="12" y="40"/>
                  </a:lnTo>
                  <a:lnTo>
                    <a:pt x="16" y="38"/>
                  </a:lnTo>
                  <a:lnTo>
                    <a:pt x="20" y="36"/>
                  </a:lnTo>
                  <a:lnTo>
                    <a:pt x="22" y="32"/>
                  </a:lnTo>
                  <a:lnTo>
                    <a:pt x="20" y="28"/>
                  </a:lnTo>
                  <a:lnTo>
                    <a:pt x="22" y="28"/>
                  </a:lnTo>
                  <a:lnTo>
                    <a:pt x="22" y="28"/>
                  </a:lnTo>
                  <a:lnTo>
                    <a:pt x="24" y="30"/>
                  </a:lnTo>
                  <a:lnTo>
                    <a:pt x="26" y="30"/>
                  </a:lnTo>
                  <a:lnTo>
                    <a:pt x="28" y="30"/>
                  </a:lnTo>
                  <a:lnTo>
                    <a:pt x="30" y="28"/>
                  </a:lnTo>
                  <a:lnTo>
                    <a:pt x="32" y="20"/>
                  </a:lnTo>
                  <a:lnTo>
                    <a:pt x="34" y="18"/>
                  </a:lnTo>
                  <a:lnTo>
                    <a:pt x="36" y="18"/>
                  </a:lnTo>
                  <a:lnTo>
                    <a:pt x="38" y="18"/>
                  </a:lnTo>
                  <a:lnTo>
                    <a:pt x="40" y="14"/>
                  </a:lnTo>
                  <a:lnTo>
                    <a:pt x="42" y="12"/>
                  </a:lnTo>
                  <a:lnTo>
                    <a:pt x="44" y="10"/>
                  </a:lnTo>
                  <a:lnTo>
                    <a:pt x="44" y="6"/>
                  </a:lnTo>
                  <a:lnTo>
                    <a:pt x="42" y="2"/>
                  </a:lnTo>
                  <a:lnTo>
                    <a:pt x="42" y="0"/>
                  </a:lnTo>
                  <a:lnTo>
                    <a:pt x="36" y="4"/>
                  </a:lnTo>
                  <a:lnTo>
                    <a:pt x="34" y="4"/>
                  </a:lnTo>
                  <a:lnTo>
                    <a:pt x="30" y="2"/>
                  </a:lnTo>
                  <a:lnTo>
                    <a:pt x="26" y="4"/>
                  </a:lnTo>
                  <a:lnTo>
                    <a:pt x="22" y="6"/>
                  </a:lnTo>
                  <a:lnTo>
                    <a:pt x="20" y="10"/>
                  </a:lnTo>
                  <a:lnTo>
                    <a:pt x="14" y="8"/>
                  </a:lnTo>
                  <a:lnTo>
                    <a:pt x="8" y="8"/>
                  </a:lnTo>
                  <a:lnTo>
                    <a:pt x="8" y="10"/>
                  </a:lnTo>
                  <a:lnTo>
                    <a:pt x="6" y="12"/>
                  </a:lnTo>
                  <a:lnTo>
                    <a:pt x="2" y="12"/>
                  </a:lnTo>
                  <a:lnTo>
                    <a:pt x="0" y="16"/>
                  </a:lnTo>
                  <a:lnTo>
                    <a:pt x="0" y="20"/>
                  </a:lnTo>
                  <a:lnTo>
                    <a:pt x="2" y="22"/>
                  </a:lnTo>
                  <a:lnTo>
                    <a:pt x="4" y="22"/>
                  </a:lnTo>
                  <a:lnTo>
                    <a:pt x="6" y="26"/>
                  </a:lnTo>
                  <a:lnTo>
                    <a:pt x="4" y="28"/>
                  </a:lnTo>
                  <a:lnTo>
                    <a:pt x="4" y="30"/>
                  </a:lnTo>
                  <a:lnTo>
                    <a:pt x="6" y="30"/>
                  </a:lnTo>
                  <a:lnTo>
                    <a:pt x="6" y="32"/>
                  </a:lnTo>
                  <a:lnTo>
                    <a:pt x="6" y="3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7" name="Freeform 69">
              <a:extLst>
                <a:ext uri="{FF2B5EF4-FFF2-40B4-BE49-F238E27FC236}">
                  <a16:creationId xmlns:a16="http://schemas.microsoft.com/office/drawing/2014/main" id="{607A8031-FF9F-4FC7-85DB-2C42A7891B7A}"/>
                </a:ext>
              </a:extLst>
            </p:cNvPr>
            <p:cNvSpPr>
              <a:spLocks/>
            </p:cNvSpPr>
            <p:nvPr/>
          </p:nvSpPr>
          <p:spPr bwMode="auto">
            <a:xfrm>
              <a:off x="3316403" y="3651692"/>
              <a:ext cx="121712" cy="49203"/>
            </a:xfrm>
            <a:custGeom>
              <a:avLst/>
              <a:gdLst/>
              <a:ahLst/>
              <a:cxnLst>
                <a:cxn ang="0">
                  <a:pos x="94" y="24"/>
                </a:cxn>
                <a:cxn ang="0">
                  <a:pos x="90" y="24"/>
                </a:cxn>
                <a:cxn ang="0">
                  <a:pos x="88" y="30"/>
                </a:cxn>
                <a:cxn ang="0">
                  <a:pos x="86" y="30"/>
                </a:cxn>
                <a:cxn ang="0">
                  <a:pos x="82" y="28"/>
                </a:cxn>
                <a:cxn ang="0">
                  <a:pos x="80" y="26"/>
                </a:cxn>
                <a:cxn ang="0">
                  <a:pos x="78" y="26"/>
                </a:cxn>
                <a:cxn ang="0">
                  <a:pos x="72" y="28"/>
                </a:cxn>
                <a:cxn ang="0">
                  <a:pos x="66" y="28"/>
                </a:cxn>
                <a:cxn ang="0">
                  <a:pos x="60" y="28"/>
                </a:cxn>
                <a:cxn ang="0">
                  <a:pos x="56" y="32"/>
                </a:cxn>
                <a:cxn ang="0">
                  <a:pos x="56" y="32"/>
                </a:cxn>
                <a:cxn ang="0">
                  <a:pos x="54" y="34"/>
                </a:cxn>
                <a:cxn ang="0">
                  <a:pos x="52" y="32"/>
                </a:cxn>
                <a:cxn ang="0">
                  <a:pos x="50" y="32"/>
                </a:cxn>
                <a:cxn ang="0">
                  <a:pos x="50" y="30"/>
                </a:cxn>
                <a:cxn ang="0">
                  <a:pos x="48" y="30"/>
                </a:cxn>
                <a:cxn ang="0">
                  <a:pos x="40" y="32"/>
                </a:cxn>
                <a:cxn ang="0">
                  <a:pos x="34" y="34"/>
                </a:cxn>
                <a:cxn ang="0">
                  <a:pos x="34" y="38"/>
                </a:cxn>
                <a:cxn ang="0">
                  <a:pos x="28" y="38"/>
                </a:cxn>
                <a:cxn ang="0">
                  <a:pos x="20" y="36"/>
                </a:cxn>
                <a:cxn ang="0">
                  <a:pos x="16" y="36"/>
                </a:cxn>
                <a:cxn ang="0">
                  <a:pos x="10" y="34"/>
                </a:cxn>
                <a:cxn ang="0">
                  <a:pos x="6" y="32"/>
                </a:cxn>
                <a:cxn ang="0">
                  <a:pos x="4" y="26"/>
                </a:cxn>
                <a:cxn ang="0">
                  <a:pos x="0" y="24"/>
                </a:cxn>
                <a:cxn ang="0">
                  <a:pos x="0" y="24"/>
                </a:cxn>
                <a:cxn ang="0">
                  <a:pos x="4" y="20"/>
                </a:cxn>
                <a:cxn ang="0">
                  <a:pos x="4" y="18"/>
                </a:cxn>
                <a:cxn ang="0">
                  <a:pos x="6" y="16"/>
                </a:cxn>
                <a:cxn ang="0">
                  <a:pos x="10" y="14"/>
                </a:cxn>
                <a:cxn ang="0">
                  <a:pos x="12" y="12"/>
                </a:cxn>
                <a:cxn ang="0">
                  <a:pos x="12" y="10"/>
                </a:cxn>
                <a:cxn ang="0">
                  <a:pos x="12" y="8"/>
                </a:cxn>
                <a:cxn ang="0">
                  <a:pos x="20" y="6"/>
                </a:cxn>
                <a:cxn ang="0">
                  <a:pos x="26" y="6"/>
                </a:cxn>
                <a:cxn ang="0">
                  <a:pos x="30" y="4"/>
                </a:cxn>
                <a:cxn ang="0">
                  <a:pos x="34" y="6"/>
                </a:cxn>
                <a:cxn ang="0">
                  <a:pos x="40" y="10"/>
                </a:cxn>
                <a:cxn ang="0">
                  <a:pos x="46" y="12"/>
                </a:cxn>
                <a:cxn ang="0">
                  <a:pos x="48" y="12"/>
                </a:cxn>
                <a:cxn ang="0">
                  <a:pos x="50" y="10"/>
                </a:cxn>
                <a:cxn ang="0">
                  <a:pos x="52" y="8"/>
                </a:cxn>
                <a:cxn ang="0">
                  <a:pos x="54" y="8"/>
                </a:cxn>
                <a:cxn ang="0">
                  <a:pos x="56" y="6"/>
                </a:cxn>
                <a:cxn ang="0">
                  <a:pos x="60" y="4"/>
                </a:cxn>
                <a:cxn ang="0">
                  <a:pos x="64" y="2"/>
                </a:cxn>
                <a:cxn ang="0">
                  <a:pos x="66" y="0"/>
                </a:cxn>
                <a:cxn ang="0">
                  <a:pos x="70" y="0"/>
                </a:cxn>
                <a:cxn ang="0">
                  <a:pos x="74" y="4"/>
                </a:cxn>
                <a:cxn ang="0">
                  <a:pos x="78" y="6"/>
                </a:cxn>
                <a:cxn ang="0">
                  <a:pos x="80" y="6"/>
                </a:cxn>
                <a:cxn ang="0">
                  <a:pos x="82" y="8"/>
                </a:cxn>
                <a:cxn ang="0">
                  <a:pos x="86" y="12"/>
                </a:cxn>
                <a:cxn ang="0">
                  <a:pos x="88" y="14"/>
                </a:cxn>
                <a:cxn ang="0">
                  <a:pos x="88" y="18"/>
                </a:cxn>
                <a:cxn ang="0">
                  <a:pos x="92" y="22"/>
                </a:cxn>
                <a:cxn ang="0">
                  <a:pos x="94" y="24"/>
                </a:cxn>
                <a:cxn ang="0">
                  <a:pos x="94" y="24"/>
                </a:cxn>
              </a:cxnLst>
              <a:rect l="0" t="0" r="r" b="b"/>
              <a:pathLst>
                <a:path w="94" h="38">
                  <a:moveTo>
                    <a:pt x="94" y="24"/>
                  </a:moveTo>
                  <a:lnTo>
                    <a:pt x="90" y="24"/>
                  </a:lnTo>
                  <a:lnTo>
                    <a:pt x="88" y="30"/>
                  </a:lnTo>
                  <a:lnTo>
                    <a:pt x="86" y="30"/>
                  </a:lnTo>
                  <a:lnTo>
                    <a:pt x="82" y="28"/>
                  </a:lnTo>
                  <a:lnTo>
                    <a:pt x="80" y="26"/>
                  </a:lnTo>
                  <a:lnTo>
                    <a:pt x="78" y="26"/>
                  </a:lnTo>
                  <a:lnTo>
                    <a:pt x="72" y="28"/>
                  </a:lnTo>
                  <a:lnTo>
                    <a:pt x="66" y="28"/>
                  </a:lnTo>
                  <a:lnTo>
                    <a:pt x="60" y="28"/>
                  </a:lnTo>
                  <a:lnTo>
                    <a:pt x="56" y="32"/>
                  </a:lnTo>
                  <a:lnTo>
                    <a:pt x="56" y="32"/>
                  </a:lnTo>
                  <a:lnTo>
                    <a:pt x="54" y="34"/>
                  </a:lnTo>
                  <a:lnTo>
                    <a:pt x="52" y="32"/>
                  </a:lnTo>
                  <a:lnTo>
                    <a:pt x="50" y="32"/>
                  </a:lnTo>
                  <a:lnTo>
                    <a:pt x="50" y="30"/>
                  </a:lnTo>
                  <a:lnTo>
                    <a:pt x="48" y="30"/>
                  </a:lnTo>
                  <a:lnTo>
                    <a:pt x="40" y="32"/>
                  </a:lnTo>
                  <a:lnTo>
                    <a:pt x="34" y="34"/>
                  </a:lnTo>
                  <a:lnTo>
                    <a:pt x="34" y="38"/>
                  </a:lnTo>
                  <a:lnTo>
                    <a:pt x="28" y="38"/>
                  </a:lnTo>
                  <a:lnTo>
                    <a:pt x="20" y="36"/>
                  </a:lnTo>
                  <a:lnTo>
                    <a:pt x="16" y="36"/>
                  </a:lnTo>
                  <a:lnTo>
                    <a:pt x="10" y="34"/>
                  </a:lnTo>
                  <a:lnTo>
                    <a:pt x="6" y="32"/>
                  </a:lnTo>
                  <a:lnTo>
                    <a:pt x="4" y="26"/>
                  </a:lnTo>
                  <a:lnTo>
                    <a:pt x="0" y="24"/>
                  </a:lnTo>
                  <a:lnTo>
                    <a:pt x="0" y="24"/>
                  </a:lnTo>
                  <a:lnTo>
                    <a:pt x="4" y="20"/>
                  </a:lnTo>
                  <a:lnTo>
                    <a:pt x="4" y="18"/>
                  </a:lnTo>
                  <a:lnTo>
                    <a:pt x="6" y="16"/>
                  </a:lnTo>
                  <a:lnTo>
                    <a:pt x="10" y="14"/>
                  </a:lnTo>
                  <a:lnTo>
                    <a:pt x="12" y="12"/>
                  </a:lnTo>
                  <a:lnTo>
                    <a:pt x="12" y="10"/>
                  </a:lnTo>
                  <a:lnTo>
                    <a:pt x="12" y="8"/>
                  </a:lnTo>
                  <a:lnTo>
                    <a:pt x="20" y="6"/>
                  </a:lnTo>
                  <a:lnTo>
                    <a:pt x="26" y="6"/>
                  </a:lnTo>
                  <a:lnTo>
                    <a:pt x="30" y="4"/>
                  </a:lnTo>
                  <a:lnTo>
                    <a:pt x="34" y="6"/>
                  </a:lnTo>
                  <a:lnTo>
                    <a:pt x="40" y="10"/>
                  </a:lnTo>
                  <a:lnTo>
                    <a:pt x="46" y="12"/>
                  </a:lnTo>
                  <a:lnTo>
                    <a:pt x="48" y="12"/>
                  </a:lnTo>
                  <a:lnTo>
                    <a:pt x="50" y="10"/>
                  </a:lnTo>
                  <a:lnTo>
                    <a:pt x="52" y="8"/>
                  </a:lnTo>
                  <a:lnTo>
                    <a:pt x="54" y="8"/>
                  </a:lnTo>
                  <a:lnTo>
                    <a:pt x="56" y="6"/>
                  </a:lnTo>
                  <a:lnTo>
                    <a:pt x="60" y="4"/>
                  </a:lnTo>
                  <a:lnTo>
                    <a:pt x="64" y="2"/>
                  </a:lnTo>
                  <a:lnTo>
                    <a:pt x="66" y="0"/>
                  </a:lnTo>
                  <a:lnTo>
                    <a:pt x="70" y="0"/>
                  </a:lnTo>
                  <a:lnTo>
                    <a:pt x="74" y="4"/>
                  </a:lnTo>
                  <a:lnTo>
                    <a:pt x="78" y="6"/>
                  </a:lnTo>
                  <a:lnTo>
                    <a:pt x="80" y="6"/>
                  </a:lnTo>
                  <a:lnTo>
                    <a:pt x="82" y="8"/>
                  </a:lnTo>
                  <a:lnTo>
                    <a:pt x="86" y="12"/>
                  </a:lnTo>
                  <a:lnTo>
                    <a:pt x="88" y="14"/>
                  </a:lnTo>
                  <a:lnTo>
                    <a:pt x="88" y="18"/>
                  </a:lnTo>
                  <a:lnTo>
                    <a:pt x="92" y="22"/>
                  </a:lnTo>
                  <a:lnTo>
                    <a:pt x="94" y="24"/>
                  </a:lnTo>
                  <a:lnTo>
                    <a:pt x="94" y="2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8" name="Freeform 70">
              <a:extLst>
                <a:ext uri="{FF2B5EF4-FFF2-40B4-BE49-F238E27FC236}">
                  <a16:creationId xmlns:a16="http://schemas.microsoft.com/office/drawing/2014/main" id="{665AF13C-DB96-4538-8136-97E3B71560DB}"/>
                </a:ext>
              </a:extLst>
            </p:cNvPr>
            <p:cNvSpPr>
              <a:spLocks/>
            </p:cNvSpPr>
            <p:nvPr/>
          </p:nvSpPr>
          <p:spPr bwMode="auto">
            <a:xfrm>
              <a:off x="2806249" y="4539928"/>
              <a:ext cx="59561" cy="72509"/>
            </a:xfrm>
            <a:custGeom>
              <a:avLst/>
              <a:gdLst/>
              <a:ahLst/>
              <a:cxnLst>
                <a:cxn ang="0">
                  <a:pos x="2" y="18"/>
                </a:cxn>
                <a:cxn ang="0">
                  <a:pos x="2" y="18"/>
                </a:cxn>
                <a:cxn ang="0">
                  <a:pos x="0" y="20"/>
                </a:cxn>
                <a:cxn ang="0">
                  <a:pos x="2" y="24"/>
                </a:cxn>
                <a:cxn ang="0">
                  <a:pos x="6" y="32"/>
                </a:cxn>
                <a:cxn ang="0">
                  <a:pos x="4" y="32"/>
                </a:cxn>
                <a:cxn ang="0">
                  <a:pos x="2" y="32"/>
                </a:cxn>
                <a:cxn ang="0">
                  <a:pos x="4" y="34"/>
                </a:cxn>
                <a:cxn ang="0">
                  <a:pos x="8" y="36"/>
                </a:cxn>
                <a:cxn ang="0">
                  <a:pos x="8" y="42"/>
                </a:cxn>
                <a:cxn ang="0">
                  <a:pos x="8" y="46"/>
                </a:cxn>
                <a:cxn ang="0">
                  <a:pos x="10" y="46"/>
                </a:cxn>
                <a:cxn ang="0">
                  <a:pos x="10" y="44"/>
                </a:cxn>
                <a:cxn ang="0">
                  <a:pos x="12" y="44"/>
                </a:cxn>
                <a:cxn ang="0">
                  <a:pos x="14" y="50"/>
                </a:cxn>
                <a:cxn ang="0">
                  <a:pos x="16" y="52"/>
                </a:cxn>
                <a:cxn ang="0">
                  <a:pos x="18" y="54"/>
                </a:cxn>
                <a:cxn ang="0">
                  <a:pos x="26" y="56"/>
                </a:cxn>
                <a:cxn ang="0">
                  <a:pos x="28" y="52"/>
                </a:cxn>
                <a:cxn ang="0">
                  <a:pos x="30" y="46"/>
                </a:cxn>
                <a:cxn ang="0">
                  <a:pos x="38" y="38"/>
                </a:cxn>
                <a:cxn ang="0">
                  <a:pos x="38" y="34"/>
                </a:cxn>
                <a:cxn ang="0">
                  <a:pos x="42" y="32"/>
                </a:cxn>
                <a:cxn ang="0">
                  <a:pos x="44" y="32"/>
                </a:cxn>
                <a:cxn ang="0">
                  <a:pos x="44" y="30"/>
                </a:cxn>
                <a:cxn ang="0">
                  <a:pos x="46" y="28"/>
                </a:cxn>
                <a:cxn ang="0">
                  <a:pos x="40" y="28"/>
                </a:cxn>
                <a:cxn ang="0">
                  <a:pos x="40" y="24"/>
                </a:cxn>
                <a:cxn ang="0">
                  <a:pos x="42" y="20"/>
                </a:cxn>
                <a:cxn ang="0">
                  <a:pos x="38" y="16"/>
                </a:cxn>
                <a:cxn ang="0">
                  <a:pos x="38" y="14"/>
                </a:cxn>
                <a:cxn ang="0">
                  <a:pos x="36" y="12"/>
                </a:cxn>
                <a:cxn ang="0">
                  <a:pos x="34" y="12"/>
                </a:cxn>
                <a:cxn ang="0">
                  <a:pos x="34" y="10"/>
                </a:cxn>
                <a:cxn ang="0">
                  <a:pos x="34" y="4"/>
                </a:cxn>
                <a:cxn ang="0">
                  <a:pos x="30" y="2"/>
                </a:cxn>
                <a:cxn ang="0">
                  <a:pos x="28" y="2"/>
                </a:cxn>
                <a:cxn ang="0">
                  <a:pos x="26" y="2"/>
                </a:cxn>
                <a:cxn ang="0">
                  <a:pos x="22" y="2"/>
                </a:cxn>
                <a:cxn ang="0">
                  <a:pos x="16" y="0"/>
                </a:cxn>
                <a:cxn ang="0">
                  <a:pos x="14" y="0"/>
                </a:cxn>
                <a:cxn ang="0">
                  <a:pos x="12" y="4"/>
                </a:cxn>
                <a:cxn ang="0">
                  <a:pos x="12" y="10"/>
                </a:cxn>
                <a:cxn ang="0">
                  <a:pos x="10" y="12"/>
                </a:cxn>
                <a:cxn ang="0">
                  <a:pos x="8" y="14"/>
                </a:cxn>
                <a:cxn ang="0">
                  <a:pos x="6" y="16"/>
                </a:cxn>
                <a:cxn ang="0">
                  <a:pos x="6" y="18"/>
                </a:cxn>
                <a:cxn ang="0">
                  <a:pos x="4" y="18"/>
                </a:cxn>
                <a:cxn ang="0">
                  <a:pos x="2" y="18"/>
                </a:cxn>
                <a:cxn ang="0">
                  <a:pos x="2" y="18"/>
                </a:cxn>
              </a:cxnLst>
              <a:rect l="0" t="0" r="r" b="b"/>
              <a:pathLst>
                <a:path w="46" h="56">
                  <a:moveTo>
                    <a:pt x="2" y="18"/>
                  </a:moveTo>
                  <a:lnTo>
                    <a:pt x="2" y="18"/>
                  </a:lnTo>
                  <a:lnTo>
                    <a:pt x="0" y="20"/>
                  </a:lnTo>
                  <a:lnTo>
                    <a:pt x="2" y="24"/>
                  </a:lnTo>
                  <a:lnTo>
                    <a:pt x="6" y="32"/>
                  </a:lnTo>
                  <a:lnTo>
                    <a:pt x="4" y="32"/>
                  </a:lnTo>
                  <a:lnTo>
                    <a:pt x="2" y="32"/>
                  </a:lnTo>
                  <a:lnTo>
                    <a:pt x="4" y="34"/>
                  </a:lnTo>
                  <a:lnTo>
                    <a:pt x="8" y="36"/>
                  </a:lnTo>
                  <a:lnTo>
                    <a:pt x="8" y="42"/>
                  </a:lnTo>
                  <a:lnTo>
                    <a:pt x="8" y="46"/>
                  </a:lnTo>
                  <a:lnTo>
                    <a:pt x="10" y="46"/>
                  </a:lnTo>
                  <a:lnTo>
                    <a:pt x="10" y="44"/>
                  </a:lnTo>
                  <a:lnTo>
                    <a:pt x="12" y="44"/>
                  </a:lnTo>
                  <a:lnTo>
                    <a:pt x="14" y="50"/>
                  </a:lnTo>
                  <a:lnTo>
                    <a:pt x="16" y="52"/>
                  </a:lnTo>
                  <a:lnTo>
                    <a:pt x="18" y="54"/>
                  </a:lnTo>
                  <a:lnTo>
                    <a:pt x="26" y="56"/>
                  </a:lnTo>
                  <a:lnTo>
                    <a:pt x="28" y="52"/>
                  </a:lnTo>
                  <a:lnTo>
                    <a:pt x="30" y="46"/>
                  </a:lnTo>
                  <a:lnTo>
                    <a:pt x="38" y="38"/>
                  </a:lnTo>
                  <a:lnTo>
                    <a:pt x="38" y="34"/>
                  </a:lnTo>
                  <a:lnTo>
                    <a:pt x="42" y="32"/>
                  </a:lnTo>
                  <a:lnTo>
                    <a:pt x="44" y="32"/>
                  </a:lnTo>
                  <a:lnTo>
                    <a:pt x="44" y="30"/>
                  </a:lnTo>
                  <a:lnTo>
                    <a:pt x="46" y="28"/>
                  </a:lnTo>
                  <a:lnTo>
                    <a:pt x="40" y="28"/>
                  </a:lnTo>
                  <a:lnTo>
                    <a:pt x="40" y="24"/>
                  </a:lnTo>
                  <a:lnTo>
                    <a:pt x="42" y="20"/>
                  </a:lnTo>
                  <a:lnTo>
                    <a:pt x="38" y="16"/>
                  </a:lnTo>
                  <a:lnTo>
                    <a:pt x="38" y="14"/>
                  </a:lnTo>
                  <a:lnTo>
                    <a:pt x="36" y="12"/>
                  </a:lnTo>
                  <a:lnTo>
                    <a:pt x="34" y="12"/>
                  </a:lnTo>
                  <a:lnTo>
                    <a:pt x="34" y="10"/>
                  </a:lnTo>
                  <a:lnTo>
                    <a:pt x="34" y="4"/>
                  </a:lnTo>
                  <a:lnTo>
                    <a:pt x="30" y="2"/>
                  </a:lnTo>
                  <a:lnTo>
                    <a:pt x="28" y="2"/>
                  </a:lnTo>
                  <a:lnTo>
                    <a:pt x="26" y="2"/>
                  </a:lnTo>
                  <a:lnTo>
                    <a:pt x="22" y="2"/>
                  </a:lnTo>
                  <a:lnTo>
                    <a:pt x="16" y="0"/>
                  </a:lnTo>
                  <a:lnTo>
                    <a:pt x="14" y="0"/>
                  </a:lnTo>
                  <a:lnTo>
                    <a:pt x="12" y="4"/>
                  </a:lnTo>
                  <a:lnTo>
                    <a:pt x="12" y="10"/>
                  </a:lnTo>
                  <a:lnTo>
                    <a:pt x="10" y="12"/>
                  </a:lnTo>
                  <a:lnTo>
                    <a:pt x="8" y="14"/>
                  </a:lnTo>
                  <a:lnTo>
                    <a:pt x="6" y="16"/>
                  </a:lnTo>
                  <a:lnTo>
                    <a:pt x="6" y="18"/>
                  </a:lnTo>
                  <a:lnTo>
                    <a:pt x="4" y="18"/>
                  </a:lnTo>
                  <a:lnTo>
                    <a:pt x="2" y="18"/>
                  </a:lnTo>
                  <a:lnTo>
                    <a:pt x="2"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09" name="Freeform 71">
              <a:extLst>
                <a:ext uri="{FF2B5EF4-FFF2-40B4-BE49-F238E27FC236}">
                  <a16:creationId xmlns:a16="http://schemas.microsoft.com/office/drawing/2014/main" id="{D5A513BA-0813-4C1F-94D5-33A0A2B5388A}"/>
                </a:ext>
              </a:extLst>
            </p:cNvPr>
            <p:cNvSpPr>
              <a:spLocks/>
            </p:cNvSpPr>
            <p:nvPr/>
          </p:nvSpPr>
          <p:spPr bwMode="auto">
            <a:xfrm>
              <a:off x="3518392" y="4793710"/>
              <a:ext cx="38844" cy="31075"/>
            </a:xfrm>
            <a:custGeom>
              <a:avLst/>
              <a:gdLst/>
              <a:ahLst/>
              <a:cxnLst>
                <a:cxn ang="0">
                  <a:pos x="2" y="10"/>
                </a:cxn>
                <a:cxn ang="0">
                  <a:pos x="2" y="10"/>
                </a:cxn>
                <a:cxn ang="0">
                  <a:pos x="0" y="12"/>
                </a:cxn>
                <a:cxn ang="0">
                  <a:pos x="0" y="14"/>
                </a:cxn>
                <a:cxn ang="0">
                  <a:pos x="0" y="16"/>
                </a:cxn>
                <a:cxn ang="0">
                  <a:pos x="2" y="18"/>
                </a:cxn>
                <a:cxn ang="0">
                  <a:pos x="6" y="20"/>
                </a:cxn>
                <a:cxn ang="0">
                  <a:pos x="8" y="18"/>
                </a:cxn>
                <a:cxn ang="0">
                  <a:pos x="8" y="16"/>
                </a:cxn>
                <a:cxn ang="0">
                  <a:pos x="10" y="18"/>
                </a:cxn>
                <a:cxn ang="0">
                  <a:pos x="12" y="24"/>
                </a:cxn>
                <a:cxn ang="0">
                  <a:pos x="16" y="22"/>
                </a:cxn>
                <a:cxn ang="0">
                  <a:pos x="18" y="20"/>
                </a:cxn>
                <a:cxn ang="0">
                  <a:pos x="18" y="18"/>
                </a:cxn>
                <a:cxn ang="0">
                  <a:pos x="18" y="16"/>
                </a:cxn>
                <a:cxn ang="0">
                  <a:pos x="20" y="16"/>
                </a:cxn>
                <a:cxn ang="0">
                  <a:pos x="26" y="18"/>
                </a:cxn>
                <a:cxn ang="0">
                  <a:pos x="28" y="18"/>
                </a:cxn>
                <a:cxn ang="0">
                  <a:pos x="30" y="18"/>
                </a:cxn>
                <a:cxn ang="0">
                  <a:pos x="30" y="14"/>
                </a:cxn>
                <a:cxn ang="0">
                  <a:pos x="30" y="6"/>
                </a:cxn>
                <a:cxn ang="0">
                  <a:pos x="26" y="0"/>
                </a:cxn>
                <a:cxn ang="0">
                  <a:pos x="24" y="0"/>
                </a:cxn>
                <a:cxn ang="0">
                  <a:pos x="20" y="2"/>
                </a:cxn>
                <a:cxn ang="0">
                  <a:pos x="16" y="4"/>
                </a:cxn>
                <a:cxn ang="0">
                  <a:pos x="12" y="2"/>
                </a:cxn>
                <a:cxn ang="0">
                  <a:pos x="6" y="0"/>
                </a:cxn>
                <a:cxn ang="0">
                  <a:pos x="6" y="0"/>
                </a:cxn>
                <a:cxn ang="0">
                  <a:pos x="8" y="2"/>
                </a:cxn>
                <a:cxn ang="0">
                  <a:pos x="6" y="10"/>
                </a:cxn>
                <a:cxn ang="0">
                  <a:pos x="2" y="10"/>
                </a:cxn>
                <a:cxn ang="0">
                  <a:pos x="2" y="10"/>
                </a:cxn>
              </a:cxnLst>
              <a:rect l="0" t="0" r="r" b="b"/>
              <a:pathLst>
                <a:path w="30" h="24">
                  <a:moveTo>
                    <a:pt x="2" y="10"/>
                  </a:moveTo>
                  <a:lnTo>
                    <a:pt x="2" y="10"/>
                  </a:lnTo>
                  <a:lnTo>
                    <a:pt x="0" y="12"/>
                  </a:lnTo>
                  <a:lnTo>
                    <a:pt x="0" y="14"/>
                  </a:lnTo>
                  <a:lnTo>
                    <a:pt x="0" y="16"/>
                  </a:lnTo>
                  <a:lnTo>
                    <a:pt x="2" y="18"/>
                  </a:lnTo>
                  <a:lnTo>
                    <a:pt x="6" y="20"/>
                  </a:lnTo>
                  <a:lnTo>
                    <a:pt x="8" y="18"/>
                  </a:lnTo>
                  <a:lnTo>
                    <a:pt x="8" y="16"/>
                  </a:lnTo>
                  <a:lnTo>
                    <a:pt x="10" y="18"/>
                  </a:lnTo>
                  <a:lnTo>
                    <a:pt x="12" y="24"/>
                  </a:lnTo>
                  <a:lnTo>
                    <a:pt x="16" y="22"/>
                  </a:lnTo>
                  <a:lnTo>
                    <a:pt x="18" y="20"/>
                  </a:lnTo>
                  <a:lnTo>
                    <a:pt x="18" y="18"/>
                  </a:lnTo>
                  <a:lnTo>
                    <a:pt x="18" y="16"/>
                  </a:lnTo>
                  <a:lnTo>
                    <a:pt x="20" y="16"/>
                  </a:lnTo>
                  <a:lnTo>
                    <a:pt x="26" y="18"/>
                  </a:lnTo>
                  <a:lnTo>
                    <a:pt x="28" y="18"/>
                  </a:lnTo>
                  <a:lnTo>
                    <a:pt x="30" y="18"/>
                  </a:lnTo>
                  <a:lnTo>
                    <a:pt x="30" y="14"/>
                  </a:lnTo>
                  <a:lnTo>
                    <a:pt x="30" y="6"/>
                  </a:lnTo>
                  <a:lnTo>
                    <a:pt x="26" y="0"/>
                  </a:lnTo>
                  <a:lnTo>
                    <a:pt x="24" y="0"/>
                  </a:lnTo>
                  <a:lnTo>
                    <a:pt x="20" y="2"/>
                  </a:lnTo>
                  <a:lnTo>
                    <a:pt x="16" y="4"/>
                  </a:lnTo>
                  <a:lnTo>
                    <a:pt x="12" y="2"/>
                  </a:lnTo>
                  <a:lnTo>
                    <a:pt x="6" y="0"/>
                  </a:lnTo>
                  <a:lnTo>
                    <a:pt x="6" y="0"/>
                  </a:lnTo>
                  <a:lnTo>
                    <a:pt x="8" y="2"/>
                  </a:lnTo>
                  <a:lnTo>
                    <a:pt x="6" y="10"/>
                  </a:lnTo>
                  <a:lnTo>
                    <a:pt x="2" y="10"/>
                  </a:lnTo>
                  <a:lnTo>
                    <a:pt x="2"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0" name="Line 72">
              <a:extLst>
                <a:ext uri="{FF2B5EF4-FFF2-40B4-BE49-F238E27FC236}">
                  <a16:creationId xmlns:a16="http://schemas.microsoft.com/office/drawing/2014/main" id="{3C274E04-A300-4456-B959-162C597E13F0}"/>
                </a:ext>
              </a:extLst>
            </p:cNvPr>
            <p:cNvSpPr>
              <a:spLocks noChangeShapeType="1"/>
            </p:cNvSpPr>
            <p:nvPr/>
          </p:nvSpPr>
          <p:spPr bwMode="auto">
            <a:xfrm>
              <a:off x="5178332" y="302500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1" name="Line 73">
              <a:extLst>
                <a:ext uri="{FF2B5EF4-FFF2-40B4-BE49-F238E27FC236}">
                  <a16:creationId xmlns:a16="http://schemas.microsoft.com/office/drawing/2014/main" id="{B54D32B8-49EB-40EC-9AEB-C0CC4717CF41}"/>
                </a:ext>
              </a:extLst>
            </p:cNvPr>
            <p:cNvSpPr>
              <a:spLocks noChangeShapeType="1"/>
            </p:cNvSpPr>
            <p:nvPr/>
          </p:nvSpPr>
          <p:spPr bwMode="auto">
            <a:xfrm>
              <a:off x="5178332" y="302500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2" name="Line 74">
              <a:extLst>
                <a:ext uri="{FF2B5EF4-FFF2-40B4-BE49-F238E27FC236}">
                  <a16:creationId xmlns:a16="http://schemas.microsoft.com/office/drawing/2014/main" id="{A2327470-A091-4D00-B707-ED95F7F97FA9}"/>
                </a:ext>
              </a:extLst>
            </p:cNvPr>
            <p:cNvSpPr>
              <a:spLocks noChangeShapeType="1"/>
            </p:cNvSpPr>
            <p:nvPr/>
          </p:nvSpPr>
          <p:spPr bwMode="auto">
            <a:xfrm>
              <a:off x="5178332" y="302500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3" name="Line 75">
              <a:extLst>
                <a:ext uri="{FF2B5EF4-FFF2-40B4-BE49-F238E27FC236}">
                  <a16:creationId xmlns:a16="http://schemas.microsoft.com/office/drawing/2014/main" id="{D9F87BDA-E21D-48CC-96FC-D63EB6D47731}"/>
                </a:ext>
              </a:extLst>
            </p:cNvPr>
            <p:cNvSpPr>
              <a:spLocks noChangeShapeType="1"/>
            </p:cNvSpPr>
            <p:nvPr/>
          </p:nvSpPr>
          <p:spPr bwMode="auto">
            <a:xfrm>
              <a:off x="5178332" y="302500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4" name="Line 76">
              <a:extLst>
                <a:ext uri="{FF2B5EF4-FFF2-40B4-BE49-F238E27FC236}">
                  <a16:creationId xmlns:a16="http://schemas.microsoft.com/office/drawing/2014/main" id="{05B12FCC-CE00-487D-B57D-444D302213F6}"/>
                </a:ext>
              </a:extLst>
            </p:cNvPr>
            <p:cNvSpPr>
              <a:spLocks noChangeShapeType="1"/>
            </p:cNvSpPr>
            <p:nvPr/>
          </p:nvSpPr>
          <p:spPr bwMode="auto">
            <a:xfrm>
              <a:off x="5186101" y="302500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5" name="Line 77">
              <a:extLst>
                <a:ext uri="{FF2B5EF4-FFF2-40B4-BE49-F238E27FC236}">
                  <a16:creationId xmlns:a16="http://schemas.microsoft.com/office/drawing/2014/main" id="{54509567-86A0-4318-B59E-C8965EF66A50}"/>
                </a:ext>
              </a:extLst>
            </p:cNvPr>
            <p:cNvSpPr>
              <a:spLocks noChangeShapeType="1"/>
            </p:cNvSpPr>
            <p:nvPr/>
          </p:nvSpPr>
          <p:spPr bwMode="auto">
            <a:xfrm>
              <a:off x="5186101" y="302500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6" name="Line 78">
              <a:extLst>
                <a:ext uri="{FF2B5EF4-FFF2-40B4-BE49-F238E27FC236}">
                  <a16:creationId xmlns:a16="http://schemas.microsoft.com/office/drawing/2014/main" id="{DA84AE14-FFED-49CF-AB7D-D68A3CFDD233}"/>
                </a:ext>
              </a:extLst>
            </p:cNvPr>
            <p:cNvSpPr>
              <a:spLocks noChangeShapeType="1"/>
            </p:cNvSpPr>
            <p:nvPr/>
          </p:nvSpPr>
          <p:spPr bwMode="auto">
            <a:xfrm>
              <a:off x="5186101" y="302500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7" name="Line 79">
              <a:extLst>
                <a:ext uri="{FF2B5EF4-FFF2-40B4-BE49-F238E27FC236}">
                  <a16:creationId xmlns:a16="http://schemas.microsoft.com/office/drawing/2014/main" id="{44465479-41FE-4555-949C-DE2364526036}"/>
                </a:ext>
              </a:extLst>
            </p:cNvPr>
            <p:cNvSpPr>
              <a:spLocks noChangeShapeType="1"/>
            </p:cNvSpPr>
            <p:nvPr/>
          </p:nvSpPr>
          <p:spPr bwMode="auto">
            <a:xfrm>
              <a:off x="5186101" y="302500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8" name="Line 80">
              <a:extLst>
                <a:ext uri="{FF2B5EF4-FFF2-40B4-BE49-F238E27FC236}">
                  <a16:creationId xmlns:a16="http://schemas.microsoft.com/office/drawing/2014/main" id="{7F94E751-3723-4B2A-A46E-94AC25436205}"/>
                </a:ext>
              </a:extLst>
            </p:cNvPr>
            <p:cNvSpPr>
              <a:spLocks noChangeShapeType="1"/>
            </p:cNvSpPr>
            <p:nvPr/>
          </p:nvSpPr>
          <p:spPr bwMode="auto">
            <a:xfrm>
              <a:off x="5180922" y="302759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19" name="Line 81">
              <a:extLst>
                <a:ext uri="{FF2B5EF4-FFF2-40B4-BE49-F238E27FC236}">
                  <a16:creationId xmlns:a16="http://schemas.microsoft.com/office/drawing/2014/main" id="{DB2C2875-962D-4FAF-A103-FC8C753EFACD}"/>
                </a:ext>
              </a:extLst>
            </p:cNvPr>
            <p:cNvSpPr>
              <a:spLocks noChangeShapeType="1"/>
            </p:cNvSpPr>
            <p:nvPr/>
          </p:nvSpPr>
          <p:spPr bwMode="auto">
            <a:xfrm>
              <a:off x="5180922" y="302759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0" name="Line 82">
              <a:extLst>
                <a:ext uri="{FF2B5EF4-FFF2-40B4-BE49-F238E27FC236}">
                  <a16:creationId xmlns:a16="http://schemas.microsoft.com/office/drawing/2014/main" id="{886153EA-E116-4C11-8A3E-C70B6173DC58}"/>
                </a:ext>
              </a:extLst>
            </p:cNvPr>
            <p:cNvSpPr>
              <a:spLocks noChangeShapeType="1"/>
            </p:cNvSpPr>
            <p:nvPr/>
          </p:nvSpPr>
          <p:spPr bwMode="auto">
            <a:xfrm>
              <a:off x="5180922" y="302759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1" name="Line 83">
              <a:extLst>
                <a:ext uri="{FF2B5EF4-FFF2-40B4-BE49-F238E27FC236}">
                  <a16:creationId xmlns:a16="http://schemas.microsoft.com/office/drawing/2014/main" id="{1C7E80E2-F057-4B19-913A-A5D747DD6EB8}"/>
                </a:ext>
              </a:extLst>
            </p:cNvPr>
            <p:cNvSpPr>
              <a:spLocks noChangeShapeType="1"/>
            </p:cNvSpPr>
            <p:nvPr/>
          </p:nvSpPr>
          <p:spPr bwMode="auto">
            <a:xfrm>
              <a:off x="5180922" y="302759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2" name="Line 84">
              <a:extLst>
                <a:ext uri="{FF2B5EF4-FFF2-40B4-BE49-F238E27FC236}">
                  <a16:creationId xmlns:a16="http://schemas.microsoft.com/office/drawing/2014/main" id="{AE657994-DDC0-49E1-BE0C-BB7CA882E061}"/>
                </a:ext>
              </a:extLst>
            </p:cNvPr>
            <p:cNvSpPr>
              <a:spLocks noChangeShapeType="1"/>
            </p:cNvSpPr>
            <p:nvPr/>
          </p:nvSpPr>
          <p:spPr bwMode="auto">
            <a:xfrm>
              <a:off x="5175743" y="299393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3" name="Line 85">
              <a:extLst>
                <a:ext uri="{FF2B5EF4-FFF2-40B4-BE49-F238E27FC236}">
                  <a16:creationId xmlns:a16="http://schemas.microsoft.com/office/drawing/2014/main" id="{DCA93271-705E-46D7-BEE5-378D4805A1D4}"/>
                </a:ext>
              </a:extLst>
            </p:cNvPr>
            <p:cNvSpPr>
              <a:spLocks noChangeShapeType="1"/>
            </p:cNvSpPr>
            <p:nvPr/>
          </p:nvSpPr>
          <p:spPr bwMode="auto">
            <a:xfrm>
              <a:off x="5175743" y="299393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4" name="Line 86">
              <a:extLst>
                <a:ext uri="{FF2B5EF4-FFF2-40B4-BE49-F238E27FC236}">
                  <a16:creationId xmlns:a16="http://schemas.microsoft.com/office/drawing/2014/main" id="{5DDC65C4-7ACD-40AC-840B-C7A6B0111A04}"/>
                </a:ext>
              </a:extLst>
            </p:cNvPr>
            <p:cNvSpPr>
              <a:spLocks noChangeShapeType="1"/>
            </p:cNvSpPr>
            <p:nvPr/>
          </p:nvSpPr>
          <p:spPr bwMode="auto">
            <a:xfrm>
              <a:off x="5175743" y="299393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5" name="Line 87">
              <a:extLst>
                <a:ext uri="{FF2B5EF4-FFF2-40B4-BE49-F238E27FC236}">
                  <a16:creationId xmlns:a16="http://schemas.microsoft.com/office/drawing/2014/main" id="{FF11B69E-D40E-4C34-8729-CCB2660FDD68}"/>
                </a:ext>
              </a:extLst>
            </p:cNvPr>
            <p:cNvSpPr>
              <a:spLocks noChangeShapeType="1"/>
            </p:cNvSpPr>
            <p:nvPr/>
          </p:nvSpPr>
          <p:spPr bwMode="auto">
            <a:xfrm>
              <a:off x="5175743" y="299393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6" name="Line 88">
              <a:extLst>
                <a:ext uri="{FF2B5EF4-FFF2-40B4-BE49-F238E27FC236}">
                  <a16:creationId xmlns:a16="http://schemas.microsoft.com/office/drawing/2014/main" id="{D693FFA6-E186-40DC-84BD-E2D1998741B2}"/>
                </a:ext>
              </a:extLst>
            </p:cNvPr>
            <p:cNvSpPr>
              <a:spLocks noChangeShapeType="1"/>
            </p:cNvSpPr>
            <p:nvPr/>
          </p:nvSpPr>
          <p:spPr bwMode="auto">
            <a:xfrm>
              <a:off x="5180922" y="3009468"/>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7" name="Line 89">
              <a:extLst>
                <a:ext uri="{FF2B5EF4-FFF2-40B4-BE49-F238E27FC236}">
                  <a16:creationId xmlns:a16="http://schemas.microsoft.com/office/drawing/2014/main" id="{2F1F4EAA-4281-4646-A10D-8D08667ED8F6}"/>
                </a:ext>
              </a:extLst>
            </p:cNvPr>
            <p:cNvSpPr>
              <a:spLocks noChangeShapeType="1"/>
            </p:cNvSpPr>
            <p:nvPr/>
          </p:nvSpPr>
          <p:spPr bwMode="auto">
            <a:xfrm>
              <a:off x="5180922" y="3009468"/>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8" name="Line 90">
              <a:extLst>
                <a:ext uri="{FF2B5EF4-FFF2-40B4-BE49-F238E27FC236}">
                  <a16:creationId xmlns:a16="http://schemas.microsoft.com/office/drawing/2014/main" id="{FDEF282C-3198-4826-AC73-08612BFBBE70}"/>
                </a:ext>
              </a:extLst>
            </p:cNvPr>
            <p:cNvSpPr>
              <a:spLocks noChangeShapeType="1"/>
            </p:cNvSpPr>
            <p:nvPr/>
          </p:nvSpPr>
          <p:spPr bwMode="auto">
            <a:xfrm>
              <a:off x="5180922" y="3009468"/>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9" name="Line 91">
              <a:extLst>
                <a:ext uri="{FF2B5EF4-FFF2-40B4-BE49-F238E27FC236}">
                  <a16:creationId xmlns:a16="http://schemas.microsoft.com/office/drawing/2014/main" id="{8FEA6937-6747-4D6D-8F3B-9C123FA0B7A0}"/>
                </a:ext>
              </a:extLst>
            </p:cNvPr>
            <p:cNvSpPr>
              <a:spLocks noChangeShapeType="1"/>
            </p:cNvSpPr>
            <p:nvPr/>
          </p:nvSpPr>
          <p:spPr bwMode="auto">
            <a:xfrm>
              <a:off x="5180922" y="3009468"/>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0" name="Freeform 92">
              <a:extLst>
                <a:ext uri="{FF2B5EF4-FFF2-40B4-BE49-F238E27FC236}">
                  <a16:creationId xmlns:a16="http://schemas.microsoft.com/office/drawing/2014/main" id="{F5A064A9-1AF0-496F-9C55-E6FD834522A3}"/>
                </a:ext>
              </a:extLst>
            </p:cNvPr>
            <p:cNvSpPr>
              <a:spLocks/>
            </p:cNvSpPr>
            <p:nvPr/>
          </p:nvSpPr>
          <p:spPr bwMode="auto">
            <a:xfrm>
              <a:off x="5183512" y="3009468"/>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1" name="Line 93">
              <a:extLst>
                <a:ext uri="{FF2B5EF4-FFF2-40B4-BE49-F238E27FC236}">
                  <a16:creationId xmlns:a16="http://schemas.microsoft.com/office/drawing/2014/main" id="{C6D2C717-3FCC-4C92-84A3-92482688DC0E}"/>
                </a:ext>
              </a:extLst>
            </p:cNvPr>
            <p:cNvSpPr>
              <a:spLocks noChangeShapeType="1"/>
            </p:cNvSpPr>
            <p:nvPr/>
          </p:nvSpPr>
          <p:spPr bwMode="auto">
            <a:xfrm>
              <a:off x="5183512" y="3009468"/>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2" name="Freeform 94">
              <a:extLst>
                <a:ext uri="{FF2B5EF4-FFF2-40B4-BE49-F238E27FC236}">
                  <a16:creationId xmlns:a16="http://schemas.microsoft.com/office/drawing/2014/main" id="{9A81471C-8388-4C41-8A16-805F888A2682}"/>
                </a:ext>
              </a:extLst>
            </p:cNvPr>
            <p:cNvSpPr>
              <a:spLocks/>
            </p:cNvSpPr>
            <p:nvPr/>
          </p:nvSpPr>
          <p:spPr bwMode="auto">
            <a:xfrm>
              <a:off x="5183512" y="3009468"/>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3" name="Line 95">
              <a:extLst>
                <a:ext uri="{FF2B5EF4-FFF2-40B4-BE49-F238E27FC236}">
                  <a16:creationId xmlns:a16="http://schemas.microsoft.com/office/drawing/2014/main" id="{B7B58C45-EB0C-40B2-B1CD-1BACB26805D3}"/>
                </a:ext>
              </a:extLst>
            </p:cNvPr>
            <p:cNvSpPr>
              <a:spLocks noChangeShapeType="1"/>
            </p:cNvSpPr>
            <p:nvPr/>
          </p:nvSpPr>
          <p:spPr bwMode="auto">
            <a:xfrm>
              <a:off x="5183512" y="3009468"/>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4" name="Line 96">
              <a:extLst>
                <a:ext uri="{FF2B5EF4-FFF2-40B4-BE49-F238E27FC236}">
                  <a16:creationId xmlns:a16="http://schemas.microsoft.com/office/drawing/2014/main" id="{13ACEACE-877E-42E5-9D5C-1E9F516180E6}"/>
                </a:ext>
              </a:extLst>
            </p:cNvPr>
            <p:cNvSpPr>
              <a:spLocks noChangeShapeType="1"/>
            </p:cNvSpPr>
            <p:nvPr/>
          </p:nvSpPr>
          <p:spPr bwMode="auto">
            <a:xfrm>
              <a:off x="5173153" y="299134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5" name="Line 97">
              <a:extLst>
                <a:ext uri="{FF2B5EF4-FFF2-40B4-BE49-F238E27FC236}">
                  <a16:creationId xmlns:a16="http://schemas.microsoft.com/office/drawing/2014/main" id="{2066B6E8-C98A-459A-B2ED-8A0F4358B61C}"/>
                </a:ext>
              </a:extLst>
            </p:cNvPr>
            <p:cNvSpPr>
              <a:spLocks noChangeShapeType="1"/>
            </p:cNvSpPr>
            <p:nvPr/>
          </p:nvSpPr>
          <p:spPr bwMode="auto">
            <a:xfrm>
              <a:off x="5173153" y="299134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6" name="Line 98">
              <a:extLst>
                <a:ext uri="{FF2B5EF4-FFF2-40B4-BE49-F238E27FC236}">
                  <a16:creationId xmlns:a16="http://schemas.microsoft.com/office/drawing/2014/main" id="{BF09F27E-4230-4239-B9F2-462723E10375}"/>
                </a:ext>
              </a:extLst>
            </p:cNvPr>
            <p:cNvSpPr>
              <a:spLocks noChangeShapeType="1"/>
            </p:cNvSpPr>
            <p:nvPr/>
          </p:nvSpPr>
          <p:spPr bwMode="auto">
            <a:xfrm>
              <a:off x="5173153" y="299134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7" name="Line 99">
              <a:extLst>
                <a:ext uri="{FF2B5EF4-FFF2-40B4-BE49-F238E27FC236}">
                  <a16:creationId xmlns:a16="http://schemas.microsoft.com/office/drawing/2014/main" id="{A11572A8-D22F-4536-BE09-0CB42BB3E77F}"/>
                </a:ext>
              </a:extLst>
            </p:cNvPr>
            <p:cNvSpPr>
              <a:spLocks noChangeShapeType="1"/>
            </p:cNvSpPr>
            <p:nvPr/>
          </p:nvSpPr>
          <p:spPr bwMode="auto">
            <a:xfrm>
              <a:off x="5173153" y="299134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8" name="Line 100">
              <a:extLst>
                <a:ext uri="{FF2B5EF4-FFF2-40B4-BE49-F238E27FC236}">
                  <a16:creationId xmlns:a16="http://schemas.microsoft.com/office/drawing/2014/main" id="{F9FB002A-3A3C-4490-8FDA-A8FCC96AF4B1}"/>
                </a:ext>
              </a:extLst>
            </p:cNvPr>
            <p:cNvSpPr>
              <a:spLocks noChangeShapeType="1"/>
            </p:cNvSpPr>
            <p:nvPr/>
          </p:nvSpPr>
          <p:spPr bwMode="auto">
            <a:xfrm>
              <a:off x="5165384" y="2983572"/>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9" name="Line 101">
              <a:extLst>
                <a:ext uri="{FF2B5EF4-FFF2-40B4-BE49-F238E27FC236}">
                  <a16:creationId xmlns:a16="http://schemas.microsoft.com/office/drawing/2014/main" id="{C829821D-78A2-406D-93E0-8A373AF8195E}"/>
                </a:ext>
              </a:extLst>
            </p:cNvPr>
            <p:cNvSpPr>
              <a:spLocks noChangeShapeType="1"/>
            </p:cNvSpPr>
            <p:nvPr/>
          </p:nvSpPr>
          <p:spPr bwMode="auto">
            <a:xfrm>
              <a:off x="5165384" y="2983572"/>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0" name="Line 102">
              <a:extLst>
                <a:ext uri="{FF2B5EF4-FFF2-40B4-BE49-F238E27FC236}">
                  <a16:creationId xmlns:a16="http://schemas.microsoft.com/office/drawing/2014/main" id="{344F8AC8-F52F-4E0B-B047-2D77C0F83902}"/>
                </a:ext>
              </a:extLst>
            </p:cNvPr>
            <p:cNvSpPr>
              <a:spLocks noChangeShapeType="1"/>
            </p:cNvSpPr>
            <p:nvPr/>
          </p:nvSpPr>
          <p:spPr bwMode="auto">
            <a:xfrm>
              <a:off x="5165384" y="2983572"/>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1" name="Line 103">
              <a:extLst>
                <a:ext uri="{FF2B5EF4-FFF2-40B4-BE49-F238E27FC236}">
                  <a16:creationId xmlns:a16="http://schemas.microsoft.com/office/drawing/2014/main" id="{AE1FE874-F107-440E-8AB9-711AB0D55660}"/>
                </a:ext>
              </a:extLst>
            </p:cNvPr>
            <p:cNvSpPr>
              <a:spLocks noChangeShapeType="1"/>
            </p:cNvSpPr>
            <p:nvPr/>
          </p:nvSpPr>
          <p:spPr bwMode="auto">
            <a:xfrm>
              <a:off x="5165384" y="2983572"/>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2" name="Line 104">
              <a:extLst>
                <a:ext uri="{FF2B5EF4-FFF2-40B4-BE49-F238E27FC236}">
                  <a16:creationId xmlns:a16="http://schemas.microsoft.com/office/drawing/2014/main" id="{220D1DC2-3D73-4196-BD16-47131A6B57DF}"/>
                </a:ext>
              </a:extLst>
            </p:cNvPr>
            <p:cNvSpPr>
              <a:spLocks noChangeShapeType="1"/>
            </p:cNvSpPr>
            <p:nvPr/>
          </p:nvSpPr>
          <p:spPr bwMode="auto">
            <a:xfrm>
              <a:off x="5170564" y="298875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3" name="Line 105">
              <a:extLst>
                <a:ext uri="{FF2B5EF4-FFF2-40B4-BE49-F238E27FC236}">
                  <a16:creationId xmlns:a16="http://schemas.microsoft.com/office/drawing/2014/main" id="{C6D9BC04-C76F-4F5B-A963-0CD9E3BC6B39}"/>
                </a:ext>
              </a:extLst>
            </p:cNvPr>
            <p:cNvSpPr>
              <a:spLocks noChangeShapeType="1"/>
            </p:cNvSpPr>
            <p:nvPr/>
          </p:nvSpPr>
          <p:spPr bwMode="auto">
            <a:xfrm>
              <a:off x="5170564" y="298875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4" name="Line 106">
              <a:extLst>
                <a:ext uri="{FF2B5EF4-FFF2-40B4-BE49-F238E27FC236}">
                  <a16:creationId xmlns:a16="http://schemas.microsoft.com/office/drawing/2014/main" id="{2CD2D33B-EF54-46C6-8C42-E27B7AFB8015}"/>
                </a:ext>
              </a:extLst>
            </p:cNvPr>
            <p:cNvSpPr>
              <a:spLocks noChangeShapeType="1"/>
            </p:cNvSpPr>
            <p:nvPr/>
          </p:nvSpPr>
          <p:spPr bwMode="auto">
            <a:xfrm>
              <a:off x="5170564" y="298875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5" name="Line 107">
              <a:extLst>
                <a:ext uri="{FF2B5EF4-FFF2-40B4-BE49-F238E27FC236}">
                  <a16:creationId xmlns:a16="http://schemas.microsoft.com/office/drawing/2014/main" id="{FA7922C7-A701-43C8-9C37-52297D1C64AE}"/>
                </a:ext>
              </a:extLst>
            </p:cNvPr>
            <p:cNvSpPr>
              <a:spLocks noChangeShapeType="1"/>
            </p:cNvSpPr>
            <p:nvPr/>
          </p:nvSpPr>
          <p:spPr bwMode="auto">
            <a:xfrm>
              <a:off x="5170564" y="298875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6" name="Freeform 108">
              <a:extLst>
                <a:ext uri="{FF2B5EF4-FFF2-40B4-BE49-F238E27FC236}">
                  <a16:creationId xmlns:a16="http://schemas.microsoft.com/office/drawing/2014/main" id="{184CB5FC-33B8-4AC8-B9D3-06E029922C14}"/>
                </a:ext>
              </a:extLst>
            </p:cNvPr>
            <p:cNvSpPr>
              <a:spLocks/>
            </p:cNvSpPr>
            <p:nvPr/>
          </p:nvSpPr>
          <p:spPr bwMode="auto">
            <a:xfrm>
              <a:off x="5152436" y="3014648"/>
              <a:ext cx="2590" cy="2590"/>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7" name="Line 109">
              <a:extLst>
                <a:ext uri="{FF2B5EF4-FFF2-40B4-BE49-F238E27FC236}">
                  <a16:creationId xmlns:a16="http://schemas.microsoft.com/office/drawing/2014/main" id="{3319B794-041E-4A25-97A0-6A41EE96658B}"/>
                </a:ext>
              </a:extLst>
            </p:cNvPr>
            <p:cNvSpPr>
              <a:spLocks noChangeShapeType="1"/>
            </p:cNvSpPr>
            <p:nvPr/>
          </p:nvSpPr>
          <p:spPr bwMode="auto">
            <a:xfrm>
              <a:off x="5152436" y="3014648"/>
              <a:ext cx="2590"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8" name="Freeform 110">
              <a:extLst>
                <a:ext uri="{FF2B5EF4-FFF2-40B4-BE49-F238E27FC236}">
                  <a16:creationId xmlns:a16="http://schemas.microsoft.com/office/drawing/2014/main" id="{2B33050B-F78F-41E3-A844-98A51B707A53}"/>
                </a:ext>
              </a:extLst>
            </p:cNvPr>
            <p:cNvSpPr>
              <a:spLocks/>
            </p:cNvSpPr>
            <p:nvPr/>
          </p:nvSpPr>
          <p:spPr bwMode="auto">
            <a:xfrm>
              <a:off x="5152436" y="3014648"/>
              <a:ext cx="2590" cy="2590"/>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49" name="Line 111">
              <a:extLst>
                <a:ext uri="{FF2B5EF4-FFF2-40B4-BE49-F238E27FC236}">
                  <a16:creationId xmlns:a16="http://schemas.microsoft.com/office/drawing/2014/main" id="{BCF537DD-83E1-486F-A059-B598596DEC61}"/>
                </a:ext>
              </a:extLst>
            </p:cNvPr>
            <p:cNvSpPr>
              <a:spLocks noChangeShapeType="1"/>
            </p:cNvSpPr>
            <p:nvPr/>
          </p:nvSpPr>
          <p:spPr bwMode="auto">
            <a:xfrm>
              <a:off x="5152436" y="3014648"/>
              <a:ext cx="2590"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0" name="Freeform 112">
              <a:extLst>
                <a:ext uri="{FF2B5EF4-FFF2-40B4-BE49-F238E27FC236}">
                  <a16:creationId xmlns:a16="http://schemas.microsoft.com/office/drawing/2014/main" id="{1A89978A-3D64-4BB8-BF60-BD8D30E7EEEE}"/>
                </a:ext>
              </a:extLst>
            </p:cNvPr>
            <p:cNvSpPr>
              <a:spLocks/>
            </p:cNvSpPr>
            <p:nvPr/>
          </p:nvSpPr>
          <p:spPr bwMode="auto">
            <a:xfrm>
              <a:off x="5152436" y="3009468"/>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1" name="Line 113">
              <a:extLst>
                <a:ext uri="{FF2B5EF4-FFF2-40B4-BE49-F238E27FC236}">
                  <a16:creationId xmlns:a16="http://schemas.microsoft.com/office/drawing/2014/main" id="{3A66565D-FEDD-4C72-8E2B-D24334504D21}"/>
                </a:ext>
              </a:extLst>
            </p:cNvPr>
            <p:cNvSpPr>
              <a:spLocks noChangeShapeType="1"/>
            </p:cNvSpPr>
            <p:nvPr/>
          </p:nvSpPr>
          <p:spPr bwMode="auto">
            <a:xfrm>
              <a:off x="5152436" y="3009468"/>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2" name="Freeform 114">
              <a:extLst>
                <a:ext uri="{FF2B5EF4-FFF2-40B4-BE49-F238E27FC236}">
                  <a16:creationId xmlns:a16="http://schemas.microsoft.com/office/drawing/2014/main" id="{1EFC177C-0589-44EA-AC2F-0533226D2CD9}"/>
                </a:ext>
              </a:extLst>
            </p:cNvPr>
            <p:cNvSpPr>
              <a:spLocks/>
            </p:cNvSpPr>
            <p:nvPr/>
          </p:nvSpPr>
          <p:spPr bwMode="auto">
            <a:xfrm>
              <a:off x="5152436" y="3009468"/>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3" name="Line 115">
              <a:extLst>
                <a:ext uri="{FF2B5EF4-FFF2-40B4-BE49-F238E27FC236}">
                  <a16:creationId xmlns:a16="http://schemas.microsoft.com/office/drawing/2014/main" id="{46D0766A-9F9B-46E3-B311-56DE23FD0469}"/>
                </a:ext>
              </a:extLst>
            </p:cNvPr>
            <p:cNvSpPr>
              <a:spLocks noChangeShapeType="1"/>
            </p:cNvSpPr>
            <p:nvPr/>
          </p:nvSpPr>
          <p:spPr bwMode="auto">
            <a:xfrm>
              <a:off x="5152436" y="3009468"/>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4" name="Line 116">
              <a:extLst>
                <a:ext uri="{FF2B5EF4-FFF2-40B4-BE49-F238E27FC236}">
                  <a16:creationId xmlns:a16="http://schemas.microsoft.com/office/drawing/2014/main" id="{6E30CFA2-7261-4D79-B31D-AACC39BD6C3C}"/>
                </a:ext>
              </a:extLst>
            </p:cNvPr>
            <p:cNvSpPr>
              <a:spLocks noChangeShapeType="1"/>
            </p:cNvSpPr>
            <p:nvPr/>
          </p:nvSpPr>
          <p:spPr bwMode="auto">
            <a:xfrm>
              <a:off x="5157615" y="299393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5" name="Line 117">
              <a:extLst>
                <a:ext uri="{FF2B5EF4-FFF2-40B4-BE49-F238E27FC236}">
                  <a16:creationId xmlns:a16="http://schemas.microsoft.com/office/drawing/2014/main" id="{B8243A12-408B-4758-975B-42B562A29668}"/>
                </a:ext>
              </a:extLst>
            </p:cNvPr>
            <p:cNvSpPr>
              <a:spLocks noChangeShapeType="1"/>
            </p:cNvSpPr>
            <p:nvPr/>
          </p:nvSpPr>
          <p:spPr bwMode="auto">
            <a:xfrm>
              <a:off x="5157615" y="299393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6" name="Line 118">
              <a:extLst>
                <a:ext uri="{FF2B5EF4-FFF2-40B4-BE49-F238E27FC236}">
                  <a16:creationId xmlns:a16="http://schemas.microsoft.com/office/drawing/2014/main" id="{CE71409C-A346-4F25-9EB7-717460739FDE}"/>
                </a:ext>
              </a:extLst>
            </p:cNvPr>
            <p:cNvSpPr>
              <a:spLocks noChangeShapeType="1"/>
            </p:cNvSpPr>
            <p:nvPr/>
          </p:nvSpPr>
          <p:spPr bwMode="auto">
            <a:xfrm>
              <a:off x="5157615" y="2993931"/>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7" name="Line 119">
              <a:extLst>
                <a:ext uri="{FF2B5EF4-FFF2-40B4-BE49-F238E27FC236}">
                  <a16:creationId xmlns:a16="http://schemas.microsoft.com/office/drawing/2014/main" id="{B1809A63-E2AC-41E7-AE4E-C74BD9DB28A3}"/>
                </a:ext>
              </a:extLst>
            </p:cNvPr>
            <p:cNvSpPr>
              <a:spLocks noChangeShapeType="1"/>
            </p:cNvSpPr>
            <p:nvPr/>
          </p:nvSpPr>
          <p:spPr bwMode="auto">
            <a:xfrm>
              <a:off x="5157615" y="2993931"/>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8" name="Freeform 120">
              <a:extLst>
                <a:ext uri="{FF2B5EF4-FFF2-40B4-BE49-F238E27FC236}">
                  <a16:creationId xmlns:a16="http://schemas.microsoft.com/office/drawing/2014/main" id="{79FC691C-557C-4D60-87EB-D1354C7736D3}"/>
                </a:ext>
              </a:extLst>
            </p:cNvPr>
            <p:cNvSpPr>
              <a:spLocks/>
            </p:cNvSpPr>
            <p:nvPr/>
          </p:nvSpPr>
          <p:spPr bwMode="auto">
            <a:xfrm>
              <a:off x="5149847" y="2993931"/>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9" name="Line 121">
              <a:extLst>
                <a:ext uri="{FF2B5EF4-FFF2-40B4-BE49-F238E27FC236}">
                  <a16:creationId xmlns:a16="http://schemas.microsoft.com/office/drawing/2014/main" id="{046CF87F-2227-43AB-AE2E-4F417C753AA2}"/>
                </a:ext>
              </a:extLst>
            </p:cNvPr>
            <p:cNvSpPr>
              <a:spLocks noChangeShapeType="1"/>
            </p:cNvSpPr>
            <p:nvPr/>
          </p:nvSpPr>
          <p:spPr bwMode="auto">
            <a:xfrm>
              <a:off x="5149847" y="2993931"/>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0" name="Freeform 122">
              <a:extLst>
                <a:ext uri="{FF2B5EF4-FFF2-40B4-BE49-F238E27FC236}">
                  <a16:creationId xmlns:a16="http://schemas.microsoft.com/office/drawing/2014/main" id="{F1EC9563-DF64-46FF-81F9-8AAD9D5BDC5C}"/>
                </a:ext>
              </a:extLst>
            </p:cNvPr>
            <p:cNvSpPr>
              <a:spLocks/>
            </p:cNvSpPr>
            <p:nvPr/>
          </p:nvSpPr>
          <p:spPr bwMode="auto">
            <a:xfrm>
              <a:off x="5149847" y="2993931"/>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1" name="Line 123">
              <a:extLst>
                <a:ext uri="{FF2B5EF4-FFF2-40B4-BE49-F238E27FC236}">
                  <a16:creationId xmlns:a16="http://schemas.microsoft.com/office/drawing/2014/main" id="{4E023CB6-2896-4C4F-898B-40FC92B75486}"/>
                </a:ext>
              </a:extLst>
            </p:cNvPr>
            <p:cNvSpPr>
              <a:spLocks noChangeShapeType="1"/>
            </p:cNvSpPr>
            <p:nvPr/>
          </p:nvSpPr>
          <p:spPr bwMode="auto">
            <a:xfrm>
              <a:off x="5149847" y="2993931"/>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2" name="Line 124">
              <a:extLst>
                <a:ext uri="{FF2B5EF4-FFF2-40B4-BE49-F238E27FC236}">
                  <a16:creationId xmlns:a16="http://schemas.microsoft.com/office/drawing/2014/main" id="{DF48598F-5D2F-40AC-B098-8468A03FF109}"/>
                </a:ext>
              </a:extLst>
            </p:cNvPr>
            <p:cNvSpPr>
              <a:spLocks noChangeShapeType="1"/>
            </p:cNvSpPr>
            <p:nvPr/>
          </p:nvSpPr>
          <p:spPr bwMode="auto">
            <a:xfrm>
              <a:off x="5165384" y="3009468"/>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3" name="Line 125">
              <a:extLst>
                <a:ext uri="{FF2B5EF4-FFF2-40B4-BE49-F238E27FC236}">
                  <a16:creationId xmlns:a16="http://schemas.microsoft.com/office/drawing/2014/main" id="{9D56C339-1642-414A-872F-4544114DD1E3}"/>
                </a:ext>
              </a:extLst>
            </p:cNvPr>
            <p:cNvSpPr>
              <a:spLocks noChangeShapeType="1"/>
            </p:cNvSpPr>
            <p:nvPr/>
          </p:nvSpPr>
          <p:spPr bwMode="auto">
            <a:xfrm>
              <a:off x="5165384" y="3009468"/>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4" name="Line 126">
              <a:extLst>
                <a:ext uri="{FF2B5EF4-FFF2-40B4-BE49-F238E27FC236}">
                  <a16:creationId xmlns:a16="http://schemas.microsoft.com/office/drawing/2014/main" id="{E1EA4E40-5EA0-4D9E-844C-C09FF730F73C}"/>
                </a:ext>
              </a:extLst>
            </p:cNvPr>
            <p:cNvSpPr>
              <a:spLocks noChangeShapeType="1"/>
            </p:cNvSpPr>
            <p:nvPr/>
          </p:nvSpPr>
          <p:spPr bwMode="auto">
            <a:xfrm>
              <a:off x="5165384" y="3009468"/>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5" name="Line 127">
              <a:extLst>
                <a:ext uri="{FF2B5EF4-FFF2-40B4-BE49-F238E27FC236}">
                  <a16:creationId xmlns:a16="http://schemas.microsoft.com/office/drawing/2014/main" id="{9E95A913-14D7-4C14-8C91-29E9B3E96547}"/>
                </a:ext>
              </a:extLst>
            </p:cNvPr>
            <p:cNvSpPr>
              <a:spLocks noChangeShapeType="1"/>
            </p:cNvSpPr>
            <p:nvPr/>
          </p:nvSpPr>
          <p:spPr bwMode="auto">
            <a:xfrm>
              <a:off x="5165384" y="3009468"/>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6" name="Line 128">
              <a:extLst>
                <a:ext uri="{FF2B5EF4-FFF2-40B4-BE49-F238E27FC236}">
                  <a16:creationId xmlns:a16="http://schemas.microsoft.com/office/drawing/2014/main" id="{5FEEDFEF-F400-4D3F-B7FA-C7E7B9ED8F26}"/>
                </a:ext>
              </a:extLst>
            </p:cNvPr>
            <p:cNvSpPr>
              <a:spLocks noChangeShapeType="1"/>
            </p:cNvSpPr>
            <p:nvPr/>
          </p:nvSpPr>
          <p:spPr bwMode="auto">
            <a:xfrm>
              <a:off x="5167974" y="3001699"/>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7" name="Line 129">
              <a:extLst>
                <a:ext uri="{FF2B5EF4-FFF2-40B4-BE49-F238E27FC236}">
                  <a16:creationId xmlns:a16="http://schemas.microsoft.com/office/drawing/2014/main" id="{C17E45AE-705E-4D5E-8A4A-2D00189DA2F9}"/>
                </a:ext>
              </a:extLst>
            </p:cNvPr>
            <p:cNvSpPr>
              <a:spLocks noChangeShapeType="1"/>
            </p:cNvSpPr>
            <p:nvPr/>
          </p:nvSpPr>
          <p:spPr bwMode="auto">
            <a:xfrm>
              <a:off x="5167974" y="3001699"/>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8" name="Line 130">
              <a:extLst>
                <a:ext uri="{FF2B5EF4-FFF2-40B4-BE49-F238E27FC236}">
                  <a16:creationId xmlns:a16="http://schemas.microsoft.com/office/drawing/2014/main" id="{09D41DD1-85F5-4D95-B285-763AC8DBBD41}"/>
                </a:ext>
              </a:extLst>
            </p:cNvPr>
            <p:cNvSpPr>
              <a:spLocks noChangeShapeType="1"/>
            </p:cNvSpPr>
            <p:nvPr/>
          </p:nvSpPr>
          <p:spPr bwMode="auto">
            <a:xfrm>
              <a:off x="5167974" y="3001699"/>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69" name="Line 131">
              <a:extLst>
                <a:ext uri="{FF2B5EF4-FFF2-40B4-BE49-F238E27FC236}">
                  <a16:creationId xmlns:a16="http://schemas.microsoft.com/office/drawing/2014/main" id="{CA93C98E-4427-46B2-B4E4-A3F2F97D125F}"/>
                </a:ext>
              </a:extLst>
            </p:cNvPr>
            <p:cNvSpPr>
              <a:spLocks noChangeShapeType="1"/>
            </p:cNvSpPr>
            <p:nvPr/>
          </p:nvSpPr>
          <p:spPr bwMode="auto">
            <a:xfrm>
              <a:off x="5167974" y="3001699"/>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0" name="Line 132">
              <a:extLst>
                <a:ext uri="{FF2B5EF4-FFF2-40B4-BE49-F238E27FC236}">
                  <a16:creationId xmlns:a16="http://schemas.microsoft.com/office/drawing/2014/main" id="{C1F893BB-9709-49F4-A015-11BCDE036B7F}"/>
                </a:ext>
              </a:extLst>
            </p:cNvPr>
            <p:cNvSpPr>
              <a:spLocks noChangeShapeType="1"/>
            </p:cNvSpPr>
            <p:nvPr/>
          </p:nvSpPr>
          <p:spPr bwMode="auto">
            <a:xfrm>
              <a:off x="5191280" y="302759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1" name="Line 133">
              <a:extLst>
                <a:ext uri="{FF2B5EF4-FFF2-40B4-BE49-F238E27FC236}">
                  <a16:creationId xmlns:a16="http://schemas.microsoft.com/office/drawing/2014/main" id="{79B1F415-E1FA-4235-BC3C-33D59A426E80}"/>
                </a:ext>
              </a:extLst>
            </p:cNvPr>
            <p:cNvSpPr>
              <a:spLocks noChangeShapeType="1"/>
            </p:cNvSpPr>
            <p:nvPr/>
          </p:nvSpPr>
          <p:spPr bwMode="auto">
            <a:xfrm>
              <a:off x="5191280" y="302759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2" name="Line 134">
              <a:extLst>
                <a:ext uri="{FF2B5EF4-FFF2-40B4-BE49-F238E27FC236}">
                  <a16:creationId xmlns:a16="http://schemas.microsoft.com/office/drawing/2014/main" id="{971E7ACE-4111-46F2-BD02-9B13B96D6283}"/>
                </a:ext>
              </a:extLst>
            </p:cNvPr>
            <p:cNvSpPr>
              <a:spLocks noChangeShapeType="1"/>
            </p:cNvSpPr>
            <p:nvPr/>
          </p:nvSpPr>
          <p:spPr bwMode="auto">
            <a:xfrm>
              <a:off x="5191280" y="3027596"/>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3" name="Line 135">
              <a:extLst>
                <a:ext uri="{FF2B5EF4-FFF2-40B4-BE49-F238E27FC236}">
                  <a16:creationId xmlns:a16="http://schemas.microsoft.com/office/drawing/2014/main" id="{0516F6AE-DBF4-4787-A3DD-50385696C4ED}"/>
                </a:ext>
              </a:extLst>
            </p:cNvPr>
            <p:cNvSpPr>
              <a:spLocks noChangeShapeType="1"/>
            </p:cNvSpPr>
            <p:nvPr/>
          </p:nvSpPr>
          <p:spPr bwMode="auto">
            <a:xfrm>
              <a:off x="5191280" y="3027596"/>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4" name="Freeform 136">
              <a:extLst>
                <a:ext uri="{FF2B5EF4-FFF2-40B4-BE49-F238E27FC236}">
                  <a16:creationId xmlns:a16="http://schemas.microsoft.com/office/drawing/2014/main" id="{1D4FAC78-D9D9-4EAD-9698-421F7F9A68DA}"/>
                </a:ext>
              </a:extLst>
            </p:cNvPr>
            <p:cNvSpPr>
              <a:spLocks/>
            </p:cNvSpPr>
            <p:nvPr/>
          </p:nvSpPr>
          <p:spPr bwMode="auto">
            <a:xfrm>
              <a:off x="5103234" y="2993931"/>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5" name="Line 137">
              <a:extLst>
                <a:ext uri="{FF2B5EF4-FFF2-40B4-BE49-F238E27FC236}">
                  <a16:creationId xmlns:a16="http://schemas.microsoft.com/office/drawing/2014/main" id="{FB1C28DB-46D7-42E0-8B84-D69E8F34DAB1}"/>
                </a:ext>
              </a:extLst>
            </p:cNvPr>
            <p:cNvSpPr>
              <a:spLocks noChangeShapeType="1"/>
            </p:cNvSpPr>
            <p:nvPr/>
          </p:nvSpPr>
          <p:spPr bwMode="auto">
            <a:xfrm>
              <a:off x="5103234" y="2993931"/>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6" name="Freeform 138">
              <a:extLst>
                <a:ext uri="{FF2B5EF4-FFF2-40B4-BE49-F238E27FC236}">
                  <a16:creationId xmlns:a16="http://schemas.microsoft.com/office/drawing/2014/main" id="{364F50F8-C424-46F9-9B3A-750B8EA20697}"/>
                </a:ext>
              </a:extLst>
            </p:cNvPr>
            <p:cNvSpPr>
              <a:spLocks/>
            </p:cNvSpPr>
            <p:nvPr/>
          </p:nvSpPr>
          <p:spPr bwMode="auto">
            <a:xfrm>
              <a:off x="5103234" y="2993931"/>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7" name="Line 139">
              <a:extLst>
                <a:ext uri="{FF2B5EF4-FFF2-40B4-BE49-F238E27FC236}">
                  <a16:creationId xmlns:a16="http://schemas.microsoft.com/office/drawing/2014/main" id="{ACD14098-1B20-417C-A250-EE35E353B521}"/>
                </a:ext>
              </a:extLst>
            </p:cNvPr>
            <p:cNvSpPr>
              <a:spLocks noChangeShapeType="1"/>
            </p:cNvSpPr>
            <p:nvPr/>
          </p:nvSpPr>
          <p:spPr bwMode="auto">
            <a:xfrm>
              <a:off x="5103234" y="2993931"/>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8" name="Freeform 140">
              <a:extLst>
                <a:ext uri="{FF2B5EF4-FFF2-40B4-BE49-F238E27FC236}">
                  <a16:creationId xmlns:a16="http://schemas.microsoft.com/office/drawing/2014/main" id="{58F4EBA0-9197-4CC0-B130-1B6225685203}"/>
                </a:ext>
              </a:extLst>
            </p:cNvPr>
            <p:cNvSpPr>
              <a:spLocks/>
            </p:cNvSpPr>
            <p:nvPr/>
          </p:nvSpPr>
          <p:spPr bwMode="auto">
            <a:xfrm>
              <a:off x="5103234" y="2996520"/>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9" name="Line 141">
              <a:extLst>
                <a:ext uri="{FF2B5EF4-FFF2-40B4-BE49-F238E27FC236}">
                  <a16:creationId xmlns:a16="http://schemas.microsoft.com/office/drawing/2014/main" id="{9A80AD23-BDE3-419C-9933-66DE8CABDD44}"/>
                </a:ext>
              </a:extLst>
            </p:cNvPr>
            <p:cNvSpPr>
              <a:spLocks noChangeShapeType="1"/>
            </p:cNvSpPr>
            <p:nvPr/>
          </p:nvSpPr>
          <p:spPr bwMode="auto">
            <a:xfrm>
              <a:off x="5103234" y="2996520"/>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0" name="Freeform 142">
              <a:extLst>
                <a:ext uri="{FF2B5EF4-FFF2-40B4-BE49-F238E27FC236}">
                  <a16:creationId xmlns:a16="http://schemas.microsoft.com/office/drawing/2014/main" id="{00FE5B8D-2FD4-45F2-94FB-5ED18FD75295}"/>
                </a:ext>
              </a:extLst>
            </p:cNvPr>
            <p:cNvSpPr>
              <a:spLocks/>
            </p:cNvSpPr>
            <p:nvPr/>
          </p:nvSpPr>
          <p:spPr bwMode="auto">
            <a:xfrm>
              <a:off x="5103234" y="2996520"/>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1" name="Line 143">
              <a:extLst>
                <a:ext uri="{FF2B5EF4-FFF2-40B4-BE49-F238E27FC236}">
                  <a16:creationId xmlns:a16="http://schemas.microsoft.com/office/drawing/2014/main" id="{EC5231AF-48BD-4DE9-ABA7-1D48AD0E80C1}"/>
                </a:ext>
              </a:extLst>
            </p:cNvPr>
            <p:cNvSpPr>
              <a:spLocks noChangeShapeType="1"/>
            </p:cNvSpPr>
            <p:nvPr/>
          </p:nvSpPr>
          <p:spPr bwMode="auto">
            <a:xfrm>
              <a:off x="5103234" y="2996520"/>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2" name="Freeform 144">
              <a:extLst>
                <a:ext uri="{FF2B5EF4-FFF2-40B4-BE49-F238E27FC236}">
                  <a16:creationId xmlns:a16="http://schemas.microsoft.com/office/drawing/2014/main" id="{F1F9AB53-126B-4ECB-8037-F9769D2C6BF9}"/>
                </a:ext>
              </a:extLst>
            </p:cNvPr>
            <p:cNvSpPr>
              <a:spLocks/>
            </p:cNvSpPr>
            <p:nvPr/>
          </p:nvSpPr>
          <p:spPr bwMode="auto">
            <a:xfrm>
              <a:off x="5147257" y="3004289"/>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3" name="Line 145">
              <a:extLst>
                <a:ext uri="{FF2B5EF4-FFF2-40B4-BE49-F238E27FC236}">
                  <a16:creationId xmlns:a16="http://schemas.microsoft.com/office/drawing/2014/main" id="{E5C0A55F-2350-4EE7-BC34-48CED71C9C67}"/>
                </a:ext>
              </a:extLst>
            </p:cNvPr>
            <p:cNvSpPr>
              <a:spLocks noChangeShapeType="1"/>
            </p:cNvSpPr>
            <p:nvPr/>
          </p:nvSpPr>
          <p:spPr bwMode="auto">
            <a:xfrm>
              <a:off x="5147257" y="3004289"/>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4" name="Freeform 146">
              <a:extLst>
                <a:ext uri="{FF2B5EF4-FFF2-40B4-BE49-F238E27FC236}">
                  <a16:creationId xmlns:a16="http://schemas.microsoft.com/office/drawing/2014/main" id="{F334F592-3450-417C-97DB-E6E998EBAFDA}"/>
                </a:ext>
              </a:extLst>
            </p:cNvPr>
            <p:cNvSpPr>
              <a:spLocks/>
            </p:cNvSpPr>
            <p:nvPr/>
          </p:nvSpPr>
          <p:spPr bwMode="auto">
            <a:xfrm>
              <a:off x="5147257" y="3004289"/>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5" name="Line 147">
              <a:extLst>
                <a:ext uri="{FF2B5EF4-FFF2-40B4-BE49-F238E27FC236}">
                  <a16:creationId xmlns:a16="http://schemas.microsoft.com/office/drawing/2014/main" id="{4699D31F-5F64-4B89-82DA-93D537566F77}"/>
                </a:ext>
              </a:extLst>
            </p:cNvPr>
            <p:cNvSpPr>
              <a:spLocks noChangeShapeType="1"/>
            </p:cNvSpPr>
            <p:nvPr/>
          </p:nvSpPr>
          <p:spPr bwMode="auto">
            <a:xfrm>
              <a:off x="5147257" y="3004289"/>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6" name="Line 148">
              <a:extLst>
                <a:ext uri="{FF2B5EF4-FFF2-40B4-BE49-F238E27FC236}">
                  <a16:creationId xmlns:a16="http://schemas.microsoft.com/office/drawing/2014/main" id="{CAD89988-00FF-46D2-A1AC-22D8B87BB8CA}"/>
                </a:ext>
              </a:extLst>
            </p:cNvPr>
            <p:cNvSpPr>
              <a:spLocks noChangeShapeType="1"/>
            </p:cNvSpPr>
            <p:nvPr/>
          </p:nvSpPr>
          <p:spPr bwMode="auto">
            <a:xfrm>
              <a:off x="5095465" y="3001699"/>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7" name="Line 149">
              <a:extLst>
                <a:ext uri="{FF2B5EF4-FFF2-40B4-BE49-F238E27FC236}">
                  <a16:creationId xmlns:a16="http://schemas.microsoft.com/office/drawing/2014/main" id="{557F6647-63E4-4F4C-9F1E-DEE68377CC0C}"/>
                </a:ext>
              </a:extLst>
            </p:cNvPr>
            <p:cNvSpPr>
              <a:spLocks noChangeShapeType="1"/>
            </p:cNvSpPr>
            <p:nvPr/>
          </p:nvSpPr>
          <p:spPr bwMode="auto">
            <a:xfrm>
              <a:off x="5095465" y="3001699"/>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8" name="Line 150">
              <a:extLst>
                <a:ext uri="{FF2B5EF4-FFF2-40B4-BE49-F238E27FC236}">
                  <a16:creationId xmlns:a16="http://schemas.microsoft.com/office/drawing/2014/main" id="{C67645EF-91D5-437A-B2DF-74368BC7D2F7}"/>
                </a:ext>
              </a:extLst>
            </p:cNvPr>
            <p:cNvSpPr>
              <a:spLocks noChangeShapeType="1"/>
            </p:cNvSpPr>
            <p:nvPr/>
          </p:nvSpPr>
          <p:spPr bwMode="auto">
            <a:xfrm>
              <a:off x="5095465" y="3001699"/>
              <a:ext cx="1295" cy="1295"/>
            </a:xfrm>
            <a:prstGeom prst="line">
              <a:avLst/>
            </a:pr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89" name="Line 151">
              <a:extLst>
                <a:ext uri="{FF2B5EF4-FFF2-40B4-BE49-F238E27FC236}">
                  <a16:creationId xmlns:a16="http://schemas.microsoft.com/office/drawing/2014/main" id="{3E5F7E1C-27D4-475F-8765-8EA8CB966ED9}"/>
                </a:ext>
              </a:extLst>
            </p:cNvPr>
            <p:cNvSpPr>
              <a:spLocks noChangeShapeType="1"/>
            </p:cNvSpPr>
            <p:nvPr/>
          </p:nvSpPr>
          <p:spPr bwMode="auto">
            <a:xfrm>
              <a:off x="5095465" y="3001699"/>
              <a:ext cx="1295"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0" name="Freeform 152">
              <a:extLst>
                <a:ext uri="{FF2B5EF4-FFF2-40B4-BE49-F238E27FC236}">
                  <a16:creationId xmlns:a16="http://schemas.microsoft.com/office/drawing/2014/main" id="{1828573D-2FF8-4A03-8A7B-E5CC30614870}"/>
                </a:ext>
              </a:extLst>
            </p:cNvPr>
            <p:cNvSpPr>
              <a:spLocks/>
            </p:cNvSpPr>
            <p:nvPr/>
          </p:nvSpPr>
          <p:spPr bwMode="auto">
            <a:xfrm>
              <a:off x="4751047" y="3027596"/>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1" name="Line 153">
              <a:extLst>
                <a:ext uri="{FF2B5EF4-FFF2-40B4-BE49-F238E27FC236}">
                  <a16:creationId xmlns:a16="http://schemas.microsoft.com/office/drawing/2014/main" id="{5C6D0B37-C0E0-467F-B64E-D2EB84CCEA24}"/>
                </a:ext>
              </a:extLst>
            </p:cNvPr>
            <p:cNvSpPr>
              <a:spLocks noChangeShapeType="1"/>
            </p:cNvSpPr>
            <p:nvPr/>
          </p:nvSpPr>
          <p:spPr bwMode="auto">
            <a:xfrm>
              <a:off x="4751047" y="3027596"/>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2" name="Freeform 154">
              <a:extLst>
                <a:ext uri="{FF2B5EF4-FFF2-40B4-BE49-F238E27FC236}">
                  <a16:creationId xmlns:a16="http://schemas.microsoft.com/office/drawing/2014/main" id="{A10F4F24-AA1D-4C91-8D2F-962AB274D743}"/>
                </a:ext>
              </a:extLst>
            </p:cNvPr>
            <p:cNvSpPr>
              <a:spLocks/>
            </p:cNvSpPr>
            <p:nvPr/>
          </p:nvSpPr>
          <p:spPr bwMode="auto">
            <a:xfrm>
              <a:off x="4751047" y="3027596"/>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3" name="Line 155">
              <a:extLst>
                <a:ext uri="{FF2B5EF4-FFF2-40B4-BE49-F238E27FC236}">
                  <a16:creationId xmlns:a16="http://schemas.microsoft.com/office/drawing/2014/main" id="{E718C548-418E-4927-AF6E-51E958E00A25}"/>
                </a:ext>
              </a:extLst>
            </p:cNvPr>
            <p:cNvSpPr>
              <a:spLocks noChangeShapeType="1"/>
            </p:cNvSpPr>
            <p:nvPr/>
          </p:nvSpPr>
          <p:spPr bwMode="auto">
            <a:xfrm>
              <a:off x="4751047" y="3027596"/>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4" name="Freeform 156">
              <a:extLst>
                <a:ext uri="{FF2B5EF4-FFF2-40B4-BE49-F238E27FC236}">
                  <a16:creationId xmlns:a16="http://schemas.microsoft.com/office/drawing/2014/main" id="{329EABCE-4302-46B8-A607-86BB287551A1}"/>
                </a:ext>
              </a:extLst>
            </p:cNvPr>
            <p:cNvSpPr>
              <a:spLocks/>
            </p:cNvSpPr>
            <p:nvPr/>
          </p:nvSpPr>
          <p:spPr bwMode="auto">
            <a:xfrm>
              <a:off x="4751047" y="3030185"/>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5" name="Line 157">
              <a:extLst>
                <a:ext uri="{FF2B5EF4-FFF2-40B4-BE49-F238E27FC236}">
                  <a16:creationId xmlns:a16="http://schemas.microsoft.com/office/drawing/2014/main" id="{39DB8382-F523-434E-BBD6-81D3974F4D2D}"/>
                </a:ext>
              </a:extLst>
            </p:cNvPr>
            <p:cNvSpPr>
              <a:spLocks noChangeShapeType="1"/>
            </p:cNvSpPr>
            <p:nvPr/>
          </p:nvSpPr>
          <p:spPr bwMode="auto">
            <a:xfrm>
              <a:off x="4751047" y="3030185"/>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6" name="Freeform 158">
              <a:extLst>
                <a:ext uri="{FF2B5EF4-FFF2-40B4-BE49-F238E27FC236}">
                  <a16:creationId xmlns:a16="http://schemas.microsoft.com/office/drawing/2014/main" id="{2766B7D1-EECE-4EBD-B41D-1B1B815CE587}"/>
                </a:ext>
              </a:extLst>
            </p:cNvPr>
            <p:cNvSpPr>
              <a:spLocks/>
            </p:cNvSpPr>
            <p:nvPr/>
          </p:nvSpPr>
          <p:spPr bwMode="auto">
            <a:xfrm>
              <a:off x="4751047" y="3030185"/>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7" name="Line 159">
              <a:extLst>
                <a:ext uri="{FF2B5EF4-FFF2-40B4-BE49-F238E27FC236}">
                  <a16:creationId xmlns:a16="http://schemas.microsoft.com/office/drawing/2014/main" id="{6E618AD9-A352-4D01-B304-BB721A563F2E}"/>
                </a:ext>
              </a:extLst>
            </p:cNvPr>
            <p:cNvSpPr>
              <a:spLocks noChangeShapeType="1"/>
            </p:cNvSpPr>
            <p:nvPr/>
          </p:nvSpPr>
          <p:spPr bwMode="auto">
            <a:xfrm>
              <a:off x="4751047" y="3030185"/>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8" name="Freeform 160">
              <a:extLst>
                <a:ext uri="{FF2B5EF4-FFF2-40B4-BE49-F238E27FC236}">
                  <a16:creationId xmlns:a16="http://schemas.microsoft.com/office/drawing/2014/main" id="{82ECA86F-0065-4F12-8CAB-703633333397}"/>
                </a:ext>
              </a:extLst>
            </p:cNvPr>
            <p:cNvSpPr>
              <a:spLocks/>
            </p:cNvSpPr>
            <p:nvPr/>
          </p:nvSpPr>
          <p:spPr bwMode="auto">
            <a:xfrm>
              <a:off x="4774353" y="3012058"/>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9" name="Line 161">
              <a:extLst>
                <a:ext uri="{FF2B5EF4-FFF2-40B4-BE49-F238E27FC236}">
                  <a16:creationId xmlns:a16="http://schemas.microsoft.com/office/drawing/2014/main" id="{BDC36819-6D24-4F04-B2F2-9B60B75334CE}"/>
                </a:ext>
              </a:extLst>
            </p:cNvPr>
            <p:cNvSpPr>
              <a:spLocks noChangeShapeType="1"/>
            </p:cNvSpPr>
            <p:nvPr/>
          </p:nvSpPr>
          <p:spPr bwMode="auto">
            <a:xfrm>
              <a:off x="4774353" y="3012058"/>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0" name="Freeform 162">
              <a:extLst>
                <a:ext uri="{FF2B5EF4-FFF2-40B4-BE49-F238E27FC236}">
                  <a16:creationId xmlns:a16="http://schemas.microsoft.com/office/drawing/2014/main" id="{90633110-B5EA-4E0D-ADA0-159B254B0F6F}"/>
                </a:ext>
              </a:extLst>
            </p:cNvPr>
            <p:cNvSpPr>
              <a:spLocks/>
            </p:cNvSpPr>
            <p:nvPr/>
          </p:nvSpPr>
          <p:spPr bwMode="auto">
            <a:xfrm>
              <a:off x="4774353" y="3012058"/>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1" name="Line 163">
              <a:extLst>
                <a:ext uri="{FF2B5EF4-FFF2-40B4-BE49-F238E27FC236}">
                  <a16:creationId xmlns:a16="http://schemas.microsoft.com/office/drawing/2014/main" id="{1BB9EF0A-731A-4F92-B702-85C398ACD030}"/>
                </a:ext>
              </a:extLst>
            </p:cNvPr>
            <p:cNvSpPr>
              <a:spLocks noChangeShapeType="1"/>
            </p:cNvSpPr>
            <p:nvPr/>
          </p:nvSpPr>
          <p:spPr bwMode="auto">
            <a:xfrm>
              <a:off x="4774353" y="3012058"/>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2" name="Freeform 164">
              <a:extLst>
                <a:ext uri="{FF2B5EF4-FFF2-40B4-BE49-F238E27FC236}">
                  <a16:creationId xmlns:a16="http://schemas.microsoft.com/office/drawing/2014/main" id="{7C0E5969-F448-4A77-905F-6F1384FEB60D}"/>
                </a:ext>
              </a:extLst>
            </p:cNvPr>
            <p:cNvSpPr>
              <a:spLocks/>
            </p:cNvSpPr>
            <p:nvPr/>
          </p:nvSpPr>
          <p:spPr bwMode="auto">
            <a:xfrm>
              <a:off x="4779532" y="3017237"/>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3" name="Line 165">
              <a:extLst>
                <a:ext uri="{FF2B5EF4-FFF2-40B4-BE49-F238E27FC236}">
                  <a16:creationId xmlns:a16="http://schemas.microsoft.com/office/drawing/2014/main" id="{FEBB6109-47CD-41A7-BF44-09D511BC2ACF}"/>
                </a:ext>
              </a:extLst>
            </p:cNvPr>
            <p:cNvSpPr>
              <a:spLocks noChangeShapeType="1"/>
            </p:cNvSpPr>
            <p:nvPr/>
          </p:nvSpPr>
          <p:spPr bwMode="auto">
            <a:xfrm>
              <a:off x="4779532" y="3017237"/>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4" name="Freeform 166">
              <a:extLst>
                <a:ext uri="{FF2B5EF4-FFF2-40B4-BE49-F238E27FC236}">
                  <a16:creationId xmlns:a16="http://schemas.microsoft.com/office/drawing/2014/main" id="{AF9C8B3E-C813-43FD-9842-D8B06390CF52}"/>
                </a:ext>
              </a:extLst>
            </p:cNvPr>
            <p:cNvSpPr>
              <a:spLocks/>
            </p:cNvSpPr>
            <p:nvPr/>
          </p:nvSpPr>
          <p:spPr bwMode="auto">
            <a:xfrm>
              <a:off x="4779532" y="3017237"/>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5" name="Line 167">
              <a:extLst>
                <a:ext uri="{FF2B5EF4-FFF2-40B4-BE49-F238E27FC236}">
                  <a16:creationId xmlns:a16="http://schemas.microsoft.com/office/drawing/2014/main" id="{1A1D9EA5-41EB-4F96-A9AA-D04CBCA2292B}"/>
                </a:ext>
              </a:extLst>
            </p:cNvPr>
            <p:cNvSpPr>
              <a:spLocks noChangeShapeType="1"/>
            </p:cNvSpPr>
            <p:nvPr/>
          </p:nvSpPr>
          <p:spPr bwMode="auto">
            <a:xfrm>
              <a:off x="4779532" y="3017237"/>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6" name="Freeform 168">
              <a:extLst>
                <a:ext uri="{FF2B5EF4-FFF2-40B4-BE49-F238E27FC236}">
                  <a16:creationId xmlns:a16="http://schemas.microsoft.com/office/drawing/2014/main" id="{6E3F41CF-7695-4FB0-873B-C5DB2CE49A03}"/>
                </a:ext>
              </a:extLst>
            </p:cNvPr>
            <p:cNvSpPr>
              <a:spLocks/>
            </p:cNvSpPr>
            <p:nvPr/>
          </p:nvSpPr>
          <p:spPr bwMode="auto">
            <a:xfrm>
              <a:off x="4890886" y="2978393"/>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7" name="Line 169">
              <a:extLst>
                <a:ext uri="{FF2B5EF4-FFF2-40B4-BE49-F238E27FC236}">
                  <a16:creationId xmlns:a16="http://schemas.microsoft.com/office/drawing/2014/main" id="{5550C050-B93B-45C9-A347-A40B76759E30}"/>
                </a:ext>
              </a:extLst>
            </p:cNvPr>
            <p:cNvSpPr>
              <a:spLocks noChangeShapeType="1"/>
            </p:cNvSpPr>
            <p:nvPr/>
          </p:nvSpPr>
          <p:spPr bwMode="auto">
            <a:xfrm>
              <a:off x="4890886" y="2978393"/>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8" name="Freeform 170">
              <a:extLst>
                <a:ext uri="{FF2B5EF4-FFF2-40B4-BE49-F238E27FC236}">
                  <a16:creationId xmlns:a16="http://schemas.microsoft.com/office/drawing/2014/main" id="{5B50F1FB-B04F-494B-8160-E2A0B2100957}"/>
                </a:ext>
              </a:extLst>
            </p:cNvPr>
            <p:cNvSpPr>
              <a:spLocks/>
            </p:cNvSpPr>
            <p:nvPr/>
          </p:nvSpPr>
          <p:spPr bwMode="auto">
            <a:xfrm>
              <a:off x="4890886" y="2978393"/>
              <a:ext cx="2590" cy="1295"/>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9" name="Line 171">
              <a:extLst>
                <a:ext uri="{FF2B5EF4-FFF2-40B4-BE49-F238E27FC236}">
                  <a16:creationId xmlns:a16="http://schemas.microsoft.com/office/drawing/2014/main" id="{A08EE88B-E8A4-492A-AC19-372699013DAF}"/>
                </a:ext>
              </a:extLst>
            </p:cNvPr>
            <p:cNvSpPr>
              <a:spLocks noChangeShapeType="1"/>
            </p:cNvSpPr>
            <p:nvPr/>
          </p:nvSpPr>
          <p:spPr bwMode="auto">
            <a:xfrm>
              <a:off x="4890886" y="2978393"/>
              <a:ext cx="2590" cy="1295"/>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0" name="Freeform 172">
              <a:extLst>
                <a:ext uri="{FF2B5EF4-FFF2-40B4-BE49-F238E27FC236}">
                  <a16:creationId xmlns:a16="http://schemas.microsoft.com/office/drawing/2014/main" id="{64A4293E-71FD-41B7-BB89-C7462A74ABD4}"/>
                </a:ext>
              </a:extLst>
            </p:cNvPr>
            <p:cNvSpPr>
              <a:spLocks/>
            </p:cNvSpPr>
            <p:nvPr/>
          </p:nvSpPr>
          <p:spPr bwMode="auto">
            <a:xfrm>
              <a:off x="3391501" y="3687946"/>
              <a:ext cx="147608" cy="113943"/>
            </a:xfrm>
            <a:custGeom>
              <a:avLst/>
              <a:gdLst/>
              <a:ahLst/>
              <a:cxnLst>
                <a:cxn ang="0">
                  <a:pos x="114" y="58"/>
                </a:cxn>
                <a:cxn ang="0">
                  <a:pos x="108" y="58"/>
                </a:cxn>
                <a:cxn ang="0">
                  <a:pos x="106" y="60"/>
                </a:cxn>
                <a:cxn ang="0">
                  <a:pos x="102" y="58"/>
                </a:cxn>
                <a:cxn ang="0">
                  <a:pos x="96" y="56"/>
                </a:cxn>
                <a:cxn ang="0">
                  <a:pos x="94" y="52"/>
                </a:cxn>
                <a:cxn ang="0">
                  <a:pos x="94" y="48"/>
                </a:cxn>
                <a:cxn ang="0">
                  <a:pos x="94" y="42"/>
                </a:cxn>
                <a:cxn ang="0">
                  <a:pos x="96" y="38"/>
                </a:cxn>
                <a:cxn ang="0">
                  <a:pos x="94" y="34"/>
                </a:cxn>
                <a:cxn ang="0">
                  <a:pos x="94" y="30"/>
                </a:cxn>
                <a:cxn ang="0">
                  <a:pos x="92" y="24"/>
                </a:cxn>
                <a:cxn ang="0">
                  <a:pos x="84" y="14"/>
                </a:cxn>
                <a:cxn ang="0">
                  <a:pos x="78" y="2"/>
                </a:cxn>
                <a:cxn ang="0">
                  <a:pos x="72" y="0"/>
                </a:cxn>
                <a:cxn ang="0">
                  <a:pos x="66" y="6"/>
                </a:cxn>
                <a:cxn ang="0">
                  <a:pos x="60" y="8"/>
                </a:cxn>
                <a:cxn ang="0">
                  <a:pos x="56" y="12"/>
                </a:cxn>
                <a:cxn ang="0">
                  <a:pos x="50" y="10"/>
                </a:cxn>
                <a:cxn ang="0">
                  <a:pos x="44" y="8"/>
                </a:cxn>
                <a:cxn ang="0">
                  <a:pos x="34" y="6"/>
                </a:cxn>
                <a:cxn ang="0">
                  <a:pos x="30" y="2"/>
                </a:cxn>
                <a:cxn ang="0">
                  <a:pos x="26" y="18"/>
                </a:cxn>
                <a:cxn ang="0">
                  <a:pos x="18" y="26"/>
                </a:cxn>
                <a:cxn ang="0">
                  <a:pos x="16" y="40"/>
                </a:cxn>
                <a:cxn ang="0">
                  <a:pos x="10" y="48"/>
                </a:cxn>
                <a:cxn ang="0">
                  <a:pos x="4" y="52"/>
                </a:cxn>
                <a:cxn ang="0">
                  <a:pos x="4" y="56"/>
                </a:cxn>
                <a:cxn ang="0">
                  <a:pos x="8" y="62"/>
                </a:cxn>
                <a:cxn ang="0">
                  <a:pos x="10" y="66"/>
                </a:cxn>
                <a:cxn ang="0">
                  <a:pos x="14" y="70"/>
                </a:cxn>
                <a:cxn ang="0">
                  <a:pos x="18" y="70"/>
                </a:cxn>
                <a:cxn ang="0">
                  <a:pos x="20" y="66"/>
                </a:cxn>
                <a:cxn ang="0">
                  <a:pos x="28" y="70"/>
                </a:cxn>
                <a:cxn ang="0">
                  <a:pos x="28" y="72"/>
                </a:cxn>
                <a:cxn ang="0">
                  <a:pos x="24" y="74"/>
                </a:cxn>
                <a:cxn ang="0">
                  <a:pos x="30" y="80"/>
                </a:cxn>
                <a:cxn ang="0">
                  <a:pos x="36" y="82"/>
                </a:cxn>
                <a:cxn ang="0">
                  <a:pos x="38" y="84"/>
                </a:cxn>
                <a:cxn ang="0">
                  <a:pos x="36" y="88"/>
                </a:cxn>
                <a:cxn ang="0">
                  <a:pos x="42" y="88"/>
                </a:cxn>
                <a:cxn ang="0">
                  <a:pos x="48" y="86"/>
                </a:cxn>
                <a:cxn ang="0">
                  <a:pos x="54" y="88"/>
                </a:cxn>
                <a:cxn ang="0">
                  <a:pos x="64" y="86"/>
                </a:cxn>
                <a:cxn ang="0">
                  <a:pos x="72" y="80"/>
                </a:cxn>
                <a:cxn ang="0">
                  <a:pos x="80" y="82"/>
                </a:cxn>
                <a:cxn ang="0">
                  <a:pos x="86" y="82"/>
                </a:cxn>
                <a:cxn ang="0">
                  <a:pos x="94" y="80"/>
                </a:cxn>
                <a:cxn ang="0">
                  <a:pos x="104" y="82"/>
                </a:cxn>
                <a:cxn ang="0">
                  <a:pos x="104" y="78"/>
                </a:cxn>
                <a:cxn ang="0">
                  <a:pos x="106" y="74"/>
                </a:cxn>
                <a:cxn ang="0">
                  <a:pos x="110" y="74"/>
                </a:cxn>
                <a:cxn ang="0">
                  <a:pos x="112" y="70"/>
                </a:cxn>
                <a:cxn ang="0">
                  <a:pos x="114" y="62"/>
                </a:cxn>
                <a:cxn ang="0">
                  <a:pos x="112" y="60"/>
                </a:cxn>
                <a:cxn ang="0">
                  <a:pos x="114" y="58"/>
                </a:cxn>
              </a:cxnLst>
              <a:rect l="0" t="0" r="r" b="b"/>
              <a:pathLst>
                <a:path w="114" h="88">
                  <a:moveTo>
                    <a:pt x="114" y="58"/>
                  </a:moveTo>
                  <a:lnTo>
                    <a:pt x="114" y="58"/>
                  </a:lnTo>
                  <a:lnTo>
                    <a:pt x="112" y="58"/>
                  </a:lnTo>
                  <a:lnTo>
                    <a:pt x="108" y="58"/>
                  </a:lnTo>
                  <a:lnTo>
                    <a:pt x="106" y="58"/>
                  </a:lnTo>
                  <a:lnTo>
                    <a:pt x="106" y="60"/>
                  </a:lnTo>
                  <a:lnTo>
                    <a:pt x="104" y="60"/>
                  </a:lnTo>
                  <a:lnTo>
                    <a:pt x="102" y="58"/>
                  </a:lnTo>
                  <a:lnTo>
                    <a:pt x="100" y="58"/>
                  </a:lnTo>
                  <a:lnTo>
                    <a:pt x="96" y="56"/>
                  </a:lnTo>
                  <a:lnTo>
                    <a:pt x="94" y="54"/>
                  </a:lnTo>
                  <a:lnTo>
                    <a:pt x="94" y="52"/>
                  </a:lnTo>
                  <a:lnTo>
                    <a:pt x="96" y="50"/>
                  </a:lnTo>
                  <a:lnTo>
                    <a:pt x="94" y="48"/>
                  </a:lnTo>
                  <a:lnTo>
                    <a:pt x="94" y="48"/>
                  </a:lnTo>
                  <a:lnTo>
                    <a:pt x="94" y="42"/>
                  </a:lnTo>
                  <a:lnTo>
                    <a:pt x="94" y="40"/>
                  </a:lnTo>
                  <a:lnTo>
                    <a:pt x="96" y="38"/>
                  </a:lnTo>
                  <a:lnTo>
                    <a:pt x="94" y="36"/>
                  </a:lnTo>
                  <a:lnTo>
                    <a:pt x="94" y="34"/>
                  </a:lnTo>
                  <a:lnTo>
                    <a:pt x="94" y="32"/>
                  </a:lnTo>
                  <a:lnTo>
                    <a:pt x="94" y="30"/>
                  </a:lnTo>
                  <a:lnTo>
                    <a:pt x="94" y="28"/>
                  </a:lnTo>
                  <a:lnTo>
                    <a:pt x="92" y="24"/>
                  </a:lnTo>
                  <a:lnTo>
                    <a:pt x="88" y="18"/>
                  </a:lnTo>
                  <a:lnTo>
                    <a:pt x="84" y="14"/>
                  </a:lnTo>
                  <a:lnTo>
                    <a:pt x="84" y="10"/>
                  </a:lnTo>
                  <a:lnTo>
                    <a:pt x="78" y="2"/>
                  </a:lnTo>
                  <a:lnTo>
                    <a:pt x="74" y="0"/>
                  </a:lnTo>
                  <a:lnTo>
                    <a:pt x="72" y="0"/>
                  </a:lnTo>
                  <a:lnTo>
                    <a:pt x="68" y="4"/>
                  </a:lnTo>
                  <a:lnTo>
                    <a:pt x="66" y="6"/>
                  </a:lnTo>
                  <a:lnTo>
                    <a:pt x="62" y="8"/>
                  </a:lnTo>
                  <a:lnTo>
                    <a:pt x="60" y="8"/>
                  </a:lnTo>
                  <a:lnTo>
                    <a:pt x="60" y="10"/>
                  </a:lnTo>
                  <a:lnTo>
                    <a:pt x="56" y="12"/>
                  </a:lnTo>
                  <a:lnTo>
                    <a:pt x="52" y="14"/>
                  </a:lnTo>
                  <a:lnTo>
                    <a:pt x="50" y="10"/>
                  </a:lnTo>
                  <a:lnTo>
                    <a:pt x="48" y="8"/>
                  </a:lnTo>
                  <a:lnTo>
                    <a:pt x="44" y="8"/>
                  </a:lnTo>
                  <a:lnTo>
                    <a:pt x="38" y="8"/>
                  </a:lnTo>
                  <a:lnTo>
                    <a:pt x="34" y="6"/>
                  </a:lnTo>
                  <a:lnTo>
                    <a:pt x="32" y="2"/>
                  </a:lnTo>
                  <a:lnTo>
                    <a:pt x="30" y="2"/>
                  </a:lnTo>
                  <a:lnTo>
                    <a:pt x="28" y="14"/>
                  </a:lnTo>
                  <a:lnTo>
                    <a:pt x="26" y="18"/>
                  </a:lnTo>
                  <a:lnTo>
                    <a:pt x="20" y="22"/>
                  </a:lnTo>
                  <a:lnTo>
                    <a:pt x="18" y="26"/>
                  </a:lnTo>
                  <a:lnTo>
                    <a:pt x="16" y="32"/>
                  </a:lnTo>
                  <a:lnTo>
                    <a:pt x="16" y="40"/>
                  </a:lnTo>
                  <a:lnTo>
                    <a:pt x="14" y="46"/>
                  </a:lnTo>
                  <a:lnTo>
                    <a:pt x="10" y="48"/>
                  </a:lnTo>
                  <a:lnTo>
                    <a:pt x="8" y="50"/>
                  </a:lnTo>
                  <a:lnTo>
                    <a:pt x="4" y="52"/>
                  </a:lnTo>
                  <a:lnTo>
                    <a:pt x="0" y="52"/>
                  </a:lnTo>
                  <a:lnTo>
                    <a:pt x="4" y="56"/>
                  </a:lnTo>
                  <a:lnTo>
                    <a:pt x="6" y="58"/>
                  </a:lnTo>
                  <a:lnTo>
                    <a:pt x="8" y="62"/>
                  </a:lnTo>
                  <a:lnTo>
                    <a:pt x="6" y="66"/>
                  </a:lnTo>
                  <a:lnTo>
                    <a:pt x="10" y="66"/>
                  </a:lnTo>
                  <a:lnTo>
                    <a:pt x="12" y="66"/>
                  </a:lnTo>
                  <a:lnTo>
                    <a:pt x="14" y="70"/>
                  </a:lnTo>
                  <a:lnTo>
                    <a:pt x="16" y="72"/>
                  </a:lnTo>
                  <a:lnTo>
                    <a:pt x="18" y="70"/>
                  </a:lnTo>
                  <a:lnTo>
                    <a:pt x="20" y="68"/>
                  </a:lnTo>
                  <a:lnTo>
                    <a:pt x="20" y="66"/>
                  </a:lnTo>
                  <a:lnTo>
                    <a:pt x="24" y="66"/>
                  </a:lnTo>
                  <a:lnTo>
                    <a:pt x="28" y="70"/>
                  </a:lnTo>
                  <a:lnTo>
                    <a:pt x="30" y="72"/>
                  </a:lnTo>
                  <a:lnTo>
                    <a:pt x="28" y="72"/>
                  </a:lnTo>
                  <a:lnTo>
                    <a:pt x="24" y="72"/>
                  </a:lnTo>
                  <a:lnTo>
                    <a:pt x="24" y="74"/>
                  </a:lnTo>
                  <a:lnTo>
                    <a:pt x="26" y="78"/>
                  </a:lnTo>
                  <a:lnTo>
                    <a:pt x="30" y="80"/>
                  </a:lnTo>
                  <a:lnTo>
                    <a:pt x="32" y="80"/>
                  </a:lnTo>
                  <a:lnTo>
                    <a:pt x="36" y="82"/>
                  </a:lnTo>
                  <a:lnTo>
                    <a:pt x="38" y="82"/>
                  </a:lnTo>
                  <a:lnTo>
                    <a:pt x="38" y="84"/>
                  </a:lnTo>
                  <a:lnTo>
                    <a:pt x="36" y="86"/>
                  </a:lnTo>
                  <a:lnTo>
                    <a:pt x="36" y="88"/>
                  </a:lnTo>
                  <a:lnTo>
                    <a:pt x="38" y="88"/>
                  </a:lnTo>
                  <a:lnTo>
                    <a:pt x="42" y="88"/>
                  </a:lnTo>
                  <a:lnTo>
                    <a:pt x="46" y="88"/>
                  </a:lnTo>
                  <a:lnTo>
                    <a:pt x="48" y="86"/>
                  </a:lnTo>
                  <a:lnTo>
                    <a:pt x="50" y="88"/>
                  </a:lnTo>
                  <a:lnTo>
                    <a:pt x="54" y="88"/>
                  </a:lnTo>
                  <a:lnTo>
                    <a:pt x="60" y="88"/>
                  </a:lnTo>
                  <a:lnTo>
                    <a:pt x="64" y="86"/>
                  </a:lnTo>
                  <a:lnTo>
                    <a:pt x="68" y="84"/>
                  </a:lnTo>
                  <a:lnTo>
                    <a:pt x="72" y="80"/>
                  </a:lnTo>
                  <a:lnTo>
                    <a:pt x="76" y="80"/>
                  </a:lnTo>
                  <a:lnTo>
                    <a:pt x="80" y="82"/>
                  </a:lnTo>
                  <a:lnTo>
                    <a:pt x="82" y="84"/>
                  </a:lnTo>
                  <a:lnTo>
                    <a:pt x="86" y="82"/>
                  </a:lnTo>
                  <a:lnTo>
                    <a:pt x="90" y="80"/>
                  </a:lnTo>
                  <a:lnTo>
                    <a:pt x="94" y="80"/>
                  </a:lnTo>
                  <a:lnTo>
                    <a:pt x="100" y="84"/>
                  </a:lnTo>
                  <a:lnTo>
                    <a:pt x="104" y="82"/>
                  </a:lnTo>
                  <a:lnTo>
                    <a:pt x="104" y="80"/>
                  </a:lnTo>
                  <a:lnTo>
                    <a:pt x="104" y="78"/>
                  </a:lnTo>
                  <a:lnTo>
                    <a:pt x="104" y="76"/>
                  </a:lnTo>
                  <a:lnTo>
                    <a:pt x="106" y="74"/>
                  </a:lnTo>
                  <a:lnTo>
                    <a:pt x="110" y="76"/>
                  </a:lnTo>
                  <a:lnTo>
                    <a:pt x="110" y="74"/>
                  </a:lnTo>
                  <a:lnTo>
                    <a:pt x="112" y="74"/>
                  </a:lnTo>
                  <a:lnTo>
                    <a:pt x="112" y="70"/>
                  </a:lnTo>
                  <a:lnTo>
                    <a:pt x="112" y="64"/>
                  </a:lnTo>
                  <a:lnTo>
                    <a:pt x="114" y="62"/>
                  </a:lnTo>
                  <a:lnTo>
                    <a:pt x="112" y="62"/>
                  </a:lnTo>
                  <a:lnTo>
                    <a:pt x="112" y="60"/>
                  </a:lnTo>
                  <a:lnTo>
                    <a:pt x="114" y="60"/>
                  </a:lnTo>
                  <a:lnTo>
                    <a:pt x="114" y="58"/>
                  </a:lnTo>
                  <a:lnTo>
                    <a:pt x="114" y="5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1" name="Freeform 173">
              <a:extLst>
                <a:ext uri="{FF2B5EF4-FFF2-40B4-BE49-F238E27FC236}">
                  <a16:creationId xmlns:a16="http://schemas.microsoft.com/office/drawing/2014/main" id="{91D0D8D9-72C3-4C08-9F7E-2354A96FBF75}"/>
                </a:ext>
              </a:extLst>
            </p:cNvPr>
            <p:cNvSpPr>
              <a:spLocks/>
            </p:cNvSpPr>
            <p:nvPr/>
          </p:nvSpPr>
          <p:spPr bwMode="auto">
            <a:xfrm>
              <a:off x="3883527" y="4205869"/>
              <a:ext cx="15538" cy="23306"/>
            </a:xfrm>
            <a:custGeom>
              <a:avLst/>
              <a:gdLst/>
              <a:ahLst/>
              <a:cxnLst>
                <a:cxn ang="0">
                  <a:pos x="0" y="12"/>
                </a:cxn>
                <a:cxn ang="0">
                  <a:pos x="0" y="12"/>
                </a:cxn>
                <a:cxn ang="0">
                  <a:pos x="0" y="10"/>
                </a:cxn>
                <a:cxn ang="0">
                  <a:pos x="6" y="6"/>
                </a:cxn>
                <a:cxn ang="0">
                  <a:pos x="8" y="0"/>
                </a:cxn>
                <a:cxn ang="0">
                  <a:pos x="10" y="0"/>
                </a:cxn>
                <a:cxn ang="0">
                  <a:pos x="12" y="8"/>
                </a:cxn>
                <a:cxn ang="0">
                  <a:pos x="12" y="18"/>
                </a:cxn>
                <a:cxn ang="0">
                  <a:pos x="6" y="16"/>
                </a:cxn>
                <a:cxn ang="0">
                  <a:pos x="0" y="12"/>
                </a:cxn>
                <a:cxn ang="0">
                  <a:pos x="0" y="12"/>
                </a:cxn>
              </a:cxnLst>
              <a:rect l="0" t="0" r="r" b="b"/>
              <a:pathLst>
                <a:path w="12" h="18">
                  <a:moveTo>
                    <a:pt x="0" y="12"/>
                  </a:moveTo>
                  <a:lnTo>
                    <a:pt x="0" y="12"/>
                  </a:lnTo>
                  <a:lnTo>
                    <a:pt x="0" y="10"/>
                  </a:lnTo>
                  <a:lnTo>
                    <a:pt x="6" y="6"/>
                  </a:lnTo>
                  <a:lnTo>
                    <a:pt x="8" y="0"/>
                  </a:lnTo>
                  <a:lnTo>
                    <a:pt x="10" y="0"/>
                  </a:lnTo>
                  <a:lnTo>
                    <a:pt x="12" y="8"/>
                  </a:lnTo>
                  <a:lnTo>
                    <a:pt x="12" y="18"/>
                  </a:lnTo>
                  <a:lnTo>
                    <a:pt x="6" y="16"/>
                  </a:lnTo>
                  <a:lnTo>
                    <a:pt x="0" y="12"/>
                  </a:lnTo>
                  <a:lnTo>
                    <a:pt x="0"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2" name="Freeform 174">
              <a:extLst>
                <a:ext uri="{FF2B5EF4-FFF2-40B4-BE49-F238E27FC236}">
                  <a16:creationId xmlns:a16="http://schemas.microsoft.com/office/drawing/2014/main" id="{9581C0BD-4FE8-4547-8100-E827087F8771}"/>
                </a:ext>
              </a:extLst>
            </p:cNvPr>
            <p:cNvSpPr>
              <a:spLocks/>
            </p:cNvSpPr>
            <p:nvPr/>
          </p:nvSpPr>
          <p:spPr bwMode="auto">
            <a:xfrm>
              <a:off x="3883527" y="4205869"/>
              <a:ext cx="15538" cy="23306"/>
            </a:xfrm>
            <a:custGeom>
              <a:avLst/>
              <a:gdLst/>
              <a:ahLst/>
              <a:cxnLst>
                <a:cxn ang="0">
                  <a:pos x="0" y="12"/>
                </a:cxn>
                <a:cxn ang="0">
                  <a:pos x="0" y="12"/>
                </a:cxn>
                <a:cxn ang="0">
                  <a:pos x="0" y="10"/>
                </a:cxn>
                <a:cxn ang="0">
                  <a:pos x="6" y="6"/>
                </a:cxn>
                <a:cxn ang="0">
                  <a:pos x="8" y="0"/>
                </a:cxn>
                <a:cxn ang="0">
                  <a:pos x="10" y="0"/>
                </a:cxn>
                <a:cxn ang="0">
                  <a:pos x="12" y="8"/>
                </a:cxn>
                <a:cxn ang="0">
                  <a:pos x="12" y="18"/>
                </a:cxn>
                <a:cxn ang="0">
                  <a:pos x="6" y="16"/>
                </a:cxn>
                <a:cxn ang="0">
                  <a:pos x="0" y="12"/>
                </a:cxn>
                <a:cxn ang="0">
                  <a:pos x="0" y="12"/>
                </a:cxn>
              </a:cxnLst>
              <a:rect l="0" t="0" r="r" b="b"/>
              <a:pathLst>
                <a:path w="12" h="18">
                  <a:moveTo>
                    <a:pt x="0" y="12"/>
                  </a:moveTo>
                  <a:lnTo>
                    <a:pt x="0" y="12"/>
                  </a:lnTo>
                  <a:lnTo>
                    <a:pt x="0" y="10"/>
                  </a:lnTo>
                  <a:lnTo>
                    <a:pt x="6" y="6"/>
                  </a:lnTo>
                  <a:lnTo>
                    <a:pt x="8" y="0"/>
                  </a:lnTo>
                  <a:lnTo>
                    <a:pt x="10" y="0"/>
                  </a:lnTo>
                  <a:lnTo>
                    <a:pt x="12" y="8"/>
                  </a:lnTo>
                  <a:lnTo>
                    <a:pt x="12" y="18"/>
                  </a:lnTo>
                  <a:lnTo>
                    <a:pt x="6" y="16"/>
                  </a:lnTo>
                  <a:lnTo>
                    <a:pt x="0" y="12"/>
                  </a:lnTo>
                  <a:lnTo>
                    <a:pt x="0"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3" name="Freeform 175">
              <a:extLst>
                <a:ext uri="{FF2B5EF4-FFF2-40B4-BE49-F238E27FC236}">
                  <a16:creationId xmlns:a16="http://schemas.microsoft.com/office/drawing/2014/main" id="{359211A3-DDBD-4ED7-9716-DD641626FC0C}"/>
                </a:ext>
              </a:extLst>
            </p:cNvPr>
            <p:cNvSpPr>
              <a:spLocks/>
            </p:cNvSpPr>
            <p:nvPr/>
          </p:nvSpPr>
          <p:spPr bwMode="auto">
            <a:xfrm>
              <a:off x="1915423" y="4361245"/>
              <a:ext cx="23306" cy="12948"/>
            </a:xfrm>
            <a:custGeom>
              <a:avLst/>
              <a:gdLst/>
              <a:ahLst/>
              <a:cxnLst>
                <a:cxn ang="0">
                  <a:pos x="0" y="0"/>
                </a:cxn>
                <a:cxn ang="0">
                  <a:pos x="0" y="0"/>
                </a:cxn>
                <a:cxn ang="0">
                  <a:pos x="0" y="4"/>
                </a:cxn>
                <a:cxn ang="0">
                  <a:pos x="2" y="8"/>
                </a:cxn>
                <a:cxn ang="0">
                  <a:pos x="8" y="10"/>
                </a:cxn>
                <a:cxn ang="0">
                  <a:pos x="10" y="8"/>
                </a:cxn>
                <a:cxn ang="0">
                  <a:pos x="16" y="4"/>
                </a:cxn>
                <a:cxn ang="0">
                  <a:pos x="18" y="2"/>
                </a:cxn>
                <a:cxn ang="0">
                  <a:pos x="14" y="0"/>
                </a:cxn>
                <a:cxn ang="0">
                  <a:pos x="0" y="0"/>
                </a:cxn>
                <a:cxn ang="0">
                  <a:pos x="0" y="0"/>
                </a:cxn>
              </a:cxnLst>
              <a:rect l="0" t="0" r="r" b="b"/>
              <a:pathLst>
                <a:path w="18" h="10">
                  <a:moveTo>
                    <a:pt x="0" y="0"/>
                  </a:moveTo>
                  <a:lnTo>
                    <a:pt x="0" y="0"/>
                  </a:lnTo>
                  <a:lnTo>
                    <a:pt x="0" y="4"/>
                  </a:lnTo>
                  <a:lnTo>
                    <a:pt x="2" y="8"/>
                  </a:lnTo>
                  <a:lnTo>
                    <a:pt x="8" y="10"/>
                  </a:lnTo>
                  <a:lnTo>
                    <a:pt x="10" y="8"/>
                  </a:lnTo>
                  <a:lnTo>
                    <a:pt x="16" y="4"/>
                  </a:lnTo>
                  <a:lnTo>
                    <a:pt x="18" y="2"/>
                  </a:lnTo>
                  <a:lnTo>
                    <a:pt x="14"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4" name="Freeform 176">
              <a:extLst>
                <a:ext uri="{FF2B5EF4-FFF2-40B4-BE49-F238E27FC236}">
                  <a16:creationId xmlns:a16="http://schemas.microsoft.com/office/drawing/2014/main" id="{473DF389-DA67-477D-A806-76F38FFE22DC}"/>
                </a:ext>
              </a:extLst>
            </p:cNvPr>
            <p:cNvSpPr>
              <a:spLocks/>
            </p:cNvSpPr>
            <p:nvPr/>
          </p:nvSpPr>
          <p:spPr bwMode="auto">
            <a:xfrm>
              <a:off x="3274969" y="3527391"/>
              <a:ext cx="178683" cy="152787"/>
            </a:xfrm>
            <a:custGeom>
              <a:avLst/>
              <a:gdLst/>
              <a:ahLst/>
              <a:cxnLst>
                <a:cxn ang="0">
                  <a:pos x="72" y="10"/>
                </a:cxn>
                <a:cxn ang="0">
                  <a:pos x="70" y="6"/>
                </a:cxn>
                <a:cxn ang="0">
                  <a:pos x="64" y="8"/>
                </a:cxn>
                <a:cxn ang="0">
                  <a:pos x="58" y="8"/>
                </a:cxn>
                <a:cxn ang="0">
                  <a:pos x="56" y="4"/>
                </a:cxn>
                <a:cxn ang="0">
                  <a:pos x="60" y="4"/>
                </a:cxn>
                <a:cxn ang="0">
                  <a:pos x="58" y="2"/>
                </a:cxn>
                <a:cxn ang="0">
                  <a:pos x="42" y="4"/>
                </a:cxn>
                <a:cxn ang="0">
                  <a:pos x="32" y="8"/>
                </a:cxn>
                <a:cxn ang="0">
                  <a:pos x="26" y="12"/>
                </a:cxn>
                <a:cxn ang="0">
                  <a:pos x="24" y="12"/>
                </a:cxn>
                <a:cxn ang="0">
                  <a:pos x="8" y="16"/>
                </a:cxn>
                <a:cxn ang="0">
                  <a:pos x="2" y="22"/>
                </a:cxn>
                <a:cxn ang="0">
                  <a:pos x="0" y="34"/>
                </a:cxn>
                <a:cxn ang="0">
                  <a:pos x="4" y="40"/>
                </a:cxn>
                <a:cxn ang="0">
                  <a:pos x="4" y="52"/>
                </a:cxn>
                <a:cxn ang="0">
                  <a:pos x="6" y="74"/>
                </a:cxn>
                <a:cxn ang="0">
                  <a:pos x="18" y="76"/>
                </a:cxn>
                <a:cxn ang="0">
                  <a:pos x="20" y="80"/>
                </a:cxn>
                <a:cxn ang="0">
                  <a:pos x="24" y="80"/>
                </a:cxn>
                <a:cxn ang="0">
                  <a:pos x="26" y="82"/>
                </a:cxn>
                <a:cxn ang="0">
                  <a:pos x="36" y="88"/>
                </a:cxn>
                <a:cxn ang="0">
                  <a:pos x="42" y="88"/>
                </a:cxn>
                <a:cxn ang="0">
                  <a:pos x="46" y="92"/>
                </a:cxn>
                <a:cxn ang="0">
                  <a:pos x="48" y="94"/>
                </a:cxn>
                <a:cxn ang="0">
                  <a:pos x="52" y="102"/>
                </a:cxn>
                <a:cxn ang="0">
                  <a:pos x="62" y="100"/>
                </a:cxn>
                <a:cxn ang="0">
                  <a:pos x="72" y="106"/>
                </a:cxn>
                <a:cxn ang="0">
                  <a:pos x="80" y="108"/>
                </a:cxn>
                <a:cxn ang="0">
                  <a:pos x="82" y="104"/>
                </a:cxn>
                <a:cxn ang="0">
                  <a:pos x="88" y="102"/>
                </a:cxn>
                <a:cxn ang="0">
                  <a:pos x="96" y="98"/>
                </a:cxn>
                <a:cxn ang="0">
                  <a:pos x="102" y="96"/>
                </a:cxn>
                <a:cxn ang="0">
                  <a:pos x="110" y="102"/>
                </a:cxn>
                <a:cxn ang="0">
                  <a:pos x="114" y="104"/>
                </a:cxn>
                <a:cxn ang="0">
                  <a:pos x="120" y="110"/>
                </a:cxn>
                <a:cxn ang="0">
                  <a:pos x="124" y="116"/>
                </a:cxn>
                <a:cxn ang="0">
                  <a:pos x="130" y="116"/>
                </a:cxn>
                <a:cxn ang="0">
                  <a:pos x="134" y="114"/>
                </a:cxn>
                <a:cxn ang="0">
                  <a:pos x="132" y="106"/>
                </a:cxn>
                <a:cxn ang="0">
                  <a:pos x="134" y="96"/>
                </a:cxn>
                <a:cxn ang="0">
                  <a:pos x="136" y="84"/>
                </a:cxn>
                <a:cxn ang="0">
                  <a:pos x="134" y="78"/>
                </a:cxn>
                <a:cxn ang="0">
                  <a:pos x="136" y="68"/>
                </a:cxn>
                <a:cxn ang="0">
                  <a:pos x="136" y="64"/>
                </a:cxn>
                <a:cxn ang="0">
                  <a:pos x="134" y="56"/>
                </a:cxn>
                <a:cxn ang="0">
                  <a:pos x="134" y="46"/>
                </a:cxn>
                <a:cxn ang="0">
                  <a:pos x="138" y="36"/>
                </a:cxn>
                <a:cxn ang="0">
                  <a:pos x="136" y="30"/>
                </a:cxn>
                <a:cxn ang="0">
                  <a:pos x="134" y="22"/>
                </a:cxn>
                <a:cxn ang="0">
                  <a:pos x="134" y="18"/>
                </a:cxn>
                <a:cxn ang="0">
                  <a:pos x="116" y="16"/>
                </a:cxn>
                <a:cxn ang="0">
                  <a:pos x="102" y="18"/>
                </a:cxn>
                <a:cxn ang="0">
                  <a:pos x="84" y="16"/>
                </a:cxn>
                <a:cxn ang="0">
                  <a:pos x="72" y="8"/>
                </a:cxn>
                <a:cxn ang="0">
                  <a:pos x="72" y="10"/>
                </a:cxn>
              </a:cxnLst>
              <a:rect l="0" t="0" r="r" b="b"/>
              <a:pathLst>
                <a:path w="138" h="118">
                  <a:moveTo>
                    <a:pt x="72" y="10"/>
                  </a:moveTo>
                  <a:lnTo>
                    <a:pt x="72" y="10"/>
                  </a:lnTo>
                  <a:lnTo>
                    <a:pt x="70" y="8"/>
                  </a:lnTo>
                  <a:lnTo>
                    <a:pt x="70" y="6"/>
                  </a:lnTo>
                  <a:lnTo>
                    <a:pt x="68" y="6"/>
                  </a:lnTo>
                  <a:lnTo>
                    <a:pt x="64" y="8"/>
                  </a:lnTo>
                  <a:lnTo>
                    <a:pt x="60" y="10"/>
                  </a:lnTo>
                  <a:lnTo>
                    <a:pt x="58" y="8"/>
                  </a:lnTo>
                  <a:lnTo>
                    <a:pt x="56" y="8"/>
                  </a:lnTo>
                  <a:lnTo>
                    <a:pt x="56" y="4"/>
                  </a:lnTo>
                  <a:lnTo>
                    <a:pt x="58" y="6"/>
                  </a:lnTo>
                  <a:lnTo>
                    <a:pt x="60" y="4"/>
                  </a:lnTo>
                  <a:lnTo>
                    <a:pt x="60" y="2"/>
                  </a:lnTo>
                  <a:lnTo>
                    <a:pt x="58" y="2"/>
                  </a:lnTo>
                  <a:lnTo>
                    <a:pt x="56" y="0"/>
                  </a:lnTo>
                  <a:lnTo>
                    <a:pt x="42" y="4"/>
                  </a:lnTo>
                  <a:lnTo>
                    <a:pt x="38" y="8"/>
                  </a:lnTo>
                  <a:lnTo>
                    <a:pt x="32" y="8"/>
                  </a:lnTo>
                  <a:lnTo>
                    <a:pt x="30" y="10"/>
                  </a:lnTo>
                  <a:lnTo>
                    <a:pt x="26" y="12"/>
                  </a:lnTo>
                  <a:lnTo>
                    <a:pt x="26" y="12"/>
                  </a:lnTo>
                  <a:lnTo>
                    <a:pt x="24" y="12"/>
                  </a:lnTo>
                  <a:lnTo>
                    <a:pt x="22" y="14"/>
                  </a:lnTo>
                  <a:lnTo>
                    <a:pt x="8" y="16"/>
                  </a:lnTo>
                  <a:lnTo>
                    <a:pt x="2" y="16"/>
                  </a:lnTo>
                  <a:lnTo>
                    <a:pt x="2" y="22"/>
                  </a:lnTo>
                  <a:lnTo>
                    <a:pt x="0" y="32"/>
                  </a:lnTo>
                  <a:lnTo>
                    <a:pt x="0" y="34"/>
                  </a:lnTo>
                  <a:lnTo>
                    <a:pt x="2" y="38"/>
                  </a:lnTo>
                  <a:lnTo>
                    <a:pt x="4" y="40"/>
                  </a:lnTo>
                  <a:lnTo>
                    <a:pt x="2" y="50"/>
                  </a:lnTo>
                  <a:lnTo>
                    <a:pt x="4" y="52"/>
                  </a:lnTo>
                  <a:lnTo>
                    <a:pt x="4" y="56"/>
                  </a:lnTo>
                  <a:lnTo>
                    <a:pt x="6" y="74"/>
                  </a:lnTo>
                  <a:lnTo>
                    <a:pt x="10" y="76"/>
                  </a:lnTo>
                  <a:lnTo>
                    <a:pt x="18" y="76"/>
                  </a:lnTo>
                  <a:lnTo>
                    <a:pt x="20" y="78"/>
                  </a:lnTo>
                  <a:lnTo>
                    <a:pt x="20" y="80"/>
                  </a:lnTo>
                  <a:lnTo>
                    <a:pt x="22" y="80"/>
                  </a:lnTo>
                  <a:lnTo>
                    <a:pt x="24" y="80"/>
                  </a:lnTo>
                  <a:lnTo>
                    <a:pt x="26" y="80"/>
                  </a:lnTo>
                  <a:lnTo>
                    <a:pt x="26" y="82"/>
                  </a:lnTo>
                  <a:lnTo>
                    <a:pt x="30" y="86"/>
                  </a:lnTo>
                  <a:lnTo>
                    <a:pt x="36" y="88"/>
                  </a:lnTo>
                  <a:lnTo>
                    <a:pt x="40" y="88"/>
                  </a:lnTo>
                  <a:lnTo>
                    <a:pt x="42" y="88"/>
                  </a:lnTo>
                  <a:lnTo>
                    <a:pt x="44" y="90"/>
                  </a:lnTo>
                  <a:lnTo>
                    <a:pt x="46" y="92"/>
                  </a:lnTo>
                  <a:lnTo>
                    <a:pt x="46" y="94"/>
                  </a:lnTo>
                  <a:lnTo>
                    <a:pt x="48" y="94"/>
                  </a:lnTo>
                  <a:lnTo>
                    <a:pt x="50" y="96"/>
                  </a:lnTo>
                  <a:lnTo>
                    <a:pt x="52" y="102"/>
                  </a:lnTo>
                  <a:lnTo>
                    <a:pt x="58" y="102"/>
                  </a:lnTo>
                  <a:lnTo>
                    <a:pt x="62" y="100"/>
                  </a:lnTo>
                  <a:lnTo>
                    <a:pt x="66" y="102"/>
                  </a:lnTo>
                  <a:lnTo>
                    <a:pt x="72" y="106"/>
                  </a:lnTo>
                  <a:lnTo>
                    <a:pt x="78" y="108"/>
                  </a:lnTo>
                  <a:lnTo>
                    <a:pt x="80" y="108"/>
                  </a:lnTo>
                  <a:lnTo>
                    <a:pt x="80" y="106"/>
                  </a:lnTo>
                  <a:lnTo>
                    <a:pt x="82" y="104"/>
                  </a:lnTo>
                  <a:lnTo>
                    <a:pt x="84" y="104"/>
                  </a:lnTo>
                  <a:lnTo>
                    <a:pt x="88" y="102"/>
                  </a:lnTo>
                  <a:lnTo>
                    <a:pt x="92" y="100"/>
                  </a:lnTo>
                  <a:lnTo>
                    <a:pt x="96" y="98"/>
                  </a:lnTo>
                  <a:lnTo>
                    <a:pt x="98" y="96"/>
                  </a:lnTo>
                  <a:lnTo>
                    <a:pt x="102" y="96"/>
                  </a:lnTo>
                  <a:lnTo>
                    <a:pt x="106" y="100"/>
                  </a:lnTo>
                  <a:lnTo>
                    <a:pt x="110" y="102"/>
                  </a:lnTo>
                  <a:lnTo>
                    <a:pt x="112" y="102"/>
                  </a:lnTo>
                  <a:lnTo>
                    <a:pt x="114" y="104"/>
                  </a:lnTo>
                  <a:lnTo>
                    <a:pt x="118" y="108"/>
                  </a:lnTo>
                  <a:lnTo>
                    <a:pt x="120" y="110"/>
                  </a:lnTo>
                  <a:lnTo>
                    <a:pt x="120" y="114"/>
                  </a:lnTo>
                  <a:lnTo>
                    <a:pt x="124" y="116"/>
                  </a:lnTo>
                  <a:lnTo>
                    <a:pt x="126" y="118"/>
                  </a:lnTo>
                  <a:lnTo>
                    <a:pt x="130" y="116"/>
                  </a:lnTo>
                  <a:lnTo>
                    <a:pt x="134" y="114"/>
                  </a:lnTo>
                  <a:lnTo>
                    <a:pt x="134" y="114"/>
                  </a:lnTo>
                  <a:lnTo>
                    <a:pt x="132" y="110"/>
                  </a:lnTo>
                  <a:lnTo>
                    <a:pt x="132" y="106"/>
                  </a:lnTo>
                  <a:lnTo>
                    <a:pt x="132" y="104"/>
                  </a:lnTo>
                  <a:lnTo>
                    <a:pt x="134" y="96"/>
                  </a:lnTo>
                  <a:lnTo>
                    <a:pt x="138" y="88"/>
                  </a:lnTo>
                  <a:lnTo>
                    <a:pt x="136" y="84"/>
                  </a:lnTo>
                  <a:lnTo>
                    <a:pt x="134" y="80"/>
                  </a:lnTo>
                  <a:lnTo>
                    <a:pt x="134" y="78"/>
                  </a:lnTo>
                  <a:lnTo>
                    <a:pt x="134" y="74"/>
                  </a:lnTo>
                  <a:lnTo>
                    <a:pt x="136" y="68"/>
                  </a:lnTo>
                  <a:lnTo>
                    <a:pt x="136" y="66"/>
                  </a:lnTo>
                  <a:lnTo>
                    <a:pt x="136" y="64"/>
                  </a:lnTo>
                  <a:lnTo>
                    <a:pt x="134" y="58"/>
                  </a:lnTo>
                  <a:lnTo>
                    <a:pt x="134" y="56"/>
                  </a:lnTo>
                  <a:lnTo>
                    <a:pt x="136" y="54"/>
                  </a:lnTo>
                  <a:lnTo>
                    <a:pt x="134" y="46"/>
                  </a:lnTo>
                  <a:lnTo>
                    <a:pt x="138" y="40"/>
                  </a:lnTo>
                  <a:lnTo>
                    <a:pt x="138" y="36"/>
                  </a:lnTo>
                  <a:lnTo>
                    <a:pt x="138" y="34"/>
                  </a:lnTo>
                  <a:lnTo>
                    <a:pt x="136" y="30"/>
                  </a:lnTo>
                  <a:lnTo>
                    <a:pt x="134" y="26"/>
                  </a:lnTo>
                  <a:lnTo>
                    <a:pt x="134" y="22"/>
                  </a:lnTo>
                  <a:lnTo>
                    <a:pt x="134" y="20"/>
                  </a:lnTo>
                  <a:lnTo>
                    <a:pt x="134" y="18"/>
                  </a:lnTo>
                  <a:lnTo>
                    <a:pt x="124" y="16"/>
                  </a:lnTo>
                  <a:lnTo>
                    <a:pt x="116" y="16"/>
                  </a:lnTo>
                  <a:lnTo>
                    <a:pt x="110" y="18"/>
                  </a:lnTo>
                  <a:lnTo>
                    <a:pt x="102" y="18"/>
                  </a:lnTo>
                  <a:lnTo>
                    <a:pt x="96" y="18"/>
                  </a:lnTo>
                  <a:lnTo>
                    <a:pt x="84" y="16"/>
                  </a:lnTo>
                  <a:lnTo>
                    <a:pt x="76" y="12"/>
                  </a:lnTo>
                  <a:lnTo>
                    <a:pt x="72" y="8"/>
                  </a:lnTo>
                  <a:lnTo>
                    <a:pt x="72" y="10"/>
                  </a:lnTo>
                  <a:lnTo>
                    <a:pt x="72"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5" name="Freeform 177">
              <a:extLst>
                <a:ext uri="{FF2B5EF4-FFF2-40B4-BE49-F238E27FC236}">
                  <a16:creationId xmlns:a16="http://schemas.microsoft.com/office/drawing/2014/main" id="{0908460F-D858-4C18-A8ED-6FEF48ABC674}"/>
                </a:ext>
              </a:extLst>
            </p:cNvPr>
            <p:cNvSpPr>
              <a:spLocks noEditPoints="1"/>
            </p:cNvSpPr>
            <p:nvPr/>
          </p:nvSpPr>
          <p:spPr bwMode="auto">
            <a:xfrm>
              <a:off x="4991880" y="4363835"/>
              <a:ext cx="157966" cy="277088"/>
            </a:xfrm>
            <a:custGeom>
              <a:avLst/>
              <a:gdLst/>
              <a:ahLst/>
              <a:cxnLst>
                <a:cxn ang="0">
                  <a:pos x="108" y="162"/>
                </a:cxn>
                <a:cxn ang="0">
                  <a:pos x="94" y="166"/>
                </a:cxn>
                <a:cxn ang="0">
                  <a:pos x="84" y="168"/>
                </a:cxn>
                <a:cxn ang="0">
                  <a:pos x="74" y="168"/>
                </a:cxn>
                <a:cxn ang="0">
                  <a:pos x="60" y="188"/>
                </a:cxn>
                <a:cxn ang="0">
                  <a:pos x="72" y="182"/>
                </a:cxn>
                <a:cxn ang="0">
                  <a:pos x="90" y="186"/>
                </a:cxn>
                <a:cxn ang="0">
                  <a:pos x="88" y="200"/>
                </a:cxn>
                <a:cxn ang="0">
                  <a:pos x="104" y="210"/>
                </a:cxn>
                <a:cxn ang="0">
                  <a:pos x="108" y="198"/>
                </a:cxn>
                <a:cxn ang="0">
                  <a:pos x="112" y="190"/>
                </a:cxn>
                <a:cxn ang="0">
                  <a:pos x="122" y="174"/>
                </a:cxn>
                <a:cxn ang="0">
                  <a:pos x="94" y="140"/>
                </a:cxn>
                <a:cxn ang="0">
                  <a:pos x="100" y="148"/>
                </a:cxn>
                <a:cxn ang="0">
                  <a:pos x="78" y="128"/>
                </a:cxn>
                <a:cxn ang="0">
                  <a:pos x="68" y="148"/>
                </a:cxn>
                <a:cxn ang="0">
                  <a:pos x="80" y="142"/>
                </a:cxn>
                <a:cxn ang="0">
                  <a:pos x="78" y="128"/>
                </a:cxn>
                <a:cxn ang="0">
                  <a:pos x="82" y="144"/>
                </a:cxn>
                <a:cxn ang="0">
                  <a:pos x="86" y="140"/>
                </a:cxn>
                <a:cxn ang="0">
                  <a:pos x="90" y="124"/>
                </a:cxn>
                <a:cxn ang="0">
                  <a:pos x="24" y="134"/>
                </a:cxn>
                <a:cxn ang="0">
                  <a:pos x="20" y="146"/>
                </a:cxn>
                <a:cxn ang="0">
                  <a:pos x="8" y="158"/>
                </a:cxn>
                <a:cxn ang="0">
                  <a:pos x="18" y="152"/>
                </a:cxn>
                <a:cxn ang="0">
                  <a:pos x="30" y="142"/>
                </a:cxn>
                <a:cxn ang="0">
                  <a:pos x="30" y="122"/>
                </a:cxn>
                <a:cxn ang="0">
                  <a:pos x="102" y="124"/>
                </a:cxn>
                <a:cxn ang="0">
                  <a:pos x="102" y="132"/>
                </a:cxn>
                <a:cxn ang="0">
                  <a:pos x="110" y="142"/>
                </a:cxn>
                <a:cxn ang="0">
                  <a:pos x="106" y="126"/>
                </a:cxn>
                <a:cxn ang="0">
                  <a:pos x="98" y="120"/>
                </a:cxn>
                <a:cxn ang="0">
                  <a:pos x="74" y="130"/>
                </a:cxn>
                <a:cxn ang="0">
                  <a:pos x="64" y="116"/>
                </a:cxn>
                <a:cxn ang="0">
                  <a:pos x="88" y="114"/>
                </a:cxn>
                <a:cxn ang="0">
                  <a:pos x="100" y="98"/>
                </a:cxn>
                <a:cxn ang="0">
                  <a:pos x="102" y="114"/>
                </a:cxn>
                <a:cxn ang="0">
                  <a:pos x="110" y="120"/>
                </a:cxn>
                <a:cxn ang="0">
                  <a:pos x="108" y="102"/>
                </a:cxn>
                <a:cxn ang="0">
                  <a:pos x="44" y="86"/>
                </a:cxn>
                <a:cxn ang="0">
                  <a:pos x="46" y="90"/>
                </a:cxn>
                <a:cxn ang="0">
                  <a:pos x="56" y="106"/>
                </a:cxn>
                <a:cxn ang="0">
                  <a:pos x="48" y="86"/>
                </a:cxn>
                <a:cxn ang="0">
                  <a:pos x="46" y="8"/>
                </a:cxn>
                <a:cxn ang="0">
                  <a:pos x="44" y="28"/>
                </a:cxn>
                <a:cxn ang="0">
                  <a:pos x="40" y="42"/>
                </a:cxn>
                <a:cxn ang="0">
                  <a:pos x="36" y="48"/>
                </a:cxn>
                <a:cxn ang="0">
                  <a:pos x="48" y="62"/>
                </a:cxn>
                <a:cxn ang="0">
                  <a:pos x="58" y="82"/>
                </a:cxn>
                <a:cxn ang="0">
                  <a:pos x="70" y="86"/>
                </a:cxn>
                <a:cxn ang="0">
                  <a:pos x="76" y="80"/>
                </a:cxn>
                <a:cxn ang="0">
                  <a:pos x="88" y="94"/>
                </a:cxn>
                <a:cxn ang="0">
                  <a:pos x="88" y="88"/>
                </a:cxn>
                <a:cxn ang="0">
                  <a:pos x="80" y="78"/>
                </a:cxn>
                <a:cxn ang="0">
                  <a:pos x="68" y="72"/>
                </a:cxn>
                <a:cxn ang="0">
                  <a:pos x="56" y="54"/>
                </a:cxn>
                <a:cxn ang="0">
                  <a:pos x="64" y="38"/>
                </a:cxn>
                <a:cxn ang="0">
                  <a:pos x="70" y="20"/>
                </a:cxn>
                <a:cxn ang="0">
                  <a:pos x="60" y="4"/>
                </a:cxn>
                <a:cxn ang="0">
                  <a:pos x="48" y="0"/>
                </a:cxn>
              </a:cxnLst>
              <a:rect l="0" t="0" r="r" b="b"/>
              <a:pathLst>
                <a:path w="122" h="214">
                  <a:moveTo>
                    <a:pt x="110" y="152"/>
                  </a:moveTo>
                  <a:lnTo>
                    <a:pt x="110" y="152"/>
                  </a:lnTo>
                  <a:lnTo>
                    <a:pt x="108" y="152"/>
                  </a:lnTo>
                  <a:lnTo>
                    <a:pt x="108" y="158"/>
                  </a:lnTo>
                  <a:lnTo>
                    <a:pt x="108" y="162"/>
                  </a:lnTo>
                  <a:lnTo>
                    <a:pt x="104" y="162"/>
                  </a:lnTo>
                  <a:lnTo>
                    <a:pt x="102" y="160"/>
                  </a:lnTo>
                  <a:lnTo>
                    <a:pt x="102" y="162"/>
                  </a:lnTo>
                  <a:lnTo>
                    <a:pt x="100" y="168"/>
                  </a:lnTo>
                  <a:lnTo>
                    <a:pt x="94" y="166"/>
                  </a:lnTo>
                  <a:lnTo>
                    <a:pt x="92" y="168"/>
                  </a:lnTo>
                  <a:lnTo>
                    <a:pt x="92" y="170"/>
                  </a:lnTo>
                  <a:lnTo>
                    <a:pt x="84" y="172"/>
                  </a:lnTo>
                  <a:lnTo>
                    <a:pt x="84" y="170"/>
                  </a:lnTo>
                  <a:lnTo>
                    <a:pt x="84" y="168"/>
                  </a:lnTo>
                  <a:lnTo>
                    <a:pt x="84" y="166"/>
                  </a:lnTo>
                  <a:lnTo>
                    <a:pt x="82" y="164"/>
                  </a:lnTo>
                  <a:lnTo>
                    <a:pt x="82" y="166"/>
                  </a:lnTo>
                  <a:lnTo>
                    <a:pt x="78" y="166"/>
                  </a:lnTo>
                  <a:lnTo>
                    <a:pt x="74" y="168"/>
                  </a:lnTo>
                  <a:lnTo>
                    <a:pt x="74" y="172"/>
                  </a:lnTo>
                  <a:lnTo>
                    <a:pt x="64" y="174"/>
                  </a:lnTo>
                  <a:lnTo>
                    <a:pt x="64" y="180"/>
                  </a:lnTo>
                  <a:lnTo>
                    <a:pt x="64" y="184"/>
                  </a:lnTo>
                  <a:lnTo>
                    <a:pt x="60" y="188"/>
                  </a:lnTo>
                  <a:lnTo>
                    <a:pt x="62" y="188"/>
                  </a:lnTo>
                  <a:lnTo>
                    <a:pt x="62" y="190"/>
                  </a:lnTo>
                  <a:lnTo>
                    <a:pt x="66" y="190"/>
                  </a:lnTo>
                  <a:lnTo>
                    <a:pt x="68" y="186"/>
                  </a:lnTo>
                  <a:lnTo>
                    <a:pt x="72" y="182"/>
                  </a:lnTo>
                  <a:lnTo>
                    <a:pt x="74" y="186"/>
                  </a:lnTo>
                  <a:lnTo>
                    <a:pt x="84" y="186"/>
                  </a:lnTo>
                  <a:lnTo>
                    <a:pt x="84" y="184"/>
                  </a:lnTo>
                  <a:lnTo>
                    <a:pt x="86" y="184"/>
                  </a:lnTo>
                  <a:lnTo>
                    <a:pt x="90" y="186"/>
                  </a:lnTo>
                  <a:lnTo>
                    <a:pt x="92" y="188"/>
                  </a:lnTo>
                  <a:lnTo>
                    <a:pt x="92" y="190"/>
                  </a:lnTo>
                  <a:lnTo>
                    <a:pt x="90" y="190"/>
                  </a:lnTo>
                  <a:lnTo>
                    <a:pt x="88" y="196"/>
                  </a:lnTo>
                  <a:lnTo>
                    <a:pt x="88" y="200"/>
                  </a:lnTo>
                  <a:lnTo>
                    <a:pt x="88" y="204"/>
                  </a:lnTo>
                  <a:lnTo>
                    <a:pt x="94" y="206"/>
                  </a:lnTo>
                  <a:lnTo>
                    <a:pt x="98" y="210"/>
                  </a:lnTo>
                  <a:lnTo>
                    <a:pt x="104" y="210"/>
                  </a:lnTo>
                  <a:lnTo>
                    <a:pt x="104" y="210"/>
                  </a:lnTo>
                  <a:lnTo>
                    <a:pt x="104" y="214"/>
                  </a:lnTo>
                  <a:lnTo>
                    <a:pt x="108" y="212"/>
                  </a:lnTo>
                  <a:lnTo>
                    <a:pt x="110" y="210"/>
                  </a:lnTo>
                  <a:lnTo>
                    <a:pt x="110" y="206"/>
                  </a:lnTo>
                  <a:lnTo>
                    <a:pt x="108" y="198"/>
                  </a:lnTo>
                  <a:lnTo>
                    <a:pt x="110" y="198"/>
                  </a:lnTo>
                  <a:lnTo>
                    <a:pt x="112" y="198"/>
                  </a:lnTo>
                  <a:lnTo>
                    <a:pt x="112" y="202"/>
                  </a:lnTo>
                  <a:lnTo>
                    <a:pt x="114" y="202"/>
                  </a:lnTo>
                  <a:lnTo>
                    <a:pt x="112" y="190"/>
                  </a:lnTo>
                  <a:lnTo>
                    <a:pt x="116" y="186"/>
                  </a:lnTo>
                  <a:lnTo>
                    <a:pt x="118" y="182"/>
                  </a:lnTo>
                  <a:lnTo>
                    <a:pt x="120" y="180"/>
                  </a:lnTo>
                  <a:lnTo>
                    <a:pt x="122" y="180"/>
                  </a:lnTo>
                  <a:lnTo>
                    <a:pt x="122" y="174"/>
                  </a:lnTo>
                  <a:lnTo>
                    <a:pt x="120" y="168"/>
                  </a:lnTo>
                  <a:lnTo>
                    <a:pt x="116" y="152"/>
                  </a:lnTo>
                  <a:lnTo>
                    <a:pt x="110" y="152"/>
                  </a:lnTo>
                  <a:lnTo>
                    <a:pt x="110" y="152"/>
                  </a:lnTo>
                  <a:close/>
                  <a:moveTo>
                    <a:pt x="94" y="140"/>
                  </a:moveTo>
                  <a:lnTo>
                    <a:pt x="94" y="140"/>
                  </a:lnTo>
                  <a:lnTo>
                    <a:pt x="90" y="144"/>
                  </a:lnTo>
                  <a:lnTo>
                    <a:pt x="90" y="146"/>
                  </a:lnTo>
                  <a:lnTo>
                    <a:pt x="96" y="148"/>
                  </a:lnTo>
                  <a:lnTo>
                    <a:pt x="100" y="148"/>
                  </a:lnTo>
                  <a:lnTo>
                    <a:pt x="102" y="144"/>
                  </a:lnTo>
                  <a:lnTo>
                    <a:pt x="98" y="140"/>
                  </a:lnTo>
                  <a:lnTo>
                    <a:pt x="94" y="140"/>
                  </a:lnTo>
                  <a:lnTo>
                    <a:pt x="94" y="140"/>
                  </a:lnTo>
                  <a:close/>
                  <a:moveTo>
                    <a:pt x="78" y="128"/>
                  </a:moveTo>
                  <a:lnTo>
                    <a:pt x="78" y="128"/>
                  </a:lnTo>
                  <a:lnTo>
                    <a:pt x="76" y="138"/>
                  </a:lnTo>
                  <a:lnTo>
                    <a:pt x="68" y="140"/>
                  </a:lnTo>
                  <a:lnTo>
                    <a:pt x="66" y="144"/>
                  </a:lnTo>
                  <a:lnTo>
                    <a:pt x="68" y="148"/>
                  </a:lnTo>
                  <a:lnTo>
                    <a:pt x="72" y="150"/>
                  </a:lnTo>
                  <a:lnTo>
                    <a:pt x="76" y="152"/>
                  </a:lnTo>
                  <a:lnTo>
                    <a:pt x="80" y="154"/>
                  </a:lnTo>
                  <a:lnTo>
                    <a:pt x="80" y="150"/>
                  </a:lnTo>
                  <a:lnTo>
                    <a:pt x="80" y="142"/>
                  </a:lnTo>
                  <a:lnTo>
                    <a:pt x="84" y="134"/>
                  </a:lnTo>
                  <a:lnTo>
                    <a:pt x="84" y="130"/>
                  </a:lnTo>
                  <a:lnTo>
                    <a:pt x="82" y="128"/>
                  </a:lnTo>
                  <a:lnTo>
                    <a:pt x="78" y="128"/>
                  </a:lnTo>
                  <a:lnTo>
                    <a:pt x="78" y="128"/>
                  </a:lnTo>
                  <a:close/>
                  <a:moveTo>
                    <a:pt x="90" y="124"/>
                  </a:moveTo>
                  <a:lnTo>
                    <a:pt x="90" y="124"/>
                  </a:lnTo>
                  <a:lnTo>
                    <a:pt x="90" y="130"/>
                  </a:lnTo>
                  <a:lnTo>
                    <a:pt x="84" y="138"/>
                  </a:lnTo>
                  <a:lnTo>
                    <a:pt x="82" y="144"/>
                  </a:lnTo>
                  <a:lnTo>
                    <a:pt x="82" y="146"/>
                  </a:lnTo>
                  <a:lnTo>
                    <a:pt x="84" y="148"/>
                  </a:lnTo>
                  <a:lnTo>
                    <a:pt x="86" y="146"/>
                  </a:lnTo>
                  <a:lnTo>
                    <a:pt x="86" y="142"/>
                  </a:lnTo>
                  <a:lnTo>
                    <a:pt x="86" y="140"/>
                  </a:lnTo>
                  <a:lnTo>
                    <a:pt x="90" y="138"/>
                  </a:lnTo>
                  <a:lnTo>
                    <a:pt x="92" y="136"/>
                  </a:lnTo>
                  <a:lnTo>
                    <a:pt x="92" y="134"/>
                  </a:lnTo>
                  <a:lnTo>
                    <a:pt x="92" y="126"/>
                  </a:lnTo>
                  <a:lnTo>
                    <a:pt x="90" y="124"/>
                  </a:lnTo>
                  <a:lnTo>
                    <a:pt x="90" y="124"/>
                  </a:lnTo>
                  <a:close/>
                  <a:moveTo>
                    <a:pt x="30" y="122"/>
                  </a:moveTo>
                  <a:lnTo>
                    <a:pt x="30" y="122"/>
                  </a:lnTo>
                  <a:lnTo>
                    <a:pt x="30" y="128"/>
                  </a:lnTo>
                  <a:lnTo>
                    <a:pt x="24" y="134"/>
                  </a:lnTo>
                  <a:lnTo>
                    <a:pt x="24" y="136"/>
                  </a:lnTo>
                  <a:lnTo>
                    <a:pt x="24" y="138"/>
                  </a:lnTo>
                  <a:lnTo>
                    <a:pt x="22" y="140"/>
                  </a:lnTo>
                  <a:lnTo>
                    <a:pt x="20" y="142"/>
                  </a:lnTo>
                  <a:lnTo>
                    <a:pt x="20" y="146"/>
                  </a:lnTo>
                  <a:lnTo>
                    <a:pt x="18" y="150"/>
                  </a:lnTo>
                  <a:lnTo>
                    <a:pt x="14" y="152"/>
                  </a:lnTo>
                  <a:lnTo>
                    <a:pt x="14" y="154"/>
                  </a:lnTo>
                  <a:lnTo>
                    <a:pt x="8" y="154"/>
                  </a:lnTo>
                  <a:lnTo>
                    <a:pt x="8" y="158"/>
                  </a:lnTo>
                  <a:lnTo>
                    <a:pt x="4" y="158"/>
                  </a:lnTo>
                  <a:lnTo>
                    <a:pt x="0" y="168"/>
                  </a:lnTo>
                  <a:lnTo>
                    <a:pt x="10" y="162"/>
                  </a:lnTo>
                  <a:lnTo>
                    <a:pt x="18" y="156"/>
                  </a:lnTo>
                  <a:lnTo>
                    <a:pt x="18" y="152"/>
                  </a:lnTo>
                  <a:lnTo>
                    <a:pt x="22" y="148"/>
                  </a:lnTo>
                  <a:lnTo>
                    <a:pt x="24" y="148"/>
                  </a:lnTo>
                  <a:lnTo>
                    <a:pt x="24" y="146"/>
                  </a:lnTo>
                  <a:lnTo>
                    <a:pt x="26" y="144"/>
                  </a:lnTo>
                  <a:lnTo>
                    <a:pt x="30" y="142"/>
                  </a:lnTo>
                  <a:lnTo>
                    <a:pt x="30" y="138"/>
                  </a:lnTo>
                  <a:lnTo>
                    <a:pt x="34" y="136"/>
                  </a:lnTo>
                  <a:lnTo>
                    <a:pt x="34" y="124"/>
                  </a:lnTo>
                  <a:lnTo>
                    <a:pt x="34" y="122"/>
                  </a:lnTo>
                  <a:lnTo>
                    <a:pt x="30" y="122"/>
                  </a:lnTo>
                  <a:lnTo>
                    <a:pt x="30" y="122"/>
                  </a:lnTo>
                  <a:close/>
                  <a:moveTo>
                    <a:pt x="98" y="120"/>
                  </a:moveTo>
                  <a:lnTo>
                    <a:pt x="98" y="120"/>
                  </a:lnTo>
                  <a:lnTo>
                    <a:pt x="98" y="124"/>
                  </a:lnTo>
                  <a:lnTo>
                    <a:pt x="102" y="124"/>
                  </a:lnTo>
                  <a:lnTo>
                    <a:pt x="102" y="126"/>
                  </a:lnTo>
                  <a:lnTo>
                    <a:pt x="102" y="128"/>
                  </a:lnTo>
                  <a:lnTo>
                    <a:pt x="102" y="128"/>
                  </a:lnTo>
                  <a:lnTo>
                    <a:pt x="102" y="130"/>
                  </a:lnTo>
                  <a:lnTo>
                    <a:pt x="102" y="132"/>
                  </a:lnTo>
                  <a:lnTo>
                    <a:pt x="102" y="134"/>
                  </a:lnTo>
                  <a:lnTo>
                    <a:pt x="104" y="136"/>
                  </a:lnTo>
                  <a:lnTo>
                    <a:pt x="104" y="138"/>
                  </a:lnTo>
                  <a:lnTo>
                    <a:pt x="106" y="140"/>
                  </a:lnTo>
                  <a:lnTo>
                    <a:pt x="110" y="142"/>
                  </a:lnTo>
                  <a:lnTo>
                    <a:pt x="108" y="138"/>
                  </a:lnTo>
                  <a:lnTo>
                    <a:pt x="108" y="136"/>
                  </a:lnTo>
                  <a:lnTo>
                    <a:pt x="108" y="132"/>
                  </a:lnTo>
                  <a:lnTo>
                    <a:pt x="106" y="128"/>
                  </a:lnTo>
                  <a:lnTo>
                    <a:pt x="106" y="126"/>
                  </a:lnTo>
                  <a:lnTo>
                    <a:pt x="108" y="124"/>
                  </a:lnTo>
                  <a:lnTo>
                    <a:pt x="106" y="122"/>
                  </a:lnTo>
                  <a:lnTo>
                    <a:pt x="102" y="120"/>
                  </a:lnTo>
                  <a:lnTo>
                    <a:pt x="98" y="120"/>
                  </a:lnTo>
                  <a:lnTo>
                    <a:pt x="98" y="120"/>
                  </a:lnTo>
                  <a:close/>
                  <a:moveTo>
                    <a:pt x="64" y="116"/>
                  </a:moveTo>
                  <a:lnTo>
                    <a:pt x="64" y="116"/>
                  </a:lnTo>
                  <a:lnTo>
                    <a:pt x="60" y="136"/>
                  </a:lnTo>
                  <a:lnTo>
                    <a:pt x="70" y="130"/>
                  </a:lnTo>
                  <a:lnTo>
                    <a:pt x="74" y="130"/>
                  </a:lnTo>
                  <a:lnTo>
                    <a:pt x="74" y="126"/>
                  </a:lnTo>
                  <a:lnTo>
                    <a:pt x="76" y="126"/>
                  </a:lnTo>
                  <a:lnTo>
                    <a:pt x="76" y="120"/>
                  </a:lnTo>
                  <a:lnTo>
                    <a:pt x="64" y="116"/>
                  </a:lnTo>
                  <a:lnTo>
                    <a:pt x="64" y="116"/>
                  </a:lnTo>
                  <a:close/>
                  <a:moveTo>
                    <a:pt x="80" y="106"/>
                  </a:moveTo>
                  <a:lnTo>
                    <a:pt x="80" y="108"/>
                  </a:lnTo>
                  <a:lnTo>
                    <a:pt x="80" y="110"/>
                  </a:lnTo>
                  <a:lnTo>
                    <a:pt x="80" y="112"/>
                  </a:lnTo>
                  <a:lnTo>
                    <a:pt x="88" y="114"/>
                  </a:lnTo>
                  <a:lnTo>
                    <a:pt x="92" y="114"/>
                  </a:lnTo>
                  <a:lnTo>
                    <a:pt x="90" y="110"/>
                  </a:lnTo>
                  <a:lnTo>
                    <a:pt x="80" y="106"/>
                  </a:lnTo>
                  <a:lnTo>
                    <a:pt x="80" y="106"/>
                  </a:lnTo>
                  <a:close/>
                  <a:moveTo>
                    <a:pt x="100" y="98"/>
                  </a:moveTo>
                  <a:lnTo>
                    <a:pt x="100" y="98"/>
                  </a:lnTo>
                  <a:lnTo>
                    <a:pt x="96" y="102"/>
                  </a:lnTo>
                  <a:lnTo>
                    <a:pt x="96" y="106"/>
                  </a:lnTo>
                  <a:lnTo>
                    <a:pt x="100" y="110"/>
                  </a:lnTo>
                  <a:lnTo>
                    <a:pt x="102" y="114"/>
                  </a:lnTo>
                  <a:lnTo>
                    <a:pt x="102" y="116"/>
                  </a:lnTo>
                  <a:lnTo>
                    <a:pt x="102" y="118"/>
                  </a:lnTo>
                  <a:lnTo>
                    <a:pt x="106" y="120"/>
                  </a:lnTo>
                  <a:lnTo>
                    <a:pt x="108" y="120"/>
                  </a:lnTo>
                  <a:lnTo>
                    <a:pt x="110" y="120"/>
                  </a:lnTo>
                  <a:lnTo>
                    <a:pt x="112" y="124"/>
                  </a:lnTo>
                  <a:lnTo>
                    <a:pt x="108" y="116"/>
                  </a:lnTo>
                  <a:lnTo>
                    <a:pt x="106" y="114"/>
                  </a:lnTo>
                  <a:lnTo>
                    <a:pt x="106" y="108"/>
                  </a:lnTo>
                  <a:lnTo>
                    <a:pt x="108" y="102"/>
                  </a:lnTo>
                  <a:lnTo>
                    <a:pt x="106" y="102"/>
                  </a:lnTo>
                  <a:lnTo>
                    <a:pt x="104" y="98"/>
                  </a:lnTo>
                  <a:lnTo>
                    <a:pt x="100" y="98"/>
                  </a:lnTo>
                  <a:lnTo>
                    <a:pt x="100" y="98"/>
                  </a:lnTo>
                  <a:close/>
                  <a:moveTo>
                    <a:pt x="44" y="86"/>
                  </a:moveTo>
                  <a:lnTo>
                    <a:pt x="44" y="86"/>
                  </a:lnTo>
                  <a:lnTo>
                    <a:pt x="42" y="86"/>
                  </a:lnTo>
                  <a:lnTo>
                    <a:pt x="40" y="88"/>
                  </a:lnTo>
                  <a:lnTo>
                    <a:pt x="42" y="88"/>
                  </a:lnTo>
                  <a:lnTo>
                    <a:pt x="46" y="90"/>
                  </a:lnTo>
                  <a:lnTo>
                    <a:pt x="48" y="94"/>
                  </a:lnTo>
                  <a:lnTo>
                    <a:pt x="50" y="96"/>
                  </a:lnTo>
                  <a:lnTo>
                    <a:pt x="54" y="98"/>
                  </a:lnTo>
                  <a:lnTo>
                    <a:pt x="54" y="102"/>
                  </a:lnTo>
                  <a:lnTo>
                    <a:pt x="56" y="106"/>
                  </a:lnTo>
                  <a:lnTo>
                    <a:pt x="58" y="102"/>
                  </a:lnTo>
                  <a:lnTo>
                    <a:pt x="58" y="100"/>
                  </a:lnTo>
                  <a:lnTo>
                    <a:pt x="56" y="94"/>
                  </a:lnTo>
                  <a:lnTo>
                    <a:pt x="52" y="88"/>
                  </a:lnTo>
                  <a:lnTo>
                    <a:pt x="48" y="86"/>
                  </a:lnTo>
                  <a:lnTo>
                    <a:pt x="44" y="86"/>
                  </a:lnTo>
                  <a:lnTo>
                    <a:pt x="44" y="86"/>
                  </a:lnTo>
                  <a:close/>
                  <a:moveTo>
                    <a:pt x="48" y="0"/>
                  </a:moveTo>
                  <a:lnTo>
                    <a:pt x="48" y="0"/>
                  </a:lnTo>
                  <a:lnTo>
                    <a:pt x="46" y="8"/>
                  </a:lnTo>
                  <a:lnTo>
                    <a:pt x="46" y="12"/>
                  </a:lnTo>
                  <a:lnTo>
                    <a:pt x="42" y="20"/>
                  </a:lnTo>
                  <a:lnTo>
                    <a:pt x="42" y="24"/>
                  </a:lnTo>
                  <a:lnTo>
                    <a:pt x="44" y="26"/>
                  </a:lnTo>
                  <a:lnTo>
                    <a:pt x="44" y="28"/>
                  </a:lnTo>
                  <a:lnTo>
                    <a:pt x="44" y="32"/>
                  </a:lnTo>
                  <a:lnTo>
                    <a:pt x="42" y="34"/>
                  </a:lnTo>
                  <a:lnTo>
                    <a:pt x="42" y="36"/>
                  </a:lnTo>
                  <a:lnTo>
                    <a:pt x="42" y="42"/>
                  </a:lnTo>
                  <a:lnTo>
                    <a:pt x="40" y="42"/>
                  </a:lnTo>
                  <a:lnTo>
                    <a:pt x="40" y="44"/>
                  </a:lnTo>
                  <a:lnTo>
                    <a:pt x="38" y="40"/>
                  </a:lnTo>
                  <a:lnTo>
                    <a:pt x="36" y="40"/>
                  </a:lnTo>
                  <a:lnTo>
                    <a:pt x="36" y="42"/>
                  </a:lnTo>
                  <a:lnTo>
                    <a:pt x="36" y="48"/>
                  </a:lnTo>
                  <a:lnTo>
                    <a:pt x="40" y="50"/>
                  </a:lnTo>
                  <a:lnTo>
                    <a:pt x="40" y="58"/>
                  </a:lnTo>
                  <a:lnTo>
                    <a:pt x="44" y="66"/>
                  </a:lnTo>
                  <a:lnTo>
                    <a:pt x="46" y="62"/>
                  </a:lnTo>
                  <a:lnTo>
                    <a:pt x="48" y="62"/>
                  </a:lnTo>
                  <a:lnTo>
                    <a:pt x="46" y="70"/>
                  </a:lnTo>
                  <a:lnTo>
                    <a:pt x="46" y="76"/>
                  </a:lnTo>
                  <a:lnTo>
                    <a:pt x="52" y="86"/>
                  </a:lnTo>
                  <a:lnTo>
                    <a:pt x="56" y="84"/>
                  </a:lnTo>
                  <a:lnTo>
                    <a:pt x="58" y="82"/>
                  </a:lnTo>
                  <a:lnTo>
                    <a:pt x="60" y="80"/>
                  </a:lnTo>
                  <a:lnTo>
                    <a:pt x="64" y="80"/>
                  </a:lnTo>
                  <a:lnTo>
                    <a:pt x="66" y="82"/>
                  </a:lnTo>
                  <a:lnTo>
                    <a:pt x="70" y="82"/>
                  </a:lnTo>
                  <a:lnTo>
                    <a:pt x="70" y="86"/>
                  </a:lnTo>
                  <a:lnTo>
                    <a:pt x="72" y="88"/>
                  </a:lnTo>
                  <a:lnTo>
                    <a:pt x="74" y="88"/>
                  </a:lnTo>
                  <a:lnTo>
                    <a:pt x="74" y="84"/>
                  </a:lnTo>
                  <a:lnTo>
                    <a:pt x="72" y="82"/>
                  </a:lnTo>
                  <a:lnTo>
                    <a:pt x="76" y="80"/>
                  </a:lnTo>
                  <a:lnTo>
                    <a:pt x="76" y="84"/>
                  </a:lnTo>
                  <a:lnTo>
                    <a:pt x="80" y="88"/>
                  </a:lnTo>
                  <a:lnTo>
                    <a:pt x="82" y="94"/>
                  </a:lnTo>
                  <a:lnTo>
                    <a:pt x="86" y="94"/>
                  </a:lnTo>
                  <a:lnTo>
                    <a:pt x="88" y="94"/>
                  </a:lnTo>
                  <a:lnTo>
                    <a:pt x="88" y="96"/>
                  </a:lnTo>
                  <a:lnTo>
                    <a:pt x="90" y="96"/>
                  </a:lnTo>
                  <a:lnTo>
                    <a:pt x="92" y="92"/>
                  </a:lnTo>
                  <a:lnTo>
                    <a:pt x="90" y="90"/>
                  </a:lnTo>
                  <a:lnTo>
                    <a:pt x="88" y="88"/>
                  </a:lnTo>
                  <a:lnTo>
                    <a:pt x="86" y="84"/>
                  </a:lnTo>
                  <a:lnTo>
                    <a:pt x="88" y="80"/>
                  </a:lnTo>
                  <a:lnTo>
                    <a:pt x="88" y="78"/>
                  </a:lnTo>
                  <a:lnTo>
                    <a:pt x="84" y="74"/>
                  </a:lnTo>
                  <a:lnTo>
                    <a:pt x="80" y="78"/>
                  </a:lnTo>
                  <a:lnTo>
                    <a:pt x="78" y="76"/>
                  </a:lnTo>
                  <a:lnTo>
                    <a:pt x="78" y="72"/>
                  </a:lnTo>
                  <a:lnTo>
                    <a:pt x="76" y="70"/>
                  </a:lnTo>
                  <a:lnTo>
                    <a:pt x="74" y="72"/>
                  </a:lnTo>
                  <a:lnTo>
                    <a:pt x="68" y="72"/>
                  </a:lnTo>
                  <a:lnTo>
                    <a:pt x="62" y="76"/>
                  </a:lnTo>
                  <a:lnTo>
                    <a:pt x="58" y="74"/>
                  </a:lnTo>
                  <a:lnTo>
                    <a:pt x="58" y="64"/>
                  </a:lnTo>
                  <a:lnTo>
                    <a:pt x="56" y="64"/>
                  </a:lnTo>
                  <a:lnTo>
                    <a:pt x="56" y="54"/>
                  </a:lnTo>
                  <a:lnTo>
                    <a:pt x="58" y="48"/>
                  </a:lnTo>
                  <a:lnTo>
                    <a:pt x="58" y="44"/>
                  </a:lnTo>
                  <a:lnTo>
                    <a:pt x="60" y="44"/>
                  </a:lnTo>
                  <a:lnTo>
                    <a:pt x="62" y="44"/>
                  </a:lnTo>
                  <a:lnTo>
                    <a:pt x="64" y="38"/>
                  </a:lnTo>
                  <a:lnTo>
                    <a:pt x="64" y="34"/>
                  </a:lnTo>
                  <a:lnTo>
                    <a:pt x="68" y="34"/>
                  </a:lnTo>
                  <a:lnTo>
                    <a:pt x="70" y="34"/>
                  </a:lnTo>
                  <a:lnTo>
                    <a:pt x="72" y="30"/>
                  </a:lnTo>
                  <a:lnTo>
                    <a:pt x="70" y="20"/>
                  </a:lnTo>
                  <a:lnTo>
                    <a:pt x="66" y="18"/>
                  </a:lnTo>
                  <a:lnTo>
                    <a:pt x="66" y="10"/>
                  </a:lnTo>
                  <a:lnTo>
                    <a:pt x="68" y="4"/>
                  </a:lnTo>
                  <a:lnTo>
                    <a:pt x="68" y="0"/>
                  </a:lnTo>
                  <a:lnTo>
                    <a:pt x="60" y="4"/>
                  </a:lnTo>
                  <a:lnTo>
                    <a:pt x="56" y="6"/>
                  </a:lnTo>
                  <a:lnTo>
                    <a:pt x="54" y="2"/>
                  </a:lnTo>
                  <a:lnTo>
                    <a:pt x="52" y="0"/>
                  </a:lnTo>
                  <a:lnTo>
                    <a:pt x="48" y="0"/>
                  </a:lnTo>
                  <a:lnTo>
                    <a:pt x="4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6" name="Freeform 178">
              <a:extLst>
                <a:ext uri="{FF2B5EF4-FFF2-40B4-BE49-F238E27FC236}">
                  <a16:creationId xmlns:a16="http://schemas.microsoft.com/office/drawing/2014/main" id="{703B4F75-6DE5-490D-9250-AB019446C8A1}"/>
                </a:ext>
              </a:extLst>
            </p:cNvPr>
            <p:cNvSpPr>
              <a:spLocks/>
            </p:cNvSpPr>
            <p:nvPr/>
          </p:nvSpPr>
          <p:spPr bwMode="auto">
            <a:xfrm>
              <a:off x="5108413" y="4545108"/>
              <a:ext cx="15538" cy="10358"/>
            </a:xfrm>
            <a:custGeom>
              <a:avLst/>
              <a:gdLst/>
              <a:ahLst/>
              <a:cxnLst>
                <a:cxn ang="0">
                  <a:pos x="4" y="0"/>
                </a:cxn>
                <a:cxn ang="0">
                  <a:pos x="4" y="0"/>
                </a:cxn>
                <a:cxn ang="0">
                  <a:pos x="0" y="4"/>
                </a:cxn>
                <a:cxn ang="0">
                  <a:pos x="0" y="6"/>
                </a:cxn>
                <a:cxn ang="0">
                  <a:pos x="6" y="8"/>
                </a:cxn>
                <a:cxn ang="0">
                  <a:pos x="10" y="8"/>
                </a:cxn>
                <a:cxn ang="0">
                  <a:pos x="12" y="4"/>
                </a:cxn>
                <a:cxn ang="0">
                  <a:pos x="8" y="0"/>
                </a:cxn>
                <a:cxn ang="0">
                  <a:pos x="4" y="0"/>
                </a:cxn>
              </a:cxnLst>
              <a:rect l="0" t="0" r="r" b="b"/>
              <a:pathLst>
                <a:path w="12" h="8">
                  <a:moveTo>
                    <a:pt x="4" y="0"/>
                  </a:moveTo>
                  <a:lnTo>
                    <a:pt x="4" y="0"/>
                  </a:lnTo>
                  <a:lnTo>
                    <a:pt x="0" y="4"/>
                  </a:lnTo>
                  <a:lnTo>
                    <a:pt x="0" y="6"/>
                  </a:lnTo>
                  <a:lnTo>
                    <a:pt x="6" y="8"/>
                  </a:lnTo>
                  <a:lnTo>
                    <a:pt x="10" y="8"/>
                  </a:lnTo>
                  <a:lnTo>
                    <a:pt x="12" y="4"/>
                  </a:lnTo>
                  <a:lnTo>
                    <a:pt x="8"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7" name="Freeform 179">
              <a:extLst>
                <a:ext uri="{FF2B5EF4-FFF2-40B4-BE49-F238E27FC236}">
                  <a16:creationId xmlns:a16="http://schemas.microsoft.com/office/drawing/2014/main" id="{21679F0C-3491-429F-8E72-8B99027C8EB9}"/>
                </a:ext>
              </a:extLst>
            </p:cNvPr>
            <p:cNvSpPr>
              <a:spLocks/>
            </p:cNvSpPr>
            <p:nvPr/>
          </p:nvSpPr>
          <p:spPr bwMode="auto">
            <a:xfrm>
              <a:off x="5108413" y="4545108"/>
              <a:ext cx="15538" cy="10358"/>
            </a:xfrm>
            <a:custGeom>
              <a:avLst/>
              <a:gdLst/>
              <a:ahLst/>
              <a:cxnLst>
                <a:cxn ang="0">
                  <a:pos x="4" y="0"/>
                </a:cxn>
                <a:cxn ang="0">
                  <a:pos x="4" y="0"/>
                </a:cxn>
                <a:cxn ang="0">
                  <a:pos x="0" y="4"/>
                </a:cxn>
                <a:cxn ang="0">
                  <a:pos x="0" y="6"/>
                </a:cxn>
                <a:cxn ang="0">
                  <a:pos x="6" y="8"/>
                </a:cxn>
                <a:cxn ang="0">
                  <a:pos x="10" y="8"/>
                </a:cxn>
                <a:cxn ang="0">
                  <a:pos x="12" y="4"/>
                </a:cxn>
                <a:cxn ang="0">
                  <a:pos x="8" y="0"/>
                </a:cxn>
                <a:cxn ang="0">
                  <a:pos x="4" y="0"/>
                </a:cxn>
              </a:cxnLst>
              <a:rect l="0" t="0" r="r" b="b"/>
              <a:pathLst>
                <a:path w="12" h="8">
                  <a:moveTo>
                    <a:pt x="4" y="0"/>
                  </a:moveTo>
                  <a:lnTo>
                    <a:pt x="4" y="0"/>
                  </a:lnTo>
                  <a:lnTo>
                    <a:pt x="0" y="4"/>
                  </a:lnTo>
                  <a:lnTo>
                    <a:pt x="0" y="6"/>
                  </a:lnTo>
                  <a:lnTo>
                    <a:pt x="6" y="8"/>
                  </a:lnTo>
                  <a:lnTo>
                    <a:pt x="10" y="8"/>
                  </a:lnTo>
                  <a:lnTo>
                    <a:pt x="12" y="4"/>
                  </a:lnTo>
                  <a:lnTo>
                    <a:pt x="8"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8" name="Freeform 180">
              <a:extLst>
                <a:ext uri="{FF2B5EF4-FFF2-40B4-BE49-F238E27FC236}">
                  <a16:creationId xmlns:a16="http://schemas.microsoft.com/office/drawing/2014/main" id="{A34EE0DC-E231-49C1-A6CC-3497DDF6B10C}"/>
                </a:ext>
              </a:extLst>
            </p:cNvPr>
            <p:cNvSpPr>
              <a:spLocks/>
            </p:cNvSpPr>
            <p:nvPr/>
          </p:nvSpPr>
          <p:spPr bwMode="auto">
            <a:xfrm>
              <a:off x="5077338" y="4529570"/>
              <a:ext cx="23306" cy="33665"/>
            </a:xfrm>
            <a:custGeom>
              <a:avLst/>
              <a:gdLst/>
              <a:ahLst/>
              <a:cxnLst>
                <a:cxn ang="0">
                  <a:pos x="12" y="0"/>
                </a:cxn>
                <a:cxn ang="0">
                  <a:pos x="12" y="0"/>
                </a:cxn>
                <a:cxn ang="0">
                  <a:pos x="10" y="10"/>
                </a:cxn>
                <a:cxn ang="0">
                  <a:pos x="2" y="12"/>
                </a:cxn>
                <a:cxn ang="0">
                  <a:pos x="0" y="16"/>
                </a:cxn>
                <a:cxn ang="0">
                  <a:pos x="2" y="20"/>
                </a:cxn>
                <a:cxn ang="0">
                  <a:pos x="6" y="22"/>
                </a:cxn>
                <a:cxn ang="0">
                  <a:pos x="10" y="24"/>
                </a:cxn>
                <a:cxn ang="0">
                  <a:pos x="14" y="26"/>
                </a:cxn>
                <a:cxn ang="0">
                  <a:pos x="14" y="22"/>
                </a:cxn>
                <a:cxn ang="0">
                  <a:pos x="14" y="14"/>
                </a:cxn>
                <a:cxn ang="0">
                  <a:pos x="18" y="6"/>
                </a:cxn>
                <a:cxn ang="0">
                  <a:pos x="18" y="2"/>
                </a:cxn>
                <a:cxn ang="0">
                  <a:pos x="16" y="0"/>
                </a:cxn>
                <a:cxn ang="0">
                  <a:pos x="12" y="0"/>
                </a:cxn>
              </a:cxnLst>
              <a:rect l="0" t="0" r="r" b="b"/>
              <a:pathLst>
                <a:path w="18" h="26">
                  <a:moveTo>
                    <a:pt x="12" y="0"/>
                  </a:moveTo>
                  <a:lnTo>
                    <a:pt x="12" y="0"/>
                  </a:lnTo>
                  <a:lnTo>
                    <a:pt x="10" y="10"/>
                  </a:lnTo>
                  <a:lnTo>
                    <a:pt x="2" y="12"/>
                  </a:lnTo>
                  <a:lnTo>
                    <a:pt x="0" y="16"/>
                  </a:lnTo>
                  <a:lnTo>
                    <a:pt x="2" y="20"/>
                  </a:lnTo>
                  <a:lnTo>
                    <a:pt x="6" y="22"/>
                  </a:lnTo>
                  <a:lnTo>
                    <a:pt x="10" y="24"/>
                  </a:lnTo>
                  <a:lnTo>
                    <a:pt x="14" y="26"/>
                  </a:lnTo>
                  <a:lnTo>
                    <a:pt x="14" y="22"/>
                  </a:lnTo>
                  <a:lnTo>
                    <a:pt x="14" y="14"/>
                  </a:lnTo>
                  <a:lnTo>
                    <a:pt x="18" y="6"/>
                  </a:lnTo>
                  <a:lnTo>
                    <a:pt x="18" y="2"/>
                  </a:lnTo>
                  <a:lnTo>
                    <a:pt x="16" y="0"/>
                  </a:lnTo>
                  <a:lnTo>
                    <a:pt x="1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19" name="Freeform 181">
              <a:extLst>
                <a:ext uri="{FF2B5EF4-FFF2-40B4-BE49-F238E27FC236}">
                  <a16:creationId xmlns:a16="http://schemas.microsoft.com/office/drawing/2014/main" id="{3A950AA6-5850-4E07-8DFF-EE8D10C41B1D}"/>
                </a:ext>
              </a:extLst>
            </p:cNvPr>
            <p:cNvSpPr>
              <a:spLocks/>
            </p:cNvSpPr>
            <p:nvPr/>
          </p:nvSpPr>
          <p:spPr bwMode="auto">
            <a:xfrm>
              <a:off x="5077338" y="4529570"/>
              <a:ext cx="23306" cy="33665"/>
            </a:xfrm>
            <a:custGeom>
              <a:avLst/>
              <a:gdLst/>
              <a:ahLst/>
              <a:cxnLst>
                <a:cxn ang="0">
                  <a:pos x="12" y="0"/>
                </a:cxn>
                <a:cxn ang="0">
                  <a:pos x="12" y="0"/>
                </a:cxn>
                <a:cxn ang="0">
                  <a:pos x="10" y="10"/>
                </a:cxn>
                <a:cxn ang="0">
                  <a:pos x="2" y="12"/>
                </a:cxn>
                <a:cxn ang="0">
                  <a:pos x="0" y="16"/>
                </a:cxn>
                <a:cxn ang="0">
                  <a:pos x="2" y="20"/>
                </a:cxn>
                <a:cxn ang="0">
                  <a:pos x="6" y="22"/>
                </a:cxn>
                <a:cxn ang="0">
                  <a:pos x="10" y="24"/>
                </a:cxn>
                <a:cxn ang="0">
                  <a:pos x="14" y="26"/>
                </a:cxn>
                <a:cxn ang="0">
                  <a:pos x="14" y="22"/>
                </a:cxn>
                <a:cxn ang="0">
                  <a:pos x="14" y="14"/>
                </a:cxn>
                <a:cxn ang="0">
                  <a:pos x="18" y="6"/>
                </a:cxn>
                <a:cxn ang="0">
                  <a:pos x="18" y="2"/>
                </a:cxn>
                <a:cxn ang="0">
                  <a:pos x="16" y="0"/>
                </a:cxn>
                <a:cxn ang="0">
                  <a:pos x="12" y="0"/>
                </a:cxn>
              </a:cxnLst>
              <a:rect l="0" t="0" r="r" b="b"/>
              <a:pathLst>
                <a:path w="18" h="26">
                  <a:moveTo>
                    <a:pt x="12" y="0"/>
                  </a:moveTo>
                  <a:lnTo>
                    <a:pt x="12" y="0"/>
                  </a:lnTo>
                  <a:lnTo>
                    <a:pt x="10" y="10"/>
                  </a:lnTo>
                  <a:lnTo>
                    <a:pt x="2" y="12"/>
                  </a:lnTo>
                  <a:lnTo>
                    <a:pt x="0" y="16"/>
                  </a:lnTo>
                  <a:lnTo>
                    <a:pt x="2" y="20"/>
                  </a:lnTo>
                  <a:lnTo>
                    <a:pt x="6" y="22"/>
                  </a:lnTo>
                  <a:lnTo>
                    <a:pt x="10" y="24"/>
                  </a:lnTo>
                  <a:lnTo>
                    <a:pt x="14" y="26"/>
                  </a:lnTo>
                  <a:lnTo>
                    <a:pt x="14" y="22"/>
                  </a:lnTo>
                  <a:lnTo>
                    <a:pt x="14" y="14"/>
                  </a:lnTo>
                  <a:lnTo>
                    <a:pt x="18" y="6"/>
                  </a:lnTo>
                  <a:lnTo>
                    <a:pt x="18" y="2"/>
                  </a:lnTo>
                  <a:lnTo>
                    <a:pt x="16" y="0"/>
                  </a:lnTo>
                  <a:lnTo>
                    <a:pt x="1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0" name="Freeform 182">
              <a:extLst>
                <a:ext uri="{FF2B5EF4-FFF2-40B4-BE49-F238E27FC236}">
                  <a16:creationId xmlns:a16="http://schemas.microsoft.com/office/drawing/2014/main" id="{CF0B3250-EEC9-4FC2-B77F-2B3847015BA8}"/>
                </a:ext>
              </a:extLst>
            </p:cNvPr>
            <p:cNvSpPr>
              <a:spLocks/>
            </p:cNvSpPr>
            <p:nvPr/>
          </p:nvSpPr>
          <p:spPr bwMode="auto">
            <a:xfrm>
              <a:off x="4991880" y="4521801"/>
              <a:ext cx="44023" cy="59561"/>
            </a:xfrm>
            <a:custGeom>
              <a:avLst/>
              <a:gdLst/>
              <a:ahLst/>
              <a:cxnLst>
                <a:cxn ang="0">
                  <a:pos x="30" y="0"/>
                </a:cxn>
                <a:cxn ang="0">
                  <a:pos x="30" y="0"/>
                </a:cxn>
                <a:cxn ang="0">
                  <a:pos x="30" y="6"/>
                </a:cxn>
                <a:cxn ang="0">
                  <a:pos x="24" y="12"/>
                </a:cxn>
                <a:cxn ang="0">
                  <a:pos x="24" y="14"/>
                </a:cxn>
                <a:cxn ang="0">
                  <a:pos x="24" y="16"/>
                </a:cxn>
                <a:cxn ang="0">
                  <a:pos x="22" y="18"/>
                </a:cxn>
                <a:cxn ang="0">
                  <a:pos x="20" y="20"/>
                </a:cxn>
                <a:cxn ang="0">
                  <a:pos x="20" y="24"/>
                </a:cxn>
                <a:cxn ang="0">
                  <a:pos x="18" y="28"/>
                </a:cxn>
                <a:cxn ang="0">
                  <a:pos x="14" y="30"/>
                </a:cxn>
                <a:cxn ang="0">
                  <a:pos x="14" y="32"/>
                </a:cxn>
                <a:cxn ang="0">
                  <a:pos x="8" y="32"/>
                </a:cxn>
                <a:cxn ang="0">
                  <a:pos x="8" y="36"/>
                </a:cxn>
                <a:cxn ang="0">
                  <a:pos x="4" y="36"/>
                </a:cxn>
                <a:cxn ang="0">
                  <a:pos x="0" y="46"/>
                </a:cxn>
                <a:cxn ang="0">
                  <a:pos x="10" y="40"/>
                </a:cxn>
                <a:cxn ang="0">
                  <a:pos x="18" y="34"/>
                </a:cxn>
                <a:cxn ang="0">
                  <a:pos x="18" y="30"/>
                </a:cxn>
                <a:cxn ang="0">
                  <a:pos x="22" y="26"/>
                </a:cxn>
                <a:cxn ang="0">
                  <a:pos x="24" y="26"/>
                </a:cxn>
                <a:cxn ang="0">
                  <a:pos x="24" y="24"/>
                </a:cxn>
                <a:cxn ang="0">
                  <a:pos x="26" y="22"/>
                </a:cxn>
                <a:cxn ang="0">
                  <a:pos x="30" y="20"/>
                </a:cxn>
                <a:cxn ang="0">
                  <a:pos x="30" y="16"/>
                </a:cxn>
                <a:cxn ang="0">
                  <a:pos x="34" y="14"/>
                </a:cxn>
                <a:cxn ang="0">
                  <a:pos x="34" y="2"/>
                </a:cxn>
                <a:cxn ang="0">
                  <a:pos x="34" y="0"/>
                </a:cxn>
                <a:cxn ang="0">
                  <a:pos x="30" y="0"/>
                </a:cxn>
              </a:cxnLst>
              <a:rect l="0" t="0" r="r" b="b"/>
              <a:pathLst>
                <a:path w="34" h="46">
                  <a:moveTo>
                    <a:pt x="30" y="0"/>
                  </a:moveTo>
                  <a:lnTo>
                    <a:pt x="30" y="0"/>
                  </a:lnTo>
                  <a:lnTo>
                    <a:pt x="30" y="6"/>
                  </a:lnTo>
                  <a:lnTo>
                    <a:pt x="24" y="12"/>
                  </a:lnTo>
                  <a:lnTo>
                    <a:pt x="24" y="14"/>
                  </a:lnTo>
                  <a:lnTo>
                    <a:pt x="24" y="16"/>
                  </a:lnTo>
                  <a:lnTo>
                    <a:pt x="22" y="18"/>
                  </a:lnTo>
                  <a:lnTo>
                    <a:pt x="20" y="20"/>
                  </a:lnTo>
                  <a:lnTo>
                    <a:pt x="20" y="24"/>
                  </a:lnTo>
                  <a:lnTo>
                    <a:pt x="18" y="28"/>
                  </a:lnTo>
                  <a:lnTo>
                    <a:pt x="14" y="30"/>
                  </a:lnTo>
                  <a:lnTo>
                    <a:pt x="14" y="32"/>
                  </a:lnTo>
                  <a:lnTo>
                    <a:pt x="8" y="32"/>
                  </a:lnTo>
                  <a:lnTo>
                    <a:pt x="8" y="36"/>
                  </a:lnTo>
                  <a:lnTo>
                    <a:pt x="4" y="36"/>
                  </a:lnTo>
                  <a:lnTo>
                    <a:pt x="0" y="46"/>
                  </a:lnTo>
                  <a:lnTo>
                    <a:pt x="10" y="40"/>
                  </a:lnTo>
                  <a:lnTo>
                    <a:pt x="18" y="34"/>
                  </a:lnTo>
                  <a:lnTo>
                    <a:pt x="18" y="30"/>
                  </a:lnTo>
                  <a:lnTo>
                    <a:pt x="22" y="26"/>
                  </a:lnTo>
                  <a:lnTo>
                    <a:pt x="24" y="26"/>
                  </a:lnTo>
                  <a:lnTo>
                    <a:pt x="24" y="24"/>
                  </a:lnTo>
                  <a:lnTo>
                    <a:pt x="26" y="22"/>
                  </a:lnTo>
                  <a:lnTo>
                    <a:pt x="30" y="20"/>
                  </a:lnTo>
                  <a:lnTo>
                    <a:pt x="30" y="16"/>
                  </a:lnTo>
                  <a:lnTo>
                    <a:pt x="34" y="14"/>
                  </a:lnTo>
                  <a:lnTo>
                    <a:pt x="34" y="2"/>
                  </a:lnTo>
                  <a:lnTo>
                    <a:pt x="34" y="0"/>
                  </a:lnTo>
                  <a:lnTo>
                    <a:pt x="3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1" name="Freeform 183">
              <a:extLst>
                <a:ext uri="{FF2B5EF4-FFF2-40B4-BE49-F238E27FC236}">
                  <a16:creationId xmlns:a16="http://schemas.microsoft.com/office/drawing/2014/main" id="{0D974D29-704C-4B47-AD28-5B2A4F5B36A2}"/>
                </a:ext>
              </a:extLst>
            </p:cNvPr>
            <p:cNvSpPr>
              <a:spLocks/>
            </p:cNvSpPr>
            <p:nvPr/>
          </p:nvSpPr>
          <p:spPr bwMode="auto">
            <a:xfrm>
              <a:off x="4991880" y="4521801"/>
              <a:ext cx="44023" cy="59561"/>
            </a:xfrm>
            <a:custGeom>
              <a:avLst/>
              <a:gdLst/>
              <a:ahLst/>
              <a:cxnLst>
                <a:cxn ang="0">
                  <a:pos x="30" y="0"/>
                </a:cxn>
                <a:cxn ang="0">
                  <a:pos x="30" y="0"/>
                </a:cxn>
                <a:cxn ang="0">
                  <a:pos x="30" y="6"/>
                </a:cxn>
                <a:cxn ang="0">
                  <a:pos x="24" y="12"/>
                </a:cxn>
                <a:cxn ang="0">
                  <a:pos x="24" y="14"/>
                </a:cxn>
                <a:cxn ang="0">
                  <a:pos x="24" y="16"/>
                </a:cxn>
                <a:cxn ang="0">
                  <a:pos x="22" y="18"/>
                </a:cxn>
                <a:cxn ang="0">
                  <a:pos x="20" y="20"/>
                </a:cxn>
                <a:cxn ang="0">
                  <a:pos x="20" y="24"/>
                </a:cxn>
                <a:cxn ang="0">
                  <a:pos x="18" y="28"/>
                </a:cxn>
                <a:cxn ang="0">
                  <a:pos x="14" y="30"/>
                </a:cxn>
                <a:cxn ang="0">
                  <a:pos x="14" y="32"/>
                </a:cxn>
                <a:cxn ang="0">
                  <a:pos x="8" y="32"/>
                </a:cxn>
                <a:cxn ang="0">
                  <a:pos x="8" y="36"/>
                </a:cxn>
                <a:cxn ang="0">
                  <a:pos x="4" y="36"/>
                </a:cxn>
                <a:cxn ang="0">
                  <a:pos x="0" y="46"/>
                </a:cxn>
                <a:cxn ang="0">
                  <a:pos x="10" y="40"/>
                </a:cxn>
                <a:cxn ang="0">
                  <a:pos x="18" y="34"/>
                </a:cxn>
                <a:cxn ang="0">
                  <a:pos x="18" y="30"/>
                </a:cxn>
                <a:cxn ang="0">
                  <a:pos x="22" y="26"/>
                </a:cxn>
                <a:cxn ang="0">
                  <a:pos x="24" y="26"/>
                </a:cxn>
                <a:cxn ang="0">
                  <a:pos x="24" y="24"/>
                </a:cxn>
                <a:cxn ang="0">
                  <a:pos x="26" y="22"/>
                </a:cxn>
                <a:cxn ang="0">
                  <a:pos x="30" y="20"/>
                </a:cxn>
                <a:cxn ang="0">
                  <a:pos x="30" y="16"/>
                </a:cxn>
                <a:cxn ang="0">
                  <a:pos x="34" y="14"/>
                </a:cxn>
                <a:cxn ang="0">
                  <a:pos x="34" y="2"/>
                </a:cxn>
                <a:cxn ang="0">
                  <a:pos x="34" y="0"/>
                </a:cxn>
                <a:cxn ang="0">
                  <a:pos x="30" y="0"/>
                </a:cxn>
              </a:cxnLst>
              <a:rect l="0" t="0" r="r" b="b"/>
              <a:pathLst>
                <a:path w="34" h="46">
                  <a:moveTo>
                    <a:pt x="30" y="0"/>
                  </a:moveTo>
                  <a:lnTo>
                    <a:pt x="30" y="0"/>
                  </a:lnTo>
                  <a:lnTo>
                    <a:pt x="30" y="6"/>
                  </a:lnTo>
                  <a:lnTo>
                    <a:pt x="24" y="12"/>
                  </a:lnTo>
                  <a:lnTo>
                    <a:pt x="24" y="14"/>
                  </a:lnTo>
                  <a:lnTo>
                    <a:pt x="24" y="16"/>
                  </a:lnTo>
                  <a:lnTo>
                    <a:pt x="22" y="18"/>
                  </a:lnTo>
                  <a:lnTo>
                    <a:pt x="20" y="20"/>
                  </a:lnTo>
                  <a:lnTo>
                    <a:pt x="20" y="24"/>
                  </a:lnTo>
                  <a:lnTo>
                    <a:pt x="18" y="28"/>
                  </a:lnTo>
                  <a:lnTo>
                    <a:pt x="14" y="30"/>
                  </a:lnTo>
                  <a:lnTo>
                    <a:pt x="14" y="32"/>
                  </a:lnTo>
                  <a:lnTo>
                    <a:pt x="8" y="32"/>
                  </a:lnTo>
                  <a:lnTo>
                    <a:pt x="8" y="36"/>
                  </a:lnTo>
                  <a:lnTo>
                    <a:pt x="4" y="36"/>
                  </a:lnTo>
                  <a:lnTo>
                    <a:pt x="0" y="46"/>
                  </a:lnTo>
                  <a:lnTo>
                    <a:pt x="10" y="40"/>
                  </a:lnTo>
                  <a:lnTo>
                    <a:pt x="18" y="34"/>
                  </a:lnTo>
                  <a:lnTo>
                    <a:pt x="18" y="30"/>
                  </a:lnTo>
                  <a:lnTo>
                    <a:pt x="22" y="26"/>
                  </a:lnTo>
                  <a:lnTo>
                    <a:pt x="24" y="26"/>
                  </a:lnTo>
                  <a:lnTo>
                    <a:pt x="24" y="24"/>
                  </a:lnTo>
                  <a:lnTo>
                    <a:pt x="26" y="22"/>
                  </a:lnTo>
                  <a:lnTo>
                    <a:pt x="30" y="20"/>
                  </a:lnTo>
                  <a:lnTo>
                    <a:pt x="30" y="16"/>
                  </a:lnTo>
                  <a:lnTo>
                    <a:pt x="34" y="14"/>
                  </a:lnTo>
                  <a:lnTo>
                    <a:pt x="34" y="2"/>
                  </a:lnTo>
                  <a:lnTo>
                    <a:pt x="34" y="0"/>
                  </a:lnTo>
                  <a:lnTo>
                    <a:pt x="3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2" name="Freeform 184">
              <a:extLst>
                <a:ext uri="{FF2B5EF4-FFF2-40B4-BE49-F238E27FC236}">
                  <a16:creationId xmlns:a16="http://schemas.microsoft.com/office/drawing/2014/main" id="{B1ED4C15-0A45-484F-9A6F-685B69CE6A10}"/>
                </a:ext>
              </a:extLst>
            </p:cNvPr>
            <p:cNvSpPr>
              <a:spLocks/>
            </p:cNvSpPr>
            <p:nvPr/>
          </p:nvSpPr>
          <p:spPr bwMode="auto">
            <a:xfrm>
              <a:off x="5069569" y="4514032"/>
              <a:ext cx="20717" cy="25896"/>
            </a:xfrm>
            <a:custGeom>
              <a:avLst/>
              <a:gdLst/>
              <a:ahLst/>
              <a:cxnLst>
                <a:cxn ang="0">
                  <a:pos x="4" y="0"/>
                </a:cxn>
                <a:cxn ang="0">
                  <a:pos x="4" y="0"/>
                </a:cxn>
                <a:cxn ang="0">
                  <a:pos x="0" y="20"/>
                </a:cxn>
                <a:cxn ang="0">
                  <a:pos x="10" y="14"/>
                </a:cxn>
                <a:cxn ang="0">
                  <a:pos x="14" y="14"/>
                </a:cxn>
                <a:cxn ang="0">
                  <a:pos x="14" y="10"/>
                </a:cxn>
                <a:cxn ang="0">
                  <a:pos x="16" y="10"/>
                </a:cxn>
                <a:cxn ang="0">
                  <a:pos x="16" y="4"/>
                </a:cxn>
                <a:cxn ang="0">
                  <a:pos x="4" y="0"/>
                </a:cxn>
              </a:cxnLst>
              <a:rect l="0" t="0" r="r" b="b"/>
              <a:pathLst>
                <a:path w="16" h="20">
                  <a:moveTo>
                    <a:pt x="4" y="0"/>
                  </a:moveTo>
                  <a:lnTo>
                    <a:pt x="4" y="0"/>
                  </a:lnTo>
                  <a:lnTo>
                    <a:pt x="0" y="20"/>
                  </a:lnTo>
                  <a:lnTo>
                    <a:pt x="10" y="14"/>
                  </a:lnTo>
                  <a:lnTo>
                    <a:pt x="14" y="14"/>
                  </a:lnTo>
                  <a:lnTo>
                    <a:pt x="14" y="10"/>
                  </a:lnTo>
                  <a:lnTo>
                    <a:pt x="16" y="10"/>
                  </a:lnTo>
                  <a:lnTo>
                    <a:pt x="16" y="4"/>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3" name="Freeform 185">
              <a:extLst>
                <a:ext uri="{FF2B5EF4-FFF2-40B4-BE49-F238E27FC236}">
                  <a16:creationId xmlns:a16="http://schemas.microsoft.com/office/drawing/2014/main" id="{67A3367D-5C77-4E09-864B-47591FEF952E}"/>
                </a:ext>
              </a:extLst>
            </p:cNvPr>
            <p:cNvSpPr>
              <a:spLocks/>
            </p:cNvSpPr>
            <p:nvPr/>
          </p:nvSpPr>
          <p:spPr bwMode="auto">
            <a:xfrm>
              <a:off x="5069569" y="4514032"/>
              <a:ext cx="20717" cy="25896"/>
            </a:xfrm>
            <a:custGeom>
              <a:avLst/>
              <a:gdLst/>
              <a:ahLst/>
              <a:cxnLst>
                <a:cxn ang="0">
                  <a:pos x="4" y="0"/>
                </a:cxn>
                <a:cxn ang="0">
                  <a:pos x="4" y="0"/>
                </a:cxn>
                <a:cxn ang="0">
                  <a:pos x="0" y="20"/>
                </a:cxn>
                <a:cxn ang="0">
                  <a:pos x="10" y="14"/>
                </a:cxn>
                <a:cxn ang="0">
                  <a:pos x="14" y="14"/>
                </a:cxn>
                <a:cxn ang="0">
                  <a:pos x="14" y="10"/>
                </a:cxn>
                <a:cxn ang="0">
                  <a:pos x="16" y="10"/>
                </a:cxn>
                <a:cxn ang="0">
                  <a:pos x="16" y="4"/>
                </a:cxn>
                <a:cxn ang="0">
                  <a:pos x="4" y="0"/>
                </a:cxn>
              </a:cxnLst>
              <a:rect l="0" t="0" r="r" b="b"/>
              <a:pathLst>
                <a:path w="16" h="20">
                  <a:moveTo>
                    <a:pt x="4" y="0"/>
                  </a:moveTo>
                  <a:lnTo>
                    <a:pt x="4" y="0"/>
                  </a:lnTo>
                  <a:lnTo>
                    <a:pt x="0" y="20"/>
                  </a:lnTo>
                  <a:lnTo>
                    <a:pt x="10" y="14"/>
                  </a:lnTo>
                  <a:lnTo>
                    <a:pt x="14" y="14"/>
                  </a:lnTo>
                  <a:lnTo>
                    <a:pt x="14" y="10"/>
                  </a:lnTo>
                  <a:lnTo>
                    <a:pt x="16" y="10"/>
                  </a:lnTo>
                  <a:lnTo>
                    <a:pt x="16" y="4"/>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4" name="Freeform 186">
              <a:extLst>
                <a:ext uri="{FF2B5EF4-FFF2-40B4-BE49-F238E27FC236}">
                  <a16:creationId xmlns:a16="http://schemas.microsoft.com/office/drawing/2014/main" id="{18F0ACD1-1FBA-46E8-8CCF-9CD3AB4BE916}"/>
                </a:ext>
              </a:extLst>
            </p:cNvPr>
            <p:cNvSpPr>
              <a:spLocks/>
            </p:cNvSpPr>
            <p:nvPr/>
          </p:nvSpPr>
          <p:spPr bwMode="auto">
            <a:xfrm>
              <a:off x="5095465" y="4501084"/>
              <a:ext cx="15538" cy="10358"/>
            </a:xfrm>
            <a:custGeom>
              <a:avLst/>
              <a:gdLst/>
              <a:ahLst/>
              <a:cxnLst>
                <a:cxn ang="0">
                  <a:pos x="0" y="0"/>
                </a:cxn>
                <a:cxn ang="0">
                  <a:pos x="0" y="2"/>
                </a:cxn>
                <a:cxn ang="0">
                  <a:pos x="0" y="4"/>
                </a:cxn>
                <a:cxn ang="0">
                  <a:pos x="0" y="6"/>
                </a:cxn>
                <a:cxn ang="0">
                  <a:pos x="8" y="8"/>
                </a:cxn>
                <a:cxn ang="0">
                  <a:pos x="12" y="8"/>
                </a:cxn>
                <a:cxn ang="0">
                  <a:pos x="10" y="4"/>
                </a:cxn>
                <a:cxn ang="0">
                  <a:pos x="0" y="0"/>
                </a:cxn>
              </a:cxnLst>
              <a:rect l="0" t="0" r="r" b="b"/>
              <a:pathLst>
                <a:path w="12" h="8">
                  <a:moveTo>
                    <a:pt x="0" y="0"/>
                  </a:moveTo>
                  <a:lnTo>
                    <a:pt x="0" y="2"/>
                  </a:lnTo>
                  <a:lnTo>
                    <a:pt x="0" y="4"/>
                  </a:lnTo>
                  <a:lnTo>
                    <a:pt x="0" y="6"/>
                  </a:lnTo>
                  <a:lnTo>
                    <a:pt x="8" y="8"/>
                  </a:lnTo>
                  <a:lnTo>
                    <a:pt x="12" y="8"/>
                  </a:lnTo>
                  <a:lnTo>
                    <a:pt x="10" y="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5" name="Freeform 187">
              <a:extLst>
                <a:ext uri="{FF2B5EF4-FFF2-40B4-BE49-F238E27FC236}">
                  <a16:creationId xmlns:a16="http://schemas.microsoft.com/office/drawing/2014/main" id="{3BD04916-1695-483F-A656-6B3AB5EA2101}"/>
                </a:ext>
              </a:extLst>
            </p:cNvPr>
            <p:cNvSpPr>
              <a:spLocks/>
            </p:cNvSpPr>
            <p:nvPr/>
          </p:nvSpPr>
          <p:spPr bwMode="auto">
            <a:xfrm>
              <a:off x="5095465" y="4501084"/>
              <a:ext cx="15538" cy="10358"/>
            </a:xfrm>
            <a:custGeom>
              <a:avLst/>
              <a:gdLst/>
              <a:ahLst/>
              <a:cxnLst>
                <a:cxn ang="0">
                  <a:pos x="0" y="0"/>
                </a:cxn>
                <a:cxn ang="0">
                  <a:pos x="0" y="2"/>
                </a:cxn>
                <a:cxn ang="0">
                  <a:pos x="0" y="4"/>
                </a:cxn>
                <a:cxn ang="0">
                  <a:pos x="0" y="6"/>
                </a:cxn>
                <a:cxn ang="0">
                  <a:pos x="8" y="8"/>
                </a:cxn>
                <a:cxn ang="0">
                  <a:pos x="12" y="8"/>
                </a:cxn>
                <a:cxn ang="0">
                  <a:pos x="10" y="4"/>
                </a:cxn>
                <a:cxn ang="0">
                  <a:pos x="0" y="0"/>
                </a:cxn>
              </a:cxnLst>
              <a:rect l="0" t="0" r="r" b="b"/>
              <a:pathLst>
                <a:path w="12" h="8">
                  <a:moveTo>
                    <a:pt x="0" y="0"/>
                  </a:moveTo>
                  <a:lnTo>
                    <a:pt x="0" y="2"/>
                  </a:lnTo>
                  <a:lnTo>
                    <a:pt x="0" y="4"/>
                  </a:lnTo>
                  <a:lnTo>
                    <a:pt x="0" y="6"/>
                  </a:lnTo>
                  <a:lnTo>
                    <a:pt x="8" y="8"/>
                  </a:lnTo>
                  <a:lnTo>
                    <a:pt x="12" y="8"/>
                  </a:lnTo>
                  <a:lnTo>
                    <a:pt x="10" y="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6" name="Freeform 188">
              <a:extLst>
                <a:ext uri="{FF2B5EF4-FFF2-40B4-BE49-F238E27FC236}">
                  <a16:creationId xmlns:a16="http://schemas.microsoft.com/office/drawing/2014/main" id="{2A5537CD-1BDA-453F-87C7-C8A1B00FD701}"/>
                </a:ext>
              </a:extLst>
            </p:cNvPr>
            <p:cNvSpPr>
              <a:spLocks/>
            </p:cNvSpPr>
            <p:nvPr/>
          </p:nvSpPr>
          <p:spPr bwMode="auto">
            <a:xfrm>
              <a:off x="5116182" y="4490726"/>
              <a:ext cx="20717" cy="33665"/>
            </a:xfrm>
            <a:custGeom>
              <a:avLst/>
              <a:gdLst/>
              <a:ahLst/>
              <a:cxnLst>
                <a:cxn ang="0">
                  <a:pos x="4" y="0"/>
                </a:cxn>
                <a:cxn ang="0">
                  <a:pos x="4" y="0"/>
                </a:cxn>
                <a:cxn ang="0">
                  <a:pos x="0" y="4"/>
                </a:cxn>
                <a:cxn ang="0">
                  <a:pos x="0" y="8"/>
                </a:cxn>
                <a:cxn ang="0">
                  <a:pos x="4" y="12"/>
                </a:cxn>
                <a:cxn ang="0">
                  <a:pos x="6" y="16"/>
                </a:cxn>
                <a:cxn ang="0">
                  <a:pos x="6" y="18"/>
                </a:cxn>
                <a:cxn ang="0">
                  <a:pos x="6" y="20"/>
                </a:cxn>
                <a:cxn ang="0">
                  <a:pos x="10" y="22"/>
                </a:cxn>
                <a:cxn ang="0">
                  <a:pos x="12" y="22"/>
                </a:cxn>
                <a:cxn ang="0">
                  <a:pos x="14" y="22"/>
                </a:cxn>
                <a:cxn ang="0">
                  <a:pos x="16" y="26"/>
                </a:cxn>
                <a:cxn ang="0">
                  <a:pos x="12" y="18"/>
                </a:cxn>
                <a:cxn ang="0">
                  <a:pos x="10" y="16"/>
                </a:cxn>
                <a:cxn ang="0">
                  <a:pos x="10" y="10"/>
                </a:cxn>
                <a:cxn ang="0">
                  <a:pos x="12" y="4"/>
                </a:cxn>
                <a:cxn ang="0">
                  <a:pos x="10" y="4"/>
                </a:cxn>
                <a:cxn ang="0">
                  <a:pos x="8" y="0"/>
                </a:cxn>
                <a:cxn ang="0">
                  <a:pos x="4" y="0"/>
                </a:cxn>
              </a:cxnLst>
              <a:rect l="0" t="0" r="r" b="b"/>
              <a:pathLst>
                <a:path w="16" h="26">
                  <a:moveTo>
                    <a:pt x="4" y="0"/>
                  </a:moveTo>
                  <a:lnTo>
                    <a:pt x="4" y="0"/>
                  </a:lnTo>
                  <a:lnTo>
                    <a:pt x="0" y="4"/>
                  </a:lnTo>
                  <a:lnTo>
                    <a:pt x="0" y="8"/>
                  </a:lnTo>
                  <a:lnTo>
                    <a:pt x="4" y="12"/>
                  </a:lnTo>
                  <a:lnTo>
                    <a:pt x="6" y="16"/>
                  </a:lnTo>
                  <a:lnTo>
                    <a:pt x="6" y="18"/>
                  </a:lnTo>
                  <a:lnTo>
                    <a:pt x="6" y="20"/>
                  </a:lnTo>
                  <a:lnTo>
                    <a:pt x="10" y="22"/>
                  </a:lnTo>
                  <a:lnTo>
                    <a:pt x="12" y="22"/>
                  </a:lnTo>
                  <a:lnTo>
                    <a:pt x="14" y="22"/>
                  </a:lnTo>
                  <a:lnTo>
                    <a:pt x="16" y="26"/>
                  </a:lnTo>
                  <a:lnTo>
                    <a:pt x="12" y="18"/>
                  </a:lnTo>
                  <a:lnTo>
                    <a:pt x="10" y="16"/>
                  </a:lnTo>
                  <a:lnTo>
                    <a:pt x="10" y="10"/>
                  </a:lnTo>
                  <a:lnTo>
                    <a:pt x="12" y="4"/>
                  </a:lnTo>
                  <a:lnTo>
                    <a:pt x="10" y="4"/>
                  </a:lnTo>
                  <a:lnTo>
                    <a:pt x="8"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7" name="Freeform 189">
              <a:extLst>
                <a:ext uri="{FF2B5EF4-FFF2-40B4-BE49-F238E27FC236}">
                  <a16:creationId xmlns:a16="http://schemas.microsoft.com/office/drawing/2014/main" id="{40DB218C-93A9-4BC0-90BE-636ED91FED4B}"/>
                </a:ext>
              </a:extLst>
            </p:cNvPr>
            <p:cNvSpPr>
              <a:spLocks/>
            </p:cNvSpPr>
            <p:nvPr/>
          </p:nvSpPr>
          <p:spPr bwMode="auto">
            <a:xfrm>
              <a:off x="5116182" y="4490726"/>
              <a:ext cx="20717" cy="33665"/>
            </a:xfrm>
            <a:custGeom>
              <a:avLst/>
              <a:gdLst/>
              <a:ahLst/>
              <a:cxnLst>
                <a:cxn ang="0">
                  <a:pos x="4" y="0"/>
                </a:cxn>
                <a:cxn ang="0">
                  <a:pos x="4" y="0"/>
                </a:cxn>
                <a:cxn ang="0">
                  <a:pos x="0" y="4"/>
                </a:cxn>
                <a:cxn ang="0">
                  <a:pos x="0" y="8"/>
                </a:cxn>
                <a:cxn ang="0">
                  <a:pos x="4" y="12"/>
                </a:cxn>
                <a:cxn ang="0">
                  <a:pos x="6" y="16"/>
                </a:cxn>
                <a:cxn ang="0">
                  <a:pos x="6" y="18"/>
                </a:cxn>
                <a:cxn ang="0">
                  <a:pos x="6" y="20"/>
                </a:cxn>
                <a:cxn ang="0">
                  <a:pos x="10" y="22"/>
                </a:cxn>
                <a:cxn ang="0">
                  <a:pos x="12" y="22"/>
                </a:cxn>
                <a:cxn ang="0">
                  <a:pos x="14" y="22"/>
                </a:cxn>
                <a:cxn ang="0">
                  <a:pos x="16" y="26"/>
                </a:cxn>
                <a:cxn ang="0">
                  <a:pos x="12" y="18"/>
                </a:cxn>
                <a:cxn ang="0">
                  <a:pos x="10" y="16"/>
                </a:cxn>
                <a:cxn ang="0">
                  <a:pos x="10" y="10"/>
                </a:cxn>
                <a:cxn ang="0">
                  <a:pos x="12" y="4"/>
                </a:cxn>
                <a:cxn ang="0">
                  <a:pos x="10" y="4"/>
                </a:cxn>
                <a:cxn ang="0">
                  <a:pos x="8" y="0"/>
                </a:cxn>
                <a:cxn ang="0">
                  <a:pos x="4" y="0"/>
                </a:cxn>
              </a:cxnLst>
              <a:rect l="0" t="0" r="r" b="b"/>
              <a:pathLst>
                <a:path w="16" h="26">
                  <a:moveTo>
                    <a:pt x="4" y="0"/>
                  </a:moveTo>
                  <a:lnTo>
                    <a:pt x="4" y="0"/>
                  </a:lnTo>
                  <a:lnTo>
                    <a:pt x="0" y="4"/>
                  </a:lnTo>
                  <a:lnTo>
                    <a:pt x="0" y="8"/>
                  </a:lnTo>
                  <a:lnTo>
                    <a:pt x="4" y="12"/>
                  </a:lnTo>
                  <a:lnTo>
                    <a:pt x="6" y="16"/>
                  </a:lnTo>
                  <a:lnTo>
                    <a:pt x="6" y="18"/>
                  </a:lnTo>
                  <a:lnTo>
                    <a:pt x="6" y="20"/>
                  </a:lnTo>
                  <a:lnTo>
                    <a:pt x="10" y="22"/>
                  </a:lnTo>
                  <a:lnTo>
                    <a:pt x="12" y="22"/>
                  </a:lnTo>
                  <a:lnTo>
                    <a:pt x="14" y="22"/>
                  </a:lnTo>
                  <a:lnTo>
                    <a:pt x="16" y="26"/>
                  </a:lnTo>
                  <a:lnTo>
                    <a:pt x="12" y="18"/>
                  </a:lnTo>
                  <a:lnTo>
                    <a:pt x="10" y="16"/>
                  </a:lnTo>
                  <a:lnTo>
                    <a:pt x="10" y="10"/>
                  </a:lnTo>
                  <a:lnTo>
                    <a:pt x="12" y="4"/>
                  </a:lnTo>
                  <a:lnTo>
                    <a:pt x="10" y="4"/>
                  </a:lnTo>
                  <a:lnTo>
                    <a:pt x="8"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8" name="Freeform 190">
              <a:extLst>
                <a:ext uri="{FF2B5EF4-FFF2-40B4-BE49-F238E27FC236}">
                  <a16:creationId xmlns:a16="http://schemas.microsoft.com/office/drawing/2014/main" id="{D7A4D178-3CE5-47CE-8F25-ACE284B8611D}"/>
                </a:ext>
              </a:extLst>
            </p:cNvPr>
            <p:cNvSpPr>
              <a:spLocks/>
            </p:cNvSpPr>
            <p:nvPr/>
          </p:nvSpPr>
          <p:spPr bwMode="auto">
            <a:xfrm>
              <a:off x="5043673" y="4475188"/>
              <a:ext cx="23306" cy="25896"/>
            </a:xfrm>
            <a:custGeom>
              <a:avLst/>
              <a:gdLst/>
              <a:ahLst/>
              <a:cxnLst>
                <a:cxn ang="0">
                  <a:pos x="4" y="0"/>
                </a:cxn>
                <a:cxn ang="0">
                  <a:pos x="4" y="0"/>
                </a:cxn>
                <a:cxn ang="0">
                  <a:pos x="2" y="0"/>
                </a:cxn>
                <a:cxn ang="0">
                  <a:pos x="0" y="2"/>
                </a:cxn>
                <a:cxn ang="0">
                  <a:pos x="2" y="2"/>
                </a:cxn>
                <a:cxn ang="0">
                  <a:pos x="6" y="4"/>
                </a:cxn>
                <a:cxn ang="0">
                  <a:pos x="8" y="8"/>
                </a:cxn>
                <a:cxn ang="0">
                  <a:pos x="10" y="10"/>
                </a:cxn>
                <a:cxn ang="0">
                  <a:pos x="14" y="12"/>
                </a:cxn>
                <a:cxn ang="0">
                  <a:pos x="14" y="16"/>
                </a:cxn>
                <a:cxn ang="0">
                  <a:pos x="16" y="20"/>
                </a:cxn>
                <a:cxn ang="0">
                  <a:pos x="18" y="16"/>
                </a:cxn>
                <a:cxn ang="0">
                  <a:pos x="18" y="14"/>
                </a:cxn>
                <a:cxn ang="0">
                  <a:pos x="16" y="8"/>
                </a:cxn>
                <a:cxn ang="0">
                  <a:pos x="12" y="2"/>
                </a:cxn>
                <a:cxn ang="0">
                  <a:pos x="8" y="0"/>
                </a:cxn>
                <a:cxn ang="0">
                  <a:pos x="4" y="0"/>
                </a:cxn>
              </a:cxnLst>
              <a:rect l="0" t="0" r="r" b="b"/>
              <a:pathLst>
                <a:path w="18" h="20">
                  <a:moveTo>
                    <a:pt x="4" y="0"/>
                  </a:moveTo>
                  <a:lnTo>
                    <a:pt x="4" y="0"/>
                  </a:lnTo>
                  <a:lnTo>
                    <a:pt x="2" y="0"/>
                  </a:lnTo>
                  <a:lnTo>
                    <a:pt x="0" y="2"/>
                  </a:lnTo>
                  <a:lnTo>
                    <a:pt x="2" y="2"/>
                  </a:lnTo>
                  <a:lnTo>
                    <a:pt x="6" y="4"/>
                  </a:lnTo>
                  <a:lnTo>
                    <a:pt x="8" y="8"/>
                  </a:lnTo>
                  <a:lnTo>
                    <a:pt x="10" y="10"/>
                  </a:lnTo>
                  <a:lnTo>
                    <a:pt x="14" y="12"/>
                  </a:lnTo>
                  <a:lnTo>
                    <a:pt x="14" y="16"/>
                  </a:lnTo>
                  <a:lnTo>
                    <a:pt x="16" y="20"/>
                  </a:lnTo>
                  <a:lnTo>
                    <a:pt x="18" y="16"/>
                  </a:lnTo>
                  <a:lnTo>
                    <a:pt x="18" y="14"/>
                  </a:lnTo>
                  <a:lnTo>
                    <a:pt x="16" y="8"/>
                  </a:lnTo>
                  <a:lnTo>
                    <a:pt x="12" y="2"/>
                  </a:lnTo>
                  <a:lnTo>
                    <a:pt x="8"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29" name="Freeform 191">
              <a:extLst>
                <a:ext uri="{FF2B5EF4-FFF2-40B4-BE49-F238E27FC236}">
                  <a16:creationId xmlns:a16="http://schemas.microsoft.com/office/drawing/2014/main" id="{9E7730B1-3FE0-47BB-99DA-7C26819932CA}"/>
                </a:ext>
              </a:extLst>
            </p:cNvPr>
            <p:cNvSpPr>
              <a:spLocks/>
            </p:cNvSpPr>
            <p:nvPr/>
          </p:nvSpPr>
          <p:spPr bwMode="auto">
            <a:xfrm>
              <a:off x="5043673" y="4475188"/>
              <a:ext cx="23306" cy="25896"/>
            </a:xfrm>
            <a:custGeom>
              <a:avLst/>
              <a:gdLst/>
              <a:ahLst/>
              <a:cxnLst>
                <a:cxn ang="0">
                  <a:pos x="4" y="0"/>
                </a:cxn>
                <a:cxn ang="0">
                  <a:pos x="4" y="0"/>
                </a:cxn>
                <a:cxn ang="0">
                  <a:pos x="2" y="0"/>
                </a:cxn>
                <a:cxn ang="0">
                  <a:pos x="0" y="2"/>
                </a:cxn>
                <a:cxn ang="0">
                  <a:pos x="2" y="2"/>
                </a:cxn>
                <a:cxn ang="0">
                  <a:pos x="6" y="4"/>
                </a:cxn>
                <a:cxn ang="0">
                  <a:pos x="8" y="8"/>
                </a:cxn>
                <a:cxn ang="0">
                  <a:pos x="10" y="10"/>
                </a:cxn>
                <a:cxn ang="0">
                  <a:pos x="14" y="12"/>
                </a:cxn>
                <a:cxn ang="0">
                  <a:pos x="14" y="16"/>
                </a:cxn>
                <a:cxn ang="0">
                  <a:pos x="16" y="20"/>
                </a:cxn>
                <a:cxn ang="0">
                  <a:pos x="18" y="16"/>
                </a:cxn>
                <a:cxn ang="0">
                  <a:pos x="18" y="14"/>
                </a:cxn>
                <a:cxn ang="0">
                  <a:pos x="16" y="8"/>
                </a:cxn>
                <a:cxn ang="0">
                  <a:pos x="12" y="2"/>
                </a:cxn>
                <a:cxn ang="0">
                  <a:pos x="8" y="0"/>
                </a:cxn>
                <a:cxn ang="0">
                  <a:pos x="4" y="0"/>
                </a:cxn>
              </a:cxnLst>
              <a:rect l="0" t="0" r="r" b="b"/>
              <a:pathLst>
                <a:path w="18" h="20">
                  <a:moveTo>
                    <a:pt x="4" y="0"/>
                  </a:moveTo>
                  <a:lnTo>
                    <a:pt x="4" y="0"/>
                  </a:lnTo>
                  <a:lnTo>
                    <a:pt x="2" y="0"/>
                  </a:lnTo>
                  <a:lnTo>
                    <a:pt x="0" y="2"/>
                  </a:lnTo>
                  <a:lnTo>
                    <a:pt x="2" y="2"/>
                  </a:lnTo>
                  <a:lnTo>
                    <a:pt x="6" y="4"/>
                  </a:lnTo>
                  <a:lnTo>
                    <a:pt x="8" y="8"/>
                  </a:lnTo>
                  <a:lnTo>
                    <a:pt x="10" y="10"/>
                  </a:lnTo>
                  <a:lnTo>
                    <a:pt x="14" y="12"/>
                  </a:lnTo>
                  <a:lnTo>
                    <a:pt x="14" y="16"/>
                  </a:lnTo>
                  <a:lnTo>
                    <a:pt x="16" y="20"/>
                  </a:lnTo>
                  <a:lnTo>
                    <a:pt x="18" y="16"/>
                  </a:lnTo>
                  <a:lnTo>
                    <a:pt x="18" y="14"/>
                  </a:lnTo>
                  <a:lnTo>
                    <a:pt x="16" y="8"/>
                  </a:lnTo>
                  <a:lnTo>
                    <a:pt x="12" y="2"/>
                  </a:lnTo>
                  <a:lnTo>
                    <a:pt x="8"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0" name="Freeform 192">
              <a:extLst>
                <a:ext uri="{FF2B5EF4-FFF2-40B4-BE49-F238E27FC236}">
                  <a16:creationId xmlns:a16="http://schemas.microsoft.com/office/drawing/2014/main" id="{EDC53359-73CD-4F40-AFF6-B772C2BD1A01}"/>
                </a:ext>
              </a:extLst>
            </p:cNvPr>
            <p:cNvSpPr>
              <a:spLocks/>
            </p:cNvSpPr>
            <p:nvPr/>
          </p:nvSpPr>
          <p:spPr bwMode="auto">
            <a:xfrm>
              <a:off x="1669410" y="4760045"/>
              <a:ext cx="204579" cy="372904"/>
            </a:xfrm>
            <a:custGeom>
              <a:avLst/>
              <a:gdLst/>
              <a:ahLst/>
              <a:cxnLst>
                <a:cxn ang="0">
                  <a:pos x="154" y="246"/>
                </a:cxn>
                <a:cxn ang="0">
                  <a:pos x="154" y="238"/>
                </a:cxn>
                <a:cxn ang="0">
                  <a:pos x="150" y="218"/>
                </a:cxn>
                <a:cxn ang="0">
                  <a:pos x="132" y="186"/>
                </a:cxn>
                <a:cxn ang="0">
                  <a:pos x="134" y="144"/>
                </a:cxn>
                <a:cxn ang="0">
                  <a:pos x="112" y="152"/>
                </a:cxn>
                <a:cxn ang="0">
                  <a:pos x="108" y="144"/>
                </a:cxn>
                <a:cxn ang="0">
                  <a:pos x="100" y="136"/>
                </a:cxn>
                <a:cxn ang="0">
                  <a:pos x="92" y="132"/>
                </a:cxn>
                <a:cxn ang="0">
                  <a:pos x="92" y="120"/>
                </a:cxn>
                <a:cxn ang="0">
                  <a:pos x="90" y="114"/>
                </a:cxn>
                <a:cxn ang="0">
                  <a:pos x="92" y="108"/>
                </a:cxn>
                <a:cxn ang="0">
                  <a:pos x="96" y="98"/>
                </a:cxn>
                <a:cxn ang="0">
                  <a:pos x="102" y="82"/>
                </a:cxn>
                <a:cxn ang="0">
                  <a:pos x="120" y="72"/>
                </a:cxn>
                <a:cxn ang="0">
                  <a:pos x="136" y="68"/>
                </a:cxn>
                <a:cxn ang="0">
                  <a:pos x="134" y="62"/>
                </a:cxn>
                <a:cxn ang="0">
                  <a:pos x="138" y="34"/>
                </a:cxn>
                <a:cxn ang="0">
                  <a:pos x="126" y="28"/>
                </a:cxn>
                <a:cxn ang="0">
                  <a:pos x="116" y="26"/>
                </a:cxn>
                <a:cxn ang="0">
                  <a:pos x="106" y="28"/>
                </a:cxn>
                <a:cxn ang="0">
                  <a:pos x="104" y="20"/>
                </a:cxn>
                <a:cxn ang="0">
                  <a:pos x="90" y="16"/>
                </a:cxn>
                <a:cxn ang="0">
                  <a:pos x="84" y="6"/>
                </a:cxn>
                <a:cxn ang="0">
                  <a:pos x="80" y="0"/>
                </a:cxn>
                <a:cxn ang="0">
                  <a:pos x="72" y="6"/>
                </a:cxn>
                <a:cxn ang="0">
                  <a:pos x="74" y="24"/>
                </a:cxn>
                <a:cxn ang="0">
                  <a:pos x="70" y="34"/>
                </a:cxn>
                <a:cxn ang="0">
                  <a:pos x="46" y="50"/>
                </a:cxn>
                <a:cxn ang="0">
                  <a:pos x="32" y="74"/>
                </a:cxn>
                <a:cxn ang="0">
                  <a:pos x="24" y="78"/>
                </a:cxn>
                <a:cxn ang="0">
                  <a:pos x="18" y="72"/>
                </a:cxn>
                <a:cxn ang="0">
                  <a:pos x="14" y="74"/>
                </a:cxn>
                <a:cxn ang="0">
                  <a:pos x="14" y="64"/>
                </a:cxn>
                <a:cxn ang="0">
                  <a:pos x="4" y="62"/>
                </a:cxn>
                <a:cxn ang="0">
                  <a:pos x="0" y="74"/>
                </a:cxn>
                <a:cxn ang="0">
                  <a:pos x="4" y="78"/>
                </a:cxn>
                <a:cxn ang="0">
                  <a:pos x="6" y="90"/>
                </a:cxn>
                <a:cxn ang="0">
                  <a:pos x="18" y="108"/>
                </a:cxn>
                <a:cxn ang="0">
                  <a:pos x="24" y="116"/>
                </a:cxn>
                <a:cxn ang="0">
                  <a:pos x="36" y="130"/>
                </a:cxn>
                <a:cxn ang="0">
                  <a:pos x="44" y="142"/>
                </a:cxn>
                <a:cxn ang="0">
                  <a:pos x="48" y="154"/>
                </a:cxn>
                <a:cxn ang="0">
                  <a:pos x="54" y="172"/>
                </a:cxn>
                <a:cxn ang="0">
                  <a:pos x="58" y="184"/>
                </a:cxn>
                <a:cxn ang="0">
                  <a:pos x="60" y="190"/>
                </a:cxn>
                <a:cxn ang="0">
                  <a:pos x="68" y="204"/>
                </a:cxn>
                <a:cxn ang="0">
                  <a:pos x="70" y="224"/>
                </a:cxn>
                <a:cxn ang="0">
                  <a:pos x="78" y="240"/>
                </a:cxn>
                <a:cxn ang="0">
                  <a:pos x="90" y="248"/>
                </a:cxn>
                <a:cxn ang="0">
                  <a:pos x="102" y="256"/>
                </a:cxn>
                <a:cxn ang="0">
                  <a:pos x="112" y="264"/>
                </a:cxn>
                <a:cxn ang="0">
                  <a:pos x="130" y="274"/>
                </a:cxn>
                <a:cxn ang="0">
                  <a:pos x="138" y="282"/>
                </a:cxn>
                <a:cxn ang="0">
                  <a:pos x="148" y="284"/>
                </a:cxn>
                <a:cxn ang="0">
                  <a:pos x="148" y="272"/>
                </a:cxn>
                <a:cxn ang="0">
                  <a:pos x="156" y="256"/>
                </a:cxn>
                <a:cxn ang="0">
                  <a:pos x="146" y="248"/>
                </a:cxn>
                <a:cxn ang="0">
                  <a:pos x="152" y="244"/>
                </a:cxn>
                <a:cxn ang="0">
                  <a:pos x="154" y="248"/>
                </a:cxn>
              </a:cxnLst>
              <a:rect l="0" t="0" r="r" b="b"/>
              <a:pathLst>
                <a:path w="158" h="288">
                  <a:moveTo>
                    <a:pt x="154" y="248"/>
                  </a:moveTo>
                  <a:lnTo>
                    <a:pt x="154" y="248"/>
                  </a:lnTo>
                  <a:lnTo>
                    <a:pt x="154" y="246"/>
                  </a:lnTo>
                  <a:lnTo>
                    <a:pt x="152" y="242"/>
                  </a:lnTo>
                  <a:lnTo>
                    <a:pt x="152" y="240"/>
                  </a:lnTo>
                  <a:lnTo>
                    <a:pt x="154" y="238"/>
                  </a:lnTo>
                  <a:lnTo>
                    <a:pt x="150" y="230"/>
                  </a:lnTo>
                  <a:lnTo>
                    <a:pt x="150" y="224"/>
                  </a:lnTo>
                  <a:lnTo>
                    <a:pt x="150" y="218"/>
                  </a:lnTo>
                  <a:lnTo>
                    <a:pt x="154" y="208"/>
                  </a:lnTo>
                  <a:lnTo>
                    <a:pt x="146" y="192"/>
                  </a:lnTo>
                  <a:lnTo>
                    <a:pt x="132" y="186"/>
                  </a:lnTo>
                  <a:lnTo>
                    <a:pt x="134" y="148"/>
                  </a:lnTo>
                  <a:lnTo>
                    <a:pt x="134" y="146"/>
                  </a:lnTo>
                  <a:lnTo>
                    <a:pt x="134" y="144"/>
                  </a:lnTo>
                  <a:lnTo>
                    <a:pt x="132" y="146"/>
                  </a:lnTo>
                  <a:lnTo>
                    <a:pt x="124" y="152"/>
                  </a:lnTo>
                  <a:lnTo>
                    <a:pt x="112" y="152"/>
                  </a:lnTo>
                  <a:lnTo>
                    <a:pt x="110" y="150"/>
                  </a:lnTo>
                  <a:lnTo>
                    <a:pt x="108" y="146"/>
                  </a:lnTo>
                  <a:lnTo>
                    <a:pt x="108" y="144"/>
                  </a:lnTo>
                  <a:lnTo>
                    <a:pt x="104" y="142"/>
                  </a:lnTo>
                  <a:lnTo>
                    <a:pt x="102" y="140"/>
                  </a:lnTo>
                  <a:lnTo>
                    <a:pt x="100" y="136"/>
                  </a:lnTo>
                  <a:lnTo>
                    <a:pt x="98" y="134"/>
                  </a:lnTo>
                  <a:lnTo>
                    <a:pt x="94" y="132"/>
                  </a:lnTo>
                  <a:lnTo>
                    <a:pt x="92" y="132"/>
                  </a:lnTo>
                  <a:lnTo>
                    <a:pt x="94" y="126"/>
                  </a:lnTo>
                  <a:lnTo>
                    <a:pt x="94" y="122"/>
                  </a:lnTo>
                  <a:lnTo>
                    <a:pt x="92" y="120"/>
                  </a:lnTo>
                  <a:lnTo>
                    <a:pt x="92" y="118"/>
                  </a:lnTo>
                  <a:lnTo>
                    <a:pt x="90" y="118"/>
                  </a:lnTo>
                  <a:lnTo>
                    <a:pt x="90" y="114"/>
                  </a:lnTo>
                  <a:lnTo>
                    <a:pt x="88" y="110"/>
                  </a:lnTo>
                  <a:lnTo>
                    <a:pt x="90" y="108"/>
                  </a:lnTo>
                  <a:lnTo>
                    <a:pt x="92" y="108"/>
                  </a:lnTo>
                  <a:lnTo>
                    <a:pt x="94" y="110"/>
                  </a:lnTo>
                  <a:lnTo>
                    <a:pt x="94" y="102"/>
                  </a:lnTo>
                  <a:lnTo>
                    <a:pt x="96" y="98"/>
                  </a:lnTo>
                  <a:lnTo>
                    <a:pt x="98" y="94"/>
                  </a:lnTo>
                  <a:lnTo>
                    <a:pt x="100" y="88"/>
                  </a:lnTo>
                  <a:lnTo>
                    <a:pt x="102" y="82"/>
                  </a:lnTo>
                  <a:lnTo>
                    <a:pt x="106" y="78"/>
                  </a:lnTo>
                  <a:lnTo>
                    <a:pt x="114" y="74"/>
                  </a:lnTo>
                  <a:lnTo>
                    <a:pt x="120" y="72"/>
                  </a:lnTo>
                  <a:lnTo>
                    <a:pt x="126" y="70"/>
                  </a:lnTo>
                  <a:lnTo>
                    <a:pt x="134" y="68"/>
                  </a:lnTo>
                  <a:lnTo>
                    <a:pt x="136" y="68"/>
                  </a:lnTo>
                  <a:lnTo>
                    <a:pt x="138" y="66"/>
                  </a:lnTo>
                  <a:lnTo>
                    <a:pt x="138" y="64"/>
                  </a:lnTo>
                  <a:lnTo>
                    <a:pt x="134" y="62"/>
                  </a:lnTo>
                  <a:lnTo>
                    <a:pt x="128" y="62"/>
                  </a:lnTo>
                  <a:lnTo>
                    <a:pt x="140" y="36"/>
                  </a:lnTo>
                  <a:lnTo>
                    <a:pt x="138" y="34"/>
                  </a:lnTo>
                  <a:lnTo>
                    <a:pt x="134" y="32"/>
                  </a:lnTo>
                  <a:lnTo>
                    <a:pt x="128" y="30"/>
                  </a:lnTo>
                  <a:lnTo>
                    <a:pt x="126" y="28"/>
                  </a:lnTo>
                  <a:lnTo>
                    <a:pt x="124" y="26"/>
                  </a:lnTo>
                  <a:lnTo>
                    <a:pt x="120" y="26"/>
                  </a:lnTo>
                  <a:lnTo>
                    <a:pt x="116" y="26"/>
                  </a:lnTo>
                  <a:lnTo>
                    <a:pt x="116" y="30"/>
                  </a:lnTo>
                  <a:lnTo>
                    <a:pt x="108" y="28"/>
                  </a:lnTo>
                  <a:lnTo>
                    <a:pt x="106" y="28"/>
                  </a:lnTo>
                  <a:lnTo>
                    <a:pt x="104" y="26"/>
                  </a:lnTo>
                  <a:lnTo>
                    <a:pt x="104" y="24"/>
                  </a:lnTo>
                  <a:lnTo>
                    <a:pt x="104" y="20"/>
                  </a:lnTo>
                  <a:lnTo>
                    <a:pt x="96" y="20"/>
                  </a:lnTo>
                  <a:lnTo>
                    <a:pt x="92" y="18"/>
                  </a:lnTo>
                  <a:lnTo>
                    <a:pt x="90" y="16"/>
                  </a:lnTo>
                  <a:lnTo>
                    <a:pt x="90" y="14"/>
                  </a:lnTo>
                  <a:lnTo>
                    <a:pt x="88" y="10"/>
                  </a:lnTo>
                  <a:lnTo>
                    <a:pt x="84" y="6"/>
                  </a:lnTo>
                  <a:lnTo>
                    <a:pt x="82" y="6"/>
                  </a:lnTo>
                  <a:lnTo>
                    <a:pt x="80" y="4"/>
                  </a:lnTo>
                  <a:lnTo>
                    <a:pt x="80" y="0"/>
                  </a:lnTo>
                  <a:lnTo>
                    <a:pt x="72" y="0"/>
                  </a:lnTo>
                  <a:lnTo>
                    <a:pt x="70" y="4"/>
                  </a:lnTo>
                  <a:lnTo>
                    <a:pt x="72" y="6"/>
                  </a:lnTo>
                  <a:lnTo>
                    <a:pt x="72" y="16"/>
                  </a:lnTo>
                  <a:lnTo>
                    <a:pt x="74" y="22"/>
                  </a:lnTo>
                  <a:lnTo>
                    <a:pt x="74" y="24"/>
                  </a:lnTo>
                  <a:lnTo>
                    <a:pt x="70" y="24"/>
                  </a:lnTo>
                  <a:lnTo>
                    <a:pt x="70" y="28"/>
                  </a:lnTo>
                  <a:lnTo>
                    <a:pt x="70" y="34"/>
                  </a:lnTo>
                  <a:lnTo>
                    <a:pt x="64" y="40"/>
                  </a:lnTo>
                  <a:lnTo>
                    <a:pt x="52" y="46"/>
                  </a:lnTo>
                  <a:lnTo>
                    <a:pt x="46" y="50"/>
                  </a:lnTo>
                  <a:lnTo>
                    <a:pt x="40" y="58"/>
                  </a:lnTo>
                  <a:lnTo>
                    <a:pt x="36" y="64"/>
                  </a:lnTo>
                  <a:lnTo>
                    <a:pt x="32" y="74"/>
                  </a:lnTo>
                  <a:lnTo>
                    <a:pt x="30" y="76"/>
                  </a:lnTo>
                  <a:lnTo>
                    <a:pt x="28" y="78"/>
                  </a:lnTo>
                  <a:lnTo>
                    <a:pt x="24" y="78"/>
                  </a:lnTo>
                  <a:lnTo>
                    <a:pt x="22" y="78"/>
                  </a:lnTo>
                  <a:lnTo>
                    <a:pt x="20" y="78"/>
                  </a:lnTo>
                  <a:lnTo>
                    <a:pt x="18" y="72"/>
                  </a:lnTo>
                  <a:lnTo>
                    <a:pt x="16" y="70"/>
                  </a:lnTo>
                  <a:lnTo>
                    <a:pt x="16" y="72"/>
                  </a:lnTo>
                  <a:lnTo>
                    <a:pt x="14" y="74"/>
                  </a:lnTo>
                  <a:lnTo>
                    <a:pt x="10" y="70"/>
                  </a:lnTo>
                  <a:lnTo>
                    <a:pt x="8" y="68"/>
                  </a:lnTo>
                  <a:lnTo>
                    <a:pt x="14" y="64"/>
                  </a:lnTo>
                  <a:lnTo>
                    <a:pt x="12" y="62"/>
                  </a:lnTo>
                  <a:lnTo>
                    <a:pt x="10" y="56"/>
                  </a:lnTo>
                  <a:lnTo>
                    <a:pt x="4" y="62"/>
                  </a:lnTo>
                  <a:lnTo>
                    <a:pt x="0" y="70"/>
                  </a:lnTo>
                  <a:lnTo>
                    <a:pt x="0" y="72"/>
                  </a:lnTo>
                  <a:lnTo>
                    <a:pt x="0" y="74"/>
                  </a:lnTo>
                  <a:lnTo>
                    <a:pt x="2" y="78"/>
                  </a:lnTo>
                  <a:lnTo>
                    <a:pt x="4" y="78"/>
                  </a:lnTo>
                  <a:lnTo>
                    <a:pt x="4" y="78"/>
                  </a:lnTo>
                  <a:lnTo>
                    <a:pt x="2" y="82"/>
                  </a:lnTo>
                  <a:lnTo>
                    <a:pt x="6" y="86"/>
                  </a:lnTo>
                  <a:lnTo>
                    <a:pt x="6" y="90"/>
                  </a:lnTo>
                  <a:lnTo>
                    <a:pt x="4" y="94"/>
                  </a:lnTo>
                  <a:lnTo>
                    <a:pt x="12" y="100"/>
                  </a:lnTo>
                  <a:lnTo>
                    <a:pt x="18" y="108"/>
                  </a:lnTo>
                  <a:lnTo>
                    <a:pt x="20" y="110"/>
                  </a:lnTo>
                  <a:lnTo>
                    <a:pt x="20" y="114"/>
                  </a:lnTo>
                  <a:lnTo>
                    <a:pt x="24" y="116"/>
                  </a:lnTo>
                  <a:lnTo>
                    <a:pt x="28" y="118"/>
                  </a:lnTo>
                  <a:lnTo>
                    <a:pt x="28" y="122"/>
                  </a:lnTo>
                  <a:lnTo>
                    <a:pt x="36" y="130"/>
                  </a:lnTo>
                  <a:lnTo>
                    <a:pt x="42" y="138"/>
                  </a:lnTo>
                  <a:lnTo>
                    <a:pt x="44" y="138"/>
                  </a:lnTo>
                  <a:lnTo>
                    <a:pt x="44" y="142"/>
                  </a:lnTo>
                  <a:lnTo>
                    <a:pt x="46" y="144"/>
                  </a:lnTo>
                  <a:lnTo>
                    <a:pt x="48" y="146"/>
                  </a:lnTo>
                  <a:lnTo>
                    <a:pt x="48" y="154"/>
                  </a:lnTo>
                  <a:lnTo>
                    <a:pt x="52" y="158"/>
                  </a:lnTo>
                  <a:lnTo>
                    <a:pt x="52" y="166"/>
                  </a:lnTo>
                  <a:lnTo>
                    <a:pt x="54" y="172"/>
                  </a:lnTo>
                  <a:lnTo>
                    <a:pt x="54" y="176"/>
                  </a:lnTo>
                  <a:lnTo>
                    <a:pt x="54" y="178"/>
                  </a:lnTo>
                  <a:lnTo>
                    <a:pt x="58" y="184"/>
                  </a:lnTo>
                  <a:lnTo>
                    <a:pt x="60" y="186"/>
                  </a:lnTo>
                  <a:lnTo>
                    <a:pt x="60" y="188"/>
                  </a:lnTo>
                  <a:lnTo>
                    <a:pt x="60" y="190"/>
                  </a:lnTo>
                  <a:lnTo>
                    <a:pt x="64" y="192"/>
                  </a:lnTo>
                  <a:lnTo>
                    <a:pt x="66" y="198"/>
                  </a:lnTo>
                  <a:lnTo>
                    <a:pt x="68" y="204"/>
                  </a:lnTo>
                  <a:lnTo>
                    <a:pt x="70" y="206"/>
                  </a:lnTo>
                  <a:lnTo>
                    <a:pt x="70" y="216"/>
                  </a:lnTo>
                  <a:lnTo>
                    <a:pt x="70" y="224"/>
                  </a:lnTo>
                  <a:lnTo>
                    <a:pt x="74" y="230"/>
                  </a:lnTo>
                  <a:lnTo>
                    <a:pt x="78" y="238"/>
                  </a:lnTo>
                  <a:lnTo>
                    <a:pt x="78" y="240"/>
                  </a:lnTo>
                  <a:lnTo>
                    <a:pt x="80" y="240"/>
                  </a:lnTo>
                  <a:lnTo>
                    <a:pt x="84" y="244"/>
                  </a:lnTo>
                  <a:lnTo>
                    <a:pt x="90" y="248"/>
                  </a:lnTo>
                  <a:lnTo>
                    <a:pt x="98" y="254"/>
                  </a:lnTo>
                  <a:lnTo>
                    <a:pt x="98" y="256"/>
                  </a:lnTo>
                  <a:lnTo>
                    <a:pt x="102" y="256"/>
                  </a:lnTo>
                  <a:lnTo>
                    <a:pt x="106" y="260"/>
                  </a:lnTo>
                  <a:lnTo>
                    <a:pt x="112" y="260"/>
                  </a:lnTo>
                  <a:lnTo>
                    <a:pt x="112" y="264"/>
                  </a:lnTo>
                  <a:lnTo>
                    <a:pt x="124" y="270"/>
                  </a:lnTo>
                  <a:lnTo>
                    <a:pt x="126" y="270"/>
                  </a:lnTo>
                  <a:lnTo>
                    <a:pt x="130" y="274"/>
                  </a:lnTo>
                  <a:lnTo>
                    <a:pt x="132" y="274"/>
                  </a:lnTo>
                  <a:lnTo>
                    <a:pt x="136" y="278"/>
                  </a:lnTo>
                  <a:lnTo>
                    <a:pt x="138" y="282"/>
                  </a:lnTo>
                  <a:lnTo>
                    <a:pt x="142" y="288"/>
                  </a:lnTo>
                  <a:lnTo>
                    <a:pt x="144" y="288"/>
                  </a:lnTo>
                  <a:lnTo>
                    <a:pt x="148" y="284"/>
                  </a:lnTo>
                  <a:lnTo>
                    <a:pt x="150" y="280"/>
                  </a:lnTo>
                  <a:lnTo>
                    <a:pt x="152" y="280"/>
                  </a:lnTo>
                  <a:lnTo>
                    <a:pt x="148" y="272"/>
                  </a:lnTo>
                  <a:lnTo>
                    <a:pt x="156" y="260"/>
                  </a:lnTo>
                  <a:lnTo>
                    <a:pt x="158" y="258"/>
                  </a:lnTo>
                  <a:lnTo>
                    <a:pt x="156" y="256"/>
                  </a:lnTo>
                  <a:lnTo>
                    <a:pt x="156" y="252"/>
                  </a:lnTo>
                  <a:lnTo>
                    <a:pt x="150" y="246"/>
                  </a:lnTo>
                  <a:lnTo>
                    <a:pt x="146" y="248"/>
                  </a:lnTo>
                  <a:lnTo>
                    <a:pt x="146" y="240"/>
                  </a:lnTo>
                  <a:lnTo>
                    <a:pt x="148" y="240"/>
                  </a:lnTo>
                  <a:lnTo>
                    <a:pt x="152" y="244"/>
                  </a:lnTo>
                  <a:lnTo>
                    <a:pt x="152" y="246"/>
                  </a:lnTo>
                  <a:lnTo>
                    <a:pt x="154" y="248"/>
                  </a:lnTo>
                  <a:lnTo>
                    <a:pt x="154" y="24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1" name="Freeform 193">
              <a:extLst>
                <a:ext uri="{FF2B5EF4-FFF2-40B4-BE49-F238E27FC236}">
                  <a16:creationId xmlns:a16="http://schemas.microsoft.com/office/drawing/2014/main" id="{F2139B92-3ED9-4393-A55E-3C45EDFF38D9}"/>
                </a:ext>
              </a:extLst>
            </p:cNvPr>
            <p:cNvSpPr>
              <a:spLocks/>
            </p:cNvSpPr>
            <p:nvPr/>
          </p:nvSpPr>
          <p:spPr bwMode="auto">
            <a:xfrm>
              <a:off x="1982753" y="5153666"/>
              <a:ext cx="137249" cy="178683"/>
            </a:xfrm>
            <a:custGeom>
              <a:avLst/>
              <a:gdLst/>
              <a:ahLst/>
              <a:cxnLst>
                <a:cxn ang="0">
                  <a:pos x="50" y="2"/>
                </a:cxn>
                <a:cxn ang="0">
                  <a:pos x="22" y="0"/>
                </a:cxn>
                <a:cxn ang="0">
                  <a:pos x="14" y="12"/>
                </a:cxn>
                <a:cxn ang="0">
                  <a:pos x="10" y="22"/>
                </a:cxn>
                <a:cxn ang="0">
                  <a:pos x="0" y="46"/>
                </a:cxn>
                <a:cxn ang="0">
                  <a:pos x="12" y="58"/>
                </a:cxn>
                <a:cxn ang="0">
                  <a:pos x="18" y="62"/>
                </a:cxn>
                <a:cxn ang="0">
                  <a:pos x="22" y="68"/>
                </a:cxn>
                <a:cxn ang="0">
                  <a:pos x="26" y="76"/>
                </a:cxn>
                <a:cxn ang="0">
                  <a:pos x="34" y="78"/>
                </a:cxn>
                <a:cxn ang="0">
                  <a:pos x="40" y="86"/>
                </a:cxn>
                <a:cxn ang="0">
                  <a:pos x="44" y="86"/>
                </a:cxn>
                <a:cxn ang="0">
                  <a:pos x="52" y="92"/>
                </a:cxn>
                <a:cxn ang="0">
                  <a:pos x="60" y="102"/>
                </a:cxn>
                <a:cxn ang="0">
                  <a:pos x="62" y="106"/>
                </a:cxn>
                <a:cxn ang="0">
                  <a:pos x="58" y="120"/>
                </a:cxn>
                <a:cxn ang="0">
                  <a:pos x="50" y="130"/>
                </a:cxn>
                <a:cxn ang="0">
                  <a:pos x="54" y="134"/>
                </a:cxn>
                <a:cxn ang="0">
                  <a:pos x="64" y="136"/>
                </a:cxn>
                <a:cxn ang="0">
                  <a:pos x="70" y="136"/>
                </a:cxn>
                <a:cxn ang="0">
                  <a:pos x="82" y="138"/>
                </a:cxn>
                <a:cxn ang="0">
                  <a:pos x="90" y="136"/>
                </a:cxn>
                <a:cxn ang="0">
                  <a:pos x="94" y="130"/>
                </a:cxn>
                <a:cxn ang="0">
                  <a:pos x="100" y="124"/>
                </a:cxn>
                <a:cxn ang="0">
                  <a:pos x="100" y="114"/>
                </a:cxn>
                <a:cxn ang="0">
                  <a:pos x="100" y="110"/>
                </a:cxn>
                <a:cxn ang="0">
                  <a:pos x="102" y="100"/>
                </a:cxn>
                <a:cxn ang="0">
                  <a:pos x="104" y="84"/>
                </a:cxn>
                <a:cxn ang="0">
                  <a:pos x="104" y="78"/>
                </a:cxn>
                <a:cxn ang="0">
                  <a:pos x="98" y="80"/>
                </a:cxn>
                <a:cxn ang="0">
                  <a:pos x="96" y="78"/>
                </a:cxn>
                <a:cxn ang="0">
                  <a:pos x="94" y="60"/>
                </a:cxn>
                <a:cxn ang="0">
                  <a:pos x="92" y="54"/>
                </a:cxn>
                <a:cxn ang="0">
                  <a:pos x="86" y="52"/>
                </a:cxn>
                <a:cxn ang="0">
                  <a:pos x="84" y="48"/>
                </a:cxn>
                <a:cxn ang="0">
                  <a:pos x="78" y="46"/>
                </a:cxn>
                <a:cxn ang="0">
                  <a:pos x="66" y="44"/>
                </a:cxn>
                <a:cxn ang="0">
                  <a:pos x="64" y="38"/>
                </a:cxn>
                <a:cxn ang="0">
                  <a:pos x="62" y="32"/>
                </a:cxn>
                <a:cxn ang="0">
                  <a:pos x="62" y="18"/>
                </a:cxn>
                <a:cxn ang="0">
                  <a:pos x="56" y="8"/>
                </a:cxn>
              </a:cxnLst>
              <a:rect l="0" t="0" r="r" b="b"/>
              <a:pathLst>
                <a:path w="106" h="138">
                  <a:moveTo>
                    <a:pt x="56" y="8"/>
                  </a:moveTo>
                  <a:lnTo>
                    <a:pt x="50" y="2"/>
                  </a:lnTo>
                  <a:lnTo>
                    <a:pt x="38" y="0"/>
                  </a:lnTo>
                  <a:lnTo>
                    <a:pt x="22" y="0"/>
                  </a:lnTo>
                  <a:lnTo>
                    <a:pt x="18" y="6"/>
                  </a:lnTo>
                  <a:lnTo>
                    <a:pt x="14" y="12"/>
                  </a:lnTo>
                  <a:lnTo>
                    <a:pt x="12" y="18"/>
                  </a:lnTo>
                  <a:lnTo>
                    <a:pt x="10" y="22"/>
                  </a:lnTo>
                  <a:lnTo>
                    <a:pt x="10" y="28"/>
                  </a:lnTo>
                  <a:lnTo>
                    <a:pt x="0" y="46"/>
                  </a:lnTo>
                  <a:lnTo>
                    <a:pt x="8" y="52"/>
                  </a:lnTo>
                  <a:lnTo>
                    <a:pt x="12" y="58"/>
                  </a:lnTo>
                  <a:lnTo>
                    <a:pt x="14" y="62"/>
                  </a:lnTo>
                  <a:lnTo>
                    <a:pt x="18" y="62"/>
                  </a:lnTo>
                  <a:lnTo>
                    <a:pt x="20" y="64"/>
                  </a:lnTo>
                  <a:lnTo>
                    <a:pt x="22" y="68"/>
                  </a:lnTo>
                  <a:lnTo>
                    <a:pt x="26" y="74"/>
                  </a:lnTo>
                  <a:lnTo>
                    <a:pt x="26" y="76"/>
                  </a:lnTo>
                  <a:lnTo>
                    <a:pt x="28" y="78"/>
                  </a:lnTo>
                  <a:lnTo>
                    <a:pt x="34" y="78"/>
                  </a:lnTo>
                  <a:lnTo>
                    <a:pt x="36" y="84"/>
                  </a:lnTo>
                  <a:lnTo>
                    <a:pt x="40" y="86"/>
                  </a:lnTo>
                  <a:lnTo>
                    <a:pt x="42" y="86"/>
                  </a:lnTo>
                  <a:lnTo>
                    <a:pt x="44" y="86"/>
                  </a:lnTo>
                  <a:lnTo>
                    <a:pt x="46" y="88"/>
                  </a:lnTo>
                  <a:lnTo>
                    <a:pt x="52" y="92"/>
                  </a:lnTo>
                  <a:lnTo>
                    <a:pt x="54" y="96"/>
                  </a:lnTo>
                  <a:lnTo>
                    <a:pt x="60" y="102"/>
                  </a:lnTo>
                  <a:lnTo>
                    <a:pt x="62" y="104"/>
                  </a:lnTo>
                  <a:lnTo>
                    <a:pt x="62" y="106"/>
                  </a:lnTo>
                  <a:lnTo>
                    <a:pt x="60" y="112"/>
                  </a:lnTo>
                  <a:lnTo>
                    <a:pt x="58" y="120"/>
                  </a:lnTo>
                  <a:lnTo>
                    <a:pt x="54" y="124"/>
                  </a:lnTo>
                  <a:lnTo>
                    <a:pt x="50" y="130"/>
                  </a:lnTo>
                  <a:lnTo>
                    <a:pt x="50" y="134"/>
                  </a:lnTo>
                  <a:lnTo>
                    <a:pt x="54" y="134"/>
                  </a:lnTo>
                  <a:lnTo>
                    <a:pt x="58" y="134"/>
                  </a:lnTo>
                  <a:lnTo>
                    <a:pt x="64" y="136"/>
                  </a:lnTo>
                  <a:lnTo>
                    <a:pt x="68" y="138"/>
                  </a:lnTo>
                  <a:lnTo>
                    <a:pt x="70" y="136"/>
                  </a:lnTo>
                  <a:lnTo>
                    <a:pt x="76" y="136"/>
                  </a:lnTo>
                  <a:lnTo>
                    <a:pt x="82" y="138"/>
                  </a:lnTo>
                  <a:lnTo>
                    <a:pt x="88" y="138"/>
                  </a:lnTo>
                  <a:lnTo>
                    <a:pt x="90" y="136"/>
                  </a:lnTo>
                  <a:lnTo>
                    <a:pt x="92" y="134"/>
                  </a:lnTo>
                  <a:lnTo>
                    <a:pt x="94" y="130"/>
                  </a:lnTo>
                  <a:lnTo>
                    <a:pt x="98" y="126"/>
                  </a:lnTo>
                  <a:lnTo>
                    <a:pt x="100" y="124"/>
                  </a:lnTo>
                  <a:lnTo>
                    <a:pt x="100" y="122"/>
                  </a:lnTo>
                  <a:lnTo>
                    <a:pt x="100" y="114"/>
                  </a:lnTo>
                  <a:lnTo>
                    <a:pt x="98" y="112"/>
                  </a:lnTo>
                  <a:lnTo>
                    <a:pt x="100" y="110"/>
                  </a:lnTo>
                  <a:lnTo>
                    <a:pt x="102" y="108"/>
                  </a:lnTo>
                  <a:lnTo>
                    <a:pt x="102" y="100"/>
                  </a:lnTo>
                  <a:lnTo>
                    <a:pt x="104" y="92"/>
                  </a:lnTo>
                  <a:lnTo>
                    <a:pt x="104" y="84"/>
                  </a:lnTo>
                  <a:lnTo>
                    <a:pt x="106" y="78"/>
                  </a:lnTo>
                  <a:lnTo>
                    <a:pt x="104" y="78"/>
                  </a:lnTo>
                  <a:lnTo>
                    <a:pt x="102" y="78"/>
                  </a:lnTo>
                  <a:lnTo>
                    <a:pt x="98" y="80"/>
                  </a:lnTo>
                  <a:lnTo>
                    <a:pt x="96" y="80"/>
                  </a:lnTo>
                  <a:lnTo>
                    <a:pt x="96" y="78"/>
                  </a:lnTo>
                  <a:lnTo>
                    <a:pt x="94" y="72"/>
                  </a:lnTo>
                  <a:lnTo>
                    <a:pt x="94" y="60"/>
                  </a:lnTo>
                  <a:lnTo>
                    <a:pt x="94" y="56"/>
                  </a:lnTo>
                  <a:lnTo>
                    <a:pt x="92" y="54"/>
                  </a:lnTo>
                  <a:lnTo>
                    <a:pt x="88" y="52"/>
                  </a:lnTo>
                  <a:lnTo>
                    <a:pt x="86" y="52"/>
                  </a:lnTo>
                  <a:lnTo>
                    <a:pt x="84" y="50"/>
                  </a:lnTo>
                  <a:lnTo>
                    <a:pt x="84" y="48"/>
                  </a:lnTo>
                  <a:lnTo>
                    <a:pt x="82" y="44"/>
                  </a:lnTo>
                  <a:lnTo>
                    <a:pt x="78" y="46"/>
                  </a:lnTo>
                  <a:lnTo>
                    <a:pt x="70" y="46"/>
                  </a:lnTo>
                  <a:lnTo>
                    <a:pt x="66" y="44"/>
                  </a:lnTo>
                  <a:lnTo>
                    <a:pt x="64" y="42"/>
                  </a:lnTo>
                  <a:lnTo>
                    <a:pt x="64" y="38"/>
                  </a:lnTo>
                  <a:lnTo>
                    <a:pt x="62" y="34"/>
                  </a:lnTo>
                  <a:lnTo>
                    <a:pt x="62" y="32"/>
                  </a:lnTo>
                  <a:lnTo>
                    <a:pt x="64" y="24"/>
                  </a:lnTo>
                  <a:lnTo>
                    <a:pt x="62" y="18"/>
                  </a:lnTo>
                  <a:lnTo>
                    <a:pt x="58" y="12"/>
                  </a:lnTo>
                  <a:lnTo>
                    <a:pt x="56" y="8"/>
                  </a:lnTo>
                  <a:lnTo>
                    <a:pt x="56"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2" name="Freeform 194">
              <a:extLst>
                <a:ext uri="{FF2B5EF4-FFF2-40B4-BE49-F238E27FC236}">
                  <a16:creationId xmlns:a16="http://schemas.microsoft.com/office/drawing/2014/main" id="{0B37DFA6-E3FC-4E77-9C7E-B44A4F34D248}"/>
                </a:ext>
              </a:extLst>
            </p:cNvPr>
            <p:cNvSpPr>
              <a:spLocks noEditPoints="1"/>
            </p:cNvSpPr>
            <p:nvPr/>
          </p:nvSpPr>
          <p:spPr bwMode="auto">
            <a:xfrm>
              <a:off x="5385501" y="4814427"/>
              <a:ext cx="256371" cy="170914"/>
            </a:xfrm>
            <a:custGeom>
              <a:avLst/>
              <a:gdLst/>
              <a:ahLst/>
              <a:cxnLst>
                <a:cxn ang="0">
                  <a:pos x="178" y="56"/>
                </a:cxn>
                <a:cxn ang="0">
                  <a:pos x="184" y="68"/>
                </a:cxn>
                <a:cxn ang="0">
                  <a:pos x="194" y="60"/>
                </a:cxn>
                <a:cxn ang="0">
                  <a:pos x="182" y="48"/>
                </a:cxn>
                <a:cxn ang="0">
                  <a:pos x="176" y="40"/>
                </a:cxn>
                <a:cxn ang="0">
                  <a:pos x="0" y="66"/>
                </a:cxn>
                <a:cxn ang="0">
                  <a:pos x="20" y="102"/>
                </a:cxn>
                <a:cxn ang="0">
                  <a:pos x="30" y="104"/>
                </a:cxn>
                <a:cxn ang="0">
                  <a:pos x="36" y="94"/>
                </a:cxn>
                <a:cxn ang="0">
                  <a:pos x="40" y="88"/>
                </a:cxn>
                <a:cxn ang="0">
                  <a:pos x="52" y="90"/>
                </a:cxn>
                <a:cxn ang="0">
                  <a:pos x="74" y="102"/>
                </a:cxn>
                <a:cxn ang="0">
                  <a:pos x="80" y="108"/>
                </a:cxn>
                <a:cxn ang="0">
                  <a:pos x="84" y="114"/>
                </a:cxn>
                <a:cxn ang="0">
                  <a:pos x="94" y="122"/>
                </a:cxn>
                <a:cxn ang="0">
                  <a:pos x="102" y="124"/>
                </a:cxn>
                <a:cxn ang="0">
                  <a:pos x="116" y="130"/>
                </a:cxn>
                <a:cxn ang="0">
                  <a:pos x="122" y="124"/>
                </a:cxn>
                <a:cxn ang="0">
                  <a:pos x="114" y="114"/>
                </a:cxn>
                <a:cxn ang="0">
                  <a:pos x="108" y="106"/>
                </a:cxn>
                <a:cxn ang="0">
                  <a:pos x="98" y="92"/>
                </a:cxn>
                <a:cxn ang="0">
                  <a:pos x="86" y="84"/>
                </a:cxn>
                <a:cxn ang="0">
                  <a:pos x="84" y="70"/>
                </a:cxn>
                <a:cxn ang="0">
                  <a:pos x="94" y="66"/>
                </a:cxn>
                <a:cxn ang="0">
                  <a:pos x="86" y="54"/>
                </a:cxn>
                <a:cxn ang="0">
                  <a:pos x="78" y="50"/>
                </a:cxn>
                <a:cxn ang="0">
                  <a:pos x="64" y="44"/>
                </a:cxn>
                <a:cxn ang="0">
                  <a:pos x="56" y="26"/>
                </a:cxn>
                <a:cxn ang="0">
                  <a:pos x="44" y="20"/>
                </a:cxn>
                <a:cxn ang="0">
                  <a:pos x="26" y="12"/>
                </a:cxn>
                <a:cxn ang="0">
                  <a:pos x="4" y="0"/>
                </a:cxn>
                <a:cxn ang="0">
                  <a:pos x="146" y="28"/>
                </a:cxn>
                <a:cxn ang="0">
                  <a:pos x="144" y="32"/>
                </a:cxn>
                <a:cxn ang="0">
                  <a:pos x="138" y="40"/>
                </a:cxn>
                <a:cxn ang="0">
                  <a:pos x="124" y="42"/>
                </a:cxn>
                <a:cxn ang="0">
                  <a:pos x="108" y="50"/>
                </a:cxn>
                <a:cxn ang="0">
                  <a:pos x="110" y="58"/>
                </a:cxn>
                <a:cxn ang="0">
                  <a:pos x="134" y="56"/>
                </a:cxn>
                <a:cxn ang="0">
                  <a:pos x="142" y="48"/>
                </a:cxn>
                <a:cxn ang="0">
                  <a:pos x="150" y="42"/>
                </a:cxn>
                <a:cxn ang="0">
                  <a:pos x="152" y="34"/>
                </a:cxn>
                <a:cxn ang="0">
                  <a:pos x="146" y="28"/>
                </a:cxn>
                <a:cxn ang="0">
                  <a:pos x="148" y="20"/>
                </a:cxn>
                <a:cxn ang="0">
                  <a:pos x="154" y="30"/>
                </a:cxn>
                <a:cxn ang="0">
                  <a:pos x="158" y="32"/>
                </a:cxn>
                <a:cxn ang="0">
                  <a:pos x="148" y="16"/>
                </a:cxn>
                <a:cxn ang="0">
                  <a:pos x="142" y="14"/>
                </a:cxn>
                <a:cxn ang="0">
                  <a:pos x="132" y="6"/>
                </a:cxn>
              </a:cxnLst>
              <a:rect l="0" t="0" r="r" b="b"/>
              <a:pathLst>
                <a:path w="198" h="132">
                  <a:moveTo>
                    <a:pt x="176" y="40"/>
                  </a:moveTo>
                  <a:lnTo>
                    <a:pt x="176" y="40"/>
                  </a:lnTo>
                  <a:lnTo>
                    <a:pt x="176" y="52"/>
                  </a:lnTo>
                  <a:lnTo>
                    <a:pt x="178" y="56"/>
                  </a:lnTo>
                  <a:lnTo>
                    <a:pt x="180" y="58"/>
                  </a:lnTo>
                  <a:lnTo>
                    <a:pt x="180" y="62"/>
                  </a:lnTo>
                  <a:lnTo>
                    <a:pt x="184" y="64"/>
                  </a:lnTo>
                  <a:lnTo>
                    <a:pt x="184" y="68"/>
                  </a:lnTo>
                  <a:lnTo>
                    <a:pt x="194" y="72"/>
                  </a:lnTo>
                  <a:lnTo>
                    <a:pt x="198" y="68"/>
                  </a:lnTo>
                  <a:lnTo>
                    <a:pt x="196" y="64"/>
                  </a:lnTo>
                  <a:lnTo>
                    <a:pt x="194" y="60"/>
                  </a:lnTo>
                  <a:lnTo>
                    <a:pt x="190" y="60"/>
                  </a:lnTo>
                  <a:lnTo>
                    <a:pt x="184" y="52"/>
                  </a:lnTo>
                  <a:lnTo>
                    <a:pt x="184" y="48"/>
                  </a:lnTo>
                  <a:lnTo>
                    <a:pt x="182" y="48"/>
                  </a:lnTo>
                  <a:lnTo>
                    <a:pt x="180" y="46"/>
                  </a:lnTo>
                  <a:lnTo>
                    <a:pt x="178" y="42"/>
                  </a:lnTo>
                  <a:lnTo>
                    <a:pt x="178" y="40"/>
                  </a:lnTo>
                  <a:lnTo>
                    <a:pt x="176" y="40"/>
                  </a:lnTo>
                  <a:lnTo>
                    <a:pt x="176" y="40"/>
                  </a:lnTo>
                  <a:close/>
                  <a:moveTo>
                    <a:pt x="2" y="2"/>
                  </a:moveTo>
                  <a:lnTo>
                    <a:pt x="2" y="60"/>
                  </a:lnTo>
                  <a:lnTo>
                    <a:pt x="0" y="66"/>
                  </a:lnTo>
                  <a:lnTo>
                    <a:pt x="2" y="72"/>
                  </a:lnTo>
                  <a:lnTo>
                    <a:pt x="2" y="104"/>
                  </a:lnTo>
                  <a:lnTo>
                    <a:pt x="16" y="104"/>
                  </a:lnTo>
                  <a:lnTo>
                    <a:pt x="20" y="102"/>
                  </a:lnTo>
                  <a:lnTo>
                    <a:pt x="22" y="102"/>
                  </a:lnTo>
                  <a:lnTo>
                    <a:pt x="22" y="104"/>
                  </a:lnTo>
                  <a:lnTo>
                    <a:pt x="26" y="104"/>
                  </a:lnTo>
                  <a:lnTo>
                    <a:pt x="30" y="104"/>
                  </a:lnTo>
                  <a:lnTo>
                    <a:pt x="36" y="100"/>
                  </a:lnTo>
                  <a:lnTo>
                    <a:pt x="36" y="98"/>
                  </a:lnTo>
                  <a:lnTo>
                    <a:pt x="36" y="96"/>
                  </a:lnTo>
                  <a:lnTo>
                    <a:pt x="36" y="94"/>
                  </a:lnTo>
                  <a:lnTo>
                    <a:pt x="36" y="92"/>
                  </a:lnTo>
                  <a:lnTo>
                    <a:pt x="38" y="86"/>
                  </a:lnTo>
                  <a:lnTo>
                    <a:pt x="40" y="86"/>
                  </a:lnTo>
                  <a:lnTo>
                    <a:pt x="40" y="88"/>
                  </a:lnTo>
                  <a:lnTo>
                    <a:pt x="42" y="88"/>
                  </a:lnTo>
                  <a:lnTo>
                    <a:pt x="44" y="88"/>
                  </a:lnTo>
                  <a:lnTo>
                    <a:pt x="46" y="86"/>
                  </a:lnTo>
                  <a:lnTo>
                    <a:pt x="52" y="90"/>
                  </a:lnTo>
                  <a:lnTo>
                    <a:pt x="58" y="90"/>
                  </a:lnTo>
                  <a:lnTo>
                    <a:pt x="66" y="92"/>
                  </a:lnTo>
                  <a:lnTo>
                    <a:pt x="74" y="98"/>
                  </a:lnTo>
                  <a:lnTo>
                    <a:pt x="74" y="102"/>
                  </a:lnTo>
                  <a:lnTo>
                    <a:pt x="74" y="104"/>
                  </a:lnTo>
                  <a:lnTo>
                    <a:pt x="76" y="104"/>
                  </a:lnTo>
                  <a:lnTo>
                    <a:pt x="78" y="106"/>
                  </a:lnTo>
                  <a:lnTo>
                    <a:pt x="80" y="108"/>
                  </a:lnTo>
                  <a:lnTo>
                    <a:pt x="80" y="110"/>
                  </a:lnTo>
                  <a:lnTo>
                    <a:pt x="82" y="110"/>
                  </a:lnTo>
                  <a:lnTo>
                    <a:pt x="84" y="110"/>
                  </a:lnTo>
                  <a:lnTo>
                    <a:pt x="84" y="114"/>
                  </a:lnTo>
                  <a:lnTo>
                    <a:pt x="88" y="116"/>
                  </a:lnTo>
                  <a:lnTo>
                    <a:pt x="90" y="118"/>
                  </a:lnTo>
                  <a:lnTo>
                    <a:pt x="90" y="122"/>
                  </a:lnTo>
                  <a:lnTo>
                    <a:pt x="94" y="122"/>
                  </a:lnTo>
                  <a:lnTo>
                    <a:pt x="96" y="122"/>
                  </a:lnTo>
                  <a:lnTo>
                    <a:pt x="98" y="126"/>
                  </a:lnTo>
                  <a:lnTo>
                    <a:pt x="100" y="124"/>
                  </a:lnTo>
                  <a:lnTo>
                    <a:pt x="102" y="124"/>
                  </a:lnTo>
                  <a:lnTo>
                    <a:pt x="104" y="126"/>
                  </a:lnTo>
                  <a:lnTo>
                    <a:pt x="108" y="126"/>
                  </a:lnTo>
                  <a:lnTo>
                    <a:pt x="114" y="128"/>
                  </a:lnTo>
                  <a:lnTo>
                    <a:pt x="116" y="130"/>
                  </a:lnTo>
                  <a:lnTo>
                    <a:pt x="120" y="132"/>
                  </a:lnTo>
                  <a:lnTo>
                    <a:pt x="124" y="132"/>
                  </a:lnTo>
                  <a:lnTo>
                    <a:pt x="124" y="126"/>
                  </a:lnTo>
                  <a:lnTo>
                    <a:pt x="122" y="124"/>
                  </a:lnTo>
                  <a:lnTo>
                    <a:pt x="118" y="124"/>
                  </a:lnTo>
                  <a:lnTo>
                    <a:pt x="116" y="122"/>
                  </a:lnTo>
                  <a:lnTo>
                    <a:pt x="118" y="116"/>
                  </a:lnTo>
                  <a:lnTo>
                    <a:pt x="114" y="114"/>
                  </a:lnTo>
                  <a:lnTo>
                    <a:pt x="112" y="116"/>
                  </a:lnTo>
                  <a:lnTo>
                    <a:pt x="110" y="116"/>
                  </a:lnTo>
                  <a:lnTo>
                    <a:pt x="108" y="110"/>
                  </a:lnTo>
                  <a:lnTo>
                    <a:pt x="108" y="106"/>
                  </a:lnTo>
                  <a:lnTo>
                    <a:pt x="100" y="104"/>
                  </a:lnTo>
                  <a:lnTo>
                    <a:pt x="100" y="98"/>
                  </a:lnTo>
                  <a:lnTo>
                    <a:pt x="98" y="96"/>
                  </a:lnTo>
                  <a:lnTo>
                    <a:pt x="98" y="92"/>
                  </a:lnTo>
                  <a:lnTo>
                    <a:pt x="96" y="92"/>
                  </a:lnTo>
                  <a:lnTo>
                    <a:pt x="92" y="92"/>
                  </a:lnTo>
                  <a:lnTo>
                    <a:pt x="88" y="88"/>
                  </a:lnTo>
                  <a:lnTo>
                    <a:pt x="86" y="84"/>
                  </a:lnTo>
                  <a:lnTo>
                    <a:pt x="86" y="74"/>
                  </a:lnTo>
                  <a:lnTo>
                    <a:pt x="84" y="74"/>
                  </a:lnTo>
                  <a:lnTo>
                    <a:pt x="84" y="72"/>
                  </a:lnTo>
                  <a:lnTo>
                    <a:pt x="84" y="70"/>
                  </a:lnTo>
                  <a:lnTo>
                    <a:pt x="86" y="70"/>
                  </a:lnTo>
                  <a:lnTo>
                    <a:pt x="90" y="70"/>
                  </a:lnTo>
                  <a:lnTo>
                    <a:pt x="92" y="68"/>
                  </a:lnTo>
                  <a:lnTo>
                    <a:pt x="94" y="66"/>
                  </a:lnTo>
                  <a:lnTo>
                    <a:pt x="94" y="60"/>
                  </a:lnTo>
                  <a:lnTo>
                    <a:pt x="92" y="60"/>
                  </a:lnTo>
                  <a:lnTo>
                    <a:pt x="90" y="56"/>
                  </a:lnTo>
                  <a:lnTo>
                    <a:pt x="86" y="54"/>
                  </a:lnTo>
                  <a:lnTo>
                    <a:pt x="84" y="56"/>
                  </a:lnTo>
                  <a:lnTo>
                    <a:pt x="82" y="56"/>
                  </a:lnTo>
                  <a:lnTo>
                    <a:pt x="80" y="50"/>
                  </a:lnTo>
                  <a:lnTo>
                    <a:pt x="78" y="50"/>
                  </a:lnTo>
                  <a:lnTo>
                    <a:pt x="78" y="46"/>
                  </a:lnTo>
                  <a:lnTo>
                    <a:pt x="70" y="46"/>
                  </a:lnTo>
                  <a:lnTo>
                    <a:pt x="68" y="46"/>
                  </a:lnTo>
                  <a:lnTo>
                    <a:pt x="64" y="44"/>
                  </a:lnTo>
                  <a:lnTo>
                    <a:pt x="64" y="42"/>
                  </a:lnTo>
                  <a:lnTo>
                    <a:pt x="66" y="38"/>
                  </a:lnTo>
                  <a:lnTo>
                    <a:pt x="62" y="32"/>
                  </a:lnTo>
                  <a:lnTo>
                    <a:pt x="56" y="26"/>
                  </a:lnTo>
                  <a:lnTo>
                    <a:pt x="54" y="26"/>
                  </a:lnTo>
                  <a:lnTo>
                    <a:pt x="50" y="26"/>
                  </a:lnTo>
                  <a:lnTo>
                    <a:pt x="48" y="24"/>
                  </a:lnTo>
                  <a:lnTo>
                    <a:pt x="44" y="20"/>
                  </a:lnTo>
                  <a:lnTo>
                    <a:pt x="38" y="20"/>
                  </a:lnTo>
                  <a:lnTo>
                    <a:pt x="36" y="16"/>
                  </a:lnTo>
                  <a:lnTo>
                    <a:pt x="30" y="16"/>
                  </a:lnTo>
                  <a:lnTo>
                    <a:pt x="26" y="12"/>
                  </a:lnTo>
                  <a:lnTo>
                    <a:pt x="20" y="12"/>
                  </a:lnTo>
                  <a:lnTo>
                    <a:pt x="14" y="10"/>
                  </a:lnTo>
                  <a:lnTo>
                    <a:pt x="4" y="2"/>
                  </a:lnTo>
                  <a:lnTo>
                    <a:pt x="4" y="0"/>
                  </a:lnTo>
                  <a:lnTo>
                    <a:pt x="2" y="0"/>
                  </a:lnTo>
                  <a:lnTo>
                    <a:pt x="2" y="2"/>
                  </a:lnTo>
                  <a:lnTo>
                    <a:pt x="2" y="2"/>
                  </a:lnTo>
                  <a:close/>
                  <a:moveTo>
                    <a:pt x="146" y="28"/>
                  </a:moveTo>
                  <a:lnTo>
                    <a:pt x="146" y="28"/>
                  </a:lnTo>
                  <a:lnTo>
                    <a:pt x="142" y="30"/>
                  </a:lnTo>
                  <a:lnTo>
                    <a:pt x="142" y="32"/>
                  </a:lnTo>
                  <a:lnTo>
                    <a:pt x="144" y="32"/>
                  </a:lnTo>
                  <a:lnTo>
                    <a:pt x="144" y="36"/>
                  </a:lnTo>
                  <a:lnTo>
                    <a:pt x="140" y="36"/>
                  </a:lnTo>
                  <a:lnTo>
                    <a:pt x="138" y="38"/>
                  </a:lnTo>
                  <a:lnTo>
                    <a:pt x="138" y="40"/>
                  </a:lnTo>
                  <a:lnTo>
                    <a:pt x="136" y="44"/>
                  </a:lnTo>
                  <a:lnTo>
                    <a:pt x="134" y="46"/>
                  </a:lnTo>
                  <a:lnTo>
                    <a:pt x="126" y="46"/>
                  </a:lnTo>
                  <a:lnTo>
                    <a:pt x="124" y="42"/>
                  </a:lnTo>
                  <a:lnTo>
                    <a:pt x="118" y="48"/>
                  </a:lnTo>
                  <a:lnTo>
                    <a:pt x="116" y="50"/>
                  </a:lnTo>
                  <a:lnTo>
                    <a:pt x="110" y="50"/>
                  </a:lnTo>
                  <a:lnTo>
                    <a:pt x="108" y="50"/>
                  </a:lnTo>
                  <a:lnTo>
                    <a:pt x="104" y="48"/>
                  </a:lnTo>
                  <a:lnTo>
                    <a:pt x="102" y="52"/>
                  </a:lnTo>
                  <a:lnTo>
                    <a:pt x="108" y="56"/>
                  </a:lnTo>
                  <a:lnTo>
                    <a:pt x="110" y="58"/>
                  </a:lnTo>
                  <a:lnTo>
                    <a:pt x="116" y="58"/>
                  </a:lnTo>
                  <a:lnTo>
                    <a:pt x="122" y="58"/>
                  </a:lnTo>
                  <a:lnTo>
                    <a:pt x="128" y="58"/>
                  </a:lnTo>
                  <a:lnTo>
                    <a:pt x="134" y="56"/>
                  </a:lnTo>
                  <a:lnTo>
                    <a:pt x="138" y="52"/>
                  </a:lnTo>
                  <a:lnTo>
                    <a:pt x="140" y="52"/>
                  </a:lnTo>
                  <a:lnTo>
                    <a:pt x="142" y="50"/>
                  </a:lnTo>
                  <a:lnTo>
                    <a:pt x="142" y="48"/>
                  </a:lnTo>
                  <a:lnTo>
                    <a:pt x="142" y="46"/>
                  </a:lnTo>
                  <a:lnTo>
                    <a:pt x="146" y="46"/>
                  </a:lnTo>
                  <a:lnTo>
                    <a:pt x="148" y="44"/>
                  </a:lnTo>
                  <a:lnTo>
                    <a:pt x="150" y="42"/>
                  </a:lnTo>
                  <a:lnTo>
                    <a:pt x="148" y="38"/>
                  </a:lnTo>
                  <a:lnTo>
                    <a:pt x="152" y="38"/>
                  </a:lnTo>
                  <a:lnTo>
                    <a:pt x="152" y="36"/>
                  </a:lnTo>
                  <a:lnTo>
                    <a:pt x="152" y="34"/>
                  </a:lnTo>
                  <a:lnTo>
                    <a:pt x="152" y="30"/>
                  </a:lnTo>
                  <a:lnTo>
                    <a:pt x="150" y="30"/>
                  </a:lnTo>
                  <a:lnTo>
                    <a:pt x="150" y="28"/>
                  </a:lnTo>
                  <a:lnTo>
                    <a:pt x="146" y="28"/>
                  </a:lnTo>
                  <a:lnTo>
                    <a:pt x="146" y="28"/>
                  </a:lnTo>
                  <a:close/>
                  <a:moveTo>
                    <a:pt x="148" y="16"/>
                  </a:moveTo>
                  <a:lnTo>
                    <a:pt x="148" y="16"/>
                  </a:lnTo>
                  <a:lnTo>
                    <a:pt x="148" y="20"/>
                  </a:lnTo>
                  <a:lnTo>
                    <a:pt x="152" y="24"/>
                  </a:lnTo>
                  <a:lnTo>
                    <a:pt x="154" y="26"/>
                  </a:lnTo>
                  <a:lnTo>
                    <a:pt x="154" y="28"/>
                  </a:lnTo>
                  <a:lnTo>
                    <a:pt x="154" y="30"/>
                  </a:lnTo>
                  <a:lnTo>
                    <a:pt x="154" y="32"/>
                  </a:lnTo>
                  <a:lnTo>
                    <a:pt x="154" y="34"/>
                  </a:lnTo>
                  <a:lnTo>
                    <a:pt x="158" y="34"/>
                  </a:lnTo>
                  <a:lnTo>
                    <a:pt x="158" y="32"/>
                  </a:lnTo>
                  <a:lnTo>
                    <a:pt x="160" y="26"/>
                  </a:lnTo>
                  <a:lnTo>
                    <a:pt x="154" y="22"/>
                  </a:lnTo>
                  <a:lnTo>
                    <a:pt x="148" y="16"/>
                  </a:lnTo>
                  <a:lnTo>
                    <a:pt x="148" y="16"/>
                  </a:lnTo>
                  <a:close/>
                  <a:moveTo>
                    <a:pt x="132" y="6"/>
                  </a:moveTo>
                  <a:lnTo>
                    <a:pt x="132" y="6"/>
                  </a:lnTo>
                  <a:lnTo>
                    <a:pt x="132" y="10"/>
                  </a:lnTo>
                  <a:lnTo>
                    <a:pt x="142" y="14"/>
                  </a:lnTo>
                  <a:lnTo>
                    <a:pt x="144" y="16"/>
                  </a:lnTo>
                  <a:lnTo>
                    <a:pt x="146" y="16"/>
                  </a:lnTo>
                  <a:lnTo>
                    <a:pt x="146" y="12"/>
                  </a:lnTo>
                  <a:lnTo>
                    <a:pt x="132" y="6"/>
                  </a:lnTo>
                  <a:lnTo>
                    <a:pt x="132"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3" name="Freeform 195">
              <a:extLst>
                <a:ext uri="{FF2B5EF4-FFF2-40B4-BE49-F238E27FC236}">
                  <a16:creationId xmlns:a16="http://schemas.microsoft.com/office/drawing/2014/main" id="{377AFA90-19EA-47A4-863A-12F8863B6739}"/>
                </a:ext>
              </a:extLst>
            </p:cNvPr>
            <p:cNvSpPr>
              <a:spLocks/>
            </p:cNvSpPr>
            <p:nvPr/>
          </p:nvSpPr>
          <p:spPr bwMode="auto">
            <a:xfrm>
              <a:off x="5613387" y="4866219"/>
              <a:ext cx="28486" cy="41434"/>
            </a:xfrm>
            <a:custGeom>
              <a:avLst/>
              <a:gdLst/>
              <a:ahLst/>
              <a:cxnLst>
                <a:cxn ang="0">
                  <a:pos x="0" y="0"/>
                </a:cxn>
                <a:cxn ang="0">
                  <a:pos x="0" y="0"/>
                </a:cxn>
                <a:cxn ang="0">
                  <a:pos x="0" y="12"/>
                </a:cxn>
                <a:cxn ang="0">
                  <a:pos x="2" y="16"/>
                </a:cxn>
                <a:cxn ang="0">
                  <a:pos x="4" y="18"/>
                </a:cxn>
                <a:cxn ang="0">
                  <a:pos x="4" y="22"/>
                </a:cxn>
                <a:cxn ang="0">
                  <a:pos x="8" y="24"/>
                </a:cxn>
                <a:cxn ang="0">
                  <a:pos x="8" y="28"/>
                </a:cxn>
                <a:cxn ang="0">
                  <a:pos x="18" y="32"/>
                </a:cxn>
                <a:cxn ang="0">
                  <a:pos x="22" y="28"/>
                </a:cxn>
                <a:cxn ang="0">
                  <a:pos x="20" y="24"/>
                </a:cxn>
                <a:cxn ang="0">
                  <a:pos x="18" y="20"/>
                </a:cxn>
                <a:cxn ang="0">
                  <a:pos x="14" y="20"/>
                </a:cxn>
                <a:cxn ang="0">
                  <a:pos x="8" y="12"/>
                </a:cxn>
                <a:cxn ang="0">
                  <a:pos x="8" y="8"/>
                </a:cxn>
                <a:cxn ang="0">
                  <a:pos x="6" y="8"/>
                </a:cxn>
                <a:cxn ang="0">
                  <a:pos x="4" y="6"/>
                </a:cxn>
                <a:cxn ang="0">
                  <a:pos x="2" y="2"/>
                </a:cxn>
                <a:cxn ang="0">
                  <a:pos x="2" y="0"/>
                </a:cxn>
                <a:cxn ang="0">
                  <a:pos x="0" y="0"/>
                </a:cxn>
                <a:cxn ang="0">
                  <a:pos x="0" y="0"/>
                </a:cxn>
              </a:cxnLst>
              <a:rect l="0" t="0" r="r" b="b"/>
              <a:pathLst>
                <a:path w="22" h="32">
                  <a:moveTo>
                    <a:pt x="0" y="0"/>
                  </a:moveTo>
                  <a:lnTo>
                    <a:pt x="0" y="0"/>
                  </a:lnTo>
                  <a:lnTo>
                    <a:pt x="0" y="12"/>
                  </a:lnTo>
                  <a:lnTo>
                    <a:pt x="2" y="16"/>
                  </a:lnTo>
                  <a:lnTo>
                    <a:pt x="4" y="18"/>
                  </a:lnTo>
                  <a:lnTo>
                    <a:pt x="4" y="22"/>
                  </a:lnTo>
                  <a:lnTo>
                    <a:pt x="8" y="24"/>
                  </a:lnTo>
                  <a:lnTo>
                    <a:pt x="8" y="28"/>
                  </a:lnTo>
                  <a:lnTo>
                    <a:pt x="18" y="32"/>
                  </a:lnTo>
                  <a:lnTo>
                    <a:pt x="22" y="28"/>
                  </a:lnTo>
                  <a:lnTo>
                    <a:pt x="20" y="24"/>
                  </a:lnTo>
                  <a:lnTo>
                    <a:pt x="18" y="20"/>
                  </a:lnTo>
                  <a:lnTo>
                    <a:pt x="14" y="20"/>
                  </a:lnTo>
                  <a:lnTo>
                    <a:pt x="8" y="12"/>
                  </a:lnTo>
                  <a:lnTo>
                    <a:pt x="8" y="8"/>
                  </a:lnTo>
                  <a:lnTo>
                    <a:pt x="6" y="8"/>
                  </a:lnTo>
                  <a:lnTo>
                    <a:pt x="4" y="6"/>
                  </a:lnTo>
                  <a:lnTo>
                    <a:pt x="2"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4" name="Freeform 196">
              <a:extLst>
                <a:ext uri="{FF2B5EF4-FFF2-40B4-BE49-F238E27FC236}">
                  <a16:creationId xmlns:a16="http://schemas.microsoft.com/office/drawing/2014/main" id="{3E1AA21F-BA74-4FF0-9A9A-FEB83C82D83C}"/>
                </a:ext>
              </a:extLst>
            </p:cNvPr>
            <p:cNvSpPr>
              <a:spLocks/>
            </p:cNvSpPr>
            <p:nvPr/>
          </p:nvSpPr>
          <p:spPr bwMode="auto">
            <a:xfrm>
              <a:off x="5517571" y="4850682"/>
              <a:ext cx="64740" cy="38844"/>
            </a:xfrm>
            <a:custGeom>
              <a:avLst/>
              <a:gdLst/>
              <a:ahLst/>
              <a:cxnLst>
                <a:cxn ang="0">
                  <a:pos x="44" y="0"/>
                </a:cxn>
                <a:cxn ang="0">
                  <a:pos x="44" y="0"/>
                </a:cxn>
                <a:cxn ang="0">
                  <a:pos x="40" y="2"/>
                </a:cxn>
                <a:cxn ang="0">
                  <a:pos x="40" y="4"/>
                </a:cxn>
                <a:cxn ang="0">
                  <a:pos x="42" y="4"/>
                </a:cxn>
                <a:cxn ang="0">
                  <a:pos x="42" y="8"/>
                </a:cxn>
                <a:cxn ang="0">
                  <a:pos x="38" y="8"/>
                </a:cxn>
                <a:cxn ang="0">
                  <a:pos x="36" y="10"/>
                </a:cxn>
                <a:cxn ang="0">
                  <a:pos x="36" y="12"/>
                </a:cxn>
                <a:cxn ang="0">
                  <a:pos x="34" y="16"/>
                </a:cxn>
                <a:cxn ang="0">
                  <a:pos x="32" y="18"/>
                </a:cxn>
                <a:cxn ang="0">
                  <a:pos x="24" y="18"/>
                </a:cxn>
                <a:cxn ang="0">
                  <a:pos x="22" y="14"/>
                </a:cxn>
                <a:cxn ang="0">
                  <a:pos x="16" y="20"/>
                </a:cxn>
                <a:cxn ang="0">
                  <a:pos x="14" y="22"/>
                </a:cxn>
                <a:cxn ang="0">
                  <a:pos x="8" y="22"/>
                </a:cxn>
                <a:cxn ang="0">
                  <a:pos x="6" y="22"/>
                </a:cxn>
                <a:cxn ang="0">
                  <a:pos x="2" y="20"/>
                </a:cxn>
                <a:cxn ang="0">
                  <a:pos x="0" y="24"/>
                </a:cxn>
                <a:cxn ang="0">
                  <a:pos x="6" y="28"/>
                </a:cxn>
                <a:cxn ang="0">
                  <a:pos x="8" y="30"/>
                </a:cxn>
                <a:cxn ang="0">
                  <a:pos x="14" y="30"/>
                </a:cxn>
                <a:cxn ang="0">
                  <a:pos x="20" y="30"/>
                </a:cxn>
                <a:cxn ang="0">
                  <a:pos x="26" y="30"/>
                </a:cxn>
                <a:cxn ang="0">
                  <a:pos x="32" y="28"/>
                </a:cxn>
                <a:cxn ang="0">
                  <a:pos x="36" y="24"/>
                </a:cxn>
                <a:cxn ang="0">
                  <a:pos x="38" y="24"/>
                </a:cxn>
                <a:cxn ang="0">
                  <a:pos x="40" y="22"/>
                </a:cxn>
                <a:cxn ang="0">
                  <a:pos x="40" y="20"/>
                </a:cxn>
                <a:cxn ang="0">
                  <a:pos x="40" y="18"/>
                </a:cxn>
                <a:cxn ang="0">
                  <a:pos x="44" y="18"/>
                </a:cxn>
                <a:cxn ang="0">
                  <a:pos x="46" y="16"/>
                </a:cxn>
                <a:cxn ang="0">
                  <a:pos x="48" y="14"/>
                </a:cxn>
                <a:cxn ang="0">
                  <a:pos x="46" y="10"/>
                </a:cxn>
                <a:cxn ang="0">
                  <a:pos x="50" y="10"/>
                </a:cxn>
                <a:cxn ang="0">
                  <a:pos x="50" y="8"/>
                </a:cxn>
                <a:cxn ang="0">
                  <a:pos x="50" y="6"/>
                </a:cxn>
                <a:cxn ang="0">
                  <a:pos x="50" y="2"/>
                </a:cxn>
                <a:cxn ang="0">
                  <a:pos x="48" y="2"/>
                </a:cxn>
                <a:cxn ang="0">
                  <a:pos x="48" y="0"/>
                </a:cxn>
                <a:cxn ang="0">
                  <a:pos x="44" y="0"/>
                </a:cxn>
              </a:cxnLst>
              <a:rect l="0" t="0" r="r" b="b"/>
              <a:pathLst>
                <a:path w="50" h="30">
                  <a:moveTo>
                    <a:pt x="44" y="0"/>
                  </a:moveTo>
                  <a:lnTo>
                    <a:pt x="44" y="0"/>
                  </a:lnTo>
                  <a:lnTo>
                    <a:pt x="40" y="2"/>
                  </a:lnTo>
                  <a:lnTo>
                    <a:pt x="40" y="4"/>
                  </a:lnTo>
                  <a:lnTo>
                    <a:pt x="42" y="4"/>
                  </a:lnTo>
                  <a:lnTo>
                    <a:pt x="42" y="8"/>
                  </a:lnTo>
                  <a:lnTo>
                    <a:pt x="38" y="8"/>
                  </a:lnTo>
                  <a:lnTo>
                    <a:pt x="36" y="10"/>
                  </a:lnTo>
                  <a:lnTo>
                    <a:pt x="36" y="12"/>
                  </a:lnTo>
                  <a:lnTo>
                    <a:pt x="34" y="16"/>
                  </a:lnTo>
                  <a:lnTo>
                    <a:pt x="32" y="18"/>
                  </a:lnTo>
                  <a:lnTo>
                    <a:pt x="24" y="18"/>
                  </a:lnTo>
                  <a:lnTo>
                    <a:pt x="22" y="14"/>
                  </a:lnTo>
                  <a:lnTo>
                    <a:pt x="16" y="20"/>
                  </a:lnTo>
                  <a:lnTo>
                    <a:pt x="14" y="22"/>
                  </a:lnTo>
                  <a:lnTo>
                    <a:pt x="8" y="22"/>
                  </a:lnTo>
                  <a:lnTo>
                    <a:pt x="6" y="22"/>
                  </a:lnTo>
                  <a:lnTo>
                    <a:pt x="2" y="20"/>
                  </a:lnTo>
                  <a:lnTo>
                    <a:pt x="0" y="24"/>
                  </a:lnTo>
                  <a:lnTo>
                    <a:pt x="6" y="28"/>
                  </a:lnTo>
                  <a:lnTo>
                    <a:pt x="8" y="30"/>
                  </a:lnTo>
                  <a:lnTo>
                    <a:pt x="14" y="30"/>
                  </a:lnTo>
                  <a:lnTo>
                    <a:pt x="20" y="30"/>
                  </a:lnTo>
                  <a:lnTo>
                    <a:pt x="26" y="30"/>
                  </a:lnTo>
                  <a:lnTo>
                    <a:pt x="32" y="28"/>
                  </a:lnTo>
                  <a:lnTo>
                    <a:pt x="36" y="24"/>
                  </a:lnTo>
                  <a:lnTo>
                    <a:pt x="38" y="24"/>
                  </a:lnTo>
                  <a:lnTo>
                    <a:pt x="40" y="22"/>
                  </a:lnTo>
                  <a:lnTo>
                    <a:pt x="40" y="20"/>
                  </a:lnTo>
                  <a:lnTo>
                    <a:pt x="40" y="18"/>
                  </a:lnTo>
                  <a:lnTo>
                    <a:pt x="44" y="18"/>
                  </a:lnTo>
                  <a:lnTo>
                    <a:pt x="46" y="16"/>
                  </a:lnTo>
                  <a:lnTo>
                    <a:pt x="48" y="14"/>
                  </a:lnTo>
                  <a:lnTo>
                    <a:pt x="46" y="10"/>
                  </a:lnTo>
                  <a:lnTo>
                    <a:pt x="50" y="10"/>
                  </a:lnTo>
                  <a:lnTo>
                    <a:pt x="50" y="8"/>
                  </a:lnTo>
                  <a:lnTo>
                    <a:pt x="50" y="6"/>
                  </a:lnTo>
                  <a:lnTo>
                    <a:pt x="50" y="2"/>
                  </a:lnTo>
                  <a:lnTo>
                    <a:pt x="48" y="2"/>
                  </a:lnTo>
                  <a:lnTo>
                    <a:pt x="48" y="0"/>
                  </a:lnTo>
                  <a:lnTo>
                    <a:pt x="4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5" name="Freeform 197">
              <a:extLst>
                <a:ext uri="{FF2B5EF4-FFF2-40B4-BE49-F238E27FC236}">
                  <a16:creationId xmlns:a16="http://schemas.microsoft.com/office/drawing/2014/main" id="{23F9C3CA-C996-4714-A3D2-2128A18F3944}"/>
                </a:ext>
              </a:extLst>
            </p:cNvPr>
            <p:cNvSpPr>
              <a:spLocks/>
            </p:cNvSpPr>
            <p:nvPr/>
          </p:nvSpPr>
          <p:spPr bwMode="auto">
            <a:xfrm>
              <a:off x="5517571" y="4850682"/>
              <a:ext cx="64740" cy="38844"/>
            </a:xfrm>
            <a:custGeom>
              <a:avLst/>
              <a:gdLst/>
              <a:ahLst/>
              <a:cxnLst>
                <a:cxn ang="0">
                  <a:pos x="44" y="0"/>
                </a:cxn>
                <a:cxn ang="0">
                  <a:pos x="44" y="0"/>
                </a:cxn>
                <a:cxn ang="0">
                  <a:pos x="40" y="2"/>
                </a:cxn>
                <a:cxn ang="0">
                  <a:pos x="40" y="4"/>
                </a:cxn>
                <a:cxn ang="0">
                  <a:pos x="42" y="4"/>
                </a:cxn>
                <a:cxn ang="0">
                  <a:pos x="42" y="8"/>
                </a:cxn>
                <a:cxn ang="0">
                  <a:pos x="38" y="8"/>
                </a:cxn>
                <a:cxn ang="0">
                  <a:pos x="36" y="10"/>
                </a:cxn>
                <a:cxn ang="0">
                  <a:pos x="36" y="12"/>
                </a:cxn>
                <a:cxn ang="0">
                  <a:pos x="34" y="16"/>
                </a:cxn>
                <a:cxn ang="0">
                  <a:pos x="32" y="18"/>
                </a:cxn>
                <a:cxn ang="0">
                  <a:pos x="24" y="18"/>
                </a:cxn>
                <a:cxn ang="0">
                  <a:pos x="22" y="14"/>
                </a:cxn>
                <a:cxn ang="0">
                  <a:pos x="16" y="20"/>
                </a:cxn>
                <a:cxn ang="0">
                  <a:pos x="14" y="22"/>
                </a:cxn>
                <a:cxn ang="0">
                  <a:pos x="8" y="22"/>
                </a:cxn>
                <a:cxn ang="0">
                  <a:pos x="6" y="22"/>
                </a:cxn>
                <a:cxn ang="0">
                  <a:pos x="2" y="20"/>
                </a:cxn>
                <a:cxn ang="0">
                  <a:pos x="0" y="24"/>
                </a:cxn>
                <a:cxn ang="0">
                  <a:pos x="6" y="28"/>
                </a:cxn>
                <a:cxn ang="0">
                  <a:pos x="8" y="30"/>
                </a:cxn>
                <a:cxn ang="0">
                  <a:pos x="14" y="30"/>
                </a:cxn>
                <a:cxn ang="0">
                  <a:pos x="20" y="30"/>
                </a:cxn>
                <a:cxn ang="0">
                  <a:pos x="26" y="30"/>
                </a:cxn>
                <a:cxn ang="0">
                  <a:pos x="32" y="28"/>
                </a:cxn>
                <a:cxn ang="0">
                  <a:pos x="36" y="24"/>
                </a:cxn>
                <a:cxn ang="0">
                  <a:pos x="38" y="24"/>
                </a:cxn>
                <a:cxn ang="0">
                  <a:pos x="40" y="22"/>
                </a:cxn>
                <a:cxn ang="0">
                  <a:pos x="40" y="20"/>
                </a:cxn>
                <a:cxn ang="0">
                  <a:pos x="40" y="18"/>
                </a:cxn>
                <a:cxn ang="0">
                  <a:pos x="44" y="18"/>
                </a:cxn>
                <a:cxn ang="0">
                  <a:pos x="46" y="16"/>
                </a:cxn>
                <a:cxn ang="0">
                  <a:pos x="48" y="14"/>
                </a:cxn>
                <a:cxn ang="0">
                  <a:pos x="46" y="10"/>
                </a:cxn>
                <a:cxn ang="0">
                  <a:pos x="50" y="10"/>
                </a:cxn>
                <a:cxn ang="0">
                  <a:pos x="50" y="8"/>
                </a:cxn>
                <a:cxn ang="0">
                  <a:pos x="50" y="6"/>
                </a:cxn>
                <a:cxn ang="0">
                  <a:pos x="50" y="2"/>
                </a:cxn>
                <a:cxn ang="0">
                  <a:pos x="48" y="2"/>
                </a:cxn>
                <a:cxn ang="0">
                  <a:pos x="48" y="0"/>
                </a:cxn>
                <a:cxn ang="0">
                  <a:pos x="44" y="0"/>
                </a:cxn>
              </a:cxnLst>
              <a:rect l="0" t="0" r="r" b="b"/>
              <a:pathLst>
                <a:path w="50" h="30">
                  <a:moveTo>
                    <a:pt x="44" y="0"/>
                  </a:moveTo>
                  <a:lnTo>
                    <a:pt x="44" y="0"/>
                  </a:lnTo>
                  <a:lnTo>
                    <a:pt x="40" y="2"/>
                  </a:lnTo>
                  <a:lnTo>
                    <a:pt x="40" y="4"/>
                  </a:lnTo>
                  <a:lnTo>
                    <a:pt x="42" y="4"/>
                  </a:lnTo>
                  <a:lnTo>
                    <a:pt x="42" y="8"/>
                  </a:lnTo>
                  <a:lnTo>
                    <a:pt x="38" y="8"/>
                  </a:lnTo>
                  <a:lnTo>
                    <a:pt x="36" y="10"/>
                  </a:lnTo>
                  <a:lnTo>
                    <a:pt x="36" y="12"/>
                  </a:lnTo>
                  <a:lnTo>
                    <a:pt x="34" y="16"/>
                  </a:lnTo>
                  <a:lnTo>
                    <a:pt x="32" y="18"/>
                  </a:lnTo>
                  <a:lnTo>
                    <a:pt x="24" y="18"/>
                  </a:lnTo>
                  <a:lnTo>
                    <a:pt x="22" y="14"/>
                  </a:lnTo>
                  <a:lnTo>
                    <a:pt x="16" y="20"/>
                  </a:lnTo>
                  <a:lnTo>
                    <a:pt x="14" y="22"/>
                  </a:lnTo>
                  <a:lnTo>
                    <a:pt x="8" y="22"/>
                  </a:lnTo>
                  <a:lnTo>
                    <a:pt x="6" y="22"/>
                  </a:lnTo>
                  <a:lnTo>
                    <a:pt x="2" y="20"/>
                  </a:lnTo>
                  <a:lnTo>
                    <a:pt x="0" y="24"/>
                  </a:lnTo>
                  <a:lnTo>
                    <a:pt x="6" y="28"/>
                  </a:lnTo>
                  <a:lnTo>
                    <a:pt x="8" y="30"/>
                  </a:lnTo>
                  <a:lnTo>
                    <a:pt x="14" y="30"/>
                  </a:lnTo>
                  <a:lnTo>
                    <a:pt x="20" y="30"/>
                  </a:lnTo>
                  <a:lnTo>
                    <a:pt x="26" y="30"/>
                  </a:lnTo>
                  <a:lnTo>
                    <a:pt x="32" y="28"/>
                  </a:lnTo>
                  <a:lnTo>
                    <a:pt x="36" y="24"/>
                  </a:lnTo>
                  <a:lnTo>
                    <a:pt x="38" y="24"/>
                  </a:lnTo>
                  <a:lnTo>
                    <a:pt x="40" y="22"/>
                  </a:lnTo>
                  <a:lnTo>
                    <a:pt x="40" y="20"/>
                  </a:lnTo>
                  <a:lnTo>
                    <a:pt x="40" y="18"/>
                  </a:lnTo>
                  <a:lnTo>
                    <a:pt x="44" y="18"/>
                  </a:lnTo>
                  <a:lnTo>
                    <a:pt x="46" y="16"/>
                  </a:lnTo>
                  <a:lnTo>
                    <a:pt x="48" y="14"/>
                  </a:lnTo>
                  <a:lnTo>
                    <a:pt x="46" y="10"/>
                  </a:lnTo>
                  <a:lnTo>
                    <a:pt x="50" y="10"/>
                  </a:lnTo>
                  <a:lnTo>
                    <a:pt x="50" y="8"/>
                  </a:lnTo>
                  <a:lnTo>
                    <a:pt x="50" y="6"/>
                  </a:lnTo>
                  <a:lnTo>
                    <a:pt x="50" y="2"/>
                  </a:lnTo>
                  <a:lnTo>
                    <a:pt x="48" y="2"/>
                  </a:lnTo>
                  <a:lnTo>
                    <a:pt x="48" y="0"/>
                  </a:lnTo>
                  <a:lnTo>
                    <a:pt x="4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6" name="Freeform 198">
              <a:extLst>
                <a:ext uri="{FF2B5EF4-FFF2-40B4-BE49-F238E27FC236}">
                  <a16:creationId xmlns:a16="http://schemas.microsoft.com/office/drawing/2014/main" id="{963B7FEC-47CA-490F-A9E3-C4A0507DE6AF}"/>
                </a:ext>
              </a:extLst>
            </p:cNvPr>
            <p:cNvSpPr>
              <a:spLocks/>
            </p:cNvSpPr>
            <p:nvPr/>
          </p:nvSpPr>
          <p:spPr bwMode="auto">
            <a:xfrm>
              <a:off x="5577132" y="4835144"/>
              <a:ext cx="15538" cy="23306"/>
            </a:xfrm>
            <a:custGeom>
              <a:avLst/>
              <a:gdLst/>
              <a:ahLst/>
              <a:cxnLst>
                <a:cxn ang="0">
                  <a:pos x="0" y="0"/>
                </a:cxn>
                <a:cxn ang="0">
                  <a:pos x="0" y="0"/>
                </a:cxn>
                <a:cxn ang="0">
                  <a:pos x="0" y="4"/>
                </a:cxn>
                <a:cxn ang="0">
                  <a:pos x="4" y="8"/>
                </a:cxn>
                <a:cxn ang="0">
                  <a:pos x="6" y="10"/>
                </a:cxn>
                <a:cxn ang="0">
                  <a:pos x="6" y="12"/>
                </a:cxn>
                <a:cxn ang="0">
                  <a:pos x="6" y="14"/>
                </a:cxn>
                <a:cxn ang="0">
                  <a:pos x="6" y="16"/>
                </a:cxn>
                <a:cxn ang="0">
                  <a:pos x="6" y="18"/>
                </a:cxn>
                <a:cxn ang="0">
                  <a:pos x="10" y="18"/>
                </a:cxn>
                <a:cxn ang="0">
                  <a:pos x="10" y="16"/>
                </a:cxn>
                <a:cxn ang="0">
                  <a:pos x="12" y="10"/>
                </a:cxn>
                <a:cxn ang="0">
                  <a:pos x="6" y="6"/>
                </a:cxn>
                <a:cxn ang="0">
                  <a:pos x="0" y="0"/>
                </a:cxn>
              </a:cxnLst>
              <a:rect l="0" t="0" r="r" b="b"/>
              <a:pathLst>
                <a:path w="12" h="18">
                  <a:moveTo>
                    <a:pt x="0" y="0"/>
                  </a:moveTo>
                  <a:lnTo>
                    <a:pt x="0" y="0"/>
                  </a:lnTo>
                  <a:lnTo>
                    <a:pt x="0" y="4"/>
                  </a:lnTo>
                  <a:lnTo>
                    <a:pt x="4" y="8"/>
                  </a:lnTo>
                  <a:lnTo>
                    <a:pt x="6" y="10"/>
                  </a:lnTo>
                  <a:lnTo>
                    <a:pt x="6" y="12"/>
                  </a:lnTo>
                  <a:lnTo>
                    <a:pt x="6" y="14"/>
                  </a:lnTo>
                  <a:lnTo>
                    <a:pt x="6" y="16"/>
                  </a:lnTo>
                  <a:lnTo>
                    <a:pt x="6" y="18"/>
                  </a:lnTo>
                  <a:lnTo>
                    <a:pt x="10" y="18"/>
                  </a:lnTo>
                  <a:lnTo>
                    <a:pt x="10" y="16"/>
                  </a:lnTo>
                  <a:lnTo>
                    <a:pt x="12" y="10"/>
                  </a:lnTo>
                  <a:lnTo>
                    <a:pt x="6" y="6"/>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7" name="Freeform 199">
              <a:extLst>
                <a:ext uri="{FF2B5EF4-FFF2-40B4-BE49-F238E27FC236}">
                  <a16:creationId xmlns:a16="http://schemas.microsoft.com/office/drawing/2014/main" id="{F0DCACD5-5195-46ED-8ABB-A696C96B537E}"/>
                </a:ext>
              </a:extLst>
            </p:cNvPr>
            <p:cNvSpPr>
              <a:spLocks/>
            </p:cNvSpPr>
            <p:nvPr/>
          </p:nvSpPr>
          <p:spPr bwMode="auto">
            <a:xfrm>
              <a:off x="5577132" y="4835144"/>
              <a:ext cx="15538" cy="23306"/>
            </a:xfrm>
            <a:custGeom>
              <a:avLst/>
              <a:gdLst/>
              <a:ahLst/>
              <a:cxnLst>
                <a:cxn ang="0">
                  <a:pos x="0" y="0"/>
                </a:cxn>
                <a:cxn ang="0">
                  <a:pos x="0" y="0"/>
                </a:cxn>
                <a:cxn ang="0">
                  <a:pos x="0" y="4"/>
                </a:cxn>
                <a:cxn ang="0">
                  <a:pos x="4" y="8"/>
                </a:cxn>
                <a:cxn ang="0">
                  <a:pos x="6" y="10"/>
                </a:cxn>
                <a:cxn ang="0">
                  <a:pos x="6" y="12"/>
                </a:cxn>
                <a:cxn ang="0">
                  <a:pos x="6" y="14"/>
                </a:cxn>
                <a:cxn ang="0">
                  <a:pos x="6" y="16"/>
                </a:cxn>
                <a:cxn ang="0">
                  <a:pos x="6" y="18"/>
                </a:cxn>
                <a:cxn ang="0">
                  <a:pos x="10" y="18"/>
                </a:cxn>
                <a:cxn ang="0">
                  <a:pos x="10" y="16"/>
                </a:cxn>
                <a:cxn ang="0">
                  <a:pos x="12" y="10"/>
                </a:cxn>
                <a:cxn ang="0">
                  <a:pos x="6" y="6"/>
                </a:cxn>
                <a:cxn ang="0">
                  <a:pos x="0" y="0"/>
                </a:cxn>
              </a:cxnLst>
              <a:rect l="0" t="0" r="r" b="b"/>
              <a:pathLst>
                <a:path w="12" h="18">
                  <a:moveTo>
                    <a:pt x="0" y="0"/>
                  </a:moveTo>
                  <a:lnTo>
                    <a:pt x="0" y="0"/>
                  </a:lnTo>
                  <a:lnTo>
                    <a:pt x="0" y="4"/>
                  </a:lnTo>
                  <a:lnTo>
                    <a:pt x="4" y="8"/>
                  </a:lnTo>
                  <a:lnTo>
                    <a:pt x="6" y="10"/>
                  </a:lnTo>
                  <a:lnTo>
                    <a:pt x="6" y="12"/>
                  </a:lnTo>
                  <a:lnTo>
                    <a:pt x="6" y="14"/>
                  </a:lnTo>
                  <a:lnTo>
                    <a:pt x="6" y="16"/>
                  </a:lnTo>
                  <a:lnTo>
                    <a:pt x="6" y="18"/>
                  </a:lnTo>
                  <a:lnTo>
                    <a:pt x="10" y="18"/>
                  </a:lnTo>
                  <a:lnTo>
                    <a:pt x="10" y="16"/>
                  </a:lnTo>
                  <a:lnTo>
                    <a:pt x="12" y="10"/>
                  </a:lnTo>
                  <a:lnTo>
                    <a:pt x="6" y="6"/>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8" name="Freeform 200">
              <a:extLst>
                <a:ext uri="{FF2B5EF4-FFF2-40B4-BE49-F238E27FC236}">
                  <a16:creationId xmlns:a16="http://schemas.microsoft.com/office/drawing/2014/main" id="{E37E868F-E767-4BBF-B963-03EAA3E2E3EB}"/>
                </a:ext>
              </a:extLst>
            </p:cNvPr>
            <p:cNvSpPr>
              <a:spLocks/>
            </p:cNvSpPr>
            <p:nvPr/>
          </p:nvSpPr>
          <p:spPr bwMode="auto">
            <a:xfrm>
              <a:off x="5556415" y="4822196"/>
              <a:ext cx="18127" cy="12948"/>
            </a:xfrm>
            <a:custGeom>
              <a:avLst/>
              <a:gdLst/>
              <a:ahLst/>
              <a:cxnLst>
                <a:cxn ang="0">
                  <a:pos x="0" y="0"/>
                </a:cxn>
                <a:cxn ang="0">
                  <a:pos x="0" y="0"/>
                </a:cxn>
                <a:cxn ang="0">
                  <a:pos x="0" y="4"/>
                </a:cxn>
                <a:cxn ang="0">
                  <a:pos x="10" y="8"/>
                </a:cxn>
                <a:cxn ang="0">
                  <a:pos x="12" y="10"/>
                </a:cxn>
                <a:cxn ang="0">
                  <a:pos x="14" y="10"/>
                </a:cxn>
                <a:cxn ang="0">
                  <a:pos x="14" y="6"/>
                </a:cxn>
                <a:cxn ang="0">
                  <a:pos x="0" y="0"/>
                </a:cxn>
              </a:cxnLst>
              <a:rect l="0" t="0" r="r" b="b"/>
              <a:pathLst>
                <a:path w="14" h="10">
                  <a:moveTo>
                    <a:pt x="0" y="0"/>
                  </a:moveTo>
                  <a:lnTo>
                    <a:pt x="0" y="0"/>
                  </a:lnTo>
                  <a:lnTo>
                    <a:pt x="0" y="4"/>
                  </a:lnTo>
                  <a:lnTo>
                    <a:pt x="10" y="8"/>
                  </a:lnTo>
                  <a:lnTo>
                    <a:pt x="12" y="10"/>
                  </a:lnTo>
                  <a:lnTo>
                    <a:pt x="14" y="10"/>
                  </a:lnTo>
                  <a:lnTo>
                    <a:pt x="14" y="6"/>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9" name="Freeform 201">
              <a:extLst>
                <a:ext uri="{FF2B5EF4-FFF2-40B4-BE49-F238E27FC236}">
                  <a16:creationId xmlns:a16="http://schemas.microsoft.com/office/drawing/2014/main" id="{8FBC46A6-6739-460F-B88E-3ACFF42DA2AB}"/>
                </a:ext>
              </a:extLst>
            </p:cNvPr>
            <p:cNvSpPr>
              <a:spLocks/>
            </p:cNvSpPr>
            <p:nvPr/>
          </p:nvSpPr>
          <p:spPr bwMode="auto">
            <a:xfrm>
              <a:off x="5556415" y="4822196"/>
              <a:ext cx="18127" cy="12948"/>
            </a:xfrm>
            <a:custGeom>
              <a:avLst/>
              <a:gdLst/>
              <a:ahLst/>
              <a:cxnLst>
                <a:cxn ang="0">
                  <a:pos x="0" y="0"/>
                </a:cxn>
                <a:cxn ang="0">
                  <a:pos x="0" y="0"/>
                </a:cxn>
                <a:cxn ang="0">
                  <a:pos x="0" y="4"/>
                </a:cxn>
                <a:cxn ang="0">
                  <a:pos x="10" y="8"/>
                </a:cxn>
                <a:cxn ang="0">
                  <a:pos x="12" y="10"/>
                </a:cxn>
                <a:cxn ang="0">
                  <a:pos x="14" y="10"/>
                </a:cxn>
                <a:cxn ang="0">
                  <a:pos x="14" y="6"/>
                </a:cxn>
                <a:cxn ang="0">
                  <a:pos x="0" y="0"/>
                </a:cxn>
              </a:cxnLst>
              <a:rect l="0" t="0" r="r" b="b"/>
              <a:pathLst>
                <a:path w="14" h="10">
                  <a:moveTo>
                    <a:pt x="0" y="0"/>
                  </a:moveTo>
                  <a:lnTo>
                    <a:pt x="0" y="0"/>
                  </a:lnTo>
                  <a:lnTo>
                    <a:pt x="0" y="4"/>
                  </a:lnTo>
                  <a:lnTo>
                    <a:pt x="10" y="8"/>
                  </a:lnTo>
                  <a:lnTo>
                    <a:pt x="12" y="10"/>
                  </a:lnTo>
                  <a:lnTo>
                    <a:pt x="14" y="10"/>
                  </a:lnTo>
                  <a:lnTo>
                    <a:pt x="14" y="6"/>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0" name="Freeform 202">
              <a:extLst>
                <a:ext uri="{FF2B5EF4-FFF2-40B4-BE49-F238E27FC236}">
                  <a16:creationId xmlns:a16="http://schemas.microsoft.com/office/drawing/2014/main" id="{B72A2636-4A7F-463E-BCA4-83DA46EA7749}"/>
                </a:ext>
              </a:extLst>
            </p:cNvPr>
            <p:cNvSpPr>
              <a:spLocks/>
            </p:cNvSpPr>
            <p:nvPr/>
          </p:nvSpPr>
          <p:spPr bwMode="auto">
            <a:xfrm>
              <a:off x="3974164" y="4203279"/>
              <a:ext cx="5179" cy="15538"/>
            </a:xfrm>
            <a:custGeom>
              <a:avLst/>
              <a:gdLst/>
              <a:ahLst/>
              <a:cxnLst>
                <a:cxn ang="0">
                  <a:pos x="0" y="6"/>
                </a:cxn>
                <a:cxn ang="0">
                  <a:pos x="2" y="6"/>
                </a:cxn>
                <a:cxn ang="0">
                  <a:pos x="0" y="12"/>
                </a:cxn>
                <a:cxn ang="0">
                  <a:pos x="4" y="12"/>
                </a:cxn>
                <a:cxn ang="0">
                  <a:pos x="4" y="0"/>
                </a:cxn>
                <a:cxn ang="0">
                  <a:pos x="0" y="2"/>
                </a:cxn>
                <a:cxn ang="0">
                  <a:pos x="0" y="6"/>
                </a:cxn>
                <a:cxn ang="0">
                  <a:pos x="0" y="6"/>
                </a:cxn>
              </a:cxnLst>
              <a:rect l="0" t="0" r="r" b="b"/>
              <a:pathLst>
                <a:path w="4" h="12">
                  <a:moveTo>
                    <a:pt x="0" y="6"/>
                  </a:moveTo>
                  <a:lnTo>
                    <a:pt x="2" y="6"/>
                  </a:lnTo>
                  <a:lnTo>
                    <a:pt x="0" y="12"/>
                  </a:lnTo>
                  <a:lnTo>
                    <a:pt x="4" y="12"/>
                  </a:lnTo>
                  <a:lnTo>
                    <a:pt x="4" y="0"/>
                  </a:lnTo>
                  <a:lnTo>
                    <a:pt x="0" y="2"/>
                  </a:lnTo>
                  <a:lnTo>
                    <a:pt x="0" y="6"/>
                  </a:lnTo>
                  <a:lnTo>
                    <a:pt x="0"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1" name="Freeform 203">
              <a:extLst>
                <a:ext uri="{FF2B5EF4-FFF2-40B4-BE49-F238E27FC236}">
                  <a16:creationId xmlns:a16="http://schemas.microsoft.com/office/drawing/2014/main" id="{6EB9E79D-11DB-49ED-88C6-B3E77F501C11}"/>
                </a:ext>
              </a:extLst>
            </p:cNvPr>
            <p:cNvSpPr>
              <a:spLocks/>
            </p:cNvSpPr>
            <p:nvPr/>
          </p:nvSpPr>
          <p:spPr bwMode="auto">
            <a:xfrm>
              <a:off x="3285327" y="3211458"/>
              <a:ext cx="2590" cy="2590"/>
            </a:xfrm>
            <a:custGeom>
              <a:avLst/>
              <a:gdLst/>
              <a:ahLst/>
              <a:cxnLst>
                <a:cxn ang="0">
                  <a:pos x="2" y="0"/>
                </a:cxn>
                <a:cxn ang="0">
                  <a:pos x="2" y="0"/>
                </a:cxn>
                <a:cxn ang="0">
                  <a:pos x="2" y="2"/>
                </a:cxn>
                <a:cxn ang="0">
                  <a:pos x="0" y="2"/>
                </a:cxn>
                <a:cxn ang="0">
                  <a:pos x="2" y="0"/>
                </a:cxn>
                <a:cxn ang="0">
                  <a:pos x="2" y="0"/>
                </a:cxn>
              </a:cxnLst>
              <a:rect l="0" t="0" r="r" b="b"/>
              <a:pathLst>
                <a:path w="2" h="2">
                  <a:moveTo>
                    <a:pt x="2" y="0"/>
                  </a:moveTo>
                  <a:lnTo>
                    <a:pt x="2" y="0"/>
                  </a:lnTo>
                  <a:lnTo>
                    <a:pt x="2" y="2"/>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2" name="Freeform 204">
              <a:extLst>
                <a:ext uri="{FF2B5EF4-FFF2-40B4-BE49-F238E27FC236}">
                  <a16:creationId xmlns:a16="http://schemas.microsoft.com/office/drawing/2014/main" id="{A15F4B30-C4F9-4215-91B6-BB25AA99873C}"/>
                </a:ext>
              </a:extLst>
            </p:cNvPr>
            <p:cNvSpPr>
              <a:spLocks/>
            </p:cNvSpPr>
            <p:nvPr/>
          </p:nvSpPr>
          <p:spPr bwMode="auto">
            <a:xfrm>
              <a:off x="3285327" y="3211458"/>
              <a:ext cx="2590" cy="2590"/>
            </a:xfrm>
            <a:custGeom>
              <a:avLst/>
              <a:gdLst/>
              <a:ahLst/>
              <a:cxnLst>
                <a:cxn ang="0">
                  <a:pos x="2" y="0"/>
                </a:cxn>
                <a:cxn ang="0">
                  <a:pos x="2" y="0"/>
                </a:cxn>
                <a:cxn ang="0">
                  <a:pos x="2" y="2"/>
                </a:cxn>
                <a:cxn ang="0">
                  <a:pos x="0" y="2"/>
                </a:cxn>
                <a:cxn ang="0">
                  <a:pos x="2" y="0"/>
                </a:cxn>
                <a:cxn ang="0">
                  <a:pos x="2" y="0"/>
                </a:cxn>
              </a:cxnLst>
              <a:rect l="0" t="0" r="r" b="b"/>
              <a:pathLst>
                <a:path w="2" h="2">
                  <a:moveTo>
                    <a:pt x="2" y="0"/>
                  </a:moveTo>
                  <a:lnTo>
                    <a:pt x="2" y="0"/>
                  </a:lnTo>
                  <a:lnTo>
                    <a:pt x="2" y="2"/>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3" name="Freeform 206">
              <a:extLst>
                <a:ext uri="{FF2B5EF4-FFF2-40B4-BE49-F238E27FC236}">
                  <a16:creationId xmlns:a16="http://schemas.microsoft.com/office/drawing/2014/main" id="{35F2DA8F-A655-4745-A3D9-9038BF5FF789}"/>
                </a:ext>
              </a:extLst>
            </p:cNvPr>
            <p:cNvSpPr>
              <a:spLocks/>
            </p:cNvSpPr>
            <p:nvPr/>
          </p:nvSpPr>
          <p:spPr bwMode="auto">
            <a:xfrm>
              <a:off x="3272379" y="3214047"/>
              <a:ext cx="2590" cy="2590"/>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4" name="Freeform 207">
              <a:extLst>
                <a:ext uri="{FF2B5EF4-FFF2-40B4-BE49-F238E27FC236}">
                  <a16:creationId xmlns:a16="http://schemas.microsoft.com/office/drawing/2014/main" id="{D200F5F7-79D7-45ED-BAC2-184CD442ECFD}"/>
                </a:ext>
              </a:extLst>
            </p:cNvPr>
            <p:cNvSpPr>
              <a:spLocks/>
            </p:cNvSpPr>
            <p:nvPr/>
          </p:nvSpPr>
          <p:spPr bwMode="auto">
            <a:xfrm>
              <a:off x="3272379" y="3214047"/>
              <a:ext cx="2590" cy="2590"/>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5" name="Freeform 208">
              <a:extLst>
                <a:ext uri="{FF2B5EF4-FFF2-40B4-BE49-F238E27FC236}">
                  <a16:creationId xmlns:a16="http://schemas.microsoft.com/office/drawing/2014/main" id="{91523FB7-3AE0-4851-B812-39E4EF18AE17}"/>
                </a:ext>
              </a:extLst>
            </p:cNvPr>
            <p:cNvSpPr>
              <a:spLocks/>
            </p:cNvSpPr>
            <p:nvPr/>
          </p:nvSpPr>
          <p:spPr bwMode="auto">
            <a:xfrm>
              <a:off x="3184332" y="3296915"/>
              <a:ext cx="2590" cy="2590"/>
            </a:xfrm>
            <a:custGeom>
              <a:avLst/>
              <a:gdLst/>
              <a:ahLst/>
              <a:cxnLst>
                <a:cxn ang="0">
                  <a:pos x="0" y="0"/>
                </a:cxn>
                <a:cxn ang="0">
                  <a:pos x="0" y="0"/>
                </a:cxn>
                <a:cxn ang="0">
                  <a:pos x="2" y="2"/>
                </a:cxn>
                <a:cxn ang="0">
                  <a:pos x="0" y="2"/>
                </a:cxn>
                <a:cxn ang="0">
                  <a:pos x="0" y="0"/>
                </a:cxn>
                <a:cxn ang="0">
                  <a:pos x="0" y="0"/>
                </a:cxn>
                <a:cxn ang="0">
                  <a:pos x="0" y="0"/>
                </a:cxn>
                <a:cxn ang="0">
                  <a:pos x="0" y="0"/>
                </a:cxn>
              </a:cxnLst>
              <a:rect l="0" t="0" r="r" b="b"/>
              <a:pathLst>
                <a:path w="2" h="2">
                  <a:moveTo>
                    <a:pt x="0" y="0"/>
                  </a:moveTo>
                  <a:lnTo>
                    <a:pt x="0" y="0"/>
                  </a:lnTo>
                  <a:lnTo>
                    <a:pt x="2" y="2"/>
                  </a:lnTo>
                  <a:lnTo>
                    <a:pt x="0" y="2"/>
                  </a:lnTo>
                  <a:lnTo>
                    <a:pt x="0" y="0"/>
                  </a:lnTo>
                  <a:lnTo>
                    <a:pt x="0"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6" name="Freeform 209">
              <a:extLst>
                <a:ext uri="{FF2B5EF4-FFF2-40B4-BE49-F238E27FC236}">
                  <a16:creationId xmlns:a16="http://schemas.microsoft.com/office/drawing/2014/main" id="{033D5AEB-E35C-475B-9B64-CA138F0D8264}"/>
                </a:ext>
              </a:extLst>
            </p:cNvPr>
            <p:cNvSpPr>
              <a:spLocks/>
            </p:cNvSpPr>
            <p:nvPr/>
          </p:nvSpPr>
          <p:spPr bwMode="auto">
            <a:xfrm>
              <a:off x="3184332" y="3296915"/>
              <a:ext cx="2590" cy="2590"/>
            </a:xfrm>
            <a:custGeom>
              <a:avLst/>
              <a:gdLst/>
              <a:ahLst/>
              <a:cxnLst>
                <a:cxn ang="0">
                  <a:pos x="0" y="0"/>
                </a:cxn>
                <a:cxn ang="0">
                  <a:pos x="0" y="0"/>
                </a:cxn>
                <a:cxn ang="0">
                  <a:pos x="2" y="2"/>
                </a:cxn>
                <a:cxn ang="0">
                  <a:pos x="0" y="2"/>
                </a:cxn>
                <a:cxn ang="0">
                  <a:pos x="0" y="0"/>
                </a:cxn>
                <a:cxn ang="0">
                  <a:pos x="0" y="0"/>
                </a:cxn>
                <a:cxn ang="0">
                  <a:pos x="0" y="0"/>
                </a:cxn>
                <a:cxn ang="0">
                  <a:pos x="0" y="0"/>
                </a:cxn>
              </a:cxnLst>
              <a:rect l="0" t="0" r="r" b="b"/>
              <a:pathLst>
                <a:path w="2" h="2">
                  <a:moveTo>
                    <a:pt x="0" y="0"/>
                  </a:moveTo>
                  <a:lnTo>
                    <a:pt x="0" y="0"/>
                  </a:lnTo>
                  <a:lnTo>
                    <a:pt x="2" y="2"/>
                  </a:lnTo>
                  <a:lnTo>
                    <a:pt x="0" y="2"/>
                  </a:lnTo>
                  <a:lnTo>
                    <a:pt x="0" y="0"/>
                  </a:lnTo>
                  <a:lnTo>
                    <a:pt x="0"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7" name="Freeform 210">
              <a:extLst>
                <a:ext uri="{FF2B5EF4-FFF2-40B4-BE49-F238E27FC236}">
                  <a16:creationId xmlns:a16="http://schemas.microsoft.com/office/drawing/2014/main" id="{84515027-3167-4BB4-A3F9-E1E73EF151EA}"/>
                </a:ext>
              </a:extLst>
            </p:cNvPr>
            <p:cNvSpPr>
              <a:spLocks/>
            </p:cNvSpPr>
            <p:nvPr/>
          </p:nvSpPr>
          <p:spPr bwMode="auto">
            <a:xfrm>
              <a:off x="3158436" y="3320221"/>
              <a:ext cx="5179" cy="7769"/>
            </a:xfrm>
            <a:custGeom>
              <a:avLst/>
              <a:gdLst/>
              <a:ahLst/>
              <a:cxnLst>
                <a:cxn ang="0">
                  <a:pos x="2" y="0"/>
                </a:cxn>
                <a:cxn ang="0">
                  <a:pos x="2" y="0"/>
                </a:cxn>
                <a:cxn ang="0">
                  <a:pos x="2" y="2"/>
                </a:cxn>
                <a:cxn ang="0">
                  <a:pos x="4" y="2"/>
                </a:cxn>
                <a:cxn ang="0">
                  <a:pos x="2" y="2"/>
                </a:cxn>
                <a:cxn ang="0">
                  <a:pos x="2" y="4"/>
                </a:cxn>
                <a:cxn ang="0">
                  <a:pos x="0" y="6"/>
                </a:cxn>
                <a:cxn ang="0">
                  <a:pos x="0" y="2"/>
                </a:cxn>
                <a:cxn ang="0">
                  <a:pos x="0" y="0"/>
                </a:cxn>
                <a:cxn ang="0">
                  <a:pos x="2" y="0"/>
                </a:cxn>
                <a:cxn ang="0">
                  <a:pos x="2" y="0"/>
                </a:cxn>
              </a:cxnLst>
              <a:rect l="0" t="0" r="r" b="b"/>
              <a:pathLst>
                <a:path w="4" h="6">
                  <a:moveTo>
                    <a:pt x="2" y="0"/>
                  </a:moveTo>
                  <a:lnTo>
                    <a:pt x="2" y="0"/>
                  </a:lnTo>
                  <a:lnTo>
                    <a:pt x="2" y="2"/>
                  </a:lnTo>
                  <a:lnTo>
                    <a:pt x="4" y="2"/>
                  </a:lnTo>
                  <a:lnTo>
                    <a:pt x="2" y="2"/>
                  </a:lnTo>
                  <a:lnTo>
                    <a:pt x="2" y="4"/>
                  </a:lnTo>
                  <a:lnTo>
                    <a:pt x="0" y="6"/>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8" name="Freeform 211">
              <a:extLst>
                <a:ext uri="{FF2B5EF4-FFF2-40B4-BE49-F238E27FC236}">
                  <a16:creationId xmlns:a16="http://schemas.microsoft.com/office/drawing/2014/main" id="{30234D13-C9D8-4D38-AE09-7E6949F7642E}"/>
                </a:ext>
              </a:extLst>
            </p:cNvPr>
            <p:cNvSpPr>
              <a:spLocks/>
            </p:cNvSpPr>
            <p:nvPr/>
          </p:nvSpPr>
          <p:spPr bwMode="auto">
            <a:xfrm>
              <a:off x="3158436" y="3320221"/>
              <a:ext cx="5179" cy="7769"/>
            </a:xfrm>
            <a:custGeom>
              <a:avLst/>
              <a:gdLst/>
              <a:ahLst/>
              <a:cxnLst>
                <a:cxn ang="0">
                  <a:pos x="2" y="0"/>
                </a:cxn>
                <a:cxn ang="0">
                  <a:pos x="2" y="0"/>
                </a:cxn>
                <a:cxn ang="0">
                  <a:pos x="2" y="2"/>
                </a:cxn>
                <a:cxn ang="0">
                  <a:pos x="4" y="2"/>
                </a:cxn>
                <a:cxn ang="0">
                  <a:pos x="2" y="2"/>
                </a:cxn>
                <a:cxn ang="0">
                  <a:pos x="2" y="4"/>
                </a:cxn>
                <a:cxn ang="0">
                  <a:pos x="0" y="6"/>
                </a:cxn>
                <a:cxn ang="0">
                  <a:pos x="0" y="2"/>
                </a:cxn>
                <a:cxn ang="0">
                  <a:pos x="0" y="0"/>
                </a:cxn>
                <a:cxn ang="0">
                  <a:pos x="2" y="0"/>
                </a:cxn>
                <a:cxn ang="0">
                  <a:pos x="2" y="0"/>
                </a:cxn>
              </a:cxnLst>
              <a:rect l="0" t="0" r="r" b="b"/>
              <a:pathLst>
                <a:path w="4" h="6">
                  <a:moveTo>
                    <a:pt x="2" y="0"/>
                  </a:moveTo>
                  <a:lnTo>
                    <a:pt x="2" y="0"/>
                  </a:lnTo>
                  <a:lnTo>
                    <a:pt x="2" y="2"/>
                  </a:lnTo>
                  <a:lnTo>
                    <a:pt x="4" y="2"/>
                  </a:lnTo>
                  <a:lnTo>
                    <a:pt x="2" y="2"/>
                  </a:lnTo>
                  <a:lnTo>
                    <a:pt x="2" y="4"/>
                  </a:lnTo>
                  <a:lnTo>
                    <a:pt x="0" y="6"/>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49" name="Freeform 212">
              <a:extLst>
                <a:ext uri="{FF2B5EF4-FFF2-40B4-BE49-F238E27FC236}">
                  <a16:creationId xmlns:a16="http://schemas.microsoft.com/office/drawing/2014/main" id="{A59F834D-A8A6-4604-A8E5-ACC412CDA52D}"/>
                </a:ext>
              </a:extLst>
            </p:cNvPr>
            <p:cNvSpPr>
              <a:spLocks noEditPoints="1"/>
            </p:cNvSpPr>
            <p:nvPr/>
          </p:nvSpPr>
          <p:spPr bwMode="auto">
            <a:xfrm>
              <a:off x="1897296" y="2716842"/>
              <a:ext cx="714732" cy="559356"/>
            </a:xfrm>
            <a:custGeom>
              <a:avLst/>
              <a:gdLst/>
              <a:ahLst/>
              <a:cxnLst>
                <a:cxn ang="0">
                  <a:pos x="476" y="188"/>
                </a:cxn>
                <a:cxn ang="0">
                  <a:pos x="322" y="328"/>
                </a:cxn>
                <a:cxn ang="0">
                  <a:pos x="206" y="308"/>
                </a:cxn>
                <a:cxn ang="0">
                  <a:pos x="186" y="240"/>
                </a:cxn>
                <a:cxn ang="0">
                  <a:pos x="432" y="218"/>
                </a:cxn>
                <a:cxn ang="0">
                  <a:pos x="468" y="222"/>
                </a:cxn>
                <a:cxn ang="0">
                  <a:pos x="146" y="180"/>
                </a:cxn>
                <a:cxn ang="0">
                  <a:pos x="464" y="170"/>
                </a:cxn>
                <a:cxn ang="0">
                  <a:pos x="490" y="146"/>
                </a:cxn>
                <a:cxn ang="0">
                  <a:pos x="484" y="74"/>
                </a:cxn>
                <a:cxn ang="0">
                  <a:pos x="484" y="40"/>
                </a:cxn>
                <a:cxn ang="0">
                  <a:pos x="338" y="24"/>
                </a:cxn>
                <a:cxn ang="0">
                  <a:pos x="360" y="18"/>
                </a:cxn>
                <a:cxn ang="0">
                  <a:pos x="470" y="24"/>
                </a:cxn>
                <a:cxn ang="0">
                  <a:pos x="428" y="6"/>
                </a:cxn>
                <a:cxn ang="0">
                  <a:pos x="320" y="6"/>
                </a:cxn>
                <a:cxn ang="0">
                  <a:pos x="284" y="16"/>
                </a:cxn>
                <a:cxn ang="0">
                  <a:pos x="260" y="24"/>
                </a:cxn>
                <a:cxn ang="0">
                  <a:pos x="254" y="52"/>
                </a:cxn>
                <a:cxn ang="0">
                  <a:pos x="206" y="52"/>
                </a:cxn>
                <a:cxn ang="0">
                  <a:pos x="150" y="40"/>
                </a:cxn>
                <a:cxn ang="0">
                  <a:pos x="100" y="60"/>
                </a:cxn>
                <a:cxn ang="0">
                  <a:pos x="76" y="84"/>
                </a:cxn>
                <a:cxn ang="0">
                  <a:pos x="14" y="120"/>
                </a:cxn>
                <a:cxn ang="0">
                  <a:pos x="18" y="136"/>
                </a:cxn>
                <a:cxn ang="0">
                  <a:pos x="62" y="148"/>
                </a:cxn>
                <a:cxn ang="0">
                  <a:pos x="134" y="164"/>
                </a:cxn>
                <a:cxn ang="0">
                  <a:pos x="164" y="208"/>
                </a:cxn>
                <a:cxn ang="0">
                  <a:pos x="186" y="236"/>
                </a:cxn>
                <a:cxn ang="0">
                  <a:pos x="184" y="250"/>
                </a:cxn>
                <a:cxn ang="0">
                  <a:pos x="170" y="278"/>
                </a:cxn>
                <a:cxn ang="0">
                  <a:pos x="200" y="268"/>
                </a:cxn>
                <a:cxn ang="0">
                  <a:pos x="188" y="296"/>
                </a:cxn>
                <a:cxn ang="0">
                  <a:pos x="180" y="310"/>
                </a:cxn>
                <a:cxn ang="0">
                  <a:pos x="174" y="320"/>
                </a:cxn>
                <a:cxn ang="0">
                  <a:pos x="184" y="344"/>
                </a:cxn>
                <a:cxn ang="0">
                  <a:pos x="192" y="366"/>
                </a:cxn>
                <a:cxn ang="0">
                  <a:pos x="208" y="392"/>
                </a:cxn>
                <a:cxn ang="0">
                  <a:pos x="224" y="410"/>
                </a:cxn>
                <a:cxn ang="0">
                  <a:pos x="258" y="414"/>
                </a:cxn>
                <a:cxn ang="0">
                  <a:pos x="266" y="414"/>
                </a:cxn>
                <a:cxn ang="0">
                  <a:pos x="282" y="380"/>
                </a:cxn>
                <a:cxn ang="0">
                  <a:pos x="298" y="344"/>
                </a:cxn>
                <a:cxn ang="0">
                  <a:pos x="338" y="330"/>
                </a:cxn>
                <a:cxn ang="0">
                  <a:pos x="386" y="294"/>
                </a:cxn>
                <a:cxn ang="0">
                  <a:pos x="438" y="278"/>
                </a:cxn>
                <a:cxn ang="0">
                  <a:pos x="426" y="256"/>
                </a:cxn>
                <a:cxn ang="0">
                  <a:pos x="430" y="242"/>
                </a:cxn>
                <a:cxn ang="0">
                  <a:pos x="446" y="248"/>
                </a:cxn>
                <a:cxn ang="0">
                  <a:pos x="460" y="232"/>
                </a:cxn>
                <a:cxn ang="0">
                  <a:pos x="424" y="210"/>
                </a:cxn>
                <a:cxn ang="0">
                  <a:pos x="480" y="194"/>
                </a:cxn>
                <a:cxn ang="0">
                  <a:pos x="478" y="182"/>
                </a:cxn>
                <a:cxn ang="0">
                  <a:pos x="482" y="156"/>
                </a:cxn>
                <a:cxn ang="0">
                  <a:pos x="498" y="136"/>
                </a:cxn>
                <a:cxn ang="0">
                  <a:pos x="476" y="114"/>
                </a:cxn>
                <a:cxn ang="0">
                  <a:pos x="480" y="76"/>
                </a:cxn>
                <a:cxn ang="0">
                  <a:pos x="526" y="64"/>
                </a:cxn>
                <a:cxn ang="0">
                  <a:pos x="486" y="50"/>
                </a:cxn>
                <a:cxn ang="0">
                  <a:pos x="444" y="42"/>
                </a:cxn>
                <a:cxn ang="0">
                  <a:pos x="374" y="42"/>
                </a:cxn>
              </a:cxnLst>
              <a:rect l="0" t="0" r="r" b="b"/>
              <a:pathLst>
                <a:path w="552" h="432">
                  <a:moveTo>
                    <a:pt x="488" y="144"/>
                  </a:moveTo>
                  <a:lnTo>
                    <a:pt x="490" y="144"/>
                  </a:lnTo>
                  <a:lnTo>
                    <a:pt x="488" y="144"/>
                  </a:lnTo>
                  <a:lnTo>
                    <a:pt x="488" y="144"/>
                  </a:lnTo>
                  <a:close/>
                  <a:moveTo>
                    <a:pt x="262" y="428"/>
                  </a:moveTo>
                  <a:lnTo>
                    <a:pt x="260" y="430"/>
                  </a:lnTo>
                  <a:lnTo>
                    <a:pt x="262" y="430"/>
                  </a:lnTo>
                  <a:lnTo>
                    <a:pt x="264" y="432"/>
                  </a:lnTo>
                  <a:lnTo>
                    <a:pt x="264" y="430"/>
                  </a:lnTo>
                  <a:lnTo>
                    <a:pt x="264" y="428"/>
                  </a:lnTo>
                  <a:lnTo>
                    <a:pt x="262" y="428"/>
                  </a:lnTo>
                  <a:lnTo>
                    <a:pt x="262" y="428"/>
                  </a:lnTo>
                  <a:close/>
                  <a:moveTo>
                    <a:pt x="250" y="412"/>
                  </a:moveTo>
                  <a:lnTo>
                    <a:pt x="250" y="412"/>
                  </a:lnTo>
                  <a:lnTo>
                    <a:pt x="250" y="414"/>
                  </a:lnTo>
                  <a:lnTo>
                    <a:pt x="250" y="412"/>
                  </a:lnTo>
                  <a:lnTo>
                    <a:pt x="250" y="412"/>
                  </a:lnTo>
                  <a:close/>
                  <a:moveTo>
                    <a:pt x="466" y="184"/>
                  </a:moveTo>
                  <a:lnTo>
                    <a:pt x="466" y="184"/>
                  </a:lnTo>
                  <a:lnTo>
                    <a:pt x="466" y="190"/>
                  </a:lnTo>
                  <a:lnTo>
                    <a:pt x="468" y="190"/>
                  </a:lnTo>
                  <a:lnTo>
                    <a:pt x="474" y="190"/>
                  </a:lnTo>
                  <a:lnTo>
                    <a:pt x="476" y="188"/>
                  </a:lnTo>
                  <a:lnTo>
                    <a:pt x="474" y="186"/>
                  </a:lnTo>
                  <a:lnTo>
                    <a:pt x="466" y="184"/>
                  </a:lnTo>
                  <a:lnTo>
                    <a:pt x="466" y="184"/>
                  </a:lnTo>
                  <a:close/>
                  <a:moveTo>
                    <a:pt x="416" y="68"/>
                  </a:moveTo>
                  <a:lnTo>
                    <a:pt x="416" y="68"/>
                  </a:lnTo>
                  <a:lnTo>
                    <a:pt x="418" y="66"/>
                  </a:lnTo>
                  <a:lnTo>
                    <a:pt x="416" y="68"/>
                  </a:lnTo>
                  <a:lnTo>
                    <a:pt x="414" y="70"/>
                  </a:lnTo>
                  <a:lnTo>
                    <a:pt x="412" y="72"/>
                  </a:lnTo>
                  <a:lnTo>
                    <a:pt x="410" y="72"/>
                  </a:lnTo>
                  <a:lnTo>
                    <a:pt x="410" y="70"/>
                  </a:lnTo>
                  <a:lnTo>
                    <a:pt x="412" y="68"/>
                  </a:lnTo>
                  <a:lnTo>
                    <a:pt x="416" y="68"/>
                  </a:lnTo>
                  <a:lnTo>
                    <a:pt x="416" y="68"/>
                  </a:lnTo>
                  <a:close/>
                  <a:moveTo>
                    <a:pt x="284" y="34"/>
                  </a:moveTo>
                  <a:lnTo>
                    <a:pt x="284" y="34"/>
                  </a:lnTo>
                  <a:lnTo>
                    <a:pt x="286" y="36"/>
                  </a:lnTo>
                  <a:lnTo>
                    <a:pt x="288" y="36"/>
                  </a:lnTo>
                  <a:lnTo>
                    <a:pt x="286" y="36"/>
                  </a:lnTo>
                  <a:lnTo>
                    <a:pt x="284" y="34"/>
                  </a:lnTo>
                  <a:lnTo>
                    <a:pt x="284" y="34"/>
                  </a:lnTo>
                  <a:close/>
                  <a:moveTo>
                    <a:pt x="322" y="328"/>
                  </a:moveTo>
                  <a:lnTo>
                    <a:pt x="322" y="328"/>
                  </a:lnTo>
                  <a:lnTo>
                    <a:pt x="328" y="328"/>
                  </a:lnTo>
                  <a:lnTo>
                    <a:pt x="324" y="332"/>
                  </a:lnTo>
                  <a:lnTo>
                    <a:pt x="322" y="332"/>
                  </a:lnTo>
                  <a:lnTo>
                    <a:pt x="322" y="328"/>
                  </a:lnTo>
                  <a:lnTo>
                    <a:pt x="322" y="328"/>
                  </a:lnTo>
                  <a:lnTo>
                    <a:pt x="322" y="328"/>
                  </a:lnTo>
                  <a:close/>
                  <a:moveTo>
                    <a:pt x="186" y="322"/>
                  </a:moveTo>
                  <a:lnTo>
                    <a:pt x="186" y="322"/>
                  </a:lnTo>
                  <a:lnTo>
                    <a:pt x="186" y="324"/>
                  </a:lnTo>
                  <a:lnTo>
                    <a:pt x="184" y="322"/>
                  </a:lnTo>
                  <a:lnTo>
                    <a:pt x="186" y="322"/>
                  </a:lnTo>
                  <a:lnTo>
                    <a:pt x="186" y="322"/>
                  </a:lnTo>
                  <a:close/>
                  <a:moveTo>
                    <a:pt x="210" y="320"/>
                  </a:moveTo>
                  <a:lnTo>
                    <a:pt x="210" y="320"/>
                  </a:lnTo>
                  <a:lnTo>
                    <a:pt x="210" y="322"/>
                  </a:lnTo>
                  <a:lnTo>
                    <a:pt x="202" y="326"/>
                  </a:lnTo>
                  <a:lnTo>
                    <a:pt x="200" y="326"/>
                  </a:lnTo>
                  <a:lnTo>
                    <a:pt x="202" y="324"/>
                  </a:lnTo>
                  <a:lnTo>
                    <a:pt x="204" y="322"/>
                  </a:lnTo>
                  <a:lnTo>
                    <a:pt x="210" y="320"/>
                  </a:lnTo>
                  <a:lnTo>
                    <a:pt x="210" y="320"/>
                  </a:lnTo>
                  <a:close/>
                  <a:moveTo>
                    <a:pt x="206" y="308"/>
                  </a:moveTo>
                  <a:lnTo>
                    <a:pt x="206" y="308"/>
                  </a:lnTo>
                  <a:lnTo>
                    <a:pt x="204" y="308"/>
                  </a:lnTo>
                  <a:lnTo>
                    <a:pt x="206" y="308"/>
                  </a:lnTo>
                  <a:lnTo>
                    <a:pt x="206" y="308"/>
                  </a:lnTo>
                  <a:close/>
                  <a:moveTo>
                    <a:pt x="206" y="304"/>
                  </a:moveTo>
                  <a:lnTo>
                    <a:pt x="206" y="304"/>
                  </a:lnTo>
                  <a:lnTo>
                    <a:pt x="208" y="304"/>
                  </a:lnTo>
                  <a:lnTo>
                    <a:pt x="208" y="306"/>
                  </a:lnTo>
                  <a:lnTo>
                    <a:pt x="206" y="306"/>
                  </a:lnTo>
                  <a:lnTo>
                    <a:pt x="206" y="304"/>
                  </a:lnTo>
                  <a:lnTo>
                    <a:pt x="206" y="304"/>
                  </a:lnTo>
                  <a:close/>
                  <a:moveTo>
                    <a:pt x="420" y="258"/>
                  </a:moveTo>
                  <a:lnTo>
                    <a:pt x="420" y="258"/>
                  </a:lnTo>
                  <a:lnTo>
                    <a:pt x="422" y="260"/>
                  </a:lnTo>
                  <a:lnTo>
                    <a:pt x="420" y="262"/>
                  </a:lnTo>
                  <a:lnTo>
                    <a:pt x="414" y="260"/>
                  </a:lnTo>
                  <a:lnTo>
                    <a:pt x="416" y="260"/>
                  </a:lnTo>
                  <a:lnTo>
                    <a:pt x="420" y="258"/>
                  </a:lnTo>
                  <a:lnTo>
                    <a:pt x="420" y="258"/>
                  </a:lnTo>
                  <a:close/>
                  <a:moveTo>
                    <a:pt x="186" y="240"/>
                  </a:moveTo>
                  <a:lnTo>
                    <a:pt x="186" y="240"/>
                  </a:lnTo>
                  <a:lnTo>
                    <a:pt x="184" y="240"/>
                  </a:lnTo>
                  <a:lnTo>
                    <a:pt x="188" y="240"/>
                  </a:lnTo>
                  <a:lnTo>
                    <a:pt x="186" y="240"/>
                  </a:lnTo>
                  <a:lnTo>
                    <a:pt x="186" y="240"/>
                  </a:lnTo>
                  <a:close/>
                  <a:moveTo>
                    <a:pt x="176" y="236"/>
                  </a:moveTo>
                  <a:lnTo>
                    <a:pt x="176" y="236"/>
                  </a:lnTo>
                  <a:lnTo>
                    <a:pt x="174" y="238"/>
                  </a:lnTo>
                  <a:lnTo>
                    <a:pt x="174" y="240"/>
                  </a:lnTo>
                  <a:lnTo>
                    <a:pt x="174" y="242"/>
                  </a:lnTo>
                  <a:lnTo>
                    <a:pt x="178" y="242"/>
                  </a:lnTo>
                  <a:lnTo>
                    <a:pt x="178" y="238"/>
                  </a:lnTo>
                  <a:lnTo>
                    <a:pt x="176" y="236"/>
                  </a:lnTo>
                  <a:lnTo>
                    <a:pt x="176" y="236"/>
                  </a:lnTo>
                  <a:close/>
                  <a:moveTo>
                    <a:pt x="442" y="204"/>
                  </a:moveTo>
                  <a:lnTo>
                    <a:pt x="442" y="204"/>
                  </a:lnTo>
                  <a:lnTo>
                    <a:pt x="438" y="206"/>
                  </a:lnTo>
                  <a:lnTo>
                    <a:pt x="438" y="208"/>
                  </a:lnTo>
                  <a:lnTo>
                    <a:pt x="440" y="210"/>
                  </a:lnTo>
                  <a:lnTo>
                    <a:pt x="432" y="208"/>
                  </a:lnTo>
                  <a:lnTo>
                    <a:pt x="430" y="208"/>
                  </a:lnTo>
                  <a:lnTo>
                    <a:pt x="426" y="210"/>
                  </a:lnTo>
                  <a:lnTo>
                    <a:pt x="424" y="212"/>
                  </a:lnTo>
                  <a:lnTo>
                    <a:pt x="424" y="216"/>
                  </a:lnTo>
                  <a:lnTo>
                    <a:pt x="428" y="216"/>
                  </a:lnTo>
                  <a:lnTo>
                    <a:pt x="430" y="218"/>
                  </a:lnTo>
                  <a:lnTo>
                    <a:pt x="432" y="218"/>
                  </a:lnTo>
                  <a:lnTo>
                    <a:pt x="436" y="216"/>
                  </a:lnTo>
                  <a:lnTo>
                    <a:pt x="438" y="216"/>
                  </a:lnTo>
                  <a:lnTo>
                    <a:pt x="440" y="214"/>
                  </a:lnTo>
                  <a:lnTo>
                    <a:pt x="440" y="212"/>
                  </a:lnTo>
                  <a:lnTo>
                    <a:pt x="442" y="212"/>
                  </a:lnTo>
                  <a:lnTo>
                    <a:pt x="442" y="214"/>
                  </a:lnTo>
                  <a:lnTo>
                    <a:pt x="450" y="216"/>
                  </a:lnTo>
                  <a:lnTo>
                    <a:pt x="452" y="216"/>
                  </a:lnTo>
                  <a:lnTo>
                    <a:pt x="450" y="218"/>
                  </a:lnTo>
                  <a:lnTo>
                    <a:pt x="448" y="218"/>
                  </a:lnTo>
                  <a:lnTo>
                    <a:pt x="450" y="218"/>
                  </a:lnTo>
                  <a:lnTo>
                    <a:pt x="450" y="220"/>
                  </a:lnTo>
                  <a:lnTo>
                    <a:pt x="450" y="222"/>
                  </a:lnTo>
                  <a:lnTo>
                    <a:pt x="450" y="222"/>
                  </a:lnTo>
                  <a:lnTo>
                    <a:pt x="452" y="224"/>
                  </a:lnTo>
                  <a:lnTo>
                    <a:pt x="460" y="228"/>
                  </a:lnTo>
                  <a:lnTo>
                    <a:pt x="464" y="230"/>
                  </a:lnTo>
                  <a:lnTo>
                    <a:pt x="470" y="230"/>
                  </a:lnTo>
                  <a:lnTo>
                    <a:pt x="470" y="228"/>
                  </a:lnTo>
                  <a:lnTo>
                    <a:pt x="466" y="226"/>
                  </a:lnTo>
                  <a:lnTo>
                    <a:pt x="464" y="226"/>
                  </a:lnTo>
                  <a:lnTo>
                    <a:pt x="468" y="224"/>
                  </a:lnTo>
                  <a:lnTo>
                    <a:pt x="468" y="222"/>
                  </a:lnTo>
                  <a:lnTo>
                    <a:pt x="462" y="222"/>
                  </a:lnTo>
                  <a:lnTo>
                    <a:pt x="458" y="220"/>
                  </a:lnTo>
                  <a:lnTo>
                    <a:pt x="462" y="220"/>
                  </a:lnTo>
                  <a:lnTo>
                    <a:pt x="464" y="222"/>
                  </a:lnTo>
                  <a:lnTo>
                    <a:pt x="466" y="222"/>
                  </a:lnTo>
                  <a:lnTo>
                    <a:pt x="468" y="222"/>
                  </a:lnTo>
                  <a:lnTo>
                    <a:pt x="468" y="216"/>
                  </a:lnTo>
                  <a:lnTo>
                    <a:pt x="462" y="214"/>
                  </a:lnTo>
                  <a:lnTo>
                    <a:pt x="456" y="216"/>
                  </a:lnTo>
                  <a:lnTo>
                    <a:pt x="458" y="214"/>
                  </a:lnTo>
                  <a:lnTo>
                    <a:pt x="460" y="214"/>
                  </a:lnTo>
                  <a:lnTo>
                    <a:pt x="462" y="210"/>
                  </a:lnTo>
                  <a:lnTo>
                    <a:pt x="454" y="210"/>
                  </a:lnTo>
                  <a:lnTo>
                    <a:pt x="456" y="208"/>
                  </a:lnTo>
                  <a:lnTo>
                    <a:pt x="448" y="206"/>
                  </a:lnTo>
                  <a:lnTo>
                    <a:pt x="442" y="204"/>
                  </a:lnTo>
                  <a:lnTo>
                    <a:pt x="442" y="204"/>
                  </a:lnTo>
                  <a:close/>
                  <a:moveTo>
                    <a:pt x="142" y="180"/>
                  </a:moveTo>
                  <a:lnTo>
                    <a:pt x="142" y="180"/>
                  </a:lnTo>
                  <a:lnTo>
                    <a:pt x="140" y="182"/>
                  </a:lnTo>
                  <a:lnTo>
                    <a:pt x="142" y="182"/>
                  </a:lnTo>
                  <a:lnTo>
                    <a:pt x="144" y="182"/>
                  </a:lnTo>
                  <a:lnTo>
                    <a:pt x="146" y="180"/>
                  </a:lnTo>
                  <a:lnTo>
                    <a:pt x="142" y="180"/>
                  </a:lnTo>
                  <a:lnTo>
                    <a:pt x="142" y="180"/>
                  </a:lnTo>
                  <a:close/>
                  <a:moveTo>
                    <a:pt x="496" y="178"/>
                  </a:moveTo>
                  <a:lnTo>
                    <a:pt x="496" y="178"/>
                  </a:lnTo>
                  <a:lnTo>
                    <a:pt x="494" y="180"/>
                  </a:lnTo>
                  <a:lnTo>
                    <a:pt x="496" y="180"/>
                  </a:lnTo>
                  <a:lnTo>
                    <a:pt x="496" y="178"/>
                  </a:lnTo>
                  <a:lnTo>
                    <a:pt x="496" y="178"/>
                  </a:lnTo>
                  <a:close/>
                  <a:moveTo>
                    <a:pt x="482" y="174"/>
                  </a:moveTo>
                  <a:lnTo>
                    <a:pt x="482" y="174"/>
                  </a:lnTo>
                  <a:lnTo>
                    <a:pt x="482" y="176"/>
                  </a:lnTo>
                  <a:lnTo>
                    <a:pt x="482" y="180"/>
                  </a:lnTo>
                  <a:lnTo>
                    <a:pt x="484" y="180"/>
                  </a:lnTo>
                  <a:lnTo>
                    <a:pt x="488" y="180"/>
                  </a:lnTo>
                  <a:lnTo>
                    <a:pt x="488" y="176"/>
                  </a:lnTo>
                  <a:lnTo>
                    <a:pt x="484" y="176"/>
                  </a:lnTo>
                  <a:lnTo>
                    <a:pt x="484" y="174"/>
                  </a:lnTo>
                  <a:lnTo>
                    <a:pt x="482" y="174"/>
                  </a:lnTo>
                  <a:lnTo>
                    <a:pt x="482" y="174"/>
                  </a:lnTo>
                  <a:close/>
                  <a:moveTo>
                    <a:pt x="462" y="168"/>
                  </a:moveTo>
                  <a:lnTo>
                    <a:pt x="462" y="168"/>
                  </a:lnTo>
                  <a:lnTo>
                    <a:pt x="464" y="168"/>
                  </a:lnTo>
                  <a:lnTo>
                    <a:pt x="464" y="170"/>
                  </a:lnTo>
                  <a:lnTo>
                    <a:pt x="464" y="174"/>
                  </a:lnTo>
                  <a:lnTo>
                    <a:pt x="462" y="174"/>
                  </a:lnTo>
                  <a:lnTo>
                    <a:pt x="462" y="170"/>
                  </a:lnTo>
                  <a:lnTo>
                    <a:pt x="462" y="168"/>
                  </a:lnTo>
                  <a:lnTo>
                    <a:pt x="462" y="168"/>
                  </a:lnTo>
                  <a:close/>
                  <a:moveTo>
                    <a:pt x="496" y="162"/>
                  </a:moveTo>
                  <a:lnTo>
                    <a:pt x="496" y="162"/>
                  </a:lnTo>
                  <a:lnTo>
                    <a:pt x="496" y="164"/>
                  </a:lnTo>
                  <a:lnTo>
                    <a:pt x="492" y="164"/>
                  </a:lnTo>
                  <a:lnTo>
                    <a:pt x="494" y="170"/>
                  </a:lnTo>
                  <a:lnTo>
                    <a:pt x="496" y="172"/>
                  </a:lnTo>
                  <a:lnTo>
                    <a:pt x="500" y="172"/>
                  </a:lnTo>
                  <a:lnTo>
                    <a:pt x="500" y="170"/>
                  </a:lnTo>
                  <a:lnTo>
                    <a:pt x="504" y="170"/>
                  </a:lnTo>
                  <a:lnTo>
                    <a:pt x="504" y="170"/>
                  </a:lnTo>
                  <a:lnTo>
                    <a:pt x="504" y="166"/>
                  </a:lnTo>
                  <a:lnTo>
                    <a:pt x="504" y="168"/>
                  </a:lnTo>
                  <a:lnTo>
                    <a:pt x="500" y="166"/>
                  </a:lnTo>
                  <a:lnTo>
                    <a:pt x="498" y="162"/>
                  </a:lnTo>
                  <a:lnTo>
                    <a:pt x="496" y="162"/>
                  </a:lnTo>
                  <a:lnTo>
                    <a:pt x="496" y="162"/>
                  </a:lnTo>
                  <a:close/>
                  <a:moveTo>
                    <a:pt x="490" y="146"/>
                  </a:moveTo>
                  <a:lnTo>
                    <a:pt x="490" y="146"/>
                  </a:lnTo>
                  <a:lnTo>
                    <a:pt x="488" y="148"/>
                  </a:lnTo>
                  <a:lnTo>
                    <a:pt x="492" y="152"/>
                  </a:lnTo>
                  <a:lnTo>
                    <a:pt x="494" y="156"/>
                  </a:lnTo>
                  <a:lnTo>
                    <a:pt x="492" y="154"/>
                  </a:lnTo>
                  <a:lnTo>
                    <a:pt x="492" y="150"/>
                  </a:lnTo>
                  <a:lnTo>
                    <a:pt x="490" y="148"/>
                  </a:lnTo>
                  <a:lnTo>
                    <a:pt x="492" y="146"/>
                  </a:lnTo>
                  <a:lnTo>
                    <a:pt x="490" y="146"/>
                  </a:lnTo>
                  <a:lnTo>
                    <a:pt x="490" y="146"/>
                  </a:lnTo>
                  <a:close/>
                  <a:moveTo>
                    <a:pt x="12" y="128"/>
                  </a:moveTo>
                  <a:lnTo>
                    <a:pt x="12" y="128"/>
                  </a:lnTo>
                  <a:lnTo>
                    <a:pt x="14" y="128"/>
                  </a:lnTo>
                  <a:lnTo>
                    <a:pt x="12" y="128"/>
                  </a:lnTo>
                  <a:lnTo>
                    <a:pt x="12" y="128"/>
                  </a:lnTo>
                  <a:close/>
                  <a:moveTo>
                    <a:pt x="2" y="126"/>
                  </a:moveTo>
                  <a:lnTo>
                    <a:pt x="2" y="126"/>
                  </a:lnTo>
                  <a:lnTo>
                    <a:pt x="0" y="128"/>
                  </a:lnTo>
                  <a:lnTo>
                    <a:pt x="2" y="128"/>
                  </a:lnTo>
                  <a:lnTo>
                    <a:pt x="4" y="128"/>
                  </a:lnTo>
                  <a:lnTo>
                    <a:pt x="6" y="126"/>
                  </a:lnTo>
                  <a:lnTo>
                    <a:pt x="2" y="126"/>
                  </a:lnTo>
                  <a:lnTo>
                    <a:pt x="2" y="126"/>
                  </a:lnTo>
                  <a:close/>
                  <a:moveTo>
                    <a:pt x="484" y="74"/>
                  </a:moveTo>
                  <a:lnTo>
                    <a:pt x="484" y="74"/>
                  </a:lnTo>
                  <a:lnTo>
                    <a:pt x="484" y="78"/>
                  </a:lnTo>
                  <a:lnTo>
                    <a:pt x="488" y="76"/>
                  </a:lnTo>
                  <a:lnTo>
                    <a:pt x="484" y="74"/>
                  </a:lnTo>
                  <a:lnTo>
                    <a:pt x="484" y="74"/>
                  </a:lnTo>
                  <a:close/>
                  <a:moveTo>
                    <a:pt x="424" y="64"/>
                  </a:moveTo>
                  <a:lnTo>
                    <a:pt x="424" y="64"/>
                  </a:lnTo>
                  <a:lnTo>
                    <a:pt x="428" y="64"/>
                  </a:lnTo>
                  <a:lnTo>
                    <a:pt x="426" y="64"/>
                  </a:lnTo>
                  <a:lnTo>
                    <a:pt x="420" y="68"/>
                  </a:lnTo>
                  <a:lnTo>
                    <a:pt x="416" y="66"/>
                  </a:lnTo>
                  <a:lnTo>
                    <a:pt x="420" y="66"/>
                  </a:lnTo>
                  <a:lnTo>
                    <a:pt x="424" y="64"/>
                  </a:lnTo>
                  <a:lnTo>
                    <a:pt x="424" y="64"/>
                  </a:lnTo>
                  <a:close/>
                  <a:moveTo>
                    <a:pt x="492" y="40"/>
                  </a:moveTo>
                  <a:lnTo>
                    <a:pt x="492" y="40"/>
                  </a:lnTo>
                  <a:lnTo>
                    <a:pt x="492" y="42"/>
                  </a:lnTo>
                  <a:lnTo>
                    <a:pt x="492" y="40"/>
                  </a:lnTo>
                  <a:lnTo>
                    <a:pt x="492" y="40"/>
                  </a:lnTo>
                  <a:close/>
                  <a:moveTo>
                    <a:pt x="484" y="40"/>
                  </a:moveTo>
                  <a:lnTo>
                    <a:pt x="484" y="40"/>
                  </a:lnTo>
                  <a:lnTo>
                    <a:pt x="484" y="44"/>
                  </a:lnTo>
                  <a:lnTo>
                    <a:pt x="484" y="40"/>
                  </a:lnTo>
                  <a:lnTo>
                    <a:pt x="484" y="40"/>
                  </a:lnTo>
                  <a:close/>
                  <a:moveTo>
                    <a:pt x="176" y="32"/>
                  </a:moveTo>
                  <a:lnTo>
                    <a:pt x="176" y="32"/>
                  </a:lnTo>
                  <a:lnTo>
                    <a:pt x="178" y="38"/>
                  </a:lnTo>
                  <a:lnTo>
                    <a:pt x="180" y="40"/>
                  </a:lnTo>
                  <a:lnTo>
                    <a:pt x="186" y="44"/>
                  </a:lnTo>
                  <a:lnTo>
                    <a:pt x="198" y="46"/>
                  </a:lnTo>
                  <a:lnTo>
                    <a:pt x="200" y="46"/>
                  </a:lnTo>
                  <a:lnTo>
                    <a:pt x="200" y="44"/>
                  </a:lnTo>
                  <a:lnTo>
                    <a:pt x="198" y="42"/>
                  </a:lnTo>
                  <a:lnTo>
                    <a:pt x="192" y="40"/>
                  </a:lnTo>
                  <a:lnTo>
                    <a:pt x="188" y="40"/>
                  </a:lnTo>
                  <a:lnTo>
                    <a:pt x="186" y="36"/>
                  </a:lnTo>
                  <a:lnTo>
                    <a:pt x="182" y="36"/>
                  </a:lnTo>
                  <a:lnTo>
                    <a:pt x="176" y="32"/>
                  </a:lnTo>
                  <a:lnTo>
                    <a:pt x="176" y="32"/>
                  </a:lnTo>
                  <a:close/>
                  <a:moveTo>
                    <a:pt x="346" y="18"/>
                  </a:moveTo>
                  <a:lnTo>
                    <a:pt x="346" y="18"/>
                  </a:lnTo>
                  <a:lnTo>
                    <a:pt x="348" y="20"/>
                  </a:lnTo>
                  <a:lnTo>
                    <a:pt x="344" y="22"/>
                  </a:lnTo>
                  <a:lnTo>
                    <a:pt x="344" y="24"/>
                  </a:lnTo>
                  <a:lnTo>
                    <a:pt x="338" y="22"/>
                  </a:lnTo>
                  <a:lnTo>
                    <a:pt x="338" y="24"/>
                  </a:lnTo>
                  <a:lnTo>
                    <a:pt x="338" y="22"/>
                  </a:lnTo>
                  <a:lnTo>
                    <a:pt x="338" y="20"/>
                  </a:lnTo>
                  <a:lnTo>
                    <a:pt x="346" y="18"/>
                  </a:lnTo>
                  <a:lnTo>
                    <a:pt x="346" y="18"/>
                  </a:lnTo>
                  <a:close/>
                  <a:moveTo>
                    <a:pt x="388" y="16"/>
                  </a:moveTo>
                  <a:lnTo>
                    <a:pt x="388" y="16"/>
                  </a:lnTo>
                  <a:lnTo>
                    <a:pt x="396" y="16"/>
                  </a:lnTo>
                  <a:lnTo>
                    <a:pt x="406" y="16"/>
                  </a:lnTo>
                  <a:lnTo>
                    <a:pt x="416" y="16"/>
                  </a:lnTo>
                  <a:lnTo>
                    <a:pt x="396" y="18"/>
                  </a:lnTo>
                  <a:lnTo>
                    <a:pt x="390" y="18"/>
                  </a:lnTo>
                  <a:lnTo>
                    <a:pt x="384" y="18"/>
                  </a:lnTo>
                  <a:lnTo>
                    <a:pt x="384" y="20"/>
                  </a:lnTo>
                  <a:lnTo>
                    <a:pt x="380" y="20"/>
                  </a:lnTo>
                  <a:lnTo>
                    <a:pt x="376" y="20"/>
                  </a:lnTo>
                  <a:lnTo>
                    <a:pt x="376" y="18"/>
                  </a:lnTo>
                  <a:lnTo>
                    <a:pt x="378" y="18"/>
                  </a:lnTo>
                  <a:lnTo>
                    <a:pt x="388" y="16"/>
                  </a:lnTo>
                  <a:lnTo>
                    <a:pt x="388" y="16"/>
                  </a:lnTo>
                  <a:close/>
                  <a:moveTo>
                    <a:pt x="356" y="12"/>
                  </a:moveTo>
                  <a:lnTo>
                    <a:pt x="358" y="12"/>
                  </a:lnTo>
                  <a:lnTo>
                    <a:pt x="358" y="16"/>
                  </a:lnTo>
                  <a:lnTo>
                    <a:pt x="360" y="18"/>
                  </a:lnTo>
                  <a:lnTo>
                    <a:pt x="368" y="18"/>
                  </a:lnTo>
                  <a:lnTo>
                    <a:pt x="374" y="20"/>
                  </a:lnTo>
                  <a:lnTo>
                    <a:pt x="368" y="18"/>
                  </a:lnTo>
                  <a:lnTo>
                    <a:pt x="360" y="20"/>
                  </a:lnTo>
                  <a:lnTo>
                    <a:pt x="360" y="22"/>
                  </a:lnTo>
                  <a:lnTo>
                    <a:pt x="358" y="22"/>
                  </a:lnTo>
                  <a:lnTo>
                    <a:pt x="358" y="20"/>
                  </a:lnTo>
                  <a:lnTo>
                    <a:pt x="354" y="20"/>
                  </a:lnTo>
                  <a:lnTo>
                    <a:pt x="354" y="18"/>
                  </a:lnTo>
                  <a:lnTo>
                    <a:pt x="356" y="18"/>
                  </a:lnTo>
                  <a:lnTo>
                    <a:pt x="356" y="14"/>
                  </a:lnTo>
                  <a:lnTo>
                    <a:pt x="356" y="12"/>
                  </a:lnTo>
                  <a:lnTo>
                    <a:pt x="356" y="12"/>
                  </a:lnTo>
                  <a:close/>
                  <a:moveTo>
                    <a:pt x="466" y="36"/>
                  </a:moveTo>
                  <a:lnTo>
                    <a:pt x="466" y="36"/>
                  </a:lnTo>
                  <a:lnTo>
                    <a:pt x="470" y="34"/>
                  </a:lnTo>
                  <a:lnTo>
                    <a:pt x="472" y="32"/>
                  </a:lnTo>
                  <a:lnTo>
                    <a:pt x="474" y="32"/>
                  </a:lnTo>
                  <a:lnTo>
                    <a:pt x="480" y="30"/>
                  </a:lnTo>
                  <a:lnTo>
                    <a:pt x="478" y="28"/>
                  </a:lnTo>
                  <a:lnTo>
                    <a:pt x="476" y="26"/>
                  </a:lnTo>
                  <a:lnTo>
                    <a:pt x="472" y="26"/>
                  </a:lnTo>
                  <a:lnTo>
                    <a:pt x="470" y="24"/>
                  </a:lnTo>
                  <a:lnTo>
                    <a:pt x="464" y="24"/>
                  </a:lnTo>
                  <a:lnTo>
                    <a:pt x="458" y="24"/>
                  </a:lnTo>
                  <a:lnTo>
                    <a:pt x="458" y="22"/>
                  </a:lnTo>
                  <a:lnTo>
                    <a:pt x="454" y="20"/>
                  </a:lnTo>
                  <a:lnTo>
                    <a:pt x="452" y="20"/>
                  </a:lnTo>
                  <a:lnTo>
                    <a:pt x="450" y="22"/>
                  </a:lnTo>
                  <a:lnTo>
                    <a:pt x="450" y="18"/>
                  </a:lnTo>
                  <a:lnTo>
                    <a:pt x="448" y="18"/>
                  </a:lnTo>
                  <a:lnTo>
                    <a:pt x="442" y="22"/>
                  </a:lnTo>
                  <a:lnTo>
                    <a:pt x="436" y="24"/>
                  </a:lnTo>
                  <a:lnTo>
                    <a:pt x="436" y="22"/>
                  </a:lnTo>
                  <a:lnTo>
                    <a:pt x="442" y="20"/>
                  </a:lnTo>
                  <a:lnTo>
                    <a:pt x="442" y="18"/>
                  </a:lnTo>
                  <a:lnTo>
                    <a:pt x="442" y="16"/>
                  </a:lnTo>
                  <a:lnTo>
                    <a:pt x="440" y="12"/>
                  </a:lnTo>
                  <a:lnTo>
                    <a:pt x="436" y="10"/>
                  </a:lnTo>
                  <a:lnTo>
                    <a:pt x="434" y="12"/>
                  </a:lnTo>
                  <a:lnTo>
                    <a:pt x="432" y="14"/>
                  </a:lnTo>
                  <a:lnTo>
                    <a:pt x="426" y="16"/>
                  </a:lnTo>
                  <a:lnTo>
                    <a:pt x="418" y="16"/>
                  </a:lnTo>
                  <a:lnTo>
                    <a:pt x="422" y="10"/>
                  </a:lnTo>
                  <a:lnTo>
                    <a:pt x="428" y="10"/>
                  </a:lnTo>
                  <a:lnTo>
                    <a:pt x="428" y="6"/>
                  </a:lnTo>
                  <a:lnTo>
                    <a:pt x="424" y="4"/>
                  </a:lnTo>
                  <a:lnTo>
                    <a:pt x="408" y="4"/>
                  </a:lnTo>
                  <a:lnTo>
                    <a:pt x="404" y="4"/>
                  </a:lnTo>
                  <a:lnTo>
                    <a:pt x="398" y="2"/>
                  </a:lnTo>
                  <a:lnTo>
                    <a:pt x="398" y="4"/>
                  </a:lnTo>
                  <a:lnTo>
                    <a:pt x="392" y="4"/>
                  </a:lnTo>
                  <a:lnTo>
                    <a:pt x="390" y="4"/>
                  </a:lnTo>
                  <a:lnTo>
                    <a:pt x="384" y="6"/>
                  </a:lnTo>
                  <a:lnTo>
                    <a:pt x="380" y="2"/>
                  </a:lnTo>
                  <a:lnTo>
                    <a:pt x="376" y="2"/>
                  </a:lnTo>
                  <a:lnTo>
                    <a:pt x="374" y="0"/>
                  </a:lnTo>
                  <a:lnTo>
                    <a:pt x="370" y="2"/>
                  </a:lnTo>
                  <a:lnTo>
                    <a:pt x="366" y="2"/>
                  </a:lnTo>
                  <a:lnTo>
                    <a:pt x="362" y="2"/>
                  </a:lnTo>
                  <a:lnTo>
                    <a:pt x="354" y="2"/>
                  </a:lnTo>
                  <a:lnTo>
                    <a:pt x="346" y="2"/>
                  </a:lnTo>
                  <a:lnTo>
                    <a:pt x="336" y="2"/>
                  </a:lnTo>
                  <a:lnTo>
                    <a:pt x="326" y="0"/>
                  </a:lnTo>
                  <a:lnTo>
                    <a:pt x="326" y="2"/>
                  </a:lnTo>
                  <a:lnTo>
                    <a:pt x="326" y="4"/>
                  </a:lnTo>
                  <a:lnTo>
                    <a:pt x="318" y="2"/>
                  </a:lnTo>
                  <a:lnTo>
                    <a:pt x="318" y="4"/>
                  </a:lnTo>
                  <a:lnTo>
                    <a:pt x="320" y="6"/>
                  </a:lnTo>
                  <a:lnTo>
                    <a:pt x="316" y="6"/>
                  </a:lnTo>
                  <a:lnTo>
                    <a:pt x="310" y="6"/>
                  </a:lnTo>
                  <a:lnTo>
                    <a:pt x="310" y="4"/>
                  </a:lnTo>
                  <a:lnTo>
                    <a:pt x="308" y="4"/>
                  </a:lnTo>
                  <a:lnTo>
                    <a:pt x="308" y="8"/>
                  </a:lnTo>
                  <a:lnTo>
                    <a:pt x="306" y="8"/>
                  </a:lnTo>
                  <a:lnTo>
                    <a:pt x="306" y="10"/>
                  </a:lnTo>
                  <a:lnTo>
                    <a:pt x="310" y="10"/>
                  </a:lnTo>
                  <a:lnTo>
                    <a:pt x="310" y="12"/>
                  </a:lnTo>
                  <a:lnTo>
                    <a:pt x="302" y="12"/>
                  </a:lnTo>
                  <a:lnTo>
                    <a:pt x="300" y="14"/>
                  </a:lnTo>
                  <a:lnTo>
                    <a:pt x="302" y="16"/>
                  </a:lnTo>
                  <a:lnTo>
                    <a:pt x="306" y="20"/>
                  </a:lnTo>
                  <a:lnTo>
                    <a:pt x="302" y="20"/>
                  </a:lnTo>
                  <a:lnTo>
                    <a:pt x="298" y="14"/>
                  </a:lnTo>
                  <a:lnTo>
                    <a:pt x="294" y="14"/>
                  </a:lnTo>
                  <a:lnTo>
                    <a:pt x="294" y="16"/>
                  </a:lnTo>
                  <a:lnTo>
                    <a:pt x="296" y="16"/>
                  </a:lnTo>
                  <a:lnTo>
                    <a:pt x="298" y="18"/>
                  </a:lnTo>
                  <a:lnTo>
                    <a:pt x="294" y="16"/>
                  </a:lnTo>
                  <a:lnTo>
                    <a:pt x="292" y="22"/>
                  </a:lnTo>
                  <a:lnTo>
                    <a:pt x="286" y="20"/>
                  </a:lnTo>
                  <a:lnTo>
                    <a:pt x="284" y="16"/>
                  </a:lnTo>
                  <a:lnTo>
                    <a:pt x="284" y="12"/>
                  </a:lnTo>
                  <a:lnTo>
                    <a:pt x="278" y="10"/>
                  </a:lnTo>
                  <a:lnTo>
                    <a:pt x="270" y="10"/>
                  </a:lnTo>
                  <a:lnTo>
                    <a:pt x="270" y="12"/>
                  </a:lnTo>
                  <a:lnTo>
                    <a:pt x="270" y="14"/>
                  </a:lnTo>
                  <a:lnTo>
                    <a:pt x="262" y="14"/>
                  </a:lnTo>
                  <a:lnTo>
                    <a:pt x="262" y="16"/>
                  </a:lnTo>
                  <a:lnTo>
                    <a:pt x="264" y="18"/>
                  </a:lnTo>
                  <a:lnTo>
                    <a:pt x="262" y="18"/>
                  </a:lnTo>
                  <a:lnTo>
                    <a:pt x="262" y="22"/>
                  </a:lnTo>
                  <a:lnTo>
                    <a:pt x="268" y="24"/>
                  </a:lnTo>
                  <a:lnTo>
                    <a:pt x="270" y="24"/>
                  </a:lnTo>
                  <a:lnTo>
                    <a:pt x="274" y="24"/>
                  </a:lnTo>
                  <a:lnTo>
                    <a:pt x="276" y="24"/>
                  </a:lnTo>
                  <a:lnTo>
                    <a:pt x="278" y="24"/>
                  </a:lnTo>
                  <a:lnTo>
                    <a:pt x="280" y="28"/>
                  </a:lnTo>
                  <a:lnTo>
                    <a:pt x="280" y="30"/>
                  </a:lnTo>
                  <a:lnTo>
                    <a:pt x="284" y="34"/>
                  </a:lnTo>
                  <a:lnTo>
                    <a:pt x="280" y="30"/>
                  </a:lnTo>
                  <a:lnTo>
                    <a:pt x="278" y="28"/>
                  </a:lnTo>
                  <a:lnTo>
                    <a:pt x="274" y="26"/>
                  </a:lnTo>
                  <a:lnTo>
                    <a:pt x="268" y="24"/>
                  </a:lnTo>
                  <a:lnTo>
                    <a:pt x="260" y="24"/>
                  </a:lnTo>
                  <a:lnTo>
                    <a:pt x="256" y="26"/>
                  </a:lnTo>
                  <a:lnTo>
                    <a:pt x="258" y="30"/>
                  </a:lnTo>
                  <a:lnTo>
                    <a:pt x="260" y="30"/>
                  </a:lnTo>
                  <a:lnTo>
                    <a:pt x="260" y="34"/>
                  </a:lnTo>
                  <a:lnTo>
                    <a:pt x="254" y="28"/>
                  </a:lnTo>
                  <a:lnTo>
                    <a:pt x="250" y="26"/>
                  </a:lnTo>
                  <a:lnTo>
                    <a:pt x="248" y="26"/>
                  </a:lnTo>
                  <a:lnTo>
                    <a:pt x="242" y="28"/>
                  </a:lnTo>
                  <a:lnTo>
                    <a:pt x="234" y="28"/>
                  </a:lnTo>
                  <a:lnTo>
                    <a:pt x="234" y="30"/>
                  </a:lnTo>
                  <a:lnTo>
                    <a:pt x="236" y="32"/>
                  </a:lnTo>
                  <a:lnTo>
                    <a:pt x="238" y="36"/>
                  </a:lnTo>
                  <a:lnTo>
                    <a:pt x="240" y="36"/>
                  </a:lnTo>
                  <a:lnTo>
                    <a:pt x="242" y="40"/>
                  </a:lnTo>
                  <a:lnTo>
                    <a:pt x="248" y="44"/>
                  </a:lnTo>
                  <a:lnTo>
                    <a:pt x="252" y="48"/>
                  </a:lnTo>
                  <a:lnTo>
                    <a:pt x="258" y="50"/>
                  </a:lnTo>
                  <a:lnTo>
                    <a:pt x="262" y="52"/>
                  </a:lnTo>
                  <a:lnTo>
                    <a:pt x="264" y="56"/>
                  </a:lnTo>
                  <a:lnTo>
                    <a:pt x="260" y="52"/>
                  </a:lnTo>
                  <a:lnTo>
                    <a:pt x="258" y="54"/>
                  </a:lnTo>
                  <a:lnTo>
                    <a:pt x="256" y="52"/>
                  </a:lnTo>
                  <a:lnTo>
                    <a:pt x="254" y="52"/>
                  </a:lnTo>
                  <a:lnTo>
                    <a:pt x="252" y="52"/>
                  </a:lnTo>
                  <a:lnTo>
                    <a:pt x="248" y="56"/>
                  </a:lnTo>
                  <a:lnTo>
                    <a:pt x="244" y="56"/>
                  </a:lnTo>
                  <a:lnTo>
                    <a:pt x="242" y="54"/>
                  </a:lnTo>
                  <a:lnTo>
                    <a:pt x="240" y="54"/>
                  </a:lnTo>
                  <a:lnTo>
                    <a:pt x="238" y="54"/>
                  </a:lnTo>
                  <a:lnTo>
                    <a:pt x="230" y="46"/>
                  </a:lnTo>
                  <a:lnTo>
                    <a:pt x="230" y="40"/>
                  </a:lnTo>
                  <a:lnTo>
                    <a:pt x="228" y="40"/>
                  </a:lnTo>
                  <a:lnTo>
                    <a:pt x="224" y="36"/>
                  </a:lnTo>
                  <a:lnTo>
                    <a:pt x="218" y="30"/>
                  </a:lnTo>
                  <a:lnTo>
                    <a:pt x="208" y="28"/>
                  </a:lnTo>
                  <a:lnTo>
                    <a:pt x="206" y="28"/>
                  </a:lnTo>
                  <a:lnTo>
                    <a:pt x="206" y="36"/>
                  </a:lnTo>
                  <a:lnTo>
                    <a:pt x="208" y="40"/>
                  </a:lnTo>
                  <a:lnTo>
                    <a:pt x="208" y="42"/>
                  </a:lnTo>
                  <a:lnTo>
                    <a:pt x="206" y="42"/>
                  </a:lnTo>
                  <a:lnTo>
                    <a:pt x="206" y="40"/>
                  </a:lnTo>
                  <a:lnTo>
                    <a:pt x="204" y="40"/>
                  </a:lnTo>
                  <a:lnTo>
                    <a:pt x="204" y="44"/>
                  </a:lnTo>
                  <a:lnTo>
                    <a:pt x="206" y="46"/>
                  </a:lnTo>
                  <a:lnTo>
                    <a:pt x="206" y="50"/>
                  </a:lnTo>
                  <a:lnTo>
                    <a:pt x="206" y="52"/>
                  </a:lnTo>
                  <a:lnTo>
                    <a:pt x="204" y="54"/>
                  </a:lnTo>
                  <a:lnTo>
                    <a:pt x="202" y="54"/>
                  </a:lnTo>
                  <a:lnTo>
                    <a:pt x="200" y="50"/>
                  </a:lnTo>
                  <a:lnTo>
                    <a:pt x="194" y="48"/>
                  </a:lnTo>
                  <a:lnTo>
                    <a:pt x="192" y="48"/>
                  </a:lnTo>
                  <a:lnTo>
                    <a:pt x="192" y="46"/>
                  </a:lnTo>
                  <a:lnTo>
                    <a:pt x="190" y="46"/>
                  </a:lnTo>
                  <a:lnTo>
                    <a:pt x="190" y="48"/>
                  </a:lnTo>
                  <a:lnTo>
                    <a:pt x="188" y="48"/>
                  </a:lnTo>
                  <a:lnTo>
                    <a:pt x="186" y="46"/>
                  </a:lnTo>
                  <a:lnTo>
                    <a:pt x="182" y="44"/>
                  </a:lnTo>
                  <a:lnTo>
                    <a:pt x="180" y="46"/>
                  </a:lnTo>
                  <a:lnTo>
                    <a:pt x="174" y="52"/>
                  </a:lnTo>
                  <a:lnTo>
                    <a:pt x="174" y="54"/>
                  </a:lnTo>
                  <a:lnTo>
                    <a:pt x="172" y="40"/>
                  </a:lnTo>
                  <a:lnTo>
                    <a:pt x="170" y="36"/>
                  </a:lnTo>
                  <a:lnTo>
                    <a:pt x="168" y="34"/>
                  </a:lnTo>
                  <a:lnTo>
                    <a:pt x="164" y="32"/>
                  </a:lnTo>
                  <a:lnTo>
                    <a:pt x="158" y="36"/>
                  </a:lnTo>
                  <a:lnTo>
                    <a:pt x="158" y="40"/>
                  </a:lnTo>
                  <a:lnTo>
                    <a:pt x="154" y="36"/>
                  </a:lnTo>
                  <a:lnTo>
                    <a:pt x="152" y="36"/>
                  </a:lnTo>
                  <a:lnTo>
                    <a:pt x="150" y="40"/>
                  </a:lnTo>
                  <a:lnTo>
                    <a:pt x="148" y="40"/>
                  </a:lnTo>
                  <a:lnTo>
                    <a:pt x="148" y="38"/>
                  </a:lnTo>
                  <a:lnTo>
                    <a:pt x="146" y="36"/>
                  </a:lnTo>
                  <a:lnTo>
                    <a:pt x="140" y="38"/>
                  </a:lnTo>
                  <a:lnTo>
                    <a:pt x="136" y="38"/>
                  </a:lnTo>
                  <a:lnTo>
                    <a:pt x="130" y="40"/>
                  </a:lnTo>
                  <a:lnTo>
                    <a:pt x="122" y="40"/>
                  </a:lnTo>
                  <a:lnTo>
                    <a:pt x="116" y="44"/>
                  </a:lnTo>
                  <a:lnTo>
                    <a:pt x="112" y="44"/>
                  </a:lnTo>
                  <a:lnTo>
                    <a:pt x="114" y="46"/>
                  </a:lnTo>
                  <a:lnTo>
                    <a:pt x="116" y="50"/>
                  </a:lnTo>
                  <a:lnTo>
                    <a:pt x="116" y="54"/>
                  </a:lnTo>
                  <a:lnTo>
                    <a:pt x="118" y="56"/>
                  </a:lnTo>
                  <a:lnTo>
                    <a:pt x="114" y="52"/>
                  </a:lnTo>
                  <a:lnTo>
                    <a:pt x="112" y="48"/>
                  </a:lnTo>
                  <a:lnTo>
                    <a:pt x="110" y="46"/>
                  </a:lnTo>
                  <a:lnTo>
                    <a:pt x="106" y="44"/>
                  </a:lnTo>
                  <a:lnTo>
                    <a:pt x="104" y="44"/>
                  </a:lnTo>
                  <a:lnTo>
                    <a:pt x="102" y="46"/>
                  </a:lnTo>
                  <a:lnTo>
                    <a:pt x="98" y="54"/>
                  </a:lnTo>
                  <a:lnTo>
                    <a:pt x="98" y="56"/>
                  </a:lnTo>
                  <a:lnTo>
                    <a:pt x="102" y="58"/>
                  </a:lnTo>
                  <a:lnTo>
                    <a:pt x="100" y="60"/>
                  </a:lnTo>
                  <a:lnTo>
                    <a:pt x="98" y="60"/>
                  </a:lnTo>
                  <a:lnTo>
                    <a:pt x="98" y="58"/>
                  </a:lnTo>
                  <a:lnTo>
                    <a:pt x="96" y="56"/>
                  </a:lnTo>
                  <a:lnTo>
                    <a:pt x="86" y="56"/>
                  </a:lnTo>
                  <a:lnTo>
                    <a:pt x="80" y="56"/>
                  </a:lnTo>
                  <a:lnTo>
                    <a:pt x="76" y="58"/>
                  </a:lnTo>
                  <a:lnTo>
                    <a:pt x="66" y="64"/>
                  </a:lnTo>
                  <a:lnTo>
                    <a:pt x="56" y="66"/>
                  </a:lnTo>
                  <a:lnTo>
                    <a:pt x="52" y="66"/>
                  </a:lnTo>
                  <a:lnTo>
                    <a:pt x="50" y="68"/>
                  </a:lnTo>
                  <a:lnTo>
                    <a:pt x="48" y="72"/>
                  </a:lnTo>
                  <a:lnTo>
                    <a:pt x="46" y="76"/>
                  </a:lnTo>
                  <a:lnTo>
                    <a:pt x="48" y="78"/>
                  </a:lnTo>
                  <a:lnTo>
                    <a:pt x="54" y="76"/>
                  </a:lnTo>
                  <a:lnTo>
                    <a:pt x="60" y="76"/>
                  </a:lnTo>
                  <a:lnTo>
                    <a:pt x="64" y="80"/>
                  </a:lnTo>
                  <a:lnTo>
                    <a:pt x="68" y="76"/>
                  </a:lnTo>
                  <a:lnTo>
                    <a:pt x="72" y="78"/>
                  </a:lnTo>
                  <a:lnTo>
                    <a:pt x="80" y="76"/>
                  </a:lnTo>
                  <a:lnTo>
                    <a:pt x="78" y="78"/>
                  </a:lnTo>
                  <a:lnTo>
                    <a:pt x="80" y="82"/>
                  </a:lnTo>
                  <a:lnTo>
                    <a:pt x="78" y="84"/>
                  </a:lnTo>
                  <a:lnTo>
                    <a:pt x="76" y="84"/>
                  </a:lnTo>
                  <a:lnTo>
                    <a:pt x="78" y="86"/>
                  </a:lnTo>
                  <a:lnTo>
                    <a:pt x="78" y="90"/>
                  </a:lnTo>
                  <a:lnTo>
                    <a:pt x="68" y="98"/>
                  </a:lnTo>
                  <a:lnTo>
                    <a:pt x="66" y="98"/>
                  </a:lnTo>
                  <a:lnTo>
                    <a:pt x="64" y="102"/>
                  </a:lnTo>
                  <a:lnTo>
                    <a:pt x="62" y="100"/>
                  </a:lnTo>
                  <a:lnTo>
                    <a:pt x="60" y="98"/>
                  </a:lnTo>
                  <a:lnTo>
                    <a:pt x="48" y="98"/>
                  </a:lnTo>
                  <a:lnTo>
                    <a:pt x="42" y="102"/>
                  </a:lnTo>
                  <a:lnTo>
                    <a:pt x="36" y="104"/>
                  </a:lnTo>
                  <a:lnTo>
                    <a:pt x="30" y="102"/>
                  </a:lnTo>
                  <a:lnTo>
                    <a:pt x="20" y="104"/>
                  </a:lnTo>
                  <a:lnTo>
                    <a:pt x="16" y="104"/>
                  </a:lnTo>
                  <a:lnTo>
                    <a:pt x="16" y="106"/>
                  </a:lnTo>
                  <a:lnTo>
                    <a:pt x="12" y="106"/>
                  </a:lnTo>
                  <a:lnTo>
                    <a:pt x="6" y="106"/>
                  </a:lnTo>
                  <a:lnTo>
                    <a:pt x="2" y="112"/>
                  </a:lnTo>
                  <a:lnTo>
                    <a:pt x="2" y="112"/>
                  </a:lnTo>
                  <a:lnTo>
                    <a:pt x="4" y="112"/>
                  </a:lnTo>
                  <a:lnTo>
                    <a:pt x="6" y="116"/>
                  </a:lnTo>
                  <a:lnTo>
                    <a:pt x="8" y="118"/>
                  </a:lnTo>
                  <a:lnTo>
                    <a:pt x="8" y="120"/>
                  </a:lnTo>
                  <a:lnTo>
                    <a:pt x="14" y="120"/>
                  </a:lnTo>
                  <a:lnTo>
                    <a:pt x="14" y="122"/>
                  </a:lnTo>
                  <a:lnTo>
                    <a:pt x="16" y="122"/>
                  </a:lnTo>
                  <a:lnTo>
                    <a:pt x="16" y="124"/>
                  </a:lnTo>
                  <a:lnTo>
                    <a:pt x="20" y="124"/>
                  </a:lnTo>
                  <a:lnTo>
                    <a:pt x="28" y="126"/>
                  </a:lnTo>
                  <a:lnTo>
                    <a:pt x="28" y="124"/>
                  </a:lnTo>
                  <a:lnTo>
                    <a:pt x="30" y="120"/>
                  </a:lnTo>
                  <a:lnTo>
                    <a:pt x="34" y="120"/>
                  </a:lnTo>
                  <a:lnTo>
                    <a:pt x="36" y="126"/>
                  </a:lnTo>
                  <a:lnTo>
                    <a:pt x="48" y="124"/>
                  </a:lnTo>
                  <a:lnTo>
                    <a:pt x="62" y="124"/>
                  </a:lnTo>
                  <a:lnTo>
                    <a:pt x="64" y="128"/>
                  </a:lnTo>
                  <a:lnTo>
                    <a:pt x="60" y="128"/>
                  </a:lnTo>
                  <a:lnTo>
                    <a:pt x="60" y="130"/>
                  </a:lnTo>
                  <a:lnTo>
                    <a:pt x="58" y="130"/>
                  </a:lnTo>
                  <a:lnTo>
                    <a:pt x="56" y="128"/>
                  </a:lnTo>
                  <a:lnTo>
                    <a:pt x="44" y="128"/>
                  </a:lnTo>
                  <a:lnTo>
                    <a:pt x="44" y="130"/>
                  </a:lnTo>
                  <a:lnTo>
                    <a:pt x="36" y="128"/>
                  </a:lnTo>
                  <a:lnTo>
                    <a:pt x="22" y="134"/>
                  </a:lnTo>
                  <a:lnTo>
                    <a:pt x="22" y="136"/>
                  </a:lnTo>
                  <a:lnTo>
                    <a:pt x="26" y="136"/>
                  </a:lnTo>
                  <a:lnTo>
                    <a:pt x="18" y="136"/>
                  </a:lnTo>
                  <a:lnTo>
                    <a:pt x="16" y="136"/>
                  </a:lnTo>
                  <a:lnTo>
                    <a:pt x="16" y="134"/>
                  </a:lnTo>
                  <a:lnTo>
                    <a:pt x="14" y="134"/>
                  </a:lnTo>
                  <a:lnTo>
                    <a:pt x="8" y="136"/>
                  </a:lnTo>
                  <a:lnTo>
                    <a:pt x="12" y="142"/>
                  </a:lnTo>
                  <a:lnTo>
                    <a:pt x="14" y="142"/>
                  </a:lnTo>
                  <a:lnTo>
                    <a:pt x="16" y="142"/>
                  </a:lnTo>
                  <a:lnTo>
                    <a:pt x="18" y="144"/>
                  </a:lnTo>
                  <a:lnTo>
                    <a:pt x="20" y="144"/>
                  </a:lnTo>
                  <a:lnTo>
                    <a:pt x="24" y="144"/>
                  </a:lnTo>
                  <a:lnTo>
                    <a:pt x="20" y="148"/>
                  </a:lnTo>
                  <a:lnTo>
                    <a:pt x="24" y="152"/>
                  </a:lnTo>
                  <a:lnTo>
                    <a:pt x="26" y="154"/>
                  </a:lnTo>
                  <a:lnTo>
                    <a:pt x="28" y="156"/>
                  </a:lnTo>
                  <a:lnTo>
                    <a:pt x="30" y="156"/>
                  </a:lnTo>
                  <a:lnTo>
                    <a:pt x="34" y="156"/>
                  </a:lnTo>
                  <a:lnTo>
                    <a:pt x="44" y="158"/>
                  </a:lnTo>
                  <a:lnTo>
                    <a:pt x="42" y="152"/>
                  </a:lnTo>
                  <a:lnTo>
                    <a:pt x="44" y="148"/>
                  </a:lnTo>
                  <a:lnTo>
                    <a:pt x="52" y="152"/>
                  </a:lnTo>
                  <a:lnTo>
                    <a:pt x="52" y="150"/>
                  </a:lnTo>
                  <a:lnTo>
                    <a:pt x="56" y="148"/>
                  </a:lnTo>
                  <a:lnTo>
                    <a:pt x="62" y="148"/>
                  </a:lnTo>
                  <a:lnTo>
                    <a:pt x="62" y="150"/>
                  </a:lnTo>
                  <a:lnTo>
                    <a:pt x="64" y="152"/>
                  </a:lnTo>
                  <a:lnTo>
                    <a:pt x="66" y="154"/>
                  </a:lnTo>
                  <a:lnTo>
                    <a:pt x="68" y="150"/>
                  </a:lnTo>
                  <a:lnTo>
                    <a:pt x="72" y="150"/>
                  </a:lnTo>
                  <a:lnTo>
                    <a:pt x="74" y="150"/>
                  </a:lnTo>
                  <a:lnTo>
                    <a:pt x="78" y="150"/>
                  </a:lnTo>
                  <a:lnTo>
                    <a:pt x="80" y="150"/>
                  </a:lnTo>
                  <a:lnTo>
                    <a:pt x="80" y="148"/>
                  </a:lnTo>
                  <a:lnTo>
                    <a:pt x="86" y="144"/>
                  </a:lnTo>
                  <a:lnTo>
                    <a:pt x="86" y="148"/>
                  </a:lnTo>
                  <a:lnTo>
                    <a:pt x="86" y="152"/>
                  </a:lnTo>
                  <a:lnTo>
                    <a:pt x="92" y="146"/>
                  </a:lnTo>
                  <a:lnTo>
                    <a:pt x="96" y="146"/>
                  </a:lnTo>
                  <a:lnTo>
                    <a:pt x="98" y="150"/>
                  </a:lnTo>
                  <a:lnTo>
                    <a:pt x="104" y="150"/>
                  </a:lnTo>
                  <a:lnTo>
                    <a:pt x="112" y="152"/>
                  </a:lnTo>
                  <a:lnTo>
                    <a:pt x="112" y="154"/>
                  </a:lnTo>
                  <a:lnTo>
                    <a:pt x="118" y="158"/>
                  </a:lnTo>
                  <a:lnTo>
                    <a:pt x="120" y="160"/>
                  </a:lnTo>
                  <a:lnTo>
                    <a:pt x="124" y="160"/>
                  </a:lnTo>
                  <a:lnTo>
                    <a:pt x="128" y="160"/>
                  </a:lnTo>
                  <a:lnTo>
                    <a:pt x="134" y="164"/>
                  </a:lnTo>
                  <a:lnTo>
                    <a:pt x="134" y="166"/>
                  </a:lnTo>
                  <a:lnTo>
                    <a:pt x="134" y="166"/>
                  </a:lnTo>
                  <a:lnTo>
                    <a:pt x="136" y="166"/>
                  </a:lnTo>
                  <a:lnTo>
                    <a:pt x="140" y="170"/>
                  </a:lnTo>
                  <a:lnTo>
                    <a:pt x="144" y="176"/>
                  </a:lnTo>
                  <a:lnTo>
                    <a:pt x="148" y="176"/>
                  </a:lnTo>
                  <a:lnTo>
                    <a:pt x="150" y="178"/>
                  </a:lnTo>
                  <a:lnTo>
                    <a:pt x="150" y="180"/>
                  </a:lnTo>
                  <a:lnTo>
                    <a:pt x="148" y="180"/>
                  </a:lnTo>
                  <a:lnTo>
                    <a:pt x="150" y="184"/>
                  </a:lnTo>
                  <a:lnTo>
                    <a:pt x="148" y="186"/>
                  </a:lnTo>
                  <a:lnTo>
                    <a:pt x="144" y="186"/>
                  </a:lnTo>
                  <a:lnTo>
                    <a:pt x="144" y="188"/>
                  </a:lnTo>
                  <a:lnTo>
                    <a:pt x="150" y="186"/>
                  </a:lnTo>
                  <a:lnTo>
                    <a:pt x="150" y="188"/>
                  </a:lnTo>
                  <a:lnTo>
                    <a:pt x="158" y="196"/>
                  </a:lnTo>
                  <a:lnTo>
                    <a:pt x="158" y="198"/>
                  </a:lnTo>
                  <a:lnTo>
                    <a:pt x="156" y="198"/>
                  </a:lnTo>
                  <a:lnTo>
                    <a:pt x="156" y="200"/>
                  </a:lnTo>
                  <a:lnTo>
                    <a:pt x="160" y="202"/>
                  </a:lnTo>
                  <a:lnTo>
                    <a:pt x="162" y="204"/>
                  </a:lnTo>
                  <a:lnTo>
                    <a:pt x="160" y="208"/>
                  </a:lnTo>
                  <a:lnTo>
                    <a:pt x="164" y="208"/>
                  </a:lnTo>
                  <a:lnTo>
                    <a:pt x="164" y="210"/>
                  </a:lnTo>
                  <a:lnTo>
                    <a:pt x="164" y="212"/>
                  </a:lnTo>
                  <a:lnTo>
                    <a:pt x="162" y="214"/>
                  </a:lnTo>
                  <a:lnTo>
                    <a:pt x="164" y="216"/>
                  </a:lnTo>
                  <a:lnTo>
                    <a:pt x="156" y="218"/>
                  </a:lnTo>
                  <a:lnTo>
                    <a:pt x="158" y="218"/>
                  </a:lnTo>
                  <a:lnTo>
                    <a:pt x="158" y="222"/>
                  </a:lnTo>
                  <a:lnTo>
                    <a:pt x="156" y="222"/>
                  </a:lnTo>
                  <a:lnTo>
                    <a:pt x="154" y="224"/>
                  </a:lnTo>
                  <a:lnTo>
                    <a:pt x="154" y="226"/>
                  </a:lnTo>
                  <a:lnTo>
                    <a:pt x="158" y="226"/>
                  </a:lnTo>
                  <a:lnTo>
                    <a:pt x="156" y="230"/>
                  </a:lnTo>
                  <a:lnTo>
                    <a:pt x="154" y="230"/>
                  </a:lnTo>
                  <a:lnTo>
                    <a:pt x="154" y="232"/>
                  </a:lnTo>
                  <a:lnTo>
                    <a:pt x="160" y="236"/>
                  </a:lnTo>
                  <a:lnTo>
                    <a:pt x="162" y="236"/>
                  </a:lnTo>
                  <a:lnTo>
                    <a:pt x="166" y="234"/>
                  </a:lnTo>
                  <a:lnTo>
                    <a:pt x="168" y="228"/>
                  </a:lnTo>
                  <a:lnTo>
                    <a:pt x="170" y="228"/>
                  </a:lnTo>
                  <a:lnTo>
                    <a:pt x="170" y="232"/>
                  </a:lnTo>
                  <a:lnTo>
                    <a:pt x="178" y="232"/>
                  </a:lnTo>
                  <a:lnTo>
                    <a:pt x="186" y="234"/>
                  </a:lnTo>
                  <a:lnTo>
                    <a:pt x="186" y="236"/>
                  </a:lnTo>
                  <a:lnTo>
                    <a:pt x="194" y="236"/>
                  </a:lnTo>
                  <a:lnTo>
                    <a:pt x="196" y="234"/>
                  </a:lnTo>
                  <a:lnTo>
                    <a:pt x="198" y="234"/>
                  </a:lnTo>
                  <a:lnTo>
                    <a:pt x="194" y="238"/>
                  </a:lnTo>
                  <a:lnTo>
                    <a:pt x="192" y="238"/>
                  </a:lnTo>
                  <a:lnTo>
                    <a:pt x="196" y="240"/>
                  </a:lnTo>
                  <a:lnTo>
                    <a:pt x="200" y="240"/>
                  </a:lnTo>
                  <a:lnTo>
                    <a:pt x="200" y="242"/>
                  </a:lnTo>
                  <a:lnTo>
                    <a:pt x="196" y="242"/>
                  </a:lnTo>
                  <a:lnTo>
                    <a:pt x="200" y="244"/>
                  </a:lnTo>
                  <a:lnTo>
                    <a:pt x="200" y="246"/>
                  </a:lnTo>
                  <a:lnTo>
                    <a:pt x="200" y="246"/>
                  </a:lnTo>
                  <a:lnTo>
                    <a:pt x="196" y="246"/>
                  </a:lnTo>
                  <a:lnTo>
                    <a:pt x="196" y="248"/>
                  </a:lnTo>
                  <a:lnTo>
                    <a:pt x="200" y="248"/>
                  </a:lnTo>
                  <a:lnTo>
                    <a:pt x="200" y="250"/>
                  </a:lnTo>
                  <a:lnTo>
                    <a:pt x="198" y="252"/>
                  </a:lnTo>
                  <a:lnTo>
                    <a:pt x="196" y="252"/>
                  </a:lnTo>
                  <a:lnTo>
                    <a:pt x="200" y="256"/>
                  </a:lnTo>
                  <a:lnTo>
                    <a:pt x="200" y="258"/>
                  </a:lnTo>
                  <a:lnTo>
                    <a:pt x="194" y="256"/>
                  </a:lnTo>
                  <a:lnTo>
                    <a:pt x="188" y="252"/>
                  </a:lnTo>
                  <a:lnTo>
                    <a:pt x="184" y="250"/>
                  </a:lnTo>
                  <a:lnTo>
                    <a:pt x="174" y="248"/>
                  </a:lnTo>
                  <a:lnTo>
                    <a:pt x="164" y="248"/>
                  </a:lnTo>
                  <a:lnTo>
                    <a:pt x="162" y="250"/>
                  </a:lnTo>
                  <a:lnTo>
                    <a:pt x="164" y="254"/>
                  </a:lnTo>
                  <a:lnTo>
                    <a:pt x="168" y="254"/>
                  </a:lnTo>
                  <a:lnTo>
                    <a:pt x="172" y="256"/>
                  </a:lnTo>
                  <a:lnTo>
                    <a:pt x="172" y="258"/>
                  </a:lnTo>
                  <a:lnTo>
                    <a:pt x="170" y="260"/>
                  </a:lnTo>
                  <a:lnTo>
                    <a:pt x="166" y="258"/>
                  </a:lnTo>
                  <a:lnTo>
                    <a:pt x="162" y="258"/>
                  </a:lnTo>
                  <a:lnTo>
                    <a:pt x="160" y="260"/>
                  </a:lnTo>
                  <a:lnTo>
                    <a:pt x="162" y="266"/>
                  </a:lnTo>
                  <a:lnTo>
                    <a:pt x="158" y="268"/>
                  </a:lnTo>
                  <a:lnTo>
                    <a:pt x="158" y="272"/>
                  </a:lnTo>
                  <a:lnTo>
                    <a:pt x="156" y="272"/>
                  </a:lnTo>
                  <a:lnTo>
                    <a:pt x="156" y="274"/>
                  </a:lnTo>
                  <a:lnTo>
                    <a:pt x="158" y="276"/>
                  </a:lnTo>
                  <a:lnTo>
                    <a:pt x="162" y="276"/>
                  </a:lnTo>
                  <a:lnTo>
                    <a:pt x="164" y="276"/>
                  </a:lnTo>
                  <a:lnTo>
                    <a:pt x="166" y="276"/>
                  </a:lnTo>
                  <a:lnTo>
                    <a:pt x="168" y="276"/>
                  </a:lnTo>
                  <a:lnTo>
                    <a:pt x="170" y="276"/>
                  </a:lnTo>
                  <a:lnTo>
                    <a:pt x="170" y="278"/>
                  </a:lnTo>
                  <a:lnTo>
                    <a:pt x="162" y="278"/>
                  </a:lnTo>
                  <a:lnTo>
                    <a:pt x="162" y="278"/>
                  </a:lnTo>
                  <a:lnTo>
                    <a:pt x="166" y="282"/>
                  </a:lnTo>
                  <a:lnTo>
                    <a:pt x="172" y="280"/>
                  </a:lnTo>
                  <a:lnTo>
                    <a:pt x="174" y="280"/>
                  </a:lnTo>
                  <a:lnTo>
                    <a:pt x="180" y="278"/>
                  </a:lnTo>
                  <a:lnTo>
                    <a:pt x="188" y="276"/>
                  </a:lnTo>
                  <a:lnTo>
                    <a:pt x="188" y="272"/>
                  </a:lnTo>
                  <a:lnTo>
                    <a:pt x="182" y="268"/>
                  </a:lnTo>
                  <a:lnTo>
                    <a:pt x="180" y="262"/>
                  </a:lnTo>
                  <a:lnTo>
                    <a:pt x="174" y="260"/>
                  </a:lnTo>
                  <a:lnTo>
                    <a:pt x="174" y="258"/>
                  </a:lnTo>
                  <a:lnTo>
                    <a:pt x="172" y="256"/>
                  </a:lnTo>
                  <a:lnTo>
                    <a:pt x="178" y="258"/>
                  </a:lnTo>
                  <a:lnTo>
                    <a:pt x="182" y="260"/>
                  </a:lnTo>
                  <a:lnTo>
                    <a:pt x="186" y="264"/>
                  </a:lnTo>
                  <a:lnTo>
                    <a:pt x="188" y="264"/>
                  </a:lnTo>
                  <a:lnTo>
                    <a:pt x="192" y="264"/>
                  </a:lnTo>
                  <a:lnTo>
                    <a:pt x="194" y="262"/>
                  </a:lnTo>
                  <a:lnTo>
                    <a:pt x="196" y="264"/>
                  </a:lnTo>
                  <a:lnTo>
                    <a:pt x="200" y="264"/>
                  </a:lnTo>
                  <a:lnTo>
                    <a:pt x="200" y="266"/>
                  </a:lnTo>
                  <a:lnTo>
                    <a:pt x="200" y="268"/>
                  </a:lnTo>
                  <a:lnTo>
                    <a:pt x="200" y="270"/>
                  </a:lnTo>
                  <a:lnTo>
                    <a:pt x="200" y="270"/>
                  </a:lnTo>
                  <a:lnTo>
                    <a:pt x="200" y="274"/>
                  </a:lnTo>
                  <a:lnTo>
                    <a:pt x="200" y="274"/>
                  </a:lnTo>
                  <a:lnTo>
                    <a:pt x="200" y="276"/>
                  </a:lnTo>
                  <a:lnTo>
                    <a:pt x="200" y="278"/>
                  </a:lnTo>
                  <a:lnTo>
                    <a:pt x="202" y="278"/>
                  </a:lnTo>
                  <a:lnTo>
                    <a:pt x="202" y="280"/>
                  </a:lnTo>
                  <a:lnTo>
                    <a:pt x="204" y="280"/>
                  </a:lnTo>
                  <a:lnTo>
                    <a:pt x="204" y="282"/>
                  </a:lnTo>
                  <a:lnTo>
                    <a:pt x="202" y="284"/>
                  </a:lnTo>
                  <a:lnTo>
                    <a:pt x="202" y="286"/>
                  </a:lnTo>
                  <a:lnTo>
                    <a:pt x="200" y="284"/>
                  </a:lnTo>
                  <a:lnTo>
                    <a:pt x="200" y="282"/>
                  </a:lnTo>
                  <a:lnTo>
                    <a:pt x="200" y="280"/>
                  </a:lnTo>
                  <a:lnTo>
                    <a:pt x="198" y="280"/>
                  </a:lnTo>
                  <a:lnTo>
                    <a:pt x="198" y="288"/>
                  </a:lnTo>
                  <a:lnTo>
                    <a:pt x="200" y="290"/>
                  </a:lnTo>
                  <a:lnTo>
                    <a:pt x="200" y="294"/>
                  </a:lnTo>
                  <a:lnTo>
                    <a:pt x="196" y="294"/>
                  </a:lnTo>
                  <a:lnTo>
                    <a:pt x="190" y="294"/>
                  </a:lnTo>
                  <a:lnTo>
                    <a:pt x="188" y="294"/>
                  </a:lnTo>
                  <a:lnTo>
                    <a:pt x="188" y="296"/>
                  </a:lnTo>
                  <a:lnTo>
                    <a:pt x="184" y="298"/>
                  </a:lnTo>
                  <a:lnTo>
                    <a:pt x="180" y="298"/>
                  </a:lnTo>
                  <a:lnTo>
                    <a:pt x="180" y="300"/>
                  </a:lnTo>
                  <a:lnTo>
                    <a:pt x="192" y="300"/>
                  </a:lnTo>
                  <a:lnTo>
                    <a:pt x="196" y="298"/>
                  </a:lnTo>
                  <a:lnTo>
                    <a:pt x="200" y="296"/>
                  </a:lnTo>
                  <a:lnTo>
                    <a:pt x="200" y="302"/>
                  </a:lnTo>
                  <a:lnTo>
                    <a:pt x="196" y="302"/>
                  </a:lnTo>
                  <a:lnTo>
                    <a:pt x="192" y="302"/>
                  </a:lnTo>
                  <a:lnTo>
                    <a:pt x="188" y="302"/>
                  </a:lnTo>
                  <a:lnTo>
                    <a:pt x="186" y="300"/>
                  </a:lnTo>
                  <a:lnTo>
                    <a:pt x="182" y="300"/>
                  </a:lnTo>
                  <a:lnTo>
                    <a:pt x="182" y="302"/>
                  </a:lnTo>
                  <a:lnTo>
                    <a:pt x="186" y="304"/>
                  </a:lnTo>
                  <a:lnTo>
                    <a:pt x="188" y="306"/>
                  </a:lnTo>
                  <a:lnTo>
                    <a:pt x="186" y="306"/>
                  </a:lnTo>
                  <a:lnTo>
                    <a:pt x="182" y="304"/>
                  </a:lnTo>
                  <a:lnTo>
                    <a:pt x="180" y="304"/>
                  </a:lnTo>
                  <a:lnTo>
                    <a:pt x="178" y="304"/>
                  </a:lnTo>
                  <a:lnTo>
                    <a:pt x="176" y="308"/>
                  </a:lnTo>
                  <a:lnTo>
                    <a:pt x="174" y="310"/>
                  </a:lnTo>
                  <a:lnTo>
                    <a:pt x="174" y="314"/>
                  </a:lnTo>
                  <a:lnTo>
                    <a:pt x="180" y="310"/>
                  </a:lnTo>
                  <a:lnTo>
                    <a:pt x="180" y="308"/>
                  </a:lnTo>
                  <a:lnTo>
                    <a:pt x="184" y="310"/>
                  </a:lnTo>
                  <a:lnTo>
                    <a:pt x="192" y="306"/>
                  </a:lnTo>
                  <a:lnTo>
                    <a:pt x="190" y="308"/>
                  </a:lnTo>
                  <a:lnTo>
                    <a:pt x="194" y="310"/>
                  </a:lnTo>
                  <a:lnTo>
                    <a:pt x="194" y="312"/>
                  </a:lnTo>
                  <a:lnTo>
                    <a:pt x="200" y="310"/>
                  </a:lnTo>
                  <a:lnTo>
                    <a:pt x="198" y="306"/>
                  </a:lnTo>
                  <a:lnTo>
                    <a:pt x="202" y="306"/>
                  </a:lnTo>
                  <a:lnTo>
                    <a:pt x="200" y="308"/>
                  </a:lnTo>
                  <a:lnTo>
                    <a:pt x="200" y="310"/>
                  </a:lnTo>
                  <a:lnTo>
                    <a:pt x="200" y="308"/>
                  </a:lnTo>
                  <a:lnTo>
                    <a:pt x="200" y="310"/>
                  </a:lnTo>
                  <a:lnTo>
                    <a:pt x="200" y="314"/>
                  </a:lnTo>
                  <a:lnTo>
                    <a:pt x="194" y="314"/>
                  </a:lnTo>
                  <a:lnTo>
                    <a:pt x="188" y="312"/>
                  </a:lnTo>
                  <a:lnTo>
                    <a:pt x="184" y="310"/>
                  </a:lnTo>
                  <a:lnTo>
                    <a:pt x="180" y="310"/>
                  </a:lnTo>
                  <a:lnTo>
                    <a:pt x="178" y="314"/>
                  </a:lnTo>
                  <a:lnTo>
                    <a:pt x="178" y="316"/>
                  </a:lnTo>
                  <a:lnTo>
                    <a:pt x="174" y="316"/>
                  </a:lnTo>
                  <a:lnTo>
                    <a:pt x="172" y="318"/>
                  </a:lnTo>
                  <a:lnTo>
                    <a:pt x="174" y="320"/>
                  </a:lnTo>
                  <a:lnTo>
                    <a:pt x="174" y="322"/>
                  </a:lnTo>
                  <a:lnTo>
                    <a:pt x="176" y="324"/>
                  </a:lnTo>
                  <a:lnTo>
                    <a:pt x="178" y="324"/>
                  </a:lnTo>
                  <a:lnTo>
                    <a:pt x="178" y="326"/>
                  </a:lnTo>
                  <a:lnTo>
                    <a:pt x="180" y="326"/>
                  </a:lnTo>
                  <a:lnTo>
                    <a:pt x="178" y="330"/>
                  </a:lnTo>
                  <a:lnTo>
                    <a:pt x="176" y="330"/>
                  </a:lnTo>
                  <a:lnTo>
                    <a:pt x="176" y="332"/>
                  </a:lnTo>
                  <a:lnTo>
                    <a:pt x="176" y="332"/>
                  </a:lnTo>
                  <a:lnTo>
                    <a:pt x="178" y="332"/>
                  </a:lnTo>
                  <a:lnTo>
                    <a:pt x="178" y="332"/>
                  </a:lnTo>
                  <a:lnTo>
                    <a:pt x="174" y="332"/>
                  </a:lnTo>
                  <a:lnTo>
                    <a:pt x="174" y="334"/>
                  </a:lnTo>
                  <a:lnTo>
                    <a:pt x="176" y="338"/>
                  </a:lnTo>
                  <a:lnTo>
                    <a:pt x="182" y="336"/>
                  </a:lnTo>
                  <a:lnTo>
                    <a:pt x="178" y="338"/>
                  </a:lnTo>
                  <a:lnTo>
                    <a:pt x="178" y="342"/>
                  </a:lnTo>
                  <a:lnTo>
                    <a:pt x="182" y="340"/>
                  </a:lnTo>
                  <a:lnTo>
                    <a:pt x="184" y="342"/>
                  </a:lnTo>
                  <a:lnTo>
                    <a:pt x="186" y="342"/>
                  </a:lnTo>
                  <a:lnTo>
                    <a:pt x="186" y="340"/>
                  </a:lnTo>
                  <a:lnTo>
                    <a:pt x="190" y="338"/>
                  </a:lnTo>
                  <a:lnTo>
                    <a:pt x="184" y="344"/>
                  </a:lnTo>
                  <a:lnTo>
                    <a:pt x="188" y="346"/>
                  </a:lnTo>
                  <a:lnTo>
                    <a:pt x="188" y="348"/>
                  </a:lnTo>
                  <a:lnTo>
                    <a:pt x="186" y="348"/>
                  </a:lnTo>
                  <a:lnTo>
                    <a:pt x="186" y="352"/>
                  </a:lnTo>
                  <a:lnTo>
                    <a:pt x="190" y="352"/>
                  </a:lnTo>
                  <a:lnTo>
                    <a:pt x="190" y="354"/>
                  </a:lnTo>
                  <a:lnTo>
                    <a:pt x="192" y="354"/>
                  </a:lnTo>
                  <a:lnTo>
                    <a:pt x="190" y="358"/>
                  </a:lnTo>
                  <a:lnTo>
                    <a:pt x="190" y="362"/>
                  </a:lnTo>
                  <a:lnTo>
                    <a:pt x="196" y="356"/>
                  </a:lnTo>
                  <a:lnTo>
                    <a:pt x="198" y="356"/>
                  </a:lnTo>
                  <a:lnTo>
                    <a:pt x="200" y="356"/>
                  </a:lnTo>
                  <a:lnTo>
                    <a:pt x="200" y="354"/>
                  </a:lnTo>
                  <a:lnTo>
                    <a:pt x="200" y="354"/>
                  </a:lnTo>
                  <a:lnTo>
                    <a:pt x="202" y="354"/>
                  </a:lnTo>
                  <a:lnTo>
                    <a:pt x="202" y="358"/>
                  </a:lnTo>
                  <a:lnTo>
                    <a:pt x="202" y="360"/>
                  </a:lnTo>
                  <a:lnTo>
                    <a:pt x="200" y="360"/>
                  </a:lnTo>
                  <a:lnTo>
                    <a:pt x="200" y="358"/>
                  </a:lnTo>
                  <a:lnTo>
                    <a:pt x="200" y="360"/>
                  </a:lnTo>
                  <a:lnTo>
                    <a:pt x="200" y="362"/>
                  </a:lnTo>
                  <a:lnTo>
                    <a:pt x="192" y="364"/>
                  </a:lnTo>
                  <a:lnTo>
                    <a:pt x="192" y="366"/>
                  </a:lnTo>
                  <a:lnTo>
                    <a:pt x="198" y="366"/>
                  </a:lnTo>
                  <a:lnTo>
                    <a:pt x="198" y="368"/>
                  </a:lnTo>
                  <a:lnTo>
                    <a:pt x="194" y="368"/>
                  </a:lnTo>
                  <a:lnTo>
                    <a:pt x="192" y="368"/>
                  </a:lnTo>
                  <a:lnTo>
                    <a:pt x="194" y="370"/>
                  </a:lnTo>
                  <a:lnTo>
                    <a:pt x="196" y="370"/>
                  </a:lnTo>
                  <a:lnTo>
                    <a:pt x="194" y="374"/>
                  </a:lnTo>
                  <a:lnTo>
                    <a:pt x="196" y="376"/>
                  </a:lnTo>
                  <a:lnTo>
                    <a:pt x="200" y="374"/>
                  </a:lnTo>
                  <a:lnTo>
                    <a:pt x="200" y="378"/>
                  </a:lnTo>
                  <a:lnTo>
                    <a:pt x="198" y="378"/>
                  </a:lnTo>
                  <a:lnTo>
                    <a:pt x="198" y="380"/>
                  </a:lnTo>
                  <a:lnTo>
                    <a:pt x="200" y="380"/>
                  </a:lnTo>
                  <a:lnTo>
                    <a:pt x="200" y="382"/>
                  </a:lnTo>
                  <a:lnTo>
                    <a:pt x="200" y="386"/>
                  </a:lnTo>
                  <a:lnTo>
                    <a:pt x="200" y="384"/>
                  </a:lnTo>
                  <a:lnTo>
                    <a:pt x="200" y="382"/>
                  </a:lnTo>
                  <a:lnTo>
                    <a:pt x="204" y="382"/>
                  </a:lnTo>
                  <a:lnTo>
                    <a:pt x="204" y="388"/>
                  </a:lnTo>
                  <a:lnTo>
                    <a:pt x="204" y="388"/>
                  </a:lnTo>
                  <a:lnTo>
                    <a:pt x="208" y="388"/>
                  </a:lnTo>
                  <a:lnTo>
                    <a:pt x="208" y="390"/>
                  </a:lnTo>
                  <a:lnTo>
                    <a:pt x="208" y="392"/>
                  </a:lnTo>
                  <a:lnTo>
                    <a:pt x="210" y="392"/>
                  </a:lnTo>
                  <a:lnTo>
                    <a:pt x="214" y="390"/>
                  </a:lnTo>
                  <a:lnTo>
                    <a:pt x="216" y="390"/>
                  </a:lnTo>
                  <a:lnTo>
                    <a:pt x="216" y="392"/>
                  </a:lnTo>
                  <a:lnTo>
                    <a:pt x="216" y="394"/>
                  </a:lnTo>
                  <a:lnTo>
                    <a:pt x="216" y="396"/>
                  </a:lnTo>
                  <a:lnTo>
                    <a:pt x="220" y="394"/>
                  </a:lnTo>
                  <a:lnTo>
                    <a:pt x="220" y="396"/>
                  </a:lnTo>
                  <a:lnTo>
                    <a:pt x="218" y="398"/>
                  </a:lnTo>
                  <a:lnTo>
                    <a:pt x="220" y="398"/>
                  </a:lnTo>
                  <a:lnTo>
                    <a:pt x="222" y="398"/>
                  </a:lnTo>
                  <a:lnTo>
                    <a:pt x="222" y="402"/>
                  </a:lnTo>
                  <a:lnTo>
                    <a:pt x="220" y="404"/>
                  </a:lnTo>
                  <a:lnTo>
                    <a:pt x="222" y="406"/>
                  </a:lnTo>
                  <a:lnTo>
                    <a:pt x="224" y="402"/>
                  </a:lnTo>
                  <a:lnTo>
                    <a:pt x="226" y="404"/>
                  </a:lnTo>
                  <a:lnTo>
                    <a:pt x="224" y="404"/>
                  </a:lnTo>
                  <a:lnTo>
                    <a:pt x="226" y="406"/>
                  </a:lnTo>
                  <a:lnTo>
                    <a:pt x="224" y="406"/>
                  </a:lnTo>
                  <a:lnTo>
                    <a:pt x="222" y="406"/>
                  </a:lnTo>
                  <a:lnTo>
                    <a:pt x="222" y="408"/>
                  </a:lnTo>
                  <a:lnTo>
                    <a:pt x="226" y="408"/>
                  </a:lnTo>
                  <a:lnTo>
                    <a:pt x="224" y="410"/>
                  </a:lnTo>
                  <a:lnTo>
                    <a:pt x="224" y="412"/>
                  </a:lnTo>
                  <a:lnTo>
                    <a:pt x="228" y="412"/>
                  </a:lnTo>
                  <a:lnTo>
                    <a:pt x="228" y="416"/>
                  </a:lnTo>
                  <a:lnTo>
                    <a:pt x="230" y="416"/>
                  </a:lnTo>
                  <a:lnTo>
                    <a:pt x="232" y="416"/>
                  </a:lnTo>
                  <a:lnTo>
                    <a:pt x="232" y="414"/>
                  </a:lnTo>
                  <a:lnTo>
                    <a:pt x="232" y="412"/>
                  </a:lnTo>
                  <a:lnTo>
                    <a:pt x="234" y="414"/>
                  </a:lnTo>
                  <a:lnTo>
                    <a:pt x="240" y="412"/>
                  </a:lnTo>
                  <a:lnTo>
                    <a:pt x="244" y="406"/>
                  </a:lnTo>
                  <a:lnTo>
                    <a:pt x="246" y="406"/>
                  </a:lnTo>
                  <a:lnTo>
                    <a:pt x="244" y="412"/>
                  </a:lnTo>
                  <a:lnTo>
                    <a:pt x="246" y="412"/>
                  </a:lnTo>
                  <a:lnTo>
                    <a:pt x="246" y="414"/>
                  </a:lnTo>
                  <a:lnTo>
                    <a:pt x="244" y="414"/>
                  </a:lnTo>
                  <a:lnTo>
                    <a:pt x="248" y="414"/>
                  </a:lnTo>
                  <a:lnTo>
                    <a:pt x="250" y="414"/>
                  </a:lnTo>
                  <a:lnTo>
                    <a:pt x="248" y="418"/>
                  </a:lnTo>
                  <a:lnTo>
                    <a:pt x="250" y="418"/>
                  </a:lnTo>
                  <a:lnTo>
                    <a:pt x="252" y="418"/>
                  </a:lnTo>
                  <a:lnTo>
                    <a:pt x="254" y="414"/>
                  </a:lnTo>
                  <a:lnTo>
                    <a:pt x="256" y="416"/>
                  </a:lnTo>
                  <a:lnTo>
                    <a:pt x="258" y="414"/>
                  </a:lnTo>
                  <a:lnTo>
                    <a:pt x="258" y="418"/>
                  </a:lnTo>
                  <a:lnTo>
                    <a:pt x="256" y="420"/>
                  </a:lnTo>
                  <a:lnTo>
                    <a:pt x="256" y="422"/>
                  </a:lnTo>
                  <a:lnTo>
                    <a:pt x="260" y="418"/>
                  </a:lnTo>
                  <a:lnTo>
                    <a:pt x="260" y="422"/>
                  </a:lnTo>
                  <a:lnTo>
                    <a:pt x="260" y="424"/>
                  </a:lnTo>
                  <a:lnTo>
                    <a:pt x="260" y="424"/>
                  </a:lnTo>
                  <a:lnTo>
                    <a:pt x="262" y="420"/>
                  </a:lnTo>
                  <a:lnTo>
                    <a:pt x="264" y="422"/>
                  </a:lnTo>
                  <a:lnTo>
                    <a:pt x="262" y="422"/>
                  </a:lnTo>
                  <a:lnTo>
                    <a:pt x="262" y="426"/>
                  </a:lnTo>
                  <a:lnTo>
                    <a:pt x="268" y="428"/>
                  </a:lnTo>
                  <a:lnTo>
                    <a:pt x="270" y="426"/>
                  </a:lnTo>
                  <a:lnTo>
                    <a:pt x="272" y="426"/>
                  </a:lnTo>
                  <a:lnTo>
                    <a:pt x="270" y="426"/>
                  </a:lnTo>
                  <a:lnTo>
                    <a:pt x="274" y="424"/>
                  </a:lnTo>
                  <a:lnTo>
                    <a:pt x="272" y="422"/>
                  </a:lnTo>
                  <a:lnTo>
                    <a:pt x="270" y="422"/>
                  </a:lnTo>
                  <a:lnTo>
                    <a:pt x="270" y="420"/>
                  </a:lnTo>
                  <a:lnTo>
                    <a:pt x="272" y="418"/>
                  </a:lnTo>
                  <a:lnTo>
                    <a:pt x="270" y="416"/>
                  </a:lnTo>
                  <a:lnTo>
                    <a:pt x="266" y="416"/>
                  </a:lnTo>
                  <a:lnTo>
                    <a:pt x="266" y="414"/>
                  </a:lnTo>
                  <a:lnTo>
                    <a:pt x="270" y="414"/>
                  </a:lnTo>
                  <a:lnTo>
                    <a:pt x="272" y="412"/>
                  </a:lnTo>
                  <a:lnTo>
                    <a:pt x="270" y="412"/>
                  </a:lnTo>
                  <a:lnTo>
                    <a:pt x="272" y="412"/>
                  </a:lnTo>
                  <a:lnTo>
                    <a:pt x="272" y="408"/>
                  </a:lnTo>
                  <a:lnTo>
                    <a:pt x="272" y="406"/>
                  </a:lnTo>
                  <a:lnTo>
                    <a:pt x="276" y="404"/>
                  </a:lnTo>
                  <a:lnTo>
                    <a:pt x="276" y="402"/>
                  </a:lnTo>
                  <a:lnTo>
                    <a:pt x="274" y="400"/>
                  </a:lnTo>
                  <a:lnTo>
                    <a:pt x="278" y="398"/>
                  </a:lnTo>
                  <a:lnTo>
                    <a:pt x="280" y="394"/>
                  </a:lnTo>
                  <a:lnTo>
                    <a:pt x="278" y="392"/>
                  </a:lnTo>
                  <a:lnTo>
                    <a:pt x="278" y="388"/>
                  </a:lnTo>
                  <a:lnTo>
                    <a:pt x="280" y="388"/>
                  </a:lnTo>
                  <a:lnTo>
                    <a:pt x="280" y="388"/>
                  </a:lnTo>
                  <a:lnTo>
                    <a:pt x="282" y="388"/>
                  </a:lnTo>
                  <a:lnTo>
                    <a:pt x="282" y="388"/>
                  </a:lnTo>
                  <a:lnTo>
                    <a:pt x="282" y="386"/>
                  </a:lnTo>
                  <a:lnTo>
                    <a:pt x="282" y="384"/>
                  </a:lnTo>
                  <a:lnTo>
                    <a:pt x="280" y="384"/>
                  </a:lnTo>
                  <a:lnTo>
                    <a:pt x="280" y="382"/>
                  </a:lnTo>
                  <a:lnTo>
                    <a:pt x="282" y="382"/>
                  </a:lnTo>
                  <a:lnTo>
                    <a:pt x="282" y="380"/>
                  </a:lnTo>
                  <a:lnTo>
                    <a:pt x="288" y="382"/>
                  </a:lnTo>
                  <a:lnTo>
                    <a:pt x="286" y="378"/>
                  </a:lnTo>
                  <a:lnTo>
                    <a:pt x="288" y="378"/>
                  </a:lnTo>
                  <a:lnTo>
                    <a:pt x="288" y="374"/>
                  </a:lnTo>
                  <a:lnTo>
                    <a:pt x="286" y="370"/>
                  </a:lnTo>
                  <a:lnTo>
                    <a:pt x="288" y="370"/>
                  </a:lnTo>
                  <a:lnTo>
                    <a:pt x="290" y="374"/>
                  </a:lnTo>
                  <a:lnTo>
                    <a:pt x="292" y="374"/>
                  </a:lnTo>
                  <a:lnTo>
                    <a:pt x="292" y="372"/>
                  </a:lnTo>
                  <a:lnTo>
                    <a:pt x="292" y="370"/>
                  </a:lnTo>
                  <a:lnTo>
                    <a:pt x="292" y="366"/>
                  </a:lnTo>
                  <a:lnTo>
                    <a:pt x="294" y="362"/>
                  </a:lnTo>
                  <a:lnTo>
                    <a:pt x="286" y="360"/>
                  </a:lnTo>
                  <a:lnTo>
                    <a:pt x="286" y="358"/>
                  </a:lnTo>
                  <a:lnTo>
                    <a:pt x="290" y="360"/>
                  </a:lnTo>
                  <a:lnTo>
                    <a:pt x="296" y="360"/>
                  </a:lnTo>
                  <a:lnTo>
                    <a:pt x="296" y="352"/>
                  </a:lnTo>
                  <a:lnTo>
                    <a:pt x="294" y="348"/>
                  </a:lnTo>
                  <a:lnTo>
                    <a:pt x="292" y="346"/>
                  </a:lnTo>
                  <a:lnTo>
                    <a:pt x="292" y="344"/>
                  </a:lnTo>
                  <a:lnTo>
                    <a:pt x="294" y="344"/>
                  </a:lnTo>
                  <a:lnTo>
                    <a:pt x="296" y="344"/>
                  </a:lnTo>
                  <a:lnTo>
                    <a:pt x="298" y="344"/>
                  </a:lnTo>
                  <a:lnTo>
                    <a:pt x="300" y="342"/>
                  </a:lnTo>
                  <a:lnTo>
                    <a:pt x="300" y="338"/>
                  </a:lnTo>
                  <a:lnTo>
                    <a:pt x="304" y="338"/>
                  </a:lnTo>
                  <a:lnTo>
                    <a:pt x="306" y="338"/>
                  </a:lnTo>
                  <a:lnTo>
                    <a:pt x="308" y="338"/>
                  </a:lnTo>
                  <a:lnTo>
                    <a:pt x="306" y="338"/>
                  </a:lnTo>
                  <a:lnTo>
                    <a:pt x="308" y="336"/>
                  </a:lnTo>
                  <a:lnTo>
                    <a:pt x="312" y="336"/>
                  </a:lnTo>
                  <a:lnTo>
                    <a:pt x="316" y="338"/>
                  </a:lnTo>
                  <a:lnTo>
                    <a:pt x="318" y="336"/>
                  </a:lnTo>
                  <a:lnTo>
                    <a:pt x="320" y="334"/>
                  </a:lnTo>
                  <a:lnTo>
                    <a:pt x="322" y="332"/>
                  </a:lnTo>
                  <a:lnTo>
                    <a:pt x="324" y="338"/>
                  </a:lnTo>
                  <a:lnTo>
                    <a:pt x="324" y="340"/>
                  </a:lnTo>
                  <a:lnTo>
                    <a:pt x="326" y="340"/>
                  </a:lnTo>
                  <a:lnTo>
                    <a:pt x="324" y="338"/>
                  </a:lnTo>
                  <a:lnTo>
                    <a:pt x="326" y="338"/>
                  </a:lnTo>
                  <a:lnTo>
                    <a:pt x="328" y="336"/>
                  </a:lnTo>
                  <a:lnTo>
                    <a:pt x="330" y="332"/>
                  </a:lnTo>
                  <a:lnTo>
                    <a:pt x="334" y="332"/>
                  </a:lnTo>
                  <a:lnTo>
                    <a:pt x="336" y="334"/>
                  </a:lnTo>
                  <a:lnTo>
                    <a:pt x="338" y="332"/>
                  </a:lnTo>
                  <a:lnTo>
                    <a:pt x="338" y="330"/>
                  </a:lnTo>
                  <a:lnTo>
                    <a:pt x="342" y="328"/>
                  </a:lnTo>
                  <a:lnTo>
                    <a:pt x="344" y="326"/>
                  </a:lnTo>
                  <a:lnTo>
                    <a:pt x="344" y="322"/>
                  </a:lnTo>
                  <a:lnTo>
                    <a:pt x="348" y="322"/>
                  </a:lnTo>
                  <a:lnTo>
                    <a:pt x="352" y="318"/>
                  </a:lnTo>
                  <a:lnTo>
                    <a:pt x="358" y="316"/>
                  </a:lnTo>
                  <a:lnTo>
                    <a:pt x="362" y="312"/>
                  </a:lnTo>
                  <a:lnTo>
                    <a:pt x="362" y="308"/>
                  </a:lnTo>
                  <a:lnTo>
                    <a:pt x="366" y="306"/>
                  </a:lnTo>
                  <a:lnTo>
                    <a:pt x="368" y="308"/>
                  </a:lnTo>
                  <a:lnTo>
                    <a:pt x="370" y="306"/>
                  </a:lnTo>
                  <a:lnTo>
                    <a:pt x="370" y="304"/>
                  </a:lnTo>
                  <a:lnTo>
                    <a:pt x="370" y="300"/>
                  </a:lnTo>
                  <a:lnTo>
                    <a:pt x="368" y="298"/>
                  </a:lnTo>
                  <a:lnTo>
                    <a:pt x="366" y="294"/>
                  </a:lnTo>
                  <a:lnTo>
                    <a:pt x="366" y="288"/>
                  </a:lnTo>
                  <a:lnTo>
                    <a:pt x="368" y="294"/>
                  </a:lnTo>
                  <a:lnTo>
                    <a:pt x="372" y="296"/>
                  </a:lnTo>
                  <a:lnTo>
                    <a:pt x="378" y="298"/>
                  </a:lnTo>
                  <a:lnTo>
                    <a:pt x="384" y="298"/>
                  </a:lnTo>
                  <a:lnTo>
                    <a:pt x="384" y="296"/>
                  </a:lnTo>
                  <a:lnTo>
                    <a:pt x="386" y="296"/>
                  </a:lnTo>
                  <a:lnTo>
                    <a:pt x="386" y="294"/>
                  </a:lnTo>
                  <a:lnTo>
                    <a:pt x="386" y="292"/>
                  </a:lnTo>
                  <a:lnTo>
                    <a:pt x="388" y="292"/>
                  </a:lnTo>
                  <a:lnTo>
                    <a:pt x="388" y="296"/>
                  </a:lnTo>
                  <a:lnTo>
                    <a:pt x="392" y="294"/>
                  </a:lnTo>
                  <a:lnTo>
                    <a:pt x="394" y="294"/>
                  </a:lnTo>
                  <a:lnTo>
                    <a:pt x="396" y="292"/>
                  </a:lnTo>
                  <a:lnTo>
                    <a:pt x="398" y="292"/>
                  </a:lnTo>
                  <a:lnTo>
                    <a:pt x="398" y="294"/>
                  </a:lnTo>
                  <a:lnTo>
                    <a:pt x="402" y="292"/>
                  </a:lnTo>
                  <a:lnTo>
                    <a:pt x="406" y="292"/>
                  </a:lnTo>
                  <a:lnTo>
                    <a:pt x="406" y="290"/>
                  </a:lnTo>
                  <a:lnTo>
                    <a:pt x="408" y="290"/>
                  </a:lnTo>
                  <a:lnTo>
                    <a:pt x="410" y="292"/>
                  </a:lnTo>
                  <a:lnTo>
                    <a:pt x="414" y="288"/>
                  </a:lnTo>
                  <a:lnTo>
                    <a:pt x="416" y="288"/>
                  </a:lnTo>
                  <a:lnTo>
                    <a:pt x="424" y="286"/>
                  </a:lnTo>
                  <a:lnTo>
                    <a:pt x="424" y="280"/>
                  </a:lnTo>
                  <a:lnTo>
                    <a:pt x="426" y="280"/>
                  </a:lnTo>
                  <a:lnTo>
                    <a:pt x="428" y="282"/>
                  </a:lnTo>
                  <a:lnTo>
                    <a:pt x="430" y="282"/>
                  </a:lnTo>
                  <a:lnTo>
                    <a:pt x="434" y="278"/>
                  </a:lnTo>
                  <a:lnTo>
                    <a:pt x="438" y="278"/>
                  </a:lnTo>
                  <a:lnTo>
                    <a:pt x="438" y="278"/>
                  </a:lnTo>
                  <a:lnTo>
                    <a:pt x="440" y="278"/>
                  </a:lnTo>
                  <a:lnTo>
                    <a:pt x="442" y="278"/>
                  </a:lnTo>
                  <a:lnTo>
                    <a:pt x="442" y="276"/>
                  </a:lnTo>
                  <a:lnTo>
                    <a:pt x="444" y="276"/>
                  </a:lnTo>
                  <a:lnTo>
                    <a:pt x="446" y="276"/>
                  </a:lnTo>
                  <a:lnTo>
                    <a:pt x="450" y="274"/>
                  </a:lnTo>
                  <a:lnTo>
                    <a:pt x="454" y="274"/>
                  </a:lnTo>
                  <a:lnTo>
                    <a:pt x="454" y="270"/>
                  </a:lnTo>
                  <a:lnTo>
                    <a:pt x="458" y="270"/>
                  </a:lnTo>
                  <a:lnTo>
                    <a:pt x="458" y="266"/>
                  </a:lnTo>
                  <a:lnTo>
                    <a:pt x="460" y="262"/>
                  </a:lnTo>
                  <a:lnTo>
                    <a:pt x="464" y="262"/>
                  </a:lnTo>
                  <a:lnTo>
                    <a:pt x="466" y="260"/>
                  </a:lnTo>
                  <a:lnTo>
                    <a:pt x="458" y="260"/>
                  </a:lnTo>
                  <a:lnTo>
                    <a:pt x="450" y="258"/>
                  </a:lnTo>
                  <a:lnTo>
                    <a:pt x="446" y="256"/>
                  </a:lnTo>
                  <a:lnTo>
                    <a:pt x="444" y="256"/>
                  </a:lnTo>
                  <a:lnTo>
                    <a:pt x="442" y="256"/>
                  </a:lnTo>
                  <a:lnTo>
                    <a:pt x="442" y="254"/>
                  </a:lnTo>
                  <a:lnTo>
                    <a:pt x="440" y="256"/>
                  </a:lnTo>
                  <a:lnTo>
                    <a:pt x="436" y="258"/>
                  </a:lnTo>
                  <a:lnTo>
                    <a:pt x="424" y="258"/>
                  </a:lnTo>
                  <a:lnTo>
                    <a:pt x="426" y="256"/>
                  </a:lnTo>
                  <a:lnTo>
                    <a:pt x="428" y="254"/>
                  </a:lnTo>
                  <a:lnTo>
                    <a:pt x="422" y="252"/>
                  </a:lnTo>
                  <a:lnTo>
                    <a:pt x="408" y="254"/>
                  </a:lnTo>
                  <a:lnTo>
                    <a:pt x="406" y="250"/>
                  </a:lnTo>
                  <a:lnTo>
                    <a:pt x="406" y="248"/>
                  </a:lnTo>
                  <a:lnTo>
                    <a:pt x="408" y="248"/>
                  </a:lnTo>
                  <a:lnTo>
                    <a:pt x="408" y="254"/>
                  </a:lnTo>
                  <a:lnTo>
                    <a:pt x="418" y="252"/>
                  </a:lnTo>
                  <a:lnTo>
                    <a:pt x="428" y="250"/>
                  </a:lnTo>
                  <a:lnTo>
                    <a:pt x="430" y="252"/>
                  </a:lnTo>
                  <a:lnTo>
                    <a:pt x="434" y="252"/>
                  </a:lnTo>
                  <a:lnTo>
                    <a:pt x="436" y="250"/>
                  </a:lnTo>
                  <a:lnTo>
                    <a:pt x="434" y="246"/>
                  </a:lnTo>
                  <a:lnTo>
                    <a:pt x="426" y="246"/>
                  </a:lnTo>
                  <a:lnTo>
                    <a:pt x="416" y="246"/>
                  </a:lnTo>
                  <a:lnTo>
                    <a:pt x="412" y="248"/>
                  </a:lnTo>
                  <a:lnTo>
                    <a:pt x="408" y="248"/>
                  </a:lnTo>
                  <a:lnTo>
                    <a:pt x="410" y="246"/>
                  </a:lnTo>
                  <a:lnTo>
                    <a:pt x="412" y="244"/>
                  </a:lnTo>
                  <a:lnTo>
                    <a:pt x="412" y="242"/>
                  </a:lnTo>
                  <a:lnTo>
                    <a:pt x="414" y="244"/>
                  </a:lnTo>
                  <a:lnTo>
                    <a:pt x="428" y="246"/>
                  </a:lnTo>
                  <a:lnTo>
                    <a:pt x="430" y="242"/>
                  </a:lnTo>
                  <a:lnTo>
                    <a:pt x="436" y="242"/>
                  </a:lnTo>
                  <a:lnTo>
                    <a:pt x="436" y="240"/>
                  </a:lnTo>
                  <a:lnTo>
                    <a:pt x="436" y="238"/>
                  </a:lnTo>
                  <a:lnTo>
                    <a:pt x="428" y="236"/>
                  </a:lnTo>
                  <a:lnTo>
                    <a:pt x="428" y="234"/>
                  </a:lnTo>
                  <a:lnTo>
                    <a:pt x="418" y="236"/>
                  </a:lnTo>
                  <a:lnTo>
                    <a:pt x="408" y="236"/>
                  </a:lnTo>
                  <a:lnTo>
                    <a:pt x="406" y="236"/>
                  </a:lnTo>
                  <a:lnTo>
                    <a:pt x="412" y="234"/>
                  </a:lnTo>
                  <a:lnTo>
                    <a:pt x="412" y="232"/>
                  </a:lnTo>
                  <a:lnTo>
                    <a:pt x="408" y="230"/>
                  </a:lnTo>
                  <a:lnTo>
                    <a:pt x="410" y="230"/>
                  </a:lnTo>
                  <a:lnTo>
                    <a:pt x="410" y="228"/>
                  </a:lnTo>
                  <a:lnTo>
                    <a:pt x="414" y="232"/>
                  </a:lnTo>
                  <a:lnTo>
                    <a:pt x="420" y="232"/>
                  </a:lnTo>
                  <a:lnTo>
                    <a:pt x="428" y="232"/>
                  </a:lnTo>
                  <a:lnTo>
                    <a:pt x="428" y="234"/>
                  </a:lnTo>
                  <a:lnTo>
                    <a:pt x="432" y="234"/>
                  </a:lnTo>
                  <a:lnTo>
                    <a:pt x="436" y="236"/>
                  </a:lnTo>
                  <a:lnTo>
                    <a:pt x="440" y="238"/>
                  </a:lnTo>
                  <a:lnTo>
                    <a:pt x="442" y="238"/>
                  </a:lnTo>
                  <a:lnTo>
                    <a:pt x="442" y="242"/>
                  </a:lnTo>
                  <a:lnTo>
                    <a:pt x="446" y="248"/>
                  </a:lnTo>
                  <a:lnTo>
                    <a:pt x="452" y="254"/>
                  </a:lnTo>
                  <a:lnTo>
                    <a:pt x="458" y="256"/>
                  </a:lnTo>
                  <a:lnTo>
                    <a:pt x="460" y="256"/>
                  </a:lnTo>
                  <a:lnTo>
                    <a:pt x="460" y="254"/>
                  </a:lnTo>
                  <a:lnTo>
                    <a:pt x="464" y="256"/>
                  </a:lnTo>
                  <a:lnTo>
                    <a:pt x="468" y="258"/>
                  </a:lnTo>
                  <a:lnTo>
                    <a:pt x="470" y="258"/>
                  </a:lnTo>
                  <a:lnTo>
                    <a:pt x="472" y="256"/>
                  </a:lnTo>
                  <a:lnTo>
                    <a:pt x="472" y="254"/>
                  </a:lnTo>
                  <a:lnTo>
                    <a:pt x="468" y="252"/>
                  </a:lnTo>
                  <a:lnTo>
                    <a:pt x="470" y="250"/>
                  </a:lnTo>
                  <a:lnTo>
                    <a:pt x="470" y="248"/>
                  </a:lnTo>
                  <a:lnTo>
                    <a:pt x="470" y="244"/>
                  </a:lnTo>
                  <a:lnTo>
                    <a:pt x="468" y="240"/>
                  </a:lnTo>
                  <a:lnTo>
                    <a:pt x="466" y="240"/>
                  </a:lnTo>
                  <a:lnTo>
                    <a:pt x="466" y="236"/>
                  </a:lnTo>
                  <a:lnTo>
                    <a:pt x="464" y="236"/>
                  </a:lnTo>
                  <a:lnTo>
                    <a:pt x="464" y="238"/>
                  </a:lnTo>
                  <a:lnTo>
                    <a:pt x="462" y="238"/>
                  </a:lnTo>
                  <a:lnTo>
                    <a:pt x="462" y="234"/>
                  </a:lnTo>
                  <a:lnTo>
                    <a:pt x="464" y="234"/>
                  </a:lnTo>
                  <a:lnTo>
                    <a:pt x="460" y="234"/>
                  </a:lnTo>
                  <a:lnTo>
                    <a:pt x="460" y="232"/>
                  </a:lnTo>
                  <a:lnTo>
                    <a:pt x="460" y="230"/>
                  </a:lnTo>
                  <a:lnTo>
                    <a:pt x="456" y="228"/>
                  </a:lnTo>
                  <a:lnTo>
                    <a:pt x="452" y="226"/>
                  </a:lnTo>
                  <a:lnTo>
                    <a:pt x="450" y="224"/>
                  </a:lnTo>
                  <a:lnTo>
                    <a:pt x="446" y="222"/>
                  </a:lnTo>
                  <a:lnTo>
                    <a:pt x="442" y="222"/>
                  </a:lnTo>
                  <a:lnTo>
                    <a:pt x="438" y="222"/>
                  </a:lnTo>
                  <a:lnTo>
                    <a:pt x="442" y="222"/>
                  </a:lnTo>
                  <a:lnTo>
                    <a:pt x="442" y="218"/>
                  </a:lnTo>
                  <a:lnTo>
                    <a:pt x="438" y="216"/>
                  </a:lnTo>
                  <a:lnTo>
                    <a:pt x="438" y="218"/>
                  </a:lnTo>
                  <a:lnTo>
                    <a:pt x="436" y="220"/>
                  </a:lnTo>
                  <a:lnTo>
                    <a:pt x="430" y="220"/>
                  </a:lnTo>
                  <a:lnTo>
                    <a:pt x="430" y="222"/>
                  </a:lnTo>
                  <a:lnTo>
                    <a:pt x="426" y="222"/>
                  </a:lnTo>
                  <a:lnTo>
                    <a:pt x="428" y="218"/>
                  </a:lnTo>
                  <a:lnTo>
                    <a:pt x="424" y="218"/>
                  </a:lnTo>
                  <a:lnTo>
                    <a:pt x="422" y="218"/>
                  </a:lnTo>
                  <a:lnTo>
                    <a:pt x="422" y="216"/>
                  </a:lnTo>
                  <a:lnTo>
                    <a:pt x="420" y="214"/>
                  </a:lnTo>
                  <a:lnTo>
                    <a:pt x="420" y="212"/>
                  </a:lnTo>
                  <a:lnTo>
                    <a:pt x="422" y="210"/>
                  </a:lnTo>
                  <a:lnTo>
                    <a:pt x="424" y="210"/>
                  </a:lnTo>
                  <a:lnTo>
                    <a:pt x="424" y="208"/>
                  </a:lnTo>
                  <a:lnTo>
                    <a:pt x="422" y="208"/>
                  </a:lnTo>
                  <a:lnTo>
                    <a:pt x="432" y="208"/>
                  </a:lnTo>
                  <a:lnTo>
                    <a:pt x="436" y="204"/>
                  </a:lnTo>
                  <a:lnTo>
                    <a:pt x="438" y="204"/>
                  </a:lnTo>
                  <a:lnTo>
                    <a:pt x="440" y="202"/>
                  </a:lnTo>
                  <a:lnTo>
                    <a:pt x="442" y="202"/>
                  </a:lnTo>
                  <a:lnTo>
                    <a:pt x="442" y="196"/>
                  </a:lnTo>
                  <a:lnTo>
                    <a:pt x="446" y="196"/>
                  </a:lnTo>
                  <a:lnTo>
                    <a:pt x="444" y="200"/>
                  </a:lnTo>
                  <a:lnTo>
                    <a:pt x="444" y="202"/>
                  </a:lnTo>
                  <a:lnTo>
                    <a:pt x="446" y="202"/>
                  </a:lnTo>
                  <a:lnTo>
                    <a:pt x="448" y="204"/>
                  </a:lnTo>
                  <a:lnTo>
                    <a:pt x="452" y="204"/>
                  </a:lnTo>
                  <a:lnTo>
                    <a:pt x="454" y="204"/>
                  </a:lnTo>
                  <a:lnTo>
                    <a:pt x="460" y="204"/>
                  </a:lnTo>
                  <a:lnTo>
                    <a:pt x="462" y="208"/>
                  </a:lnTo>
                  <a:lnTo>
                    <a:pt x="468" y="206"/>
                  </a:lnTo>
                  <a:lnTo>
                    <a:pt x="472" y="204"/>
                  </a:lnTo>
                  <a:lnTo>
                    <a:pt x="472" y="202"/>
                  </a:lnTo>
                  <a:lnTo>
                    <a:pt x="480" y="200"/>
                  </a:lnTo>
                  <a:lnTo>
                    <a:pt x="480" y="196"/>
                  </a:lnTo>
                  <a:lnTo>
                    <a:pt x="480" y="194"/>
                  </a:lnTo>
                  <a:lnTo>
                    <a:pt x="476" y="194"/>
                  </a:lnTo>
                  <a:lnTo>
                    <a:pt x="470" y="192"/>
                  </a:lnTo>
                  <a:lnTo>
                    <a:pt x="470" y="194"/>
                  </a:lnTo>
                  <a:lnTo>
                    <a:pt x="468" y="196"/>
                  </a:lnTo>
                  <a:lnTo>
                    <a:pt x="466" y="192"/>
                  </a:lnTo>
                  <a:lnTo>
                    <a:pt x="464" y="192"/>
                  </a:lnTo>
                  <a:lnTo>
                    <a:pt x="462" y="192"/>
                  </a:lnTo>
                  <a:lnTo>
                    <a:pt x="462" y="190"/>
                  </a:lnTo>
                  <a:lnTo>
                    <a:pt x="464" y="186"/>
                  </a:lnTo>
                  <a:lnTo>
                    <a:pt x="464" y="182"/>
                  </a:lnTo>
                  <a:lnTo>
                    <a:pt x="470" y="184"/>
                  </a:lnTo>
                  <a:lnTo>
                    <a:pt x="476" y="184"/>
                  </a:lnTo>
                  <a:lnTo>
                    <a:pt x="482" y="186"/>
                  </a:lnTo>
                  <a:lnTo>
                    <a:pt x="486" y="188"/>
                  </a:lnTo>
                  <a:lnTo>
                    <a:pt x="488" y="188"/>
                  </a:lnTo>
                  <a:lnTo>
                    <a:pt x="490" y="188"/>
                  </a:lnTo>
                  <a:lnTo>
                    <a:pt x="492" y="186"/>
                  </a:lnTo>
                  <a:lnTo>
                    <a:pt x="494" y="186"/>
                  </a:lnTo>
                  <a:lnTo>
                    <a:pt x="494" y="184"/>
                  </a:lnTo>
                  <a:lnTo>
                    <a:pt x="488" y="182"/>
                  </a:lnTo>
                  <a:lnTo>
                    <a:pt x="486" y="184"/>
                  </a:lnTo>
                  <a:lnTo>
                    <a:pt x="476" y="184"/>
                  </a:lnTo>
                  <a:lnTo>
                    <a:pt x="478" y="182"/>
                  </a:lnTo>
                  <a:lnTo>
                    <a:pt x="478" y="180"/>
                  </a:lnTo>
                  <a:lnTo>
                    <a:pt x="480" y="178"/>
                  </a:lnTo>
                  <a:lnTo>
                    <a:pt x="478" y="178"/>
                  </a:lnTo>
                  <a:lnTo>
                    <a:pt x="474" y="178"/>
                  </a:lnTo>
                  <a:lnTo>
                    <a:pt x="474" y="180"/>
                  </a:lnTo>
                  <a:lnTo>
                    <a:pt x="470" y="180"/>
                  </a:lnTo>
                  <a:lnTo>
                    <a:pt x="472" y="178"/>
                  </a:lnTo>
                  <a:lnTo>
                    <a:pt x="474" y="176"/>
                  </a:lnTo>
                  <a:lnTo>
                    <a:pt x="476" y="174"/>
                  </a:lnTo>
                  <a:lnTo>
                    <a:pt x="472" y="170"/>
                  </a:lnTo>
                  <a:lnTo>
                    <a:pt x="466" y="168"/>
                  </a:lnTo>
                  <a:lnTo>
                    <a:pt x="468" y="166"/>
                  </a:lnTo>
                  <a:lnTo>
                    <a:pt x="470" y="166"/>
                  </a:lnTo>
                  <a:lnTo>
                    <a:pt x="472" y="168"/>
                  </a:lnTo>
                  <a:lnTo>
                    <a:pt x="478" y="168"/>
                  </a:lnTo>
                  <a:lnTo>
                    <a:pt x="480" y="166"/>
                  </a:lnTo>
                  <a:lnTo>
                    <a:pt x="482" y="166"/>
                  </a:lnTo>
                  <a:lnTo>
                    <a:pt x="482" y="168"/>
                  </a:lnTo>
                  <a:lnTo>
                    <a:pt x="482" y="170"/>
                  </a:lnTo>
                  <a:lnTo>
                    <a:pt x="486" y="170"/>
                  </a:lnTo>
                  <a:lnTo>
                    <a:pt x="486" y="164"/>
                  </a:lnTo>
                  <a:lnTo>
                    <a:pt x="484" y="156"/>
                  </a:lnTo>
                  <a:lnTo>
                    <a:pt x="482" y="156"/>
                  </a:lnTo>
                  <a:lnTo>
                    <a:pt x="482" y="154"/>
                  </a:lnTo>
                  <a:lnTo>
                    <a:pt x="484" y="154"/>
                  </a:lnTo>
                  <a:lnTo>
                    <a:pt x="484" y="152"/>
                  </a:lnTo>
                  <a:lnTo>
                    <a:pt x="482" y="150"/>
                  </a:lnTo>
                  <a:lnTo>
                    <a:pt x="478" y="150"/>
                  </a:lnTo>
                  <a:lnTo>
                    <a:pt x="474" y="154"/>
                  </a:lnTo>
                  <a:lnTo>
                    <a:pt x="472" y="152"/>
                  </a:lnTo>
                  <a:lnTo>
                    <a:pt x="468" y="152"/>
                  </a:lnTo>
                  <a:lnTo>
                    <a:pt x="468" y="148"/>
                  </a:lnTo>
                  <a:lnTo>
                    <a:pt x="472" y="150"/>
                  </a:lnTo>
                  <a:lnTo>
                    <a:pt x="474" y="148"/>
                  </a:lnTo>
                  <a:lnTo>
                    <a:pt x="476" y="146"/>
                  </a:lnTo>
                  <a:lnTo>
                    <a:pt x="474" y="142"/>
                  </a:lnTo>
                  <a:lnTo>
                    <a:pt x="476" y="142"/>
                  </a:lnTo>
                  <a:lnTo>
                    <a:pt x="474" y="142"/>
                  </a:lnTo>
                  <a:lnTo>
                    <a:pt x="474" y="138"/>
                  </a:lnTo>
                  <a:lnTo>
                    <a:pt x="482" y="140"/>
                  </a:lnTo>
                  <a:lnTo>
                    <a:pt x="488" y="140"/>
                  </a:lnTo>
                  <a:lnTo>
                    <a:pt x="492" y="144"/>
                  </a:lnTo>
                  <a:lnTo>
                    <a:pt x="500" y="142"/>
                  </a:lnTo>
                  <a:lnTo>
                    <a:pt x="498" y="142"/>
                  </a:lnTo>
                  <a:lnTo>
                    <a:pt x="498" y="138"/>
                  </a:lnTo>
                  <a:lnTo>
                    <a:pt x="498" y="136"/>
                  </a:lnTo>
                  <a:lnTo>
                    <a:pt x="496" y="132"/>
                  </a:lnTo>
                  <a:lnTo>
                    <a:pt x="494" y="130"/>
                  </a:lnTo>
                  <a:lnTo>
                    <a:pt x="492" y="128"/>
                  </a:lnTo>
                  <a:lnTo>
                    <a:pt x="490" y="128"/>
                  </a:lnTo>
                  <a:lnTo>
                    <a:pt x="490" y="132"/>
                  </a:lnTo>
                  <a:lnTo>
                    <a:pt x="488" y="132"/>
                  </a:lnTo>
                  <a:lnTo>
                    <a:pt x="486" y="130"/>
                  </a:lnTo>
                  <a:lnTo>
                    <a:pt x="480" y="132"/>
                  </a:lnTo>
                  <a:lnTo>
                    <a:pt x="480" y="124"/>
                  </a:lnTo>
                  <a:lnTo>
                    <a:pt x="488" y="124"/>
                  </a:lnTo>
                  <a:lnTo>
                    <a:pt x="490" y="124"/>
                  </a:lnTo>
                  <a:lnTo>
                    <a:pt x="490" y="122"/>
                  </a:lnTo>
                  <a:lnTo>
                    <a:pt x="484" y="120"/>
                  </a:lnTo>
                  <a:lnTo>
                    <a:pt x="482" y="118"/>
                  </a:lnTo>
                  <a:lnTo>
                    <a:pt x="480" y="118"/>
                  </a:lnTo>
                  <a:lnTo>
                    <a:pt x="478" y="120"/>
                  </a:lnTo>
                  <a:lnTo>
                    <a:pt x="474" y="118"/>
                  </a:lnTo>
                  <a:lnTo>
                    <a:pt x="470" y="116"/>
                  </a:lnTo>
                  <a:lnTo>
                    <a:pt x="468" y="118"/>
                  </a:lnTo>
                  <a:lnTo>
                    <a:pt x="466" y="116"/>
                  </a:lnTo>
                  <a:lnTo>
                    <a:pt x="468" y="116"/>
                  </a:lnTo>
                  <a:lnTo>
                    <a:pt x="468" y="112"/>
                  </a:lnTo>
                  <a:lnTo>
                    <a:pt x="476" y="114"/>
                  </a:lnTo>
                  <a:lnTo>
                    <a:pt x="482" y="116"/>
                  </a:lnTo>
                  <a:lnTo>
                    <a:pt x="484" y="112"/>
                  </a:lnTo>
                  <a:lnTo>
                    <a:pt x="486" y="110"/>
                  </a:lnTo>
                  <a:lnTo>
                    <a:pt x="490" y="108"/>
                  </a:lnTo>
                  <a:lnTo>
                    <a:pt x="490" y="106"/>
                  </a:lnTo>
                  <a:lnTo>
                    <a:pt x="490" y="104"/>
                  </a:lnTo>
                  <a:lnTo>
                    <a:pt x="490" y="102"/>
                  </a:lnTo>
                  <a:lnTo>
                    <a:pt x="494" y="96"/>
                  </a:lnTo>
                  <a:lnTo>
                    <a:pt x="492" y="96"/>
                  </a:lnTo>
                  <a:lnTo>
                    <a:pt x="490" y="92"/>
                  </a:lnTo>
                  <a:lnTo>
                    <a:pt x="504" y="92"/>
                  </a:lnTo>
                  <a:lnTo>
                    <a:pt x="504" y="88"/>
                  </a:lnTo>
                  <a:lnTo>
                    <a:pt x="506" y="84"/>
                  </a:lnTo>
                  <a:lnTo>
                    <a:pt x="506" y="82"/>
                  </a:lnTo>
                  <a:lnTo>
                    <a:pt x="506" y="80"/>
                  </a:lnTo>
                  <a:lnTo>
                    <a:pt x="500" y="78"/>
                  </a:lnTo>
                  <a:lnTo>
                    <a:pt x="498" y="78"/>
                  </a:lnTo>
                  <a:lnTo>
                    <a:pt x="492" y="78"/>
                  </a:lnTo>
                  <a:lnTo>
                    <a:pt x="490" y="80"/>
                  </a:lnTo>
                  <a:lnTo>
                    <a:pt x="482" y="84"/>
                  </a:lnTo>
                  <a:lnTo>
                    <a:pt x="482" y="80"/>
                  </a:lnTo>
                  <a:lnTo>
                    <a:pt x="480" y="78"/>
                  </a:lnTo>
                  <a:lnTo>
                    <a:pt x="480" y="76"/>
                  </a:lnTo>
                  <a:lnTo>
                    <a:pt x="482" y="74"/>
                  </a:lnTo>
                  <a:lnTo>
                    <a:pt x="486" y="72"/>
                  </a:lnTo>
                  <a:lnTo>
                    <a:pt x="492" y="74"/>
                  </a:lnTo>
                  <a:lnTo>
                    <a:pt x="504" y="76"/>
                  </a:lnTo>
                  <a:lnTo>
                    <a:pt x="510" y="76"/>
                  </a:lnTo>
                  <a:lnTo>
                    <a:pt x="512" y="76"/>
                  </a:lnTo>
                  <a:lnTo>
                    <a:pt x="522" y="68"/>
                  </a:lnTo>
                  <a:lnTo>
                    <a:pt x="522" y="66"/>
                  </a:lnTo>
                  <a:lnTo>
                    <a:pt x="522" y="64"/>
                  </a:lnTo>
                  <a:lnTo>
                    <a:pt x="514" y="64"/>
                  </a:lnTo>
                  <a:lnTo>
                    <a:pt x="512" y="68"/>
                  </a:lnTo>
                  <a:lnTo>
                    <a:pt x="506" y="66"/>
                  </a:lnTo>
                  <a:lnTo>
                    <a:pt x="504" y="68"/>
                  </a:lnTo>
                  <a:lnTo>
                    <a:pt x="498" y="68"/>
                  </a:lnTo>
                  <a:lnTo>
                    <a:pt x="492" y="64"/>
                  </a:lnTo>
                  <a:lnTo>
                    <a:pt x="498" y="64"/>
                  </a:lnTo>
                  <a:lnTo>
                    <a:pt x="500" y="64"/>
                  </a:lnTo>
                  <a:lnTo>
                    <a:pt x="504" y="62"/>
                  </a:lnTo>
                  <a:lnTo>
                    <a:pt x="508" y="62"/>
                  </a:lnTo>
                  <a:lnTo>
                    <a:pt x="514" y="64"/>
                  </a:lnTo>
                  <a:lnTo>
                    <a:pt x="518" y="62"/>
                  </a:lnTo>
                  <a:lnTo>
                    <a:pt x="522" y="62"/>
                  </a:lnTo>
                  <a:lnTo>
                    <a:pt x="526" y="64"/>
                  </a:lnTo>
                  <a:lnTo>
                    <a:pt x="526" y="60"/>
                  </a:lnTo>
                  <a:lnTo>
                    <a:pt x="536" y="60"/>
                  </a:lnTo>
                  <a:lnTo>
                    <a:pt x="536" y="56"/>
                  </a:lnTo>
                  <a:lnTo>
                    <a:pt x="540" y="56"/>
                  </a:lnTo>
                  <a:lnTo>
                    <a:pt x="544" y="54"/>
                  </a:lnTo>
                  <a:lnTo>
                    <a:pt x="548" y="54"/>
                  </a:lnTo>
                  <a:lnTo>
                    <a:pt x="550" y="54"/>
                  </a:lnTo>
                  <a:lnTo>
                    <a:pt x="552" y="52"/>
                  </a:lnTo>
                  <a:lnTo>
                    <a:pt x="550" y="50"/>
                  </a:lnTo>
                  <a:lnTo>
                    <a:pt x="548" y="46"/>
                  </a:lnTo>
                  <a:lnTo>
                    <a:pt x="542" y="48"/>
                  </a:lnTo>
                  <a:lnTo>
                    <a:pt x="536" y="48"/>
                  </a:lnTo>
                  <a:lnTo>
                    <a:pt x="520" y="44"/>
                  </a:lnTo>
                  <a:lnTo>
                    <a:pt x="516" y="44"/>
                  </a:lnTo>
                  <a:lnTo>
                    <a:pt x="510" y="46"/>
                  </a:lnTo>
                  <a:lnTo>
                    <a:pt x="506" y="44"/>
                  </a:lnTo>
                  <a:lnTo>
                    <a:pt x="504" y="44"/>
                  </a:lnTo>
                  <a:lnTo>
                    <a:pt x="504" y="48"/>
                  </a:lnTo>
                  <a:lnTo>
                    <a:pt x="494" y="50"/>
                  </a:lnTo>
                  <a:lnTo>
                    <a:pt x="494" y="52"/>
                  </a:lnTo>
                  <a:lnTo>
                    <a:pt x="492" y="52"/>
                  </a:lnTo>
                  <a:lnTo>
                    <a:pt x="490" y="52"/>
                  </a:lnTo>
                  <a:lnTo>
                    <a:pt x="486" y="50"/>
                  </a:lnTo>
                  <a:lnTo>
                    <a:pt x="484" y="52"/>
                  </a:lnTo>
                  <a:lnTo>
                    <a:pt x="480" y="46"/>
                  </a:lnTo>
                  <a:lnTo>
                    <a:pt x="476" y="52"/>
                  </a:lnTo>
                  <a:lnTo>
                    <a:pt x="472" y="54"/>
                  </a:lnTo>
                  <a:lnTo>
                    <a:pt x="468" y="54"/>
                  </a:lnTo>
                  <a:lnTo>
                    <a:pt x="464" y="56"/>
                  </a:lnTo>
                  <a:lnTo>
                    <a:pt x="458" y="58"/>
                  </a:lnTo>
                  <a:lnTo>
                    <a:pt x="450" y="60"/>
                  </a:lnTo>
                  <a:lnTo>
                    <a:pt x="446" y="58"/>
                  </a:lnTo>
                  <a:lnTo>
                    <a:pt x="444" y="60"/>
                  </a:lnTo>
                  <a:lnTo>
                    <a:pt x="442" y="58"/>
                  </a:lnTo>
                  <a:lnTo>
                    <a:pt x="444" y="56"/>
                  </a:lnTo>
                  <a:lnTo>
                    <a:pt x="448" y="56"/>
                  </a:lnTo>
                  <a:lnTo>
                    <a:pt x="452" y="56"/>
                  </a:lnTo>
                  <a:lnTo>
                    <a:pt x="452" y="54"/>
                  </a:lnTo>
                  <a:lnTo>
                    <a:pt x="458" y="52"/>
                  </a:lnTo>
                  <a:lnTo>
                    <a:pt x="464" y="44"/>
                  </a:lnTo>
                  <a:lnTo>
                    <a:pt x="464" y="42"/>
                  </a:lnTo>
                  <a:lnTo>
                    <a:pt x="464" y="40"/>
                  </a:lnTo>
                  <a:lnTo>
                    <a:pt x="452" y="42"/>
                  </a:lnTo>
                  <a:lnTo>
                    <a:pt x="450" y="40"/>
                  </a:lnTo>
                  <a:lnTo>
                    <a:pt x="446" y="40"/>
                  </a:lnTo>
                  <a:lnTo>
                    <a:pt x="444" y="42"/>
                  </a:lnTo>
                  <a:lnTo>
                    <a:pt x="444" y="48"/>
                  </a:lnTo>
                  <a:lnTo>
                    <a:pt x="424" y="48"/>
                  </a:lnTo>
                  <a:lnTo>
                    <a:pt x="426" y="46"/>
                  </a:lnTo>
                  <a:lnTo>
                    <a:pt x="426" y="42"/>
                  </a:lnTo>
                  <a:lnTo>
                    <a:pt x="424" y="40"/>
                  </a:lnTo>
                  <a:lnTo>
                    <a:pt x="400" y="42"/>
                  </a:lnTo>
                  <a:lnTo>
                    <a:pt x="396" y="42"/>
                  </a:lnTo>
                  <a:lnTo>
                    <a:pt x="392" y="42"/>
                  </a:lnTo>
                  <a:lnTo>
                    <a:pt x="390" y="42"/>
                  </a:lnTo>
                  <a:lnTo>
                    <a:pt x="386" y="42"/>
                  </a:lnTo>
                  <a:lnTo>
                    <a:pt x="384" y="42"/>
                  </a:lnTo>
                  <a:lnTo>
                    <a:pt x="384" y="42"/>
                  </a:lnTo>
                  <a:lnTo>
                    <a:pt x="378" y="44"/>
                  </a:lnTo>
                  <a:lnTo>
                    <a:pt x="372" y="46"/>
                  </a:lnTo>
                  <a:lnTo>
                    <a:pt x="368" y="46"/>
                  </a:lnTo>
                  <a:lnTo>
                    <a:pt x="364" y="46"/>
                  </a:lnTo>
                  <a:lnTo>
                    <a:pt x="362" y="48"/>
                  </a:lnTo>
                  <a:lnTo>
                    <a:pt x="362" y="50"/>
                  </a:lnTo>
                  <a:lnTo>
                    <a:pt x="358" y="50"/>
                  </a:lnTo>
                  <a:lnTo>
                    <a:pt x="360" y="46"/>
                  </a:lnTo>
                  <a:lnTo>
                    <a:pt x="366" y="46"/>
                  </a:lnTo>
                  <a:lnTo>
                    <a:pt x="372" y="44"/>
                  </a:lnTo>
                  <a:lnTo>
                    <a:pt x="374" y="42"/>
                  </a:lnTo>
                  <a:lnTo>
                    <a:pt x="378" y="42"/>
                  </a:lnTo>
                  <a:lnTo>
                    <a:pt x="380" y="42"/>
                  </a:lnTo>
                  <a:lnTo>
                    <a:pt x="380" y="38"/>
                  </a:lnTo>
                  <a:lnTo>
                    <a:pt x="386" y="36"/>
                  </a:lnTo>
                  <a:lnTo>
                    <a:pt x="394" y="36"/>
                  </a:lnTo>
                  <a:lnTo>
                    <a:pt x="410" y="36"/>
                  </a:lnTo>
                  <a:lnTo>
                    <a:pt x="414" y="38"/>
                  </a:lnTo>
                  <a:lnTo>
                    <a:pt x="426" y="36"/>
                  </a:lnTo>
                  <a:lnTo>
                    <a:pt x="440" y="36"/>
                  </a:lnTo>
                  <a:lnTo>
                    <a:pt x="442" y="38"/>
                  </a:lnTo>
                  <a:lnTo>
                    <a:pt x="448" y="38"/>
                  </a:lnTo>
                  <a:lnTo>
                    <a:pt x="456" y="36"/>
                  </a:lnTo>
                  <a:lnTo>
                    <a:pt x="462" y="36"/>
                  </a:lnTo>
                  <a:lnTo>
                    <a:pt x="466" y="36"/>
                  </a:lnTo>
                  <a:lnTo>
                    <a:pt x="466" y="3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0" name="Freeform 213">
              <a:extLst>
                <a:ext uri="{FF2B5EF4-FFF2-40B4-BE49-F238E27FC236}">
                  <a16:creationId xmlns:a16="http://schemas.microsoft.com/office/drawing/2014/main" id="{37A071D5-2848-4D11-84A9-662CFBB3B4BF}"/>
                </a:ext>
              </a:extLst>
            </p:cNvPr>
            <p:cNvSpPr>
              <a:spLocks/>
            </p:cNvSpPr>
            <p:nvPr/>
          </p:nvSpPr>
          <p:spPr bwMode="auto">
            <a:xfrm>
              <a:off x="2529161" y="2903294"/>
              <a:ext cx="2590" cy="1295"/>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1" name="Freeform 214">
              <a:extLst>
                <a:ext uri="{FF2B5EF4-FFF2-40B4-BE49-F238E27FC236}">
                  <a16:creationId xmlns:a16="http://schemas.microsoft.com/office/drawing/2014/main" id="{81B99A3D-87B6-45F1-96C7-38103BBDA278}"/>
                </a:ext>
              </a:extLst>
            </p:cNvPr>
            <p:cNvSpPr>
              <a:spLocks/>
            </p:cNvSpPr>
            <p:nvPr/>
          </p:nvSpPr>
          <p:spPr bwMode="auto">
            <a:xfrm>
              <a:off x="2233945" y="3271019"/>
              <a:ext cx="5179" cy="5179"/>
            </a:xfrm>
            <a:custGeom>
              <a:avLst/>
              <a:gdLst/>
              <a:ahLst/>
              <a:cxnLst>
                <a:cxn ang="0">
                  <a:pos x="2" y="0"/>
                </a:cxn>
                <a:cxn ang="0">
                  <a:pos x="0" y="2"/>
                </a:cxn>
                <a:cxn ang="0">
                  <a:pos x="2" y="2"/>
                </a:cxn>
                <a:cxn ang="0">
                  <a:pos x="4" y="4"/>
                </a:cxn>
                <a:cxn ang="0">
                  <a:pos x="4" y="2"/>
                </a:cxn>
                <a:cxn ang="0">
                  <a:pos x="4" y="0"/>
                </a:cxn>
                <a:cxn ang="0">
                  <a:pos x="2" y="0"/>
                </a:cxn>
              </a:cxnLst>
              <a:rect l="0" t="0" r="r" b="b"/>
              <a:pathLst>
                <a:path w="4" h="4">
                  <a:moveTo>
                    <a:pt x="2" y="0"/>
                  </a:moveTo>
                  <a:lnTo>
                    <a:pt x="0" y="2"/>
                  </a:lnTo>
                  <a:lnTo>
                    <a:pt x="2" y="2"/>
                  </a:lnTo>
                  <a:lnTo>
                    <a:pt x="4" y="4"/>
                  </a:lnTo>
                  <a:lnTo>
                    <a:pt x="4" y="2"/>
                  </a:lnTo>
                  <a:lnTo>
                    <a:pt x="4"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2" name="Freeform 215">
              <a:extLst>
                <a:ext uri="{FF2B5EF4-FFF2-40B4-BE49-F238E27FC236}">
                  <a16:creationId xmlns:a16="http://schemas.microsoft.com/office/drawing/2014/main" id="{16AB3311-0AEC-4861-9C87-2407DF762569}"/>
                </a:ext>
              </a:extLst>
            </p:cNvPr>
            <p:cNvSpPr>
              <a:spLocks/>
            </p:cNvSpPr>
            <p:nvPr/>
          </p:nvSpPr>
          <p:spPr bwMode="auto">
            <a:xfrm>
              <a:off x="2233945" y="3271019"/>
              <a:ext cx="5179" cy="5179"/>
            </a:xfrm>
            <a:custGeom>
              <a:avLst/>
              <a:gdLst/>
              <a:ahLst/>
              <a:cxnLst>
                <a:cxn ang="0">
                  <a:pos x="2" y="0"/>
                </a:cxn>
                <a:cxn ang="0">
                  <a:pos x="0" y="2"/>
                </a:cxn>
                <a:cxn ang="0">
                  <a:pos x="2" y="2"/>
                </a:cxn>
                <a:cxn ang="0">
                  <a:pos x="4" y="4"/>
                </a:cxn>
                <a:cxn ang="0">
                  <a:pos x="4" y="2"/>
                </a:cxn>
                <a:cxn ang="0">
                  <a:pos x="4" y="0"/>
                </a:cxn>
                <a:cxn ang="0">
                  <a:pos x="2" y="0"/>
                </a:cxn>
              </a:cxnLst>
              <a:rect l="0" t="0" r="r" b="b"/>
              <a:pathLst>
                <a:path w="4" h="4">
                  <a:moveTo>
                    <a:pt x="2" y="0"/>
                  </a:moveTo>
                  <a:lnTo>
                    <a:pt x="0" y="2"/>
                  </a:lnTo>
                  <a:lnTo>
                    <a:pt x="2" y="2"/>
                  </a:lnTo>
                  <a:lnTo>
                    <a:pt x="4" y="4"/>
                  </a:lnTo>
                  <a:lnTo>
                    <a:pt x="4" y="2"/>
                  </a:lnTo>
                  <a:lnTo>
                    <a:pt x="4"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3" name="Freeform 216">
              <a:extLst>
                <a:ext uri="{FF2B5EF4-FFF2-40B4-BE49-F238E27FC236}">
                  <a16:creationId xmlns:a16="http://schemas.microsoft.com/office/drawing/2014/main" id="{931BB503-E549-4200-A574-8B5DF334CED6}"/>
                </a:ext>
              </a:extLst>
            </p:cNvPr>
            <p:cNvSpPr>
              <a:spLocks/>
            </p:cNvSpPr>
            <p:nvPr/>
          </p:nvSpPr>
          <p:spPr bwMode="auto">
            <a:xfrm>
              <a:off x="2220997" y="3250302"/>
              <a:ext cx="1295" cy="2590"/>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4" name="Freeform 217">
              <a:extLst>
                <a:ext uri="{FF2B5EF4-FFF2-40B4-BE49-F238E27FC236}">
                  <a16:creationId xmlns:a16="http://schemas.microsoft.com/office/drawing/2014/main" id="{2C82FA1D-C698-4DFE-A5F2-2A933B51185A}"/>
                </a:ext>
              </a:extLst>
            </p:cNvPr>
            <p:cNvSpPr>
              <a:spLocks/>
            </p:cNvSpPr>
            <p:nvPr/>
          </p:nvSpPr>
          <p:spPr bwMode="auto">
            <a:xfrm>
              <a:off x="2220997" y="3250302"/>
              <a:ext cx="1295" cy="2590"/>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5" name="Freeform 218">
              <a:extLst>
                <a:ext uri="{FF2B5EF4-FFF2-40B4-BE49-F238E27FC236}">
                  <a16:creationId xmlns:a16="http://schemas.microsoft.com/office/drawing/2014/main" id="{E0E69B9C-B1AD-46B2-BD30-A04142784480}"/>
                </a:ext>
              </a:extLst>
            </p:cNvPr>
            <p:cNvSpPr>
              <a:spLocks/>
            </p:cNvSpPr>
            <p:nvPr/>
          </p:nvSpPr>
          <p:spPr bwMode="auto">
            <a:xfrm>
              <a:off x="2500675" y="2955086"/>
              <a:ext cx="12948" cy="7769"/>
            </a:xfrm>
            <a:custGeom>
              <a:avLst/>
              <a:gdLst/>
              <a:ahLst/>
              <a:cxnLst>
                <a:cxn ang="0">
                  <a:pos x="0" y="0"/>
                </a:cxn>
                <a:cxn ang="0">
                  <a:pos x="0" y="0"/>
                </a:cxn>
                <a:cxn ang="0">
                  <a:pos x="0" y="6"/>
                </a:cxn>
                <a:cxn ang="0">
                  <a:pos x="2" y="6"/>
                </a:cxn>
                <a:cxn ang="0">
                  <a:pos x="8" y="6"/>
                </a:cxn>
                <a:cxn ang="0">
                  <a:pos x="10" y="4"/>
                </a:cxn>
                <a:cxn ang="0">
                  <a:pos x="8" y="2"/>
                </a:cxn>
                <a:cxn ang="0">
                  <a:pos x="0" y="0"/>
                </a:cxn>
              </a:cxnLst>
              <a:rect l="0" t="0" r="r" b="b"/>
              <a:pathLst>
                <a:path w="10" h="6">
                  <a:moveTo>
                    <a:pt x="0" y="0"/>
                  </a:moveTo>
                  <a:lnTo>
                    <a:pt x="0" y="0"/>
                  </a:lnTo>
                  <a:lnTo>
                    <a:pt x="0" y="6"/>
                  </a:lnTo>
                  <a:lnTo>
                    <a:pt x="2" y="6"/>
                  </a:lnTo>
                  <a:lnTo>
                    <a:pt x="8" y="6"/>
                  </a:lnTo>
                  <a:lnTo>
                    <a:pt x="10" y="4"/>
                  </a:lnTo>
                  <a:lnTo>
                    <a:pt x="8"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6" name="Freeform 219">
              <a:extLst>
                <a:ext uri="{FF2B5EF4-FFF2-40B4-BE49-F238E27FC236}">
                  <a16:creationId xmlns:a16="http://schemas.microsoft.com/office/drawing/2014/main" id="{FE0514C6-647E-428F-B005-DE7C2E1A185F}"/>
                </a:ext>
              </a:extLst>
            </p:cNvPr>
            <p:cNvSpPr>
              <a:spLocks/>
            </p:cNvSpPr>
            <p:nvPr/>
          </p:nvSpPr>
          <p:spPr bwMode="auto">
            <a:xfrm>
              <a:off x="2500675" y="2955086"/>
              <a:ext cx="12948" cy="7769"/>
            </a:xfrm>
            <a:custGeom>
              <a:avLst/>
              <a:gdLst/>
              <a:ahLst/>
              <a:cxnLst>
                <a:cxn ang="0">
                  <a:pos x="0" y="0"/>
                </a:cxn>
                <a:cxn ang="0">
                  <a:pos x="0" y="0"/>
                </a:cxn>
                <a:cxn ang="0">
                  <a:pos x="0" y="6"/>
                </a:cxn>
                <a:cxn ang="0">
                  <a:pos x="2" y="6"/>
                </a:cxn>
                <a:cxn ang="0">
                  <a:pos x="8" y="6"/>
                </a:cxn>
                <a:cxn ang="0">
                  <a:pos x="10" y="4"/>
                </a:cxn>
                <a:cxn ang="0">
                  <a:pos x="8" y="2"/>
                </a:cxn>
                <a:cxn ang="0">
                  <a:pos x="0" y="0"/>
                </a:cxn>
              </a:cxnLst>
              <a:rect l="0" t="0" r="r" b="b"/>
              <a:pathLst>
                <a:path w="10" h="6">
                  <a:moveTo>
                    <a:pt x="0" y="0"/>
                  </a:moveTo>
                  <a:lnTo>
                    <a:pt x="0" y="0"/>
                  </a:lnTo>
                  <a:lnTo>
                    <a:pt x="0" y="6"/>
                  </a:lnTo>
                  <a:lnTo>
                    <a:pt x="2" y="6"/>
                  </a:lnTo>
                  <a:lnTo>
                    <a:pt x="8" y="6"/>
                  </a:lnTo>
                  <a:lnTo>
                    <a:pt x="10" y="4"/>
                  </a:lnTo>
                  <a:lnTo>
                    <a:pt x="8"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7" name="Freeform 220">
              <a:extLst>
                <a:ext uri="{FF2B5EF4-FFF2-40B4-BE49-F238E27FC236}">
                  <a16:creationId xmlns:a16="http://schemas.microsoft.com/office/drawing/2014/main" id="{D6C74416-581C-4173-B17D-8E70D96E673E}"/>
                </a:ext>
              </a:extLst>
            </p:cNvPr>
            <p:cNvSpPr>
              <a:spLocks/>
            </p:cNvSpPr>
            <p:nvPr/>
          </p:nvSpPr>
          <p:spPr bwMode="auto">
            <a:xfrm>
              <a:off x="2428166" y="2802299"/>
              <a:ext cx="10358" cy="7769"/>
            </a:xfrm>
            <a:custGeom>
              <a:avLst/>
              <a:gdLst/>
              <a:ahLst/>
              <a:cxnLst>
                <a:cxn ang="0">
                  <a:pos x="6" y="2"/>
                </a:cxn>
                <a:cxn ang="0">
                  <a:pos x="6" y="2"/>
                </a:cxn>
                <a:cxn ang="0">
                  <a:pos x="8" y="0"/>
                </a:cxn>
                <a:cxn ang="0">
                  <a:pos x="6" y="2"/>
                </a:cxn>
                <a:cxn ang="0">
                  <a:pos x="4" y="4"/>
                </a:cxn>
                <a:cxn ang="0">
                  <a:pos x="2" y="6"/>
                </a:cxn>
                <a:cxn ang="0">
                  <a:pos x="0" y="6"/>
                </a:cxn>
                <a:cxn ang="0">
                  <a:pos x="0" y="4"/>
                </a:cxn>
                <a:cxn ang="0">
                  <a:pos x="2" y="2"/>
                </a:cxn>
                <a:cxn ang="0">
                  <a:pos x="6" y="2"/>
                </a:cxn>
              </a:cxnLst>
              <a:rect l="0" t="0" r="r" b="b"/>
              <a:pathLst>
                <a:path w="8" h="6">
                  <a:moveTo>
                    <a:pt x="6" y="2"/>
                  </a:moveTo>
                  <a:lnTo>
                    <a:pt x="6" y="2"/>
                  </a:lnTo>
                  <a:lnTo>
                    <a:pt x="8" y="0"/>
                  </a:lnTo>
                  <a:lnTo>
                    <a:pt x="6" y="2"/>
                  </a:lnTo>
                  <a:lnTo>
                    <a:pt x="4" y="4"/>
                  </a:lnTo>
                  <a:lnTo>
                    <a:pt x="2" y="6"/>
                  </a:lnTo>
                  <a:lnTo>
                    <a:pt x="0" y="6"/>
                  </a:lnTo>
                  <a:lnTo>
                    <a:pt x="0" y="4"/>
                  </a:lnTo>
                  <a:lnTo>
                    <a:pt x="2" y="2"/>
                  </a:lnTo>
                  <a:lnTo>
                    <a:pt x="6" y="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8" name="Freeform 221">
              <a:extLst>
                <a:ext uri="{FF2B5EF4-FFF2-40B4-BE49-F238E27FC236}">
                  <a16:creationId xmlns:a16="http://schemas.microsoft.com/office/drawing/2014/main" id="{A4D3CDA8-5CAD-49F9-A53B-F5AB243E6007}"/>
                </a:ext>
              </a:extLst>
            </p:cNvPr>
            <p:cNvSpPr>
              <a:spLocks/>
            </p:cNvSpPr>
            <p:nvPr/>
          </p:nvSpPr>
          <p:spPr bwMode="auto">
            <a:xfrm>
              <a:off x="2428166" y="2802299"/>
              <a:ext cx="10358" cy="7769"/>
            </a:xfrm>
            <a:custGeom>
              <a:avLst/>
              <a:gdLst/>
              <a:ahLst/>
              <a:cxnLst>
                <a:cxn ang="0">
                  <a:pos x="6" y="2"/>
                </a:cxn>
                <a:cxn ang="0">
                  <a:pos x="6" y="2"/>
                </a:cxn>
                <a:cxn ang="0">
                  <a:pos x="8" y="0"/>
                </a:cxn>
                <a:cxn ang="0">
                  <a:pos x="6" y="2"/>
                </a:cxn>
                <a:cxn ang="0">
                  <a:pos x="4" y="4"/>
                </a:cxn>
                <a:cxn ang="0">
                  <a:pos x="2" y="6"/>
                </a:cxn>
                <a:cxn ang="0">
                  <a:pos x="0" y="6"/>
                </a:cxn>
                <a:cxn ang="0">
                  <a:pos x="0" y="4"/>
                </a:cxn>
                <a:cxn ang="0">
                  <a:pos x="2" y="2"/>
                </a:cxn>
                <a:cxn ang="0">
                  <a:pos x="6" y="2"/>
                </a:cxn>
              </a:cxnLst>
              <a:rect l="0" t="0" r="r" b="b"/>
              <a:pathLst>
                <a:path w="8" h="6">
                  <a:moveTo>
                    <a:pt x="6" y="2"/>
                  </a:moveTo>
                  <a:lnTo>
                    <a:pt x="6" y="2"/>
                  </a:lnTo>
                  <a:lnTo>
                    <a:pt x="8" y="0"/>
                  </a:lnTo>
                  <a:lnTo>
                    <a:pt x="6" y="2"/>
                  </a:lnTo>
                  <a:lnTo>
                    <a:pt x="4" y="4"/>
                  </a:lnTo>
                  <a:lnTo>
                    <a:pt x="2" y="6"/>
                  </a:lnTo>
                  <a:lnTo>
                    <a:pt x="0" y="6"/>
                  </a:lnTo>
                  <a:lnTo>
                    <a:pt x="0" y="4"/>
                  </a:lnTo>
                  <a:lnTo>
                    <a:pt x="2" y="2"/>
                  </a:lnTo>
                  <a:lnTo>
                    <a:pt x="6" y="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9" name="Freeform 222">
              <a:extLst>
                <a:ext uri="{FF2B5EF4-FFF2-40B4-BE49-F238E27FC236}">
                  <a16:creationId xmlns:a16="http://schemas.microsoft.com/office/drawing/2014/main" id="{76B80E1D-655C-4A82-A033-C9BF9FB78819}"/>
                </a:ext>
              </a:extLst>
            </p:cNvPr>
            <p:cNvSpPr>
              <a:spLocks/>
            </p:cNvSpPr>
            <p:nvPr/>
          </p:nvSpPr>
          <p:spPr bwMode="auto">
            <a:xfrm>
              <a:off x="2265021" y="2760865"/>
              <a:ext cx="5179" cy="2590"/>
            </a:xfrm>
            <a:custGeom>
              <a:avLst/>
              <a:gdLst/>
              <a:ahLst/>
              <a:cxnLst>
                <a:cxn ang="0">
                  <a:pos x="0" y="0"/>
                </a:cxn>
                <a:cxn ang="0">
                  <a:pos x="0" y="0"/>
                </a:cxn>
                <a:cxn ang="0">
                  <a:pos x="2" y="2"/>
                </a:cxn>
                <a:cxn ang="0">
                  <a:pos x="4" y="2"/>
                </a:cxn>
                <a:cxn ang="0">
                  <a:pos x="2" y="2"/>
                </a:cxn>
                <a:cxn ang="0">
                  <a:pos x="0" y="0"/>
                </a:cxn>
              </a:cxnLst>
              <a:rect l="0" t="0" r="r" b="b"/>
              <a:pathLst>
                <a:path w="4" h="2">
                  <a:moveTo>
                    <a:pt x="0" y="0"/>
                  </a:moveTo>
                  <a:lnTo>
                    <a:pt x="0" y="0"/>
                  </a:lnTo>
                  <a:lnTo>
                    <a:pt x="2" y="2"/>
                  </a:lnTo>
                  <a:lnTo>
                    <a:pt x="4" y="2"/>
                  </a:lnTo>
                  <a:lnTo>
                    <a:pt x="2"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0" name="Freeform 223">
              <a:extLst>
                <a:ext uri="{FF2B5EF4-FFF2-40B4-BE49-F238E27FC236}">
                  <a16:creationId xmlns:a16="http://schemas.microsoft.com/office/drawing/2014/main" id="{8831E88D-0150-48EE-92DE-FC6CC3B11DA3}"/>
                </a:ext>
              </a:extLst>
            </p:cNvPr>
            <p:cNvSpPr>
              <a:spLocks/>
            </p:cNvSpPr>
            <p:nvPr/>
          </p:nvSpPr>
          <p:spPr bwMode="auto">
            <a:xfrm>
              <a:off x="2265021" y="2760865"/>
              <a:ext cx="5179" cy="2590"/>
            </a:xfrm>
            <a:custGeom>
              <a:avLst/>
              <a:gdLst/>
              <a:ahLst/>
              <a:cxnLst>
                <a:cxn ang="0">
                  <a:pos x="0" y="0"/>
                </a:cxn>
                <a:cxn ang="0">
                  <a:pos x="0" y="0"/>
                </a:cxn>
                <a:cxn ang="0">
                  <a:pos x="2" y="2"/>
                </a:cxn>
                <a:cxn ang="0">
                  <a:pos x="4" y="2"/>
                </a:cxn>
                <a:cxn ang="0">
                  <a:pos x="2" y="2"/>
                </a:cxn>
                <a:cxn ang="0">
                  <a:pos x="0" y="0"/>
                </a:cxn>
              </a:cxnLst>
              <a:rect l="0" t="0" r="r" b="b"/>
              <a:pathLst>
                <a:path w="4" h="2">
                  <a:moveTo>
                    <a:pt x="0" y="0"/>
                  </a:moveTo>
                  <a:lnTo>
                    <a:pt x="0" y="0"/>
                  </a:lnTo>
                  <a:lnTo>
                    <a:pt x="2" y="2"/>
                  </a:lnTo>
                  <a:lnTo>
                    <a:pt x="4" y="2"/>
                  </a:lnTo>
                  <a:lnTo>
                    <a:pt x="2"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1" name="Freeform 224">
              <a:extLst>
                <a:ext uri="{FF2B5EF4-FFF2-40B4-BE49-F238E27FC236}">
                  <a16:creationId xmlns:a16="http://schemas.microsoft.com/office/drawing/2014/main" id="{98EDED24-91E9-4C63-89A8-7C44A56A900A}"/>
                </a:ext>
              </a:extLst>
            </p:cNvPr>
            <p:cNvSpPr>
              <a:spLocks/>
            </p:cNvSpPr>
            <p:nvPr/>
          </p:nvSpPr>
          <p:spPr bwMode="auto">
            <a:xfrm>
              <a:off x="2314223" y="3141538"/>
              <a:ext cx="7769" cy="5179"/>
            </a:xfrm>
            <a:custGeom>
              <a:avLst/>
              <a:gdLst/>
              <a:ahLst/>
              <a:cxnLst>
                <a:cxn ang="0">
                  <a:pos x="0" y="0"/>
                </a:cxn>
                <a:cxn ang="0">
                  <a:pos x="0" y="0"/>
                </a:cxn>
                <a:cxn ang="0">
                  <a:pos x="6" y="0"/>
                </a:cxn>
                <a:cxn ang="0">
                  <a:pos x="2" y="4"/>
                </a:cxn>
                <a:cxn ang="0">
                  <a:pos x="0" y="4"/>
                </a:cxn>
                <a:cxn ang="0">
                  <a:pos x="0" y="0"/>
                </a:cxn>
                <a:cxn ang="0">
                  <a:pos x="0" y="0"/>
                </a:cxn>
              </a:cxnLst>
              <a:rect l="0" t="0" r="r" b="b"/>
              <a:pathLst>
                <a:path w="6" h="4">
                  <a:moveTo>
                    <a:pt x="0" y="0"/>
                  </a:moveTo>
                  <a:lnTo>
                    <a:pt x="0" y="0"/>
                  </a:lnTo>
                  <a:lnTo>
                    <a:pt x="6" y="0"/>
                  </a:lnTo>
                  <a:lnTo>
                    <a:pt x="2" y="4"/>
                  </a:lnTo>
                  <a:lnTo>
                    <a:pt x="0" y="4"/>
                  </a:lnTo>
                  <a:lnTo>
                    <a:pt x="0"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2" name="Freeform 225">
              <a:extLst>
                <a:ext uri="{FF2B5EF4-FFF2-40B4-BE49-F238E27FC236}">
                  <a16:creationId xmlns:a16="http://schemas.microsoft.com/office/drawing/2014/main" id="{DE5E8D39-B3B9-46A2-B440-1F5DD6797566}"/>
                </a:ext>
              </a:extLst>
            </p:cNvPr>
            <p:cNvSpPr>
              <a:spLocks/>
            </p:cNvSpPr>
            <p:nvPr/>
          </p:nvSpPr>
          <p:spPr bwMode="auto">
            <a:xfrm>
              <a:off x="2314223" y="3141538"/>
              <a:ext cx="7769" cy="5179"/>
            </a:xfrm>
            <a:custGeom>
              <a:avLst/>
              <a:gdLst/>
              <a:ahLst/>
              <a:cxnLst>
                <a:cxn ang="0">
                  <a:pos x="0" y="0"/>
                </a:cxn>
                <a:cxn ang="0">
                  <a:pos x="0" y="0"/>
                </a:cxn>
                <a:cxn ang="0">
                  <a:pos x="6" y="0"/>
                </a:cxn>
                <a:cxn ang="0">
                  <a:pos x="2" y="4"/>
                </a:cxn>
                <a:cxn ang="0">
                  <a:pos x="0" y="4"/>
                </a:cxn>
                <a:cxn ang="0">
                  <a:pos x="0" y="0"/>
                </a:cxn>
                <a:cxn ang="0">
                  <a:pos x="0" y="0"/>
                </a:cxn>
              </a:cxnLst>
              <a:rect l="0" t="0" r="r" b="b"/>
              <a:pathLst>
                <a:path w="6" h="4">
                  <a:moveTo>
                    <a:pt x="0" y="0"/>
                  </a:moveTo>
                  <a:lnTo>
                    <a:pt x="0" y="0"/>
                  </a:lnTo>
                  <a:lnTo>
                    <a:pt x="6" y="0"/>
                  </a:lnTo>
                  <a:lnTo>
                    <a:pt x="2" y="4"/>
                  </a:lnTo>
                  <a:lnTo>
                    <a:pt x="0" y="4"/>
                  </a:lnTo>
                  <a:lnTo>
                    <a:pt x="0"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3" name="Freeform 226">
              <a:extLst>
                <a:ext uri="{FF2B5EF4-FFF2-40B4-BE49-F238E27FC236}">
                  <a16:creationId xmlns:a16="http://schemas.microsoft.com/office/drawing/2014/main" id="{3C455087-9756-4DBD-AEF9-329B753C24F4}"/>
                </a:ext>
              </a:extLst>
            </p:cNvPr>
            <p:cNvSpPr>
              <a:spLocks/>
            </p:cNvSpPr>
            <p:nvPr/>
          </p:nvSpPr>
          <p:spPr bwMode="auto">
            <a:xfrm>
              <a:off x="2135540" y="3133769"/>
              <a:ext cx="2590" cy="2590"/>
            </a:xfrm>
            <a:custGeom>
              <a:avLst/>
              <a:gdLst/>
              <a:ahLst/>
              <a:cxnLst>
                <a:cxn ang="0">
                  <a:pos x="2" y="0"/>
                </a:cxn>
                <a:cxn ang="0">
                  <a:pos x="2" y="0"/>
                </a:cxn>
                <a:cxn ang="0">
                  <a:pos x="2" y="2"/>
                </a:cxn>
                <a:cxn ang="0">
                  <a:pos x="0" y="0"/>
                </a:cxn>
                <a:cxn ang="0">
                  <a:pos x="2" y="0"/>
                </a:cxn>
              </a:cxnLst>
              <a:rect l="0" t="0" r="r" b="b"/>
              <a:pathLst>
                <a:path w="2" h="2">
                  <a:moveTo>
                    <a:pt x="2" y="0"/>
                  </a:moveTo>
                  <a:lnTo>
                    <a:pt x="2" y="0"/>
                  </a:lnTo>
                  <a:lnTo>
                    <a:pt x="2" y="2"/>
                  </a:lnTo>
                  <a:lnTo>
                    <a:pt x="0"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4" name="Freeform 227">
              <a:extLst>
                <a:ext uri="{FF2B5EF4-FFF2-40B4-BE49-F238E27FC236}">
                  <a16:creationId xmlns:a16="http://schemas.microsoft.com/office/drawing/2014/main" id="{364D6A1D-D58B-4BB5-A02A-7C45C1D4818D}"/>
                </a:ext>
              </a:extLst>
            </p:cNvPr>
            <p:cNvSpPr>
              <a:spLocks/>
            </p:cNvSpPr>
            <p:nvPr/>
          </p:nvSpPr>
          <p:spPr bwMode="auto">
            <a:xfrm>
              <a:off x="2135540" y="3133769"/>
              <a:ext cx="2590" cy="2590"/>
            </a:xfrm>
            <a:custGeom>
              <a:avLst/>
              <a:gdLst/>
              <a:ahLst/>
              <a:cxnLst>
                <a:cxn ang="0">
                  <a:pos x="2" y="0"/>
                </a:cxn>
                <a:cxn ang="0">
                  <a:pos x="2" y="0"/>
                </a:cxn>
                <a:cxn ang="0">
                  <a:pos x="2" y="2"/>
                </a:cxn>
                <a:cxn ang="0">
                  <a:pos x="0" y="0"/>
                </a:cxn>
                <a:cxn ang="0">
                  <a:pos x="2" y="0"/>
                </a:cxn>
              </a:cxnLst>
              <a:rect l="0" t="0" r="r" b="b"/>
              <a:pathLst>
                <a:path w="2" h="2">
                  <a:moveTo>
                    <a:pt x="2" y="0"/>
                  </a:moveTo>
                  <a:lnTo>
                    <a:pt x="2" y="0"/>
                  </a:lnTo>
                  <a:lnTo>
                    <a:pt x="2" y="2"/>
                  </a:lnTo>
                  <a:lnTo>
                    <a:pt x="0"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5" name="Freeform 228">
              <a:extLst>
                <a:ext uri="{FF2B5EF4-FFF2-40B4-BE49-F238E27FC236}">
                  <a16:creationId xmlns:a16="http://schemas.microsoft.com/office/drawing/2014/main" id="{451F6E32-C619-4D49-B7B2-6817A9CF2551}"/>
                </a:ext>
              </a:extLst>
            </p:cNvPr>
            <p:cNvSpPr>
              <a:spLocks/>
            </p:cNvSpPr>
            <p:nvPr/>
          </p:nvSpPr>
          <p:spPr bwMode="auto">
            <a:xfrm>
              <a:off x="2156257" y="3131180"/>
              <a:ext cx="12948" cy="7769"/>
            </a:xfrm>
            <a:custGeom>
              <a:avLst/>
              <a:gdLst/>
              <a:ahLst/>
              <a:cxnLst>
                <a:cxn ang="0">
                  <a:pos x="10" y="0"/>
                </a:cxn>
                <a:cxn ang="0">
                  <a:pos x="10" y="0"/>
                </a:cxn>
                <a:cxn ang="0">
                  <a:pos x="10" y="2"/>
                </a:cxn>
                <a:cxn ang="0">
                  <a:pos x="2" y="6"/>
                </a:cxn>
                <a:cxn ang="0">
                  <a:pos x="0" y="6"/>
                </a:cxn>
                <a:cxn ang="0">
                  <a:pos x="2" y="4"/>
                </a:cxn>
                <a:cxn ang="0">
                  <a:pos x="4" y="2"/>
                </a:cxn>
                <a:cxn ang="0">
                  <a:pos x="10" y="0"/>
                </a:cxn>
              </a:cxnLst>
              <a:rect l="0" t="0" r="r" b="b"/>
              <a:pathLst>
                <a:path w="10" h="6">
                  <a:moveTo>
                    <a:pt x="10" y="0"/>
                  </a:moveTo>
                  <a:lnTo>
                    <a:pt x="10" y="0"/>
                  </a:lnTo>
                  <a:lnTo>
                    <a:pt x="10" y="2"/>
                  </a:lnTo>
                  <a:lnTo>
                    <a:pt x="2" y="6"/>
                  </a:lnTo>
                  <a:lnTo>
                    <a:pt x="0" y="6"/>
                  </a:lnTo>
                  <a:lnTo>
                    <a:pt x="2" y="4"/>
                  </a:lnTo>
                  <a:lnTo>
                    <a:pt x="4" y="2"/>
                  </a:lnTo>
                  <a:lnTo>
                    <a:pt x="1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6" name="Freeform 229">
              <a:extLst>
                <a:ext uri="{FF2B5EF4-FFF2-40B4-BE49-F238E27FC236}">
                  <a16:creationId xmlns:a16="http://schemas.microsoft.com/office/drawing/2014/main" id="{766FAFBA-AAAB-4916-931C-971F840643E2}"/>
                </a:ext>
              </a:extLst>
            </p:cNvPr>
            <p:cNvSpPr>
              <a:spLocks/>
            </p:cNvSpPr>
            <p:nvPr/>
          </p:nvSpPr>
          <p:spPr bwMode="auto">
            <a:xfrm>
              <a:off x="2156257" y="3131180"/>
              <a:ext cx="12948" cy="7769"/>
            </a:xfrm>
            <a:custGeom>
              <a:avLst/>
              <a:gdLst/>
              <a:ahLst/>
              <a:cxnLst>
                <a:cxn ang="0">
                  <a:pos x="10" y="0"/>
                </a:cxn>
                <a:cxn ang="0">
                  <a:pos x="10" y="0"/>
                </a:cxn>
                <a:cxn ang="0">
                  <a:pos x="10" y="2"/>
                </a:cxn>
                <a:cxn ang="0">
                  <a:pos x="2" y="6"/>
                </a:cxn>
                <a:cxn ang="0">
                  <a:pos x="0" y="6"/>
                </a:cxn>
                <a:cxn ang="0">
                  <a:pos x="2" y="4"/>
                </a:cxn>
                <a:cxn ang="0">
                  <a:pos x="4" y="2"/>
                </a:cxn>
                <a:cxn ang="0">
                  <a:pos x="10" y="0"/>
                </a:cxn>
              </a:cxnLst>
              <a:rect l="0" t="0" r="r" b="b"/>
              <a:pathLst>
                <a:path w="10" h="6">
                  <a:moveTo>
                    <a:pt x="10" y="0"/>
                  </a:moveTo>
                  <a:lnTo>
                    <a:pt x="10" y="0"/>
                  </a:lnTo>
                  <a:lnTo>
                    <a:pt x="10" y="2"/>
                  </a:lnTo>
                  <a:lnTo>
                    <a:pt x="2" y="6"/>
                  </a:lnTo>
                  <a:lnTo>
                    <a:pt x="0" y="6"/>
                  </a:lnTo>
                  <a:lnTo>
                    <a:pt x="2" y="4"/>
                  </a:lnTo>
                  <a:lnTo>
                    <a:pt x="4" y="2"/>
                  </a:lnTo>
                  <a:lnTo>
                    <a:pt x="1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7" name="Freeform 230">
              <a:extLst>
                <a:ext uri="{FF2B5EF4-FFF2-40B4-BE49-F238E27FC236}">
                  <a16:creationId xmlns:a16="http://schemas.microsoft.com/office/drawing/2014/main" id="{D1491FF4-EFEC-4976-9B5E-49A029438935}"/>
                </a:ext>
              </a:extLst>
            </p:cNvPr>
            <p:cNvSpPr>
              <a:spLocks/>
            </p:cNvSpPr>
            <p:nvPr/>
          </p:nvSpPr>
          <p:spPr bwMode="auto">
            <a:xfrm>
              <a:off x="2161436" y="3115642"/>
              <a:ext cx="2590" cy="1295"/>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8" name="Freeform 231">
              <a:extLst>
                <a:ext uri="{FF2B5EF4-FFF2-40B4-BE49-F238E27FC236}">
                  <a16:creationId xmlns:a16="http://schemas.microsoft.com/office/drawing/2014/main" id="{6A3A049A-1739-4F2A-A1F1-7CC96759B3E5}"/>
                </a:ext>
              </a:extLst>
            </p:cNvPr>
            <p:cNvSpPr>
              <a:spLocks/>
            </p:cNvSpPr>
            <p:nvPr/>
          </p:nvSpPr>
          <p:spPr bwMode="auto">
            <a:xfrm>
              <a:off x="2161436" y="3115642"/>
              <a:ext cx="2590" cy="1295"/>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9" name="Freeform 232">
              <a:extLst>
                <a:ext uri="{FF2B5EF4-FFF2-40B4-BE49-F238E27FC236}">
                  <a16:creationId xmlns:a16="http://schemas.microsoft.com/office/drawing/2014/main" id="{F703F6DE-9C42-46DC-97E7-0FFDB9651BCA}"/>
                </a:ext>
              </a:extLst>
            </p:cNvPr>
            <p:cNvSpPr>
              <a:spLocks/>
            </p:cNvSpPr>
            <p:nvPr/>
          </p:nvSpPr>
          <p:spPr bwMode="auto">
            <a:xfrm>
              <a:off x="2164026" y="3110463"/>
              <a:ext cx="2590" cy="2590"/>
            </a:xfrm>
            <a:custGeom>
              <a:avLst/>
              <a:gdLst/>
              <a:ahLst/>
              <a:cxnLst>
                <a:cxn ang="0">
                  <a:pos x="0" y="0"/>
                </a:cxn>
                <a:cxn ang="0">
                  <a:pos x="0" y="0"/>
                </a:cxn>
                <a:cxn ang="0">
                  <a:pos x="2" y="0"/>
                </a:cxn>
                <a:cxn ang="0">
                  <a:pos x="2" y="2"/>
                </a:cxn>
                <a:cxn ang="0">
                  <a:pos x="0" y="2"/>
                </a:cxn>
                <a:cxn ang="0">
                  <a:pos x="0" y="0"/>
                </a:cxn>
              </a:cxnLst>
              <a:rect l="0" t="0" r="r" b="b"/>
              <a:pathLst>
                <a:path w="2" h="2">
                  <a:moveTo>
                    <a:pt x="0" y="0"/>
                  </a:moveTo>
                  <a:lnTo>
                    <a:pt x="0" y="0"/>
                  </a:lnTo>
                  <a:lnTo>
                    <a:pt x="2" y="0"/>
                  </a:lnTo>
                  <a:lnTo>
                    <a:pt x="2" y="2"/>
                  </a:ln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0" name="Freeform 233">
              <a:extLst>
                <a:ext uri="{FF2B5EF4-FFF2-40B4-BE49-F238E27FC236}">
                  <a16:creationId xmlns:a16="http://schemas.microsoft.com/office/drawing/2014/main" id="{DC3B209A-C377-45ED-8139-D99CDAA7DB5A}"/>
                </a:ext>
              </a:extLst>
            </p:cNvPr>
            <p:cNvSpPr>
              <a:spLocks/>
            </p:cNvSpPr>
            <p:nvPr/>
          </p:nvSpPr>
          <p:spPr bwMode="auto">
            <a:xfrm>
              <a:off x="2164026" y="3110463"/>
              <a:ext cx="2590" cy="2590"/>
            </a:xfrm>
            <a:custGeom>
              <a:avLst/>
              <a:gdLst/>
              <a:ahLst/>
              <a:cxnLst>
                <a:cxn ang="0">
                  <a:pos x="0" y="0"/>
                </a:cxn>
                <a:cxn ang="0">
                  <a:pos x="0" y="0"/>
                </a:cxn>
                <a:cxn ang="0">
                  <a:pos x="2" y="0"/>
                </a:cxn>
                <a:cxn ang="0">
                  <a:pos x="2" y="2"/>
                </a:cxn>
                <a:cxn ang="0">
                  <a:pos x="0" y="2"/>
                </a:cxn>
                <a:cxn ang="0">
                  <a:pos x="0" y="0"/>
                </a:cxn>
              </a:cxnLst>
              <a:rect l="0" t="0" r="r" b="b"/>
              <a:pathLst>
                <a:path w="2" h="2">
                  <a:moveTo>
                    <a:pt x="0" y="0"/>
                  </a:moveTo>
                  <a:lnTo>
                    <a:pt x="0" y="0"/>
                  </a:lnTo>
                  <a:lnTo>
                    <a:pt x="2" y="0"/>
                  </a:lnTo>
                  <a:lnTo>
                    <a:pt x="2" y="2"/>
                  </a:lnTo>
                  <a:lnTo>
                    <a:pt x="0"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1" name="Freeform 234">
              <a:extLst>
                <a:ext uri="{FF2B5EF4-FFF2-40B4-BE49-F238E27FC236}">
                  <a16:creationId xmlns:a16="http://schemas.microsoft.com/office/drawing/2014/main" id="{61E2ED87-C43E-484C-955D-8984B47F6A82}"/>
                </a:ext>
              </a:extLst>
            </p:cNvPr>
            <p:cNvSpPr>
              <a:spLocks/>
            </p:cNvSpPr>
            <p:nvPr/>
          </p:nvSpPr>
          <p:spPr bwMode="auto">
            <a:xfrm>
              <a:off x="2433345" y="3050902"/>
              <a:ext cx="10358" cy="5179"/>
            </a:xfrm>
            <a:custGeom>
              <a:avLst/>
              <a:gdLst/>
              <a:ahLst/>
              <a:cxnLst>
                <a:cxn ang="0">
                  <a:pos x="6" y="0"/>
                </a:cxn>
                <a:cxn ang="0">
                  <a:pos x="6" y="0"/>
                </a:cxn>
                <a:cxn ang="0">
                  <a:pos x="8" y="2"/>
                </a:cxn>
                <a:cxn ang="0">
                  <a:pos x="6" y="4"/>
                </a:cxn>
                <a:cxn ang="0">
                  <a:pos x="0" y="2"/>
                </a:cxn>
                <a:cxn ang="0">
                  <a:pos x="2" y="2"/>
                </a:cxn>
                <a:cxn ang="0">
                  <a:pos x="6" y="0"/>
                </a:cxn>
              </a:cxnLst>
              <a:rect l="0" t="0" r="r" b="b"/>
              <a:pathLst>
                <a:path w="8" h="4">
                  <a:moveTo>
                    <a:pt x="6" y="0"/>
                  </a:moveTo>
                  <a:lnTo>
                    <a:pt x="6" y="0"/>
                  </a:lnTo>
                  <a:lnTo>
                    <a:pt x="8" y="2"/>
                  </a:lnTo>
                  <a:lnTo>
                    <a:pt x="6" y="4"/>
                  </a:lnTo>
                  <a:lnTo>
                    <a:pt x="0" y="2"/>
                  </a:lnTo>
                  <a:lnTo>
                    <a:pt x="2" y="2"/>
                  </a:lnTo>
                  <a:lnTo>
                    <a:pt x="6"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2" name="Freeform 235">
              <a:extLst>
                <a:ext uri="{FF2B5EF4-FFF2-40B4-BE49-F238E27FC236}">
                  <a16:creationId xmlns:a16="http://schemas.microsoft.com/office/drawing/2014/main" id="{096E0276-29C1-4375-8065-909DE345181C}"/>
                </a:ext>
              </a:extLst>
            </p:cNvPr>
            <p:cNvSpPr>
              <a:spLocks/>
            </p:cNvSpPr>
            <p:nvPr/>
          </p:nvSpPr>
          <p:spPr bwMode="auto">
            <a:xfrm>
              <a:off x="2433345" y="3050902"/>
              <a:ext cx="10358" cy="5179"/>
            </a:xfrm>
            <a:custGeom>
              <a:avLst/>
              <a:gdLst/>
              <a:ahLst/>
              <a:cxnLst>
                <a:cxn ang="0">
                  <a:pos x="6" y="0"/>
                </a:cxn>
                <a:cxn ang="0">
                  <a:pos x="6" y="0"/>
                </a:cxn>
                <a:cxn ang="0">
                  <a:pos x="8" y="2"/>
                </a:cxn>
                <a:cxn ang="0">
                  <a:pos x="6" y="4"/>
                </a:cxn>
                <a:cxn ang="0">
                  <a:pos x="0" y="2"/>
                </a:cxn>
                <a:cxn ang="0">
                  <a:pos x="2" y="2"/>
                </a:cxn>
                <a:cxn ang="0">
                  <a:pos x="6" y="0"/>
                </a:cxn>
              </a:cxnLst>
              <a:rect l="0" t="0" r="r" b="b"/>
              <a:pathLst>
                <a:path w="8" h="4">
                  <a:moveTo>
                    <a:pt x="6" y="0"/>
                  </a:moveTo>
                  <a:lnTo>
                    <a:pt x="6" y="0"/>
                  </a:lnTo>
                  <a:lnTo>
                    <a:pt x="8" y="2"/>
                  </a:lnTo>
                  <a:lnTo>
                    <a:pt x="6" y="4"/>
                  </a:lnTo>
                  <a:lnTo>
                    <a:pt x="0" y="2"/>
                  </a:lnTo>
                  <a:lnTo>
                    <a:pt x="2" y="2"/>
                  </a:lnTo>
                  <a:lnTo>
                    <a:pt x="6"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3" name="Freeform 236">
              <a:extLst>
                <a:ext uri="{FF2B5EF4-FFF2-40B4-BE49-F238E27FC236}">
                  <a16:creationId xmlns:a16="http://schemas.microsoft.com/office/drawing/2014/main" id="{946016B4-52B7-4516-9A8C-E4C047E93D8F}"/>
                </a:ext>
              </a:extLst>
            </p:cNvPr>
            <p:cNvSpPr>
              <a:spLocks/>
            </p:cNvSpPr>
            <p:nvPr/>
          </p:nvSpPr>
          <p:spPr bwMode="auto">
            <a:xfrm>
              <a:off x="2135540" y="3027595"/>
              <a:ext cx="5179" cy="1295"/>
            </a:xfrm>
            <a:custGeom>
              <a:avLst/>
              <a:gdLst/>
              <a:ahLst/>
              <a:cxnLst>
                <a:cxn ang="0">
                  <a:pos x="2" y="0"/>
                </a:cxn>
                <a:cxn ang="0">
                  <a:pos x="2" y="0"/>
                </a:cxn>
                <a:cxn ang="0">
                  <a:pos x="0" y="0"/>
                </a:cxn>
                <a:cxn ang="0">
                  <a:pos x="4" y="0"/>
                </a:cxn>
                <a:cxn ang="0">
                  <a:pos x="2" y="0"/>
                </a:cxn>
              </a:cxnLst>
              <a:rect l="0" t="0" r="r" b="b"/>
              <a:pathLst>
                <a:path w="4">
                  <a:moveTo>
                    <a:pt x="2" y="0"/>
                  </a:moveTo>
                  <a:lnTo>
                    <a:pt x="2" y="0"/>
                  </a:lnTo>
                  <a:lnTo>
                    <a:pt x="0" y="0"/>
                  </a:lnTo>
                  <a:lnTo>
                    <a:pt x="4"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4" name="Freeform 237">
              <a:extLst>
                <a:ext uri="{FF2B5EF4-FFF2-40B4-BE49-F238E27FC236}">
                  <a16:creationId xmlns:a16="http://schemas.microsoft.com/office/drawing/2014/main" id="{19F26A0C-0452-4EA4-A770-353790754317}"/>
                </a:ext>
              </a:extLst>
            </p:cNvPr>
            <p:cNvSpPr>
              <a:spLocks/>
            </p:cNvSpPr>
            <p:nvPr/>
          </p:nvSpPr>
          <p:spPr bwMode="auto">
            <a:xfrm>
              <a:off x="2135540" y="3027595"/>
              <a:ext cx="5179" cy="1295"/>
            </a:xfrm>
            <a:custGeom>
              <a:avLst/>
              <a:gdLst/>
              <a:ahLst/>
              <a:cxnLst>
                <a:cxn ang="0">
                  <a:pos x="2" y="0"/>
                </a:cxn>
                <a:cxn ang="0">
                  <a:pos x="2" y="0"/>
                </a:cxn>
                <a:cxn ang="0">
                  <a:pos x="0" y="0"/>
                </a:cxn>
                <a:cxn ang="0">
                  <a:pos x="4" y="0"/>
                </a:cxn>
                <a:cxn ang="0">
                  <a:pos x="2" y="0"/>
                </a:cxn>
              </a:cxnLst>
              <a:rect l="0" t="0" r="r" b="b"/>
              <a:pathLst>
                <a:path w="4">
                  <a:moveTo>
                    <a:pt x="2" y="0"/>
                  </a:moveTo>
                  <a:lnTo>
                    <a:pt x="2" y="0"/>
                  </a:lnTo>
                  <a:lnTo>
                    <a:pt x="0" y="0"/>
                  </a:lnTo>
                  <a:lnTo>
                    <a:pt x="4"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5" name="Freeform 238">
              <a:extLst>
                <a:ext uri="{FF2B5EF4-FFF2-40B4-BE49-F238E27FC236}">
                  <a16:creationId xmlns:a16="http://schemas.microsoft.com/office/drawing/2014/main" id="{2CFD19CD-8C34-4D81-AA50-2C611FA47173}"/>
                </a:ext>
              </a:extLst>
            </p:cNvPr>
            <p:cNvSpPr>
              <a:spLocks/>
            </p:cNvSpPr>
            <p:nvPr/>
          </p:nvSpPr>
          <p:spPr bwMode="auto">
            <a:xfrm>
              <a:off x="2122592" y="3022416"/>
              <a:ext cx="5179" cy="7769"/>
            </a:xfrm>
            <a:custGeom>
              <a:avLst/>
              <a:gdLst/>
              <a:ahLst/>
              <a:cxnLst>
                <a:cxn ang="0">
                  <a:pos x="2" y="0"/>
                </a:cxn>
                <a:cxn ang="0">
                  <a:pos x="2" y="0"/>
                </a:cxn>
                <a:cxn ang="0">
                  <a:pos x="0" y="2"/>
                </a:cxn>
                <a:cxn ang="0">
                  <a:pos x="0" y="4"/>
                </a:cxn>
                <a:cxn ang="0">
                  <a:pos x="0" y="6"/>
                </a:cxn>
                <a:cxn ang="0">
                  <a:pos x="4" y="6"/>
                </a:cxn>
                <a:cxn ang="0">
                  <a:pos x="4" y="2"/>
                </a:cxn>
                <a:cxn ang="0">
                  <a:pos x="2" y="0"/>
                </a:cxn>
              </a:cxnLst>
              <a:rect l="0" t="0" r="r" b="b"/>
              <a:pathLst>
                <a:path w="4" h="6">
                  <a:moveTo>
                    <a:pt x="2" y="0"/>
                  </a:moveTo>
                  <a:lnTo>
                    <a:pt x="2" y="0"/>
                  </a:lnTo>
                  <a:lnTo>
                    <a:pt x="0" y="2"/>
                  </a:lnTo>
                  <a:lnTo>
                    <a:pt x="0" y="4"/>
                  </a:lnTo>
                  <a:lnTo>
                    <a:pt x="0" y="6"/>
                  </a:lnTo>
                  <a:lnTo>
                    <a:pt x="4" y="6"/>
                  </a:lnTo>
                  <a:lnTo>
                    <a:pt x="4" y="2"/>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6" name="Freeform 239">
              <a:extLst>
                <a:ext uri="{FF2B5EF4-FFF2-40B4-BE49-F238E27FC236}">
                  <a16:creationId xmlns:a16="http://schemas.microsoft.com/office/drawing/2014/main" id="{540EAC30-8F69-4EE6-B7B2-802F5D2EE0B8}"/>
                </a:ext>
              </a:extLst>
            </p:cNvPr>
            <p:cNvSpPr>
              <a:spLocks/>
            </p:cNvSpPr>
            <p:nvPr/>
          </p:nvSpPr>
          <p:spPr bwMode="auto">
            <a:xfrm>
              <a:off x="2122592" y="3022416"/>
              <a:ext cx="5179" cy="7769"/>
            </a:xfrm>
            <a:custGeom>
              <a:avLst/>
              <a:gdLst/>
              <a:ahLst/>
              <a:cxnLst>
                <a:cxn ang="0">
                  <a:pos x="2" y="0"/>
                </a:cxn>
                <a:cxn ang="0">
                  <a:pos x="2" y="0"/>
                </a:cxn>
                <a:cxn ang="0">
                  <a:pos x="0" y="2"/>
                </a:cxn>
                <a:cxn ang="0">
                  <a:pos x="0" y="4"/>
                </a:cxn>
                <a:cxn ang="0">
                  <a:pos x="0" y="6"/>
                </a:cxn>
                <a:cxn ang="0">
                  <a:pos x="4" y="6"/>
                </a:cxn>
                <a:cxn ang="0">
                  <a:pos x="4" y="2"/>
                </a:cxn>
                <a:cxn ang="0">
                  <a:pos x="2" y="0"/>
                </a:cxn>
              </a:cxnLst>
              <a:rect l="0" t="0" r="r" b="b"/>
              <a:pathLst>
                <a:path w="4" h="6">
                  <a:moveTo>
                    <a:pt x="2" y="0"/>
                  </a:moveTo>
                  <a:lnTo>
                    <a:pt x="2" y="0"/>
                  </a:lnTo>
                  <a:lnTo>
                    <a:pt x="0" y="2"/>
                  </a:lnTo>
                  <a:lnTo>
                    <a:pt x="0" y="4"/>
                  </a:lnTo>
                  <a:lnTo>
                    <a:pt x="0" y="6"/>
                  </a:lnTo>
                  <a:lnTo>
                    <a:pt x="4" y="6"/>
                  </a:lnTo>
                  <a:lnTo>
                    <a:pt x="4" y="2"/>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7" name="Freeform 240">
              <a:extLst>
                <a:ext uri="{FF2B5EF4-FFF2-40B4-BE49-F238E27FC236}">
                  <a16:creationId xmlns:a16="http://schemas.microsoft.com/office/drawing/2014/main" id="{64DCEB08-AE47-4ADB-94BA-D367C1EA84E1}"/>
                </a:ext>
              </a:extLst>
            </p:cNvPr>
            <p:cNvSpPr>
              <a:spLocks/>
            </p:cNvSpPr>
            <p:nvPr/>
          </p:nvSpPr>
          <p:spPr bwMode="auto">
            <a:xfrm>
              <a:off x="2446293" y="2980982"/>
              <a:ext cx="59561" cy="33665"/>
            </a:xfrm>
            <a:custGeom>
              <a:avLst/>
              <a:gdLst/>
              <a:ahLst/>
              <a:cxnLst>
                <a:cxn ang="0">
                  <a:pos x="18" y="0"/>
                </a:cxn>
                <a:cxn ang="0">
                  <a:pos x="18" y="0"/>
                </a:cxn>
                <a:cxn ang="0">
                  <a:pos x="14" y="2"/>
                </a:cxn>
                <a:cxn ang="0">
                  <a:pos x="14" y="4"/>
                </a:cxn>
                <a:cxn ang="0">
                  <a:pos x="16" y="6"/>
                </a:cxn>
                <a:cxn ang="0">
                  <a:pos x="8" y="4"/>
                </a:cxn>
                <a:cxn ang="0">
                  <a:pos x="6" y="4"/>
                </a:cxn>
                <a:cxn ang="0">
                  <a:pos x="2" y="6"/>
                </a:cxn>
                <a:cxn ang="0">
                  <a:pos x="0" y="8"/>
                </a:cxn>
                <a:cxn ang="0">
                  <a:pos x="0" y="12"/>
                </a:cxn>
                <a:cxn ang="0">
                  <a:pos x="4" y="12"/>
                </a:cxn>
                <a:cxn ang="0">
                  <a:pos x="6" y="14"/>
                </a:cxn>
                <a:cxn ang="0">
                  <a:pos x="8" y="14"/>
                </a:cxn>
                <a:cxn ang="0">
                  <a:pos x="12" y="12"/>
                </a:cxn>
                <a:cxn ang="0">
                  <a:pos x="14" y="12"/>
                </a:cxn>
                <a:cxn ang="0">
                  <a:pos x="16" y="10"/>
                </a:cxn>
                <a:cxn ang="0">
                  <a:pos x="16" y="8"/>
                </a:cxn>
                <a:cxn ang="0">
                  <a:pos x="18" y="8"/>
                </a:cxn>
                <a:cxn ang="0">
                  <a:pos x="18" y="10"/>
                </a:cxn>
                <a:cxn ang="0">
                  <a:pos x="26" y="12"/>
                </a:cxn>
                <a:cxn ang="0">
                  <a:pos x="28" y="12"/>
                </a:cxn>
                <a:cxn ang="0">
                  <a:pos x="26" y="14"/>
                </a:cxn>
                <a:cxn ang="0">
                  <a:pos x="24" y="14"/>
                </a:cxn>
                <a:cxn ang="0">
                  <a:pos x="26" y="14"/>
                </a:cxn>
                <a:cxn ang="0">
                  <a:pos x="26" y="16"/>
                </a:cxn>
                <a:cxn ang="0">
                  <a:pos x="26" y="18"/>
                </a:cxn>
                <a:cxn ang="0">
                  <a:pos x="26" y="18"/>
                </a:cxn>
                <a:cxn ang="0">
                  <a:pos x="28" y="20"/>
                </a:cxn>
                <a:cxn ang="0">
                  <a:pos x="36" y="24"/>
                </a:cxn>
                <a:cxn ang="0">
                  <a:pos x="40" y="26"/>
                </a:cxn>
                <a:cxn ang="0">
                  <a:pos x="46" y="26"/>
                </a:cxn>
                <a:cxn ang="0">
                  <a:pos x="46" y="24"/>
                </a:cxn>
                <a:cxn ang="0">
                  <a:pos x="42" y="22"/>
                </a:cxn>
                <a:cxn ang="0">
                  <a:pos x="40" y="22"/>
                </a:cxn>
                <a:cxn ang="0">
                  <a:pos x="44" y="20"/>
                </a:cxn>
                <a:cxn ang="0">
                  <a:pos x="44" y="18"/>
                </a:cxn>
                <a:cxn ang="0">
                  <a:pos x="38" y="18"/>
                </a:cxn>
                <a:cxn ang="0">
                  <a:pos x="34" y="16"/>
                </a:cxn>
                <a:cxn ang="0">
                  <a:pos x="38" y="16"/>
                </a:cxn>
                <a:cxn ang="0">
                  <a:pos x="40" y="18"/>
                </a:cxn>
                <a:cxn ang="0">
                  <a:pos x="42" y="18"/>
                </a:cxn>
                <a:cxn ang="0">
                  <a:pos x="44" y="18"/>
                </a:cxn>
                <a:cxn ang="0">
                  <a:pos x="44" y="12"/>
                </a:cxn>
                <a:cxn ang="0">
                  <a:pos x="38" y="10"/>
                </a:cxn>
                <a:cxn ang="0">
                  <a:pos x="32" y="12"/>
                </a:cxn>
                <a:cxn ang="0">
                  <a:pos x="34" y="10"/>
                </a:cxn>
                <a:cxn ang="0">
                  <a:pos x="36" y="10"/>
                </a:cxn>
                <a:cxn ang="0">
                  <a:pos x="38" y="6"/>
                </a:cxn>
                <a:cxn ang="0">
                  <a:pos x="30" y="6"/>
                </a:cxn>
                <a:cxn ang="0">
                  <a:pos x="32" y="4"/>
                </a:cxn>
                <a:cxn ang="0">
                  <a:pos x="24" y="2"/>
                </a:cxn>
                <a:cxn ang="0">
                  <a:pos x="18" y="0"/>
                </a:cxn>
              </a:cxnLst>
              <a:rect l="0" t="0" r="r" b="b"/>
              <a:pathLst>
                <a:path w="46" h="26">
                  <a:moveTo>
                    <a:pt x="18" y="0"/>
                  </a:moveTo>
                  <a:lnTo>
                    <a:pt x="18" y="0"/>
                  </a:lnTo>
                  <a:lnTo>
                    <a:pt x="14" y="2"/>
                  </a:lnTo>
                  <a:lnTo>
                    <a:pt x="14" y="4"/>
                  </a:lnTo>
                  <a:lnTo>
                    <a:pt x="16" y="6"/>
                  </a:lnTo>
                  <a:lnTo>
                    <a:pt x="8" y="4"/>
                  </a:lnTo>
                  <a:lnTo>
                    <a:pt x="6" y="4"/>
                  </a:lnTo>
                  <a:lnTo>
                    <a:pt x="2" y="6"/>
                  </a:lnTo>
                  <a:lnTo>
                    <a:pt x="0" y="8"/>
                  </a:lnTo>
                  <a:lnTo>
                    <a:pt x="0" y="12"/>
                  </a:lnTo>
                  <a:lnTo>
                    <a:pt x="4" y="12"/>
                  </a:lnTo>
                  <a:lnTo>
                    <a:pt x="6" y="14"/>
                  </a:lnTo>
                  <a:lnTo>
                    <a:pt x="8" y="14"/>
                  </a:lnTo>
                  <a:lnTo>
                    <a:pt x="12" y="12"/>
                  </a:lnTo>
                  <a:lnTo>
                    <a:pt x="14" y="12"/>
                  </a:lnTo>
                  <a:lnTo>
                    <a:pt x="16" y="10"/>
                  </a:lnTo>
                  <a:lnTo>
                    <a:pt x="16" y="8"/>
                  </a:lnTo>
                  <a:lnTo>
                    <a:pt x="18" y="8"/>
                  </a:lnTo>
                  <a:lnTo>
                    <a:pt x="18" y="10"/>
                  </a:lnTo>
                  <a:lnTo>
                    <a:pt x="26" y="12"/>
                  </a:lnTo>
                  <a:lnTo>
                    <a:pt x="28" y="12"/>
                  </a:lnTo>
                  <a:lnTo>
                    <a:pt x="26" y="14"/>
                  </a:lnTo>
                  <a:lnTo>
                    <a:pt x="24" y="14"/>
                  </a:lnTo>
                  <a:lnTo>
                    <a:pt x="26" y="14"/>
                  </a:lnTo>
                  <a:lnTo>
                    <a:pt x="26" y="16"/>
                  </a:lnTo>
                  <a:lnTo>
                    <a:pt x="26" y="18"/>
                  </a:lnTo>
                  <a:lnTo>
                    <a:pt x="26" y="18"/>
                  </a:lnTo>
                  <a:lnTo>
                    <a:pt x="28" y="20"/>
                  </a:lnTo>
                  <a:lnTo>
                    <a:pt x="36" y="24"/>
                  </a:lnTo>
                  <a:lnTo>
                    <a:pt x="40" y="26"/>
                  </a:lnTo>
                  <a:lnTo>
                    <a:pt x="46" y="26"/>
                  </a:lnTo>
                  <a:lnTo>
                    <a:pt x="46" y="24"/>
                  </a:lnTo>
                  <a:lnTo>
                    <a:pt x="42" y="22"/>
                  </a:lnTo>
                  <a:lnTo>
                    <a:pt x="40" y="22"/>
                  </a:lnTo>
                  <a:lnTo>
                    <a:pt x="44" y="20"/>
                  </a:lnTo>
                  <a:lnTo>
                    <a:pt x="44" y="18"/>
                  </a:lnTo>
                  <a:lnTo>
                    <a:pt x="38" y="18"/>
                  </a:lnTo>
                  <a:lnTo>
                    <a:pt x="34" y="16"/>
                  </a:lnTo>
                  <a:lnTo>
                    <a:pt x="38" y="16"/>
                  </a:lnTo>
                  <a:lnTo>
                    <a:pt x="40" y="18"/>
                  </a:lnTo>
                  <a:lnTo>
                    <a:pt x="42" y="18"/>
                  </a:lnTo>
                  <a:lnTo>
                    <a:pt x="44" y="18"/>
                  </a:lnTo>
                  <a:lnTo>
                    <a:pt x="44" y="12"/>
                  </a:lnTo>
                  <a:lnTo>
                    <a:pt x="38" y="10"/>
                  </a:lnTo>
                  <a:lnTo>
                    <a:pt x="32" y="12"/>
                  </a:lnTo>
                  <a:lnTo>
                    <a:pt x="34" y="10"/>
                  </a:lnTo>
                  <a:lnTo>
                    <a:pt x="36" y="10"/>
                  </a:lnTo>
                  <a:lnTo>
                    <a:pt x="38" y="6"/>
                  </a:lnTo>
                  <a:lnTo>
                    <a:pt x="30" y="6"/>
                  </a:lnTo>
                  <a:lnTo>
                    <a:pt x="32" y="4"/>
                  </a:lnTo>
                  <a:lnTo>
                    <a:pt x="24" y="2"/>
                  </a:lnTo>
                  <a:lnTo>
                    <a:pt x="18"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8" name="Freeform 241">
              <a:extLst>
                <a:ext uri="{FF2B5EF4-FFF2-40B4-BE49-F238E27FC236}">
                  <a16:creationId xmlns:a16="http://schemas.microsoft.com/office/drawing/2014/main" id="{D233C4F6-D551-4394-95F3-8F890BC75597}"/>
                </a:ext>
              </a:extLst>
            </p:cNvPr>
            <p:cNvSpPr>
              <a:spLocks/>
            </p:cNvSpPr>
            <p:nvPr/>
          </p:nvSpPr>
          <p:spPr bwMode="auto">
            <a:xfrm>
              <a:off x="2446293" y="2980982"/>
              <a:ext cx="59561" cy="33665"/>
            </a:xfrm>
            <a:custGeom>
              <a:avLst/>
              <a:gdLst/>
              <a:ahLst/>
              <a:cxnLst>
                <a:cxn ang="0">
                  <a:pos x="18" y="0"/>
                </a:cxn>
                <a:cxn ang="0">
                  <a:pos x="18" y="0"/>
                </a:cxn>
                <a:cxn ang="0">
                  <a:pos x="14" y="2"/>
                </a:cxn>
                <a:cxn ang="0">
                  <a:pos x="14" y="4"/>
                </a:cxn>
                <a:cxn ang="0">
                  <a:pos x="16" y="6"/>
                </a:cxn>
                <a:cxn ang="0">
                  <a:pos x="8" y="4"/>
                </a:cxn>
                <a:cxn ang="0">
                  <a:pos x="6" y="4"/>
                </a:cxn>
                <a:cxn ang="0">
                  <a:pos x="2" y="6"/>
                </a:cxn>
                <a:cxn ang="0">
                  <a:pos x="0" y="8"/>
                </a:cxn>
                <a:cxn ang="0">
                  <a:pos x="0" y="12"/>
                </a:cxn>
                <a:cxn ang="0">
                  <a:pos x="4" y="12"/>
                </a:cxn>
                <a:cxn ang="0">
                  <a:pos x="6" y="14"/>
                </a:cxn>
                <a:cxn ang="0">
                  <a:pos x="8" y="14"/>
                </a:cxn>
                <a:cxn ang="0">
                  <a:pos x="12" y="12"/>
                </a:cxn>
                <a:cxn ang="0">
                  <a:pos x="14" y="12"/>
                </a:cxn>
                <a:cxn ang="0">
                  <a:pos x="16" y="10"/>
                </a:cxn>
                <a:cxn ang="0">
                  <a:pos x="16" y="8"/>
                </a:cxn>
                <a:cxn ang="0">
                  <a:pos x="18" y="8"/>
                </a:cxn>
                <a:cxn ang="0">
                  <a:pos x="18" y="10"/>
                </a:cxn>
                <a:cxn ang="0">
                  <a:pos x="26" y="12"/>
                </a:cxn>
                <a:cxn ang="0">
                  <a:pos x="28" y="12"/>
                </a:cxn>
                <a:cxn ang="0">
                  <a:pos x="26" y="14"/>
                </a:cxn>
                <a:cxn ang="0">
                  <a:pos x="24" y="14"/>
                </a:cxn>
                <a:cxn ang="0">
                  <a:pos x="26" y="14"/>
                </a:cxn>
                <a:cxn ang="0">
                  <a:pos x="26" y="16"/>
                </a:cxn>
                <a:cxn ang="0">
                  <a:pos x="26" y="18"/>
                </a:cxn>
                <a:cxn ang="0">
                  <a:pos x="26" y="18"/>
                </a:cxn>
                <a:cxn ang="0">
                  <a:pos x="28" y="20"/>
                </a:cxn>
                <a:cxn ang="0">
                  <a:pos x="36" y="24"/>
                </a:cxn>
                <a:cxn ang="0">
                  <a:pos x="40" y="26"/>
                </a:cxn>
                <a:cxn ang="0">
                  <a:pos x="46" y="26"/>
                </a:cxn>
                <a:cxn ang="0">
                  <a:pos x="46" y="24"/>
                </a:cxn>
                <a:cxn ang="0">
                  <a:pos x="42" y="22"/>
                </a:cxn>
                <a:cxn ang="0">
                  <a:pos x="40" y="22"/>
                </a:cxn>
                <a:cxn ang="0">
                  <a:pos x="44" y="20"/>
                </a:cxn>
                <a:cxn ang="0">
                  <a:pos x="44" y="18"/>
                </a:cxn>
                <a:cxn ang="0">
                  <a:pos x="38" y="18"/>
                </a:cxn>
                <a:cxn ang="0">
                  <a:pos x="34" y="16"/>
                </a:cxn>
                <a:cxn ang="0">
                  <a:pos x="38" y="16"/>
                </a:cxn>
                <a:cxn ang="0">
                  <a:pos x="40" y="18"/>
                </a:cxn>
                <a:cxn ang="0">
                  <a:pos x="42" y="18"/>
                </a:cxn>
                <a:cxn ang="0">
                  <a:pos x="44" y="18"/>
                </a:cxn>
                <a:cxn ang="0">
                  <a:pos x="44" y="12"/>
                </a:cxn>
                <a:cxn ang="0">
                  <a:pos x="38" y="10"/>
                </a:cxn>
                <a:cxn ang="0">
                  <a:pos x="32" y="12"/>
                </a:cxn>
                <a:cxn ang="0">
                  <a:pos x="34" y="10"/>
                </a:cxn>
                <a:cxn ang="0">
                  <a:pos x="36" y="10"/>
                </a:cxn>
                <a:cxn ang="0">
                  <a:pos x="38" y="6"/>
                </a:cxn>
                <a:cxn ang="0">
                  <a:pos x="30" y="6"/>
                </a:cxn>
                <a:cxn ang="0">
                  <a:pos x="32" y="4"/>
                </a:cxn>
                <a:cxn ang="0">
                  <a:pos x="24" y="2"/>
                </a:cxn>
                <a:cxn ang="0">
                  <a:pos x="18" y="0"/>
                </a:cxn>
              </a:cxnLst>
              <a:rect l="0" t="0" r="r" b="b"/>
              <a:pathLst>
                <a:path w="46" h="26">
                  <a:moveTo>
                    <a:pt x="18" y="0"/>
                  </a:moveTo>
                  <a:lnTo>
                    <a:pt x="18" y="0"/>
                  </a:lnTo>
                  <a:lnTo>
                    <a:pt x="14" y="2"/>
                  </a:lnTo>
                  <a:lnTo>
                    <a:pt x="14" y="4"/>
                  </a:lnTo>
                  <a:lnTo>
                    <a:pt x="16" y="6"/>
                  </a:lnTo>
                  <a:lnTo>
                    <a:pt x="8" y="4"/>
                  </a:lnTo>
                  <a:lnTo>
                    <a:pt x="6" y="4"/>
                  </a:lnTo>
                  <a:lnTo>
                    <a:pt x="2" y="6"/>
                  </a:lnTo>
                  <a:lnTo>
                    <a:pt x="0" y="8"/>
                  </a:lnTo>
                  <a:lnTo>
                    <a:pt x="0" y="12"/>
                  </a:lnTo>
                  <a:lnTo>
                    <a:pt x="4" y="12"/>
                  </a:lnTo>
                  <a:lnTo>
                    <a:pt x="6" y="14"/>
                  </a:lnTo>
                  <a:lnTo>
                    <a:pt x="8" y="14"/>
                  </a:lnTo>
                  <a:lnTo>
                    <a:pt x="12" y="12"/>
                  </a:lnTo>
                  <a:lnTo>
                    <a:pt x="14" y="12"/>
                  </a:lnTo>
                  <a:lnTo>
                    <a:pt x="16" y="10"/>
                  </a:lnTo>
                  <a:lnTo>
                    <a:pt x="16" y="8"/>
                  </a:lnTo>
                  <a:lnTo>
                    <a:pt x="18" y="8"/>
                  </a:lnTo>
                  <a:lnTo>
                    <a:pt x="18" y="10"/>
                  </a:lnTo>
                  <a:lnTo>
                    <a:pt x="26" y="12"/>
                  </a:lnTo>
                  <a:lnTo>
                    <a:pt x="28" y="12"/>
                  </a:lnTo>
                  <a:lnTo>
                    <a:pt x="26" y="14"/>
                  </a:lnTo>
                  <a:lnTo>
                    <a:pt x="24" y="14"/>
                  </a:lnTo>
                  <a:lnTo>
                    <a:pt x="26" y="14"/>
                  </a:lnTo>
                  <a:lnTo>
                    <a:pt x="26" y="16"/>
                  </a:lnTo>
                  <a:lnTo>
                    <a:pt x="26" y="18"/>
                  </a:lnTo>
                  <a:lnTo>
                    <a:pt x="26" y="18"/>
                  </a:lnTo>
                  <a:lnTo>
                    <a:pt x="28" y="20"/>
                  </a:lnTo>
                  <a:lnTo>
                    <a:pt x="36" y="24"/>
                  </a:lnTo>
                  <a:lnTo>
                    <a:pt x="40" y="26"/>
                  </a:lnTo>
                  <a:lnTo>
                    <a:pt x="46" y="26"/>
                  </a:lnTo>
                  <a:lnTo>
                    <a:pt x="46" y="24"/>
                  </a:lnTo>
                  <a:lnTo>
                    <a:pt x="42" y="22"/>
                  </a:lnTo>
                  <a:lnTo>
                    <a:pt x="40" y="22"/>
                  </a:lnTo>
                  <a:lnTo>
                    <a:pt x="44" y="20"/>
                  </a:lnTo>
                  <a:lnTo>
                    <a:pt x="44" y="18"/>
                  </a:lnTo>
                  <a:lnTo>
                    <a:pt x="38" y="18"/>
                  </a:lnTo>
                  <a:lnTo>
                    <a:pt x="34" y="16"/>
                  </a:lnTo>
                  <a:lnTo>
                    <a:pt x="38" y="16"/>
                  </a:lnTo>
                  <a:lnTo>
                    <a:pt x="40" y="18"/>
                  </a:lnTo>
                  <a:lnTo>
                    <a:pt x="42" y="18"/>
                  </a:lnTo>
                  <a:lnTo>
                    <a:pt x="44" y="18"/>
                  </a:lnTo>
                  <a:lnTo>
                    <a:pt x="44" y="12"/>
                  </a:lnTo>
                  <a:lnTo>
                    <a:pt x="38" y="10"/>
                  </a:lnTo>
                  <a:lnTo>
                    <a:pt x="32" y="12"/>
                  </a:lnTo>
                  <a:lnTo>
                    <a:pt x="34" y="10"/>
                  </a:lnTo>
                  <a:lnTo>
                    <a:pt x="36" y="10"/>
                  </a:lnTo>
                  <a:lnTo>
                    <a:pt x="38" y="6"/>
                  </a:lnTo>
                  <a:lnTo>
                    <a:pt x="30" y="6"/>
                  </a:lnTo>
                  <a:lnTo>
                    <a:pt x="32" y="4"/>
                  </a:lnTo>
                  <a:lnTo>
                    <a:pt x="24" y="2"/>
                  </a:lnTo>
                  <a:lnTo>
                    <a:pt x="18"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79" name="Freeform 242">
              <a:extLst>
                <a:ext uri="{FF2B5EF4-FFF2-40B4-BE49-F238E27FC236}">
                  <a16:creationId xmlns:a16="http://schemas.microsoft.com/office/drawing/2014/main" id="{E4AA8DBA-5FD6-40E6-BB6C-4B81267C21DB}"/>
                </a:ext>
              </a:extLst>
            </p:cNvPr>
            <p:cNvSpPr>
              <a:spLocks/>
            </p:cNvSpPr>
            <p:nvPr/>
          </p:nvSpPr>
          <p:spPr bwMode="auto">
            <a:xfrm>
              <a:off x="2078569" y="2949907"/>
              <a:ext cx="7769" cy="2590"/>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0" name="Freeform 243">
              <a:extLst>
                <a:ext uri="{FF2B5EF4-FFF2-40B4-BE49-F238E27FC236}">
                  <a16:creationId xmlns:a16="http://schemas.microsoft.com/office/drawing/2014/main" id="{4CEF9977-D6E4-420C-909C-3BC92AB75CB5}"/>
                </a:ext>
              </a:extLst>
            </p:cNvPr>
            <p:cNvSpPr>
              <a:spLocks/>
            </p:cNvSpPr>
            <p:nvPr/>
          </p:nvSpPr>
          <p:spPr bwMode="auto">
            <a:xfrm>
              <a:off x="2078569" y="2949907"/>
              <a:ext cx="7769" cy="2590"/>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1" name="Freeform 244">
              <a:extLst>
                <a:ext uri="{FF2B5EF4-FFF2-40B4-BE49-F238E27FC236}">
                  <a16:creationId xmlns:a16="http://schemas.microsoft.com/office/drawing/2014/main" id="{8B7BA3E3-2446-47AC-A955-DBCDCF24353A}"/>
                </a:ext>
              </a:extLst>
            </p:cNvPr>
            <p:cNvSpPr>
              <a:spLocks/>
            </p:cNvSpPr>
            <p:nvPr/>
          </p:nvSpPr>
          <p:spPr bwMode="auto">
            <a:xfrm>
              <a:off x="2536930" y="2947317"/>
              <a:ext cx="2590" cy="2590"/>
            </a:xfrm>
            <a:custGeom>
              <a:avLst/>
              <a:gdLst/>
              <a:ahLst/>
              <a:cxnLst>
                <a:cxn ang="0">
                  <a:pos x="2" y="0"/>
                </a:cxn>
                <a:cxn ang="0">
                  <a:pos x="2" y="0"/>
                </a:cxn>
                <a:cxn ang="0">
                  <a:pos x="0" y="2"/>
                </a:cxn>
                <a:cxn ang="0">
                  <a:pos x="2" y="2"/>
                </a:cxn>
                <a:cxn ang="0">
                  <a:pos x="2" y="0"/>
                </a:cxn>
              </a:cxnLst>
              <a:rect l="0" t="0" r="r" b="b"/>
              <a:pathLst>
                <a:path w="2" h="2">
                  <a:moveTo>
                    <a:pt x="2" y="0"/>
                  </a:moveTo>
                  <a:lnTo>
                    <a:pt x="2" y="0"/>
                  </a:lnTo>
                  <a:lnTo>
                    <a:pt x="0" y="2"/>
                  </a:lnTo>
                  <a:lnTo>
                    <a:pt x="2" y="2"/>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2" name="Freeform 245">
              <a:extLst>
                <a:ext uri="{FF2B5EF4-FFF2-40B4-BE49-F238E27FC236}">
                  <a16:creationId xmlns:a16="http://schemas.microsoft.com/office/drawing/2014/main" id="{4FE45419-D096-43EB-B4B3-6C8D01C4FAAF}"/>
                </a:ext>
              </a:extLst>
            </p:cNvPr>
            <p:cNvSpPr>
              <a:spLocks/>
            </p:cNvSpPr>
            <p:nvPr/>
          </p:nvSpPr>
          <p:spPr bwMode="auto">
            <a:xfrm>
              <a:off x="2536930" y="2947317"/>
              <a:ext cx="2590" cy="2590"/>
            </a:xfrm>
            <a:custGeom>
              <a:avLst/>
              <a:gdLst/>
              <a:ahLst/>
              <a:cxnLst>
                <a:cxn ang="0">
                  <a:pos x="2" y="0"/>
                </a:cxn>
                <a:cxn ang="0">
                  <a:pos x="2" y="0"/>
                </a:cxn>
                <a:cxn ang="0">
                  <a:pos x="0" y="2"/>
                </a:cxn>
                <a:cxn ang="0">
                  <a:pos x="2" y="2"/>
                </a:cxn>
                <a:cxn ang="0">
                  <a:pos x="2" y="0"/>
                </a:cxn>
              </a:cxnLst>
              <a:rect l="0" t="0" r="r" b="b"/>
              <a:pathLst>
                <a:path w="2" h="2">
                  <a:moveTo>
                    <a:pt x="2" y="0"/>
                  </a:moveTo>
                  <a:lnTo>
                    <a:pt x="2" y="0"/>
                  </a:lnTo>
                  <a:lnTo>
                    <a:pt x="0" y="2"/>
                  </a:lnTo>
                  <a:lnTo>
                    <a:pt x="2" y="2"/>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3" name="Freeform 246">
              <a:extLst>
                <a:ext uri="{FF2B5EF4-FFF2-40B4-BE49-F238E27FC236}">
                  <a16:creationId xmlns:a16="http://schemas.microsoft.com/office/drawing/2014/main" id="{63C7FE21-BA2B-4115-8C0A-BB24070BE825}"/>
                </a:ext>
              </a:extLst>
            </p:cNvPr>
            <p:cNvSpPr>
              <a:spLocks/>
            </p:cNvSpPr>
            <p:nvPr/>
          </p:nvSpPr>
          <p:spPr bwMode="auto">
            <a:xfrm>
              <a:off x="2521392" y="2942138"/>
              <a:ext cx="7769" cy="7769"/>
            </a:xfrm>
            <a:custGeom>
              <a:avLst/>
              <a:gdLst/>
              <a:ahLst/>
              <a:cxnLst>
                <a:cxn ang="0">
                  <a:pos x="0" y="0"/>
                </a:cxn>
                <a:cxn ang="0">
                  <a:pos x="0" y="0"/>
                </a:cxn>
                <a:cxn ang="0">
                  <a:pos x="0" y="2"/>
                </a:cxn>
                <a:cxn ang="0">
                  <a:pos x="0" y="6"/>
                </a:cxn>
                <a:cxn ang="0">
                  <a:pos x="2" y="6"/>
                </a:cxn>
                <a:cxn ang="0">
                  <a:pos x="6" y="6"/>
                </a:cxn>
                <a:cxn ang="0">
                  <a:pos x="6" y="2"/>
                </a:cxn>
                <a:cxn ang="0">
                  <a:pos x="2" y="2"/>
                </a:cxn>
                <a:cxn ang="0">
                  <a:pos x="2" y="0"/>
                </a:cxn>
                <a:cxn ang="0">
                  <a:pos x="0" y="0"/>
                </a:cxn>
              </a:cxnLst>
              <a:rect l="0" t="0" r="r" b="b"/>
              <a:pathLst>
                <a:path w="6" h="6">
                  <a:moveTo>
                    <a:pt x="0" y="0"/>
                  </a:moveTo>
                  <a:lnTo>
                    <a:pt x="0" y="0"/>
                  </a:lnTo>
                  <a:lnTo>
                    <a:pt x="0" y="2"/>
                  </a:lnTo>
                  <a:lnTo>
                    <a:pt x="0" y="6"/>
                  </a:lnTo>
                  <a:lnTo>
                    <a:pt x="2" y="6"/>
                  </a:lnTo>
                  <a:lnTo>
                    <a:pt x="6" y="6"/>
                  </a:lnTo>
                  <a:lnTo>
                    <a:pt x="6" y="2"/>
                  </a:lnTo>
                  <a:lnTo>
                    <a:pt x="2" y="2"/>
                  </a:ln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4" name="Freeform 247">
              <a:extLst>
                <a:ext uri="{FF2B5EF4-FFF2-40B4-BE49-F238E27FC236}">
                  <a16:creationId xmlns:a16="http://schemas.microsoft.com/office/drawing/2014/main" id="{FB396D7A-4B80-40EB-B56A-F4ECB53C8A29}"/>
                </a:ext>
              </a:extLst>
            </p:cNvPr>
            <p:cNvSpPr>
              <a:spLocks/>
            </p:cNvSpPr>
            <p:nvPr/>
          </p:nvSpPr>
          <p:spPr bwMode="auto">
            <a:xfrm>
              <a:off x="2521392" y="2942138"/>
              <a:ext cx="7769" cy="7769"/>
            </a:xfrm>
            <a:custGeom>
              <a:avLst/>
              <a:gdLst/>
              <a:ahLst/>
              <a:cxnLst>
                <a:cxn ang="0">
                  <a:pos x="0" y="0"/>
                </a:cxn>
                <a:cxn ang="0">
                  <a:pos x="0" y="0"/>
                </a:cxn>
                <a:cxn ang="0">
                  <a:pos x="0" y="2"/>
                </a:cxn>
                <a:cxn ang="0">
                  <a:pos x="0" y="6"/>
                </a:cxn>
                <a:cxn ang="0">
                  <a:pos x="2" y="6"/>
                </a:cxn>
                <a:cxn ang="0">
                  <a:pos x="6" y="6"/>
                </a:cxn>
                <a:cxn ang="0">
                  <a:pos x="6" y="2"/>
                </a:cxn>
                <a:cxn ang="0">
                  <a:pos x="2" y="2"/>
                </a:cxn>
                <a:cxn ang="0">
                  <a:pos x="2" y="0"/>
                </a:cxn>
                <a:cxn ang="0">
                  <a:pos x="0" y="0"/>
                </a:cxn>
              </a:cxnLst>
              <a:rect l="0" t="0" r="r" b="b"/>
              <a:pathLst>
                <a:path w="6" h="6">
                  <a:moveTo>
                    <a:pt x="0" y="0"/>
                  </a:moveTo>
                  <a:lnTo>
                    <a:pt x="0" y="0"/>
                  </a:lnTo>
                  <a:lnTo>
                    <a:pt x="0" y="2"/>
                  </a:lnTo>
                  <a:lnTo>
                    <a:pt x="0" y="6"/>
                  </a:lnTo>
                  <a:lnTo>
                    <a:pt x="2" y="6"/>
                  </a:lnTo>
                  <a:lnTo>
                    <a:pt x="6" y="6"/>
                  </a:lnTo>
                  <a:lnTo>
                    <a:pt x="6" y="2"/>
                  </a:lnTo>
                  <a:lnTo>
                    <a:pt x="2" y="2"/>
                  </a:lnTo>
                  <a:lnTo>
                    <a:pt x="2"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5" name="Freeform 248">
              <a:extLst>
                <a:ext uri="{FF2B5EF4-FFF2-40B4-BE49-F238E27FC236}">
                  <a16:creationId xmlns:a16="http://schemas.microsoft.com/office/drawing/2014/main" id="{F0CDB4A9-8F82-469D-8D52-34AE9D9BF337}"/>
                </a:ext>
              </a:extLst>
            </p:cNvPr>
            <p:cNvSpPr>
              <a:spLocks/>
            </p:cNvSpPr>
            <p:nvPr/>
          </p:nvSpPr>
          <p:spPr bwMode="auto">
            <a:xfrm>
              <a:off x="2495496" y="2934369"/>
              <a:ext cx="2590" cy="7769"/>
            </a:xfrm>
            <a:custGeom>
              <a:avLst/>
              <a:gdLst/>
              <a:ahLst/>
              <a:cxnLst>
                <a:cxn ang="0">
                  <a:pos x="0" y="0"/>
                </a:cxn>
                <a:cxn ang="0">
                  <a:pos x="0" y="0"/>
                </a:cxn>
                <a:cxn ang="0">
                  <a:pos x="2" y="0"/>
                </a:cxn>
                <a:cxn ang="0">
                  <a:pos x="2" y="2"/>
                </a:cxn>
                <a:cxn ang="0">
                  <a:pos x="2" y="6"/>
                </a:cxn>
                <a:cxn ang="0">
                  <a:pos x="0" y="6"/>
                </a:cxn>
                <a:cxn ang="0">
                  <a:pos x="0" y="2"/>
                </a:cxn>
                <a:cxn ang="0">
                  <a:pos x="0" y="0"/>
                </a:cxn>
              </a:cxnLst>
              <a:rect l="0" t="0" r="r" b="b"/>
              <a:pathLst>
                <a:path w="2" h="6">
                  <a:moveTo>
                    <a:pt x="0" y="0"/>
                  </a:moveTo>
                  <a:lnTo>
                    <a:pt x="0" y="0"/>
                  </a:lnTo>
                  <a:lnTo>
                    <a:pt x="2" y="0"/>
                  </a:lnTo>
                  <a:lnTo>
                    <a:pt x="2" y="2"/>
                  </a:lnTo>
                  <a:lnTo>
                    <a:pt x="2" y="6"/>
                  </a:lnTo>
                  <a:lnTo>
                    <a:pt x="0" y="6"/>
                  </a:ln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6" name="Freeform 249">
              <a:extLst>
                <a:ext uri="{FF2B5EF4-FFF2-40B4-BE49-F238E27FC236}">
                  <a16:creationId xmlns:a16="http://schemas.microsoft.com/office/drawing/2014/main" id="{03E45FA0-7214-4A6B-ACA2-B49FF429EBA7}"/>
                </a:ext>
              </a:extLst>
            </p:cNvPr>
            <p:cNvSpPr>
              <a:spLocks/>
            </p:cNvSpPr>
            <p:nvPr/>
          </p:nvSpPr>
          <p:spPr bwMode="auto">
            <a:xfrm>
              <a:off x="2495496" y="2934369"/>
              <a:ext cx="2590" cy="7769"/>
            </a:xfrm>
            <a:custGeom>
              <a:avLst/>
              <a:gdLst/>
              <a:ahLst/>
              <a:cxnLst>
                <a:cxn ang="0">
                  <a:pos x="0" y="0"/>
                </a:cxn>
                <a:cxn ang="0">
                  <a:pos x="0" y="0"/>
                </a:cxn>
                <a:cxn ang="0">
                  <a:pos x="2" y="0"/>
                </a:cxn>
                <a:cxn ang="0">
                  <a:pos x="2" y="2"/>
                </a:cxn>
                <a:cxn ang="0">
                  <a:pos x="2" y="6"/>
                </a:cxn>
                <a:cxn ang="0">
                  <a:pos x="0" y="6"/>
                </a:cxn>
                <a:cxn ang="0">
                  <a:pos x="0" y="2"/>
                </a:cxn>
                <a:cxn ang="0">
                  <a:pos x="0" y="0"/>
                </a:cxn>
              </a:cxnLst>
              <a:rect l="0" t="0" r="r" b="b"/>
              <a:pathLst>
                <a:path w="2" h="6">
                  <a:moveTo>
                    <a:pt x="0" y="0"/>
                  </a:moveTo>
                  <a:lnTo>
                    <a:pt x="0" y="0"/>
                  </a:lnTo>
                  <a:lnTo>
                    <a:pt x="2" y="0"/>
                  </a:lnTo>
                  <a:lnTo>
                    <a:pt x="2" y="2"/>
                  </a:lnTo>
                  <a:lnTo>
                    <a:pt x="2" y="6"/>
                  </a:lnTo>
                  <a:lnTo>
                    <a:pt x="0" y="6"/>
                  </a:lnTo>
                  <a:lnTo>
                    <a:pt x="0"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7" name="Freeform 250">
              <a:extLst>
                <a:ext uri="{FF2B5EF4-FFF2-40B4-BE49-F238E27FC236}">
                  <a16:creationId xmlns:a16="http://schemas.microsoft.com/office/drawing/2014/main" id="{01FD0EFB-77A3-46B4-85BA-4B251BEC40C9}"/>
                </a:ext>
              </a:extLst>
            </p:cNvPr>
            <p:cNvSpPr>
              <a:spLocks/>
            </p:cNvSpPr>
            <p:nvPr/>
          </p:nvSpPr>
          <p:spPr bwMode="auto">
            <a:xfrm>
              <a:off x="2534340" y="2926600"/>
              <a:ext cx="15538" cy="12948"/>
            </a:xfrm>
            <a:custGeom>
              <a:avLst/>
              <a:gdLst/>
              <a:ahLst/>
              <a:cxnLst>
                <a:cxn ang="0">
                  <a:pos x="4" y="0"/>
                </a:cxn>
                <a:cxn ang="0">
                  <a:pos x="4" y="0"/>
                </a:cxn>
                <a:cxn ang="0">
                  <a:pos x="4" y="2"/>
                </a:cxn>
                <a:cxn ang="0">
                  <a:pos x="0" y="2"/>
                </a:cxn>
                <a:cxn ang="0">
                  <a:pos x="2" y="8"/>
                </a:cxn>
                <a:cxn ang="0">
                  <a:pos x="4" y="10"/>
                </a:cxn>
                <a:cxn ang="0">
                  <a:pos x="8" y="10"/>
                </a:cxn>
                <a:cxn ang="0">
                  <a:pos x="8" y="8"/>
                </a:cxn>
                <a:cxn ang="0">
                  <a:pos x="12" y="8"/>
                </a:cxn>
                <a:cxn ang="0">
                  <a:pos x="12" y="8"/>
                </a:cxn>
                <a:cxn ang="0">
                  <a:pos x="12" y="4"/>
                </a:cxn>
                <a:cxn ang="0">
                  <a:pos x="12" y="6"/>
                </a:cxn>
                <a:cxn ang="0">
                  <a:pos x="8" y="4"/>
                </a:cxn>
                <a:cxn ang="0">
                  <a:pos x="6" y="0"/>
                </a:cxn>
                <a:cxn ang="0">
                  <a:pos x="4" y="0"/>
                </a:cxn>
              </a:cxnLst>
              <a:rect l="0" t="0" r="r" b="b"/>
              <a:pathLst>
                <a:path w="12" h="10">
                  <a:moveTo>
                    <a:pt x="4" y="0"/>
                  </a:moveTo>
                  <a:lnTo>
                    <a:pt x="4" y="0"/>
                  </a:lnTo>
                  <a:lnTo>
                    <a:pt x="4" y="2"/>
                  </a:lnTo>
                  <a:lnTo>
                    <a:pt x="0" y="2"/>
                  </a:lnTo>
                  <a:lnTo>
                    <a:pt x="2" y="8"/>
                  </a:lnTo>
                  <a:lnTo>
                    <a:pt x="4" y="10"/>
                  </a:lnTo>
                  <a:lnTo>
                    <a:pt x="8" y="10"/>
                  </a:lnTo>
                  <a:lnTo>
                    <a:pt x="8" y="8"/>
                  </a:lnTo>
                  <a:lnTo>
                    <a:pt x="12" y="8"/>
                  </a:lnTo>
                  <a:lnTo>
                    <a:pt x="12" y="8"/>
                  </a:lnTo>
                  <a:lnTo>
                    <a:pt x="12" y="4"/>
                  </a:lnTo>
                  <a:lnTo>
                    <a:pt x="12" y="6"/>
                  </a:lnTo>
                  <a:lnTo>
                    <a:pt x="8" y="4"/>
                  </a:lnTo>
                  <a:lnTo>
                    <a:pt x="6"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8" name="Freeform 251">
              <a:extLst>
                <a:ext uri="{FF2B5EF4-FFF2-40B4-BE49-F238E27FC236}">
                  <a16:creationId xmlns:a16="http://schemas.microsoft.com/office/drawing/2014/main" id="{42B58276-F1EB-4974-A2E5-B60EE418522D}"/>
                </a:ext>
              </a:extLst>
            </p:cNvPr>
            <p:cNvSpPr>
              <a:spLocks/>
            </p:cNvSpPr>
            <p:nvPr/>
          </p:nvSpPr>
          <p:spPr bwMode="auto">
            <a:xfrm>
              <a:off x="2534340" y="2926600"/>
              <a:ext cx="15538" cy="12948"/>
            </a:xfrm>
            <a:custGeom>
              <a:avLst/>
              <a:gdLst/>
              <a:ahLst/>
              <a:cxnLst>
                <a:cxn ang="0">
                  <a:pos x="4" y="0"/>
                </a:cxn>
                <a:cxn ang="0">
                  <a:pos x="4" y="0"/>
                </a:cxn>
                <a:cxn ang="0">
                  <a:pos x="4" y="2"/>
                </a:cxn>
                <a:cxn ang="0">
                  <a:pos x="0" y="2"/>
                </a:cxn>
                <a:cxn ang="0">
                  <a:pos x="2" y="8"/>
                </a:cxn>
                <a:cxn ang="0">
                  <a:pos x="4" y="10"/>
                </a:cxn>
                <a:cxn ang="0">
                  <a:pos x="8" y="10"/>
                </a:cxn>
                <a:cxn ang="0">
                  <a:pos x="8" y="8"/>
                </a:cxn>
                <a:cxn ang="0">
                  <a:pos x="12" y="8"/>
                </a:cxn>
                <a:cxn ang="0">
                  <a:pos x="12" y="8"/>
                </a:cxn>
                <a:cxn ang="0">
                  <a:pos x="12" y="4"/>
                </a:cxn>
                <a:cxn ang="0">
                  <a:pos x="12" y="6"/>
                </a:cxn>
                <a:cxn ang="0">
                  <a:pos x="8" y="4"/>
                </a:cxn>
                <a:cxn ang="0">
                  <a:pos x="6" y="0"/>
                </a:cxn>
                <a:cxn ang="0">
                  <a:pos x="4" y="0"/>
                </a:cxn>
              </a:cxnLst>
              <a:rect l="0" t="0" r="r" b="b"/>
              <a:pathLst>
                <a:path w="12" h="10">
                  <a:moveTo>
                    <a:pt x="4" y="0"/>
                  </a:moveTo>
                  <a:lnTo>
                    <a:pt x="4" y="0"/>
                  </a:lnTo>
                  <a:lnTo>
                    <a:pt x="4" y="2"/>
                  </a:lnTo>
                  <a:lnTo>
                    <a:pt x="0" y="2"/>
                  </a:lnTo>
                  <a:lnTo>
                    <a:pt x="2" y="8"/>
                  </a:lnTo>
                  <a:lnTo>
                    <a:pt x="4" y="10"/>
                  </a:lnTo>
                  <a:lnTo>
                    <a:pt x="8" y="10"/>
                  </a:lnTo>
                  <a:lnTo>
                    <a:pt x="8" y="8"/>
                  </a:lnTo>
                  <a:lnTo>
                    <a:pt x="12" y="8"/>
                  </a:lnTo>
                  <a:lnTo>
                    <a:pt x="12" y="8"/>
                  </a:lnTo>
                  <a:lnTo>
                    <a:pt x="12" y="4"/>
                  </a:lnTo>
                  <a:lnTo>
                    <a:pt x="12" y="6"/>
                  </a:lnTo>
                  <a:lnTo>
                    <a:pt x="8" y="4"/>
                  </a:lnTo>
                  <a:lnTo>
                    <a:pt x="6"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9" name="Freeform 252">
              <a:extLst>
                <a:ext uri="{FF2B5EF4-FFF2-40B4-BE49-F238E27FC236}">
                  <a16:creationId xmlns:a16="http://schemas.microsoft.com/office/drawing/2014/main" id="{C262F5EF-E4D1-49CB-A349-5F53F07763D1}"/>
                </a:ext>
              </a:extLst>
            </p:cNvPr>
            <p:cNvSpPr>
              <a:spLocks/>
            </p:cNvSpPr>
            <p:nvPr/>
          </p:nvSpPr>
          <p:spPr bwMode="auto">
            <a:xfrm>
              <a:off x="2529161" y="2905884"/>
              <a:ext cx="7769" cy="12948"/>
            </a:xfrm>
            <a:custGeom>
              <a:avLst/>
              <a:gdLst/>
              <a:ahLst/>
              <a:cxnLst>
                <a:cxn ang="0">
                  <a:pos x="2" y="0"/>
                </a:cxn>
                <a:cxn ang="0">
                  <a:pos x="2" y="0"/>
                </a:cxn>
                <a:cxn ang="0">
                  <a:pos x="0" y="2"/>
                </a:cxn>
                <a:cxn ang="0">
                  <a:pos x="4" y="6"/>
                </a:cxn>
                <a:cxn ang="0">
                  <a:pos x="6" y="10"/>
                </a:cxn>
                <a:cxn ang="0">
                  <a:pos x="4" y="8"/>
                </a:cxn>
                <a:cxn ang="0">
                  <a:pos x="4" y="4"/>
                </a:cxn>
                <a:cxn ang="0">
                  <a:pos x="2" y="2"/>
                </a:cxn>
                <a:cxn ang="0">
                  <a:pos x="4" y="0"/>
                </a:cxn>
                <a:cxn ang="0">
                  <a:pos x="2" y="0"/>
                </a:cxn>
              </a:cxnLst>
              <a:rect l="0" t="0" r="r" b="b"/>
              <a:pathLst>
                <a:path w="6" h="10">
                  <a:moveTo>
                    <a:pt x="2" y="0"/>
                  </a:moveTo>
                  <a:lnTo>
                    <a:pt x="2" y="0"/>
                  </a:lnTo>
                  <a:lnTo>
                    <a:pt x="0" y="2"/>
                  </a:lnTo>
                  <a:lnTo>
                    <a:pt x="4" y="6"/>
                  </a:lnTo>
                  <a:lnTo>
                    <a:pt x="6" y="10"/>
                  </a:lnTo>
                  <a:lnTo>
                    <a:pt x="4" y="8"/>
                  </a:lnTo>
                  <a:lnTo>
                    <a:pt x="4" y="4"/>
                  </a:lnTo>
                  <a:lnTo>
                    <a:pt x="2" y="2"/>
                  </a:lnTo>
                  <a:lnTo>
                    <a:pt x="4"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0" name="Freeform 253">
              <a:extLst>
                <a:ext uri="{FF2B5EF4-FFF2-40B4-BE49-F238E27FC236}">
                  <a16:creationId xmlns:a16="http://schemas.microsoft.com/office/drawing/2014/main" id="{4331AD77-6D10-4F88-B8D4-5325C382955D}"/>
                </a:ext>
              </a:extLst>
            </p:cNvPr>
            <p:cNvSpPr>
              <a:spLocks/>
            </p:cNvSpPr>
            <p:nvPr/>
          </p:nvSpPr>
          <p:spPr bwMode="auto">
            <a:xfrm>
              <a:off x="2529161" y="2905884"/>
              <a:ext cx="7769" cy="12948"/>
            </a:xfrm>
            <a:custGeom>
              <a:avLst/>
              <a:gdLst/>
              <a:ahLst/>
              <a:cxnLst>
                <a:cxn ang="0">
                  <a:pos x="2" y="0"/>
                </a:cxn>
                <a:cxn ang="0">
                  <a:pos x="2" y="0"/>
                </a:cxn>
                <a:cxn ang="0">
                  <a:pos x="0" y="2"/>
                </a:cxn>
                <a:cxn ang="0">
                  <a:pos x="4" y="6"/>
                </a:cxn>
                <a:cxn ang="0">
                  <a:pos x="6" y="10"/>
                </a:cxn>
                <a:cxn ang="0">
                  <a:pos x="4" y="8"/>
                </a:cxn>
                <a:cxn ang="0">
                  <a:pos x="4" y="4"/>
                </a:cxn>
                <a:cxn ang="0">
                  <a:pos x="2" y="2"/>
                </a:cxn>
                <a:cxn ang="0">
                  <a:pos x="4" y="0"/>
                </a:cxn>
                <a:cxn ang="0">
                  <a:pos x="2" y="0"/>
                </a:cxn>
              </a:cxnLst>
              <a:rect l="0" t="0" r="r" b="b"/>
              <a:pathLst>
                <a:path w="6" h="10">
                  <a:moveTo>
                    <a:pt x="2" y="0"/>
                  </a:moveTo>
                  <a:lnTo>
                    <a:pt x="2" y="0"/>
                  </a:lnTo>
                  <a:lnTo>
                    <a:pt x="0" y="2"/>
                  </a:lnTo>
                  <a:lnTo>
                    <a:pt x="4" y="6"/>
                  </a:lnTo>
                  <a:lnTo>
                    <a:pt x="6" y="10"/>
                  </a:lnTo>
                  <a:lnTo>
                    <a:pt x="4" y="8"/>
                  </a:lnTo>
                  <a:lnTo>
                    <a:pt x="4" y="4"/>
                  </a:lnTo>
                  <a:lnTo>
                    <a:pt x="2" y="2"/>
                  </a:lnTo>
                  <a:lnTo>
                    <a:pt x="4"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1" name="Freeform 254">
              <a:extLst>
                <a:ext uri="{FF2B5EF4-FFF2-40B4-BE49-F238E27FC236}">
                  <a16:creationId xmlns:a16="http://schemas.microsoft.com/office/drawing/2014/main" id="{9EF0436A-C5C8-4B3C-9165-D1D02FEC0E38}"/>
                </a:ext>
              </a:extLst>
            </p:cNvPr>
            <p:cNvSpPr>
              <a:spLocks/>
            </p:cNvSpPr>
            <p:nvPr/>
          </p:nvSpPr>
          <p:spPr bwMode="auto">
            <a:xfrm>
              <a:off x="1912834" y="2882577"/>
              <a:ext cx="2590" cy="1295"/>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2" name="Freeform 255">
              <a:extLst>
                <a:ext uri="{FF2B5EF4-FFF2-40B4-BE49-F238E27FC236}">
                  <a16:creationId xmlns:a16="http://schemas.microsoft.com/office/drawing/2014/main" id="{EF55AA8B-60C9-4C1E-8163-2E8A2B5ADF4A}"/>
                </a:ext>
              </a:extLst>
            </p:cNvPr>
            <p:cNvSpPr>
              <a:spLocks/>
            </p:cNvSpPr>
            <p:nvPr/>
          </p:nvSpPr>
          <p:spPr bwMode="auto">
            <a:xfrm>
              <a:off x="1912834" y="2882577"/>
              <a:ext cx="2590" cy="1295"/>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3" name="Freeform 256">
              <a:extLst>
                <a:ext uri="{FF2B5EF4-FFF2-40B4-BE49-F238E27FC236}">
                  <a16:creationId xmlns:a16="http://schemas.microsoft.com/office/drawing/2014/main" id="{1374A790-767B-4C2E-BD0B-823DBFEFB73B}"/>
                </a:ext>
              </a:extLst>
            </p:cNvPr>
            <p:cNvSpPr>
              <a:spLocks/>
            </p:cNvSpPr>
            <p:nvPr/>
          </p:nvSpPr>
          <p:spPr bwMode="auto">
            <a:xfrm>
              <a:off x="1897296" y="2879987"/>
              <a:ext cx="7769" cy="2590"/>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4" name="Freeform 257">
              <a:extLst>
                <a:ext uri="{FF2B5EF4-FFF2-40B4-BE49-F238E27FC236}">
                  <a16:creationId xmlns:a16="http://schemas.microsoft.com/office/drawing/2014/main" id="{B31B3C23-C372-409C-9031-ABE06F874776}"/>
                </a:ext>
              </a:extLst>
            </p:cNvPr>
            <p:cNvSpPr>
              <a:spLocks/>
            </p:cNvSpPr>
            <p:nvPr/>
          </p:nvSpPr>
          <p:spPr bwMode="auto">
            <a:xfrm>
              <a:off x="1897296" y="2879987"/>
              <a:ext cx="7769" cy="2590"/>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5" name="Freeform 258">
              <a:extLst>
                <a:ext uri="{FF2B5EF4-FFF2-40B4-BE49-F238E27FC236}">
                  <a16:creationId xmlns:a16="http://schemas.microsoft.com/office/drawing/2014/main" id="{61BA8846-E752-468F-BB07-DA32A43914F1}"/>
                </a:ext>
              </a:extLst>
            </p:cNvPr>
            <p:cNvSpPr>
              <a:spLocks/>
            </p:cNvSpPr>
            <p:nvPr/>
          </p:nvSpPr>
          <p:spPr bwMode="auto">
            <a:xfrm>
              <a:off x="2523982" y="2812658"/>
              <a:ext cx="5179" cy="5179"/>
            </a:xfrm>
            <a:custGeom>
              <a:avLst/>
              <a:gdLst/>
              <a:ahLst/>
              <a:cxnLst>
                <a:cxn ang="0">
                  <a:pos x="0" y="0"/>
                </a:cxn>
                <a:cxn ang="0">
                  <a:pos x="0" y="0"/>
                </a:cxn>
                <a:cxn ang="0">
                  <a:pos x="0" y="4"/>
                </a:cxn>
                <a:cxn ang="0">
                  <a:pos x="4" y="2"/>
                </a:cxn>
                <a:cxn ang="0">
                  <a:pos x="0" y="0"/>
                </a:cxn>
              </a:cxnLst>
              <a:rect l="0" t="0" r="r" b="b"/>
              <a:pathLst>
                <a:path w="4" h="4">
                  <a:moveTo>
                    <a:pt x="0" y="0"/>
                  </a:moveTo>
                  <a:lnTo>
                    <a:pt x="0" y="0"/>
                  </a:lnTo>
                  <a:lnTo>
                    <a:pt x="0" y="4"/>
                  </a:lnTo>
                  <a:lnTo>
                    <a:pt x="4"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6" name="Freeform 259">
              <a:extLst>
                <a:ext uri="{FF2B5EF4-FFF2-40B4-BE49-F238E27FC236}">
                  <a16:creationId xmlns:a16="http://schemas.microsoft.com/office/drawing/2014/main" id="{68E61E2B-0069-4F9C-9643-C1ECD314DF84}"/>
                </a:ext>
              </a:extLst>
            </p:cNvPr>
            <p:cNvSpPr>
              <a:spLocks/>
            </p:cNvSpPr>
            <p:nvPr/>
          </p:nvSpPr>
          <p:spPr bwMode="auto">
            <a:xfrm>
              <a:off x="2523982" y="2812658"/>
              <a:ext cx="5179" cy="5179"/>
            </a:xfrm>
            <a:custGeom>
              <a:avLst/>
              <a:gdLst/>
              <a:ahLst/>
              <a:cxnLst>
                <a:cxn ang="0">
                  <a:pos x="0" y="0"/>
                </a:cxn>
                <a:cxn ang="0">
                  <a:pos x="0" y="0"/>
                </a:cxn>
                <a:cxn ang="0">
                  <a:pos x="0" y="4"/>
                </a:cxn>
                <a:cxn ang="0">
                  <a:pos x="4" y="2"/>
                </a:cxn>
                <a:cxn ang="0">
                  <a:pos x="0" y="0"/>
                </a:cxn>
              </a:cxnLst>
              <a:rect l="0" t="0" r="r" b="b"/>
              <a:pathLst>
                <a:path w="4" h="4">
                  <a:moveTo>
                    <a:pt x="0" y="0"/>
                  </a:moveTo>
                  <a:lnTo>
                    <a:pt x="0" y="0"/>
                  </a:lnTo>
                  <a:lnTo>
                    <a:pt x="0" y="4"/>
                  </a:lnTo>
                  <a:lnTo>
                    <a:pt x="4"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7" name="Freeform 260">
              <a:extLst>
                <a:ext uri="{FF2B5EF4-FFF2-40B4-BE49-F238E27FC236}">
                  <a16:creationId xmlns:a16="http://schemas.microsoft.com/office/drawing/2014/main" id="{A594C02E-F011-4AD0-9040-FF2D20D6F0D1}"/>
                </a:ext>
              </a:extLst>
            </p:cNvPr>
            <p:cNvSpPr>
              <a:spLocks/>
            </p:cNvSpPr>
            <p:nvPr/>
          </p:nvSpPr>
          <p:spPr bwMode="auto">
            <a:xfrm>
              <a:off x="2435935" y="2799710"/>
              <a:ext cx="15538" cy="5179"/>
            </a:xfrm>
            <a:custGeom>
              <a:avLst/>
              <a:gdLst/>
              <a:ahLst/>
              <a:cxnLst>
                <a:cxn ang="0">
                  <a:pos x="8" y="0"/>
                </a:cxn>
                <a:cxn ang="0">
                  <a:pos x="8" y="0"/>
                </a:cxn>
                <a:cxn ang="0">
                  <a:pos x="12" y="0"/>
                </a:cxn>
                <a:cxn ang="0">
                  <a:pos x="10" y="0"/>
                </a:cxn>
                <a:cxn ang="0">
                  <a:pos x="4" y="4"/>
                </a:cxn>
                <a:cxn ang="0">
                  <a:pos x="0" y="2"/>
                </a:cxn>
                <a:cxn ang="0">
                  <a:pos x="4" y="2"/>
                </a:cxn>
                <a:cxn ang="0">
                  <a:pos x="8" y="0"/>
                </a:cxn>
              </a:cxnLst>
              <a:rect l="0" t="0" r="r" b="b"/>
              <a:pathLst>
                <a:path w="12" h="4">
                  <a:moveTo>
                    <a:pt x="8" y="0"/>
                  </a:moveTo>
                  <a:lnTo>
                    <a:pt x="8" y="0"/>
                  </a:lnTo>
                  <a:lnTo>
                    <a:pt x="12" y="0"/>
                  </a:lnTo>
                  <a:lnTo>
                    <a:pt x="10" y="0"/>
                  </a:lnTo>
                  <a:lnTo>
                    <a:pt x="4" y="4"/>
                  </a:lnTo>
                  <a:lnTo>
                    <a:pt x="0" y="2"/>
                  </a:lnTo>
                  <a:lnTo>
                    <a:pt x="4" y="2"/>
                  </a:lnTo>
                  <a:lnTo>
                    <a:pt x="8"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8" name="Freeform 261">
              <a:extLst>
                <a:ext uri="{FF2B5EF4-FFF2-40B4-BE49-F238E27FC236}">
                  <a16:creationId xmlns:a16="http://schemas.microsoft.com/office/drawing/2014/main" id="{28B25E08-28C1-46C5-9F09-CA3667CC9B72}"/>
                </a:ext>
              </a:extLst>
            </p:cNvPr>
            <p:cNvSpPr>
              <a:spLocks/>
            </p:cNvSpPr>
            <p:nvPr/>
          </p:nvSpPr>
          <p:spPr bwMode="auto">
            <a:xfrm>
              <a:off x="2435935" y="2799710"/>
              <a:ext cx="15538" cy="5179"/>
            </a:xfrm>
            <a:custGeom>
              <a:avLst/>
              <a:gdLst/>
              <a:ahLst/>
              <a:cxnLst>
                <a:cxn ang="0">
                  <a:pos x="8" y="0"/>
                </a:cxn>
                <a:cxn ang="0">
                  <a:pos x="8" y="0"/>
                </a:cxn>
                <a:cxn ang="0">
                  <a:pos x="12" y="0"/>
                </a:cxn>
                <a:cxn ang="0">
                  <a:pos x="10" y="0"/>
                </a:cxn>
                <a:cxn ang="0">
                  <a:pos x="4" y="4"/>
                </a:cxn>
                <a:cxn ang="0">
                  <a:pos x="0" y="2"/>
                </a:cxn>
                <a:cxn ang="0">
                  <a:pos x="4" y="2"/>
                </a:cxn>
                <a:cxn ang="0">
                  <a:pos x="8" y="0"/>
                </a:cxn>
              </a:cxnLst>
              <a:rect l="0" t="0" r="r" b="b"/>
              <a:pathLst>
                <a:path w="12" h="4">
                  <a:moveTo>
                    <a:pt x="8" y="0"/>
                  </a:moveTo>
                  <a:lnTo>
                    <a:pt x="8" y="0"/>
                  </a:lnTo>
                  <a:lnTo>
                    <a:pt x="12" y="0"/>
                  </a:lnTo>
                  <a:lnTo>
                    <a:pt x="10" y="0"/>
                  </a:lnTo>
                  <a:lnTo>
                    <a:pt x="4" y="4"/>
                  </a:lnTo>
                  <a:lnTo>
                    <a:pt x="0" y="2"/>
                  </a:lnTo>
                  <a:lnTo>
                    <a:pt x="4" y="2"/>
                  </a:lnTo>
                  <a:lnTo>
                    <a:pt x="8"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9" name="Freeform 262">
              <a:extLst>
                <a:ext uri="{FF2B5EF4-FFF2-40B4-BE49-F238E27FC236}">
                  <a16:creationId xmlns:a16="http://schemas.microsoft.com/office/drawing/2014/main" id="{069F3D1C-80F1-4168-8288-7A1EF2103A63}"/>
                </a:ext>
              </a:extLst>
            </p:cNvPr>
            <p:cNvSpPr>
              <a:spLocks/>
            </p:cNvSpPr>
            <p:nvPr/>
          </p:nvSpPr>
          <p:spPr bwMode="auto">
            <a:xfrm>
              <a:off x="2534340" y="2768634"/>
              <a:ext cx="1295" cy="2590"/>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0" name="Freeform 263">
              <a:extLst>
                <a:ext uri="{FF2B5EF4-FFF2-40B4-BE49-F238E27FC236}">
                  <a16:creationId xmlns:a16="http://schemas.microsoft.com/office/drawing/2014/main" id="{1D8CF89B-5BB3-427D-A483-3BDAD9E1FAB2}"/>
                </a:ext>
              </a:extLst>
            </p:cNvPr>
            <p:cNvSpPr>
              <a:spLocks/>
            </p:cNvSpPr>
            <p:nvPr/>
          </p:nvSpPr>
          <p:spPr bwMode="auto">
            <a:xfrm>
              <a:off x="2534340" y="2768634"/>
              <a:ext cx="1295" cy="2590"/>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1" name="Freeform 264">
              <a:extLst>
                <a:ext uri="{FF2B5EF4-FFF2-40B4-BE49-F238E27FC236}">
                  <a16:creationId xmlns:a16="http://schemas.microsoft.com/office/drawing/2014/main" id="{13B9EE7A-A483-4BB3-98D3-C7E11F54628B}"/>
                </a:ext>
              </a:extLst>
            </p:cNvPr>
            <p:cNvSpPr>
              <a:spLocks/>
            </p:cNvSpPr>
            <p:nvPr/>
          </p:nvSpPr>
          <p:spPr bwMode="auto">
            <a:xfrm>
              <a:off x="2523982" y="2768634"/>
              <a:ext cx="1295" cy="5179"/>
            </a:xfrm>
            <a:custGeom>
              <a:avLst/>
              <a:gdLst/>
              <a:ahLst/>
              <a:cxnLst>
                <a:cxn ang="0">
                  <a:pos x="0" y="0"/>
                </a:cxn>
                <a:cxn ang="0">
                  <a:pos x="0" y="0"/>
                </a:cxn>
                <a:cxn ang="0">
                  <a:pos x="0" y="4"/>
                </a:cxn>
                <a:cxn ang="0">
                  <a:pos x="0" y="0"/>
                </a:cxn>
              </a:cxnLst>
              <a:rect l="0" t="0" r="r" b="b"/>
              <a:pathLst>
                <a:path h="4">
                  <a:moveTo>
                    <a:pt x="0" y="0"/>
                  </a:moveTo>
                  <a:lnTo>
                    <a:pt x="0" y="0"/>
                  </a:lnTo>
                  <a:lnTo>
                    <a:pt x="0" y="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2" name="Freeform 265">
              <a:extLst>
                <a:ext uri="{FF2B5EF4-FFF2-40B4-BE49-F238E27FC236}">
                  <a16:creationId xmlns:a16="http://schemas.microsoft.com/office/drawing/2014/main" id="{B2EC089C-C5E8-4800-8A4E-B11F13450F8B}"/>
                </a:ext>
              </a:extLst>
            </p:cNvPr>
            <p:cNvSpPr>
              <a:spLocks/>
            </p:cNvSpPr>
            <p:nvPr/>
          </p:nvSpPr>
          <p:spPr bwMode="auto">
            <a:xfrm>
              <a:off x="2523982" y="2768634"/>
              <a:ext cx="1295" cy="5179"/>
            </a:xfrm>
            <a:custGeom>
              <a:avLst/>
              <a:gdLst/>
              <a:ahLst/>
              <a:cxnLst>
                <a:cxn ang="0">
                  <a:pos x="0" y="0"/>
                </a:cxn>
                <a:cxn ang="0">
                  <a:pos x="0" y="0"/>
                </a:cxn>
                <a:cxn ang="0">
                  <a:pos x="0" y="4"/>
                </a:cxn>
                <a:cxn ang="0">
                  <a:pos x="0" y="0"/>
                </a:cxn>
              </a:cxnLst>
              <a:rect l="0" t="0" r="r" b="b"/>
              <a:pathLst>
                <a:path h="4">
                  <a:moveTo>
                    <a:pt x="0" y="0"/>
                  </a:moveTo>
                  <a:lnTo>
                    <a:pt x="0" y="0"/>
                  </a:lnTo>
                  <a:lnTo>
                    <a:pt x="0" y="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3" name="Freeform 266">
              <a:extLst>
                <a:ext uri="{FF2B5EF4-FFF2-40B4-BE49-F238E27FC236}">
                  <a16:creationId xmlns:a16="http://schemas.microsoft.com/office/drawing/2014/main" id="{A83A5225-4CFE-4DCD-AEA3-460C06815572}"/>
                </a:ext>
              </a:extLst>
            </p:cNvPr>
            <p:cNvSpPr>
              <a:spLocks/>
            </p:cNvSpPr>
            <p:nvPr/>
          </p:nvSpPr>
          <p:spPr bwMode="auto">
            <a:xfrm>
              <a:off x="2125182" y="2758276"/>
              <a:ext cx="31075" cy="18127"/>
            </a:xfrm>
            <a:custGeom>
              <a:avLst/>
              <a:gdLst/>
              <a:ahLst/>
              <a:cxnLst>
                <a:cxn ang="0">
                  <a:pos x="0" y="0"/>
                </a:cxn>
                <a:cxn ang="0">
                  <a:pos x="0" y="0"/>
                </a:cxn>
                <a:cxn ang="0">
                  <a:pos x="2" y="6"/>
                </a:cxn>
                <a:cxn ang="0">
                  <a:pos x="4" y="8"/>
                </a:cxn>
                <a:cxn ang="0">
                  <a:pos x="10" y="12"/>
                </a:cxn>
                <a:cxn ang="0">
                  <a:pos x="22" y="14"/>
                </a:cxn>
                <a:cxn ang="0">
                  <a:pos x="24" y="14"/>
                </a:cxn>
                <a:cxn ang="0">
                  <a:pos x="24" y="12"/>
                </a:cxn>
                <a:cxn ang="0">
                  <a:pos x="22" y="10"/>
                </a:cxn>
                <a:cxn ang="0">
                  <a:pos x="16" y="8"/>
                </a:cxn>
                <a:cxn ang="0">
                  <a:pos x="12" y="8"/>
                </a:cxn>
                <a:cxn ang="0">
                  <a:pos x="10" y="4"/>
                </a:cxn>
                <a:cxn ang="0">
                  <a:pos x="6" y="4"/>
                </a:cxn>
                <a:cxn ang="0">
                  <a:pos x="0" y="0"/>
                </a:cxn>
              </a:cxnLst>
              <a:rect l="0" t="0" r="r" b="b"/>
              <a:pathLst>
                <a:path w="24" h="14">
                  <a:moveTo>
                    <a:pt x="0" y="0"/>
                  </a:moveTo>
                  <a:lnTo>
                    <a:pt x="0" y="0"/>
                  </a:lnTo>
                  <a:lnTo>
                    <a:pt x="2" y="6"/>
                  </a:lnTo>
                  <a:lnTo>
                    <a:pt x="4" y="8"/>
                  </a:lnTo>
                  <a:lnTo>
                    <a:pt x="10" y="12"/>
                  </a:lnTo>
                  <a:lnTo>
                    <a:pt x="22" y="14"/>
                  </a:lnTo>
                  <a:lnTo>
                    <a:pt x="24" y="14"/>
                  </a:lnTo>
                  <a:lnTo>
                    <a:pt x="24" y="12"/>
                  </a:lnTo>
                  <a:lnTo>
                    <a:pt x="22" y="10"/>
                  </a:lnTo>
                  <a:lnTo>
                    <a:pt x="16" y="8"/>
                  </a:lnTo>
                  <a:lnTo>
                    <a:pt x="12" y="8"/>
                  </a:lnTo>
                  <a:lnTo>
                    <a:pt x="10" y="4"/>
                  </a:lnTo>
                  <a:lnTo>
                    <a:pt x="6" y="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4" name="Freeform 267">
              <a:extLst>
                <a:ext uri="{FF2B5EF4-FFF2-40B4-BE49-F238E27FC236}">
                  <a16:creationId xmlns:a16="http://schemas.microsoft.com/office/drawing/2014/main" id="{FD91B0CF-282A-46D7-A263-9DED8B17D2D2}"/>
                </a:ext>
              </a:extLst>
            </p:cNvPr>
            <p:cNvSpPr>
              <a:spLocks/>
            </p:cNvSpPr>
            <p:nvPr/>
          </p:nvSpPr>
          <p:spPr bwMode="auto">
            <a:xfrm>
              <a:off x="2125182" y="2758276"/>
              <a:ext cx="31075" cy="18127"/>
            </a:xfrm>
            <a:custGeom>
              <a:avLst/>
              <a:gdLst/>
              <a:ahLst/>
              <a:cxnLst>
                <a:cxn ang="0">
                  <a:pos x="0" y="0"/>
                </a:cxn>
                <a:cxn ang="0">
                  <a:pos x="0" y="0"/>
                </a:cxn>
                <a:cxn ang="0">
                  <a:pos x="2" y="6"/>
                </a:cxn>
                <a:cxn ang="0">
                  <a:pos x="4" y="8"/>
                </a:cxn>
                <a:cxn ang="0">
                  <a:pos x="10" y="12"/>
                </a:cxn>
                <a:cxn ang="0">
                  <a:pos x="22" y="14"/>
                </a:cxn>
                <a:cxn ang="0">
                  <a:pos x="24" y="14"/>
                </a:cxn>
                <a:cxn ang="0">
                  <a:pos x="24" y="12"/>
                </a:cxn>
                <a:cxn ang="0">
                  <a:pos x="22" y="10"/>
                </a:cxn>
                <a:cxn ang="0">
                  <a:pos x="16" y="8"/>
                </a:cxn>
                <a:cxn ang="0">
                  <a:pos x="12" y="8"/>
                </a:cxn>
                <a:cxn ang="0">
                  <a:pos x="10" y="4"/>
                </a:cxn>
                <a:cxn ang="0">
                  <a:pos x="6" y="4"/>
                </a:cxn>
                <a:cxn ang="0">
                  <a:pos x="0" y="0"/>
                </a:cxn>
              </a:cxnLst>
              <a:rect l="0" t="0" r="r" b="b"/>
              <a:pathLst>
                <a:path w="24" h="14">
                  <a:moveTo>
                    <a:pt x="0" y="0"/>
                  </a:moveTo>
                  <a:lnTo>
                    <a:pt x="0" y="0"/>
                  </a:lnTo>
                  <a:lnTo>
                    <a:pt x="2" y="6"/>
                  </a:lnTo>
                  <a:lnTo>
                    <a:pt x="4" y="8"/>
                  </a:lnTo>
                  <a:lnTo>
                    <a:pt x="10" y="12"/>
                  </a:lnTo>
                  <a:lnTo>
                    <a:pt x="22" y="14"/>
                  </a:lnTo>
                  <a:lnTo>
                    <a:pt x="24" y="14"/>
                  </a:lnTo>
                  <a:lnTo>
                    <a:pt x="24" y="12"/>
                  </a:lnTo>
                  <a:lnTo>
                    <a:pt x="22" y="10"/>
                  </a:lnTo>
                  <a:lnTo>
                    <a:pt x="16" y="8"/>
                  </a:lnTo>
                  <a:lnTo>
                    <a:pt x="12" y="8"/>
                  </a:lnTo>
                  <a:lnTo>
                    <a:pt x="10" y="4"/>
                  </a:lnTo>
                  <a:lnTo>
                    <a:pt x="6" y="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5" name="Freeform 268">
              <a:extLst>
                <a:ext uri="{FF2B5EF4-FFF2-40B4-BE49-F238E27FC236}">
                  <a16:creationId xmlns:a16="http://schemas.microsoft.com/office/drawing/2014/main" id="{A622248E-BF42-476C-9C21-858FEE9885EC}"/>
                </a:ext>
              </a:extLst>
            </p:cNvPr>
            <p:cNvSpPr>
              <a:spLocks/>
            </p:cNvSpPr>
            <p:nvPr/>
          </p:nvSpPr>
          <p:spPr bwMode="auto">
            <a:xfrm>
              <a:off x="2334940" y="2740148"/>
              <a:ext cx="12948" cy="7769"/>
            </a:xfrm>
            <a:custGeom>
              <a:avLst/>
              <a:gdLst/>
              <a:ahLst/>
              <a:cxnLst>
                <a:cxn ang="0">
                  <a:pos x="8" y="0"/>
                </a:cxn>
                <a:cxn ang="0">
                  <a:pos x="8" y="0"/>
                </a:cxn>
                <a:cxn ang="0">
                  <a:pos x="10" y="2"/>
                </a:cxn>
                <a:cxn ang="0">
                  <a:pos x="6" y="4"/>
                </a:cxn>
                <a:cxn ang="0">
                  <a:pos x="6" y="6"/>
                </a:cxn>
                <a:cxn ang="0">
                  <a:pos x="0" y="4"/>
                </a:cxn>
                <a:cxn ang="0">
                  <a:pos x="0" y="6"/>
                </a:cxn>
                <a:cxn ang="0">
                  <a:pos x="0" y="4"/>
                </a:cxn>
                <a:cxn ang="0">
                  <a:pos x="0" y="2"/>
                </a:cxn>
                <a:cxn ang="0">
                  <a:pos x="8" y="0"/>
                </a:cxn>
              </a:cxnLst>
              <a:rect l="0" t="0" r="r" b="b"/>
              <a:pathLst>
                <a:path w="10" h="6">
                  <a:moveTo>
                    <a:pt x="8" y="0"/>
                  </a:moveTo>
                  <a:lnTo>
                    <a:pt x="8" y="0"/>
                  </a:lnTo>
                  <a:lnTo>
                    <a:pt x="10" y="2"/>
                  </a:lnTo>
                  <a:lnTo>
                    <a:pt x="6" y="4"/>
                  </a:lnTo>
                  <a:lnTo>
                    <a:pt x="6" y="6"/>
                  </a:lnTo>
                  <a:lnTo>
                    <a:pt x="0" y="4"/>
                  </a:lnTo>
                  <a:lnTo>
                    <a:pt x="0" y="6"/>
                  </a:lnTo>
                  <a:lnTo>
                    <a:pt x="0" y="4"/>
                  </a:lnTo>
                  <a:lnTo>
                    <a:pt x="0" y="2"/>
                  </a:lnTo>
                  <a:lnTo>
                    <a:pt x="8"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6" name="Freeform 269">
              <a:extLst>
                <a:ext uri="{FF2B5EF4-FFF2-40B4-BE49-F238E27FC236}">
                  <a16:creationId xmlns:a16="http://schemas.microsoft.com/office/drawing/2014/main" id="{BF3138B4-6E02-4FEE-BF76-6E6C0941A6EF}"/>
                </a:ext>
              </a:extLst>
            </p:cNvPr>
            <p:cNvSpPr>
              <a:spLocks/>
            </p:cNvSpPr>
            <p:nvPr/>
          </p:nvSpPr>
          <p:spPr bwMode="auto">
            <a:xfrm>
              <a:off x="2334940" y="2740148"/>
              <a:ext cx="12948" cy="7769"/>
            </a:xfrm>
            <a:custGeom>
              <a:avLst/>
              <a:gdLst/>
              <a:ahLst/>
              <a:cxnLst>
                <a:cxn ang="0">
                  <a:pos x="8" y="0"/>
                </a:cxn>
                <a:cxn ang="0">
                  <a:pos x="8" y="0"/>
                </a:cxn>
                <a:cxn ang="0">
                  <a:pos x="10" y="2"/>
                </a:cxn>
                <a:cxn ang="0">
                  <a:pos x="6" y="4"/>
                </a:cxn>
                <a:cxn ang="0">
                  <a:pos x="6" y="6"/>
                </a:cxn>
                <a:cxn ang="0">
                  <a:pos x="0" y="4"/>
                </a:cxn>
                <a:cxn ang="0">
                  <a:pos x="0" y="6"/>
                </a:cxn>
                <a:cxn ang="0">
                  <a:pos x="0" y="4"/>
                </a:cxn>
                <a:cxn ang="0">
                  <a:pos x="0" y="2"/>
                </a:cxn>
                <a:cxn ang="0">
                  <a:pos x="8" y="0"/>
                </a:cxn>
              </a:cxnLst>
              <a:rect l="0" t="0" r="r" b="b"/>
              <a:pathLst>
                <a:path w="10" h="6">
                  <a:moveTo>
                    <a:pt x="8" y="0"/>
                  </a:moveTo>
                  <a:lnTo>
                    <a:pt x="8" y="0"/>
                  </a:lnTo>
                  <a:lnTo>
                    <a:pt x="10" y="2"/>
                  </a:lnTo>
                  <a:lnTo>
                    <a:pt x="6" y="4"/>
                  </a:lnTo>
                  <a:lnTo>
                    <a:pt x="6" y="6"/>
                  </a:lnTo>
                  <a:lnTo>
                    <a:pt x="0" y="4"/>
                  </a:lnTo>
                  <a:lnTo>
                    <a:pt x="0" y="6"/>
                  </a:lnTo>
                  <a:lnTo>
                    <a:pt x="0" y="4"/>
                  </a:lnTo>
                  <a:lnTo>
                    <a:pt x="0" y="2"/>
                  </a:lnTo>
                  <a:lnTo>
                    <a:pt x="8"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7" name="Freeform 270">
              <a:extLst>
                <a:ext uri="{FF2B5EF4-FFF2-40B4-BE49-F238E27FC236}">
                  <a16:creationId xmlns:a16="http://schemas.microsoft.com/office/drawing/2014/main" id="{BBB18872-3C4C-4935-91AF-9EFA67928002}"/>
                </a:ext>
              </a:extLst>
            </p:cNvPr>
            <p:cNvSpPr>
              <a:spLocks/>
            </p:cNvSpPr>
            <p:nvPr/>
          </p:nvSpPr>
          <p:spPr bwMode="auto">
            <a:xfrm>
              <a:off x="2384143" y="2737559"/>
              <a:ext cx="51792" cy="5179"/>
            </a:xfrm>
            <a:custGeom>
              <a:avLst/>
              <a:gdLst/>
              <a:ahLst/>
              <a:cxnLst>
                <a:cxn ang="0">
                  <a:pos x="12" y="0"/>
                </a:cxn>
                <a:cxn ang="0">
                  <a:pos x="12" y="0"/>
                </a:cxn>
                <a:cxn ang="0">
                  <a:pos x="20" y="0"/>
                </a:cxn>
                <a:cxn ang="0">
                  <a:pos x="30" y="0"/>
                </a:cxn>
                <a:cxn ang="0">
                  <a:pos x="40" y="0"/>
                </a:cxn>
                <a:cxn ang="0">
                  <a:pos x="20" y="2"/>
                </a:cxn>
                <a:cxn ang="0">
                  <a:pos x="14" y="2"/>
                </a:cxn>
                <a:cxn ang="0">
                  <a:pos x="8" y="2"/>
                </a:cxn>
                <a:cxn ang="0">
                  <a:pos x="8" y="4"/>
                </a:cxn>
                <a:cxn ang="0">
                  <a:pos x="4" y="4"/>
                </a:cxn>
                <a:cxn ang="0">
                  <a:pos x="0" y="4"/>
                </a:cxn>
                <a:cxn ang="0">
                  <a:pos x="0" y="2"/>
                </a:cxn>
                <a:cxn ang="0">
                  <a:pos x="2" y="2"/>
                </a:cxn>
                <a:cxn ang="0">
                  <a:pos x="12" y="0"/>
                </a:cxn>
              </a:cxnLst>
              <a:rect l="0" t="0" r="r" b="b"/>
              <a:pathLst>
                <a:path w="40" h="4">
                  <a:moveTo>
                    <a:pt x="12" y="0"/>
                  </a:moveTo>
                  <a:lnTo>
                    <a:pt x="12" y="0"/>
                  </a:lnTo>
                  <a:lnTo>
                    <a:pt x="20" y="0"/>
                  </a:lnTo>
                  <a:lnTo>
                    <a:pt x="30" y="0"/>
                  </a:lnTo>
                  <a:lnTo>
                    <a:pt x="40" y="0"/>
                  </a:lnTo>
                  <a:lnTo>
                    <a:pt x="20" y="2"/>
                  </a:lnTo>
                  <a:lnTo>
                    <a:pt x="14" y="2"/>
                  </a:lnTo>
                  <a:lnTo>
                    <a:pt x="8" y="2"/>
                  </a:lnTo>
                  <a:lnTo>
                    <a:pt x="8" y="4"/>
                  </a:lnTo>
                  <a:lnTo>
                    <a:pt x="4" y="4"/>
                  </a:lnTo>
                  <a:lnTo>
                    <a:pt x="0" y="4"/>
                  </a:lnTo>
                  <a:lnTo>
                    <a:pt x="0" y="2"/>
                  </a:lnTo>
                  <a:lnTo>
                    <a:pt x="2" y="2"/>
                  </a:lnTo>
                  <a:lnTo>
                    <a:pt x="1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8" name="Freeform 271">
              <a:extLst>
                <a:ext uri="{FF2B5EF4-FFF2-40B4-BE49-F238E27FC236}">
                  <a16:creationId xmlns:a16="http://schemas.microsoft.com/office/drawing/2014/main" id="{95422BA9-1FA4-4F0F-BFA2-D547FDE19322}"/>
                </a:ext>
              </a:extLst>
            </p:cNvPr>
            <p:cNvSpPr>
              <a:spLocks/>
            </p:cNvSpPr>
            <p:nvPr/>
          </p:nvSpPr>
          <p:spPr bwMode="auto">
            <a:xfrm>
              <a:off x="2384143" y="2737559"/>
              <a:ext cx="51792" cy="5179"/>
            </a:xfrm>
            <a:custGeom>
              <a:avLst/>
              <a:gdLst/>
              <a:ahLst/>
              <a:cxnLst>
                <a:cxn ang="0">
                  <a:pos x="12" y="0"/>
                </a:cxn>
                <a:cxn ang="0">
                  <a:pos x="12" y="0"/>
                </a:cxn>
                <a:cxn ang="0">
                  <a:pos x="20" y="0"/>
                </a:cxn>
                <a:cxn ang="0">
                  <a:pos x="30" y="0"/>
                </a:cxn>
                <a:cxn ang="0">
                  <a:pos x="40" y="0"/>
                </a:cxn>
                <a:cxn ang="0">
                  <a:pos x="20" y="2"/>
                </a:cxn>
                <a:cxn ang="0">
                  <a:pos x="14" y="2"/>
                </a:cxn>
                <a:cxn ang="0">
                  <a:pos x="8" y="2"/>
                </a:cxn>
                <a:cxn ang="0">
                  <a:pos x="8" y="4"/>
                </a:cxn>
                <a:cxn ang="0">
                  <a:pos x="4" y="4"/>
                </a:cxn>
                <a:cxn ang="0">
                  <a:pos x="0" y="4"/>
                </a:cxn>
                <a:cxn ang="0">
                  <a:pos x="0" y="2"/>
                </a:cxn>
                <a:cxn ang="0">
                  <a:pos x="2" y="2"/>
                </a:cxn>
                <a:cxn ang="0">
                  <a:pos x="12" y="0"/>
                </a:cxn>
              </a:cxnLst>
              <a:rect l="0" t="0" r="r" b="b"/>
              <a:pathLst>
                <a:path w="40" h="4">
                  <a:moveTo>
                    <a:pt x="12" y="0"/>
                  </a:moveTo>
                  <a:lnTo>
                    <a:pt x="12" y="0"/>
                  </a:lnTo>
                  <a:lnTo>
                    <a:pt x="20" y="0"/>
                  </a:lnTo>
                  <a:lnTo>
                    <a:pt x="30" y="0"/>
                  </a:lnTo>
                  <a:lnTo>
                    <a:pt x="40" y="0"/>
                  </a:lnTo>
                  <a:lnTo>
                    <a:pt x="20" y="2"/>
                  </a:lnTo>
                  <a:lnTo>
                    <a:pt x="14" y="2"/>
                  </a:lnTo>
                  <a:lnTo>
                    <a:pt x="8" y="2"/>
                  </a:lnTo>
                  <a:lnTo>
                    <a:pt x="8" y="4"/>
                  </a:lnTo>
                  <a:lnTo>
                    <a:pt x="4" y="4"/>
                  </a:lnTo>
                  <a:lnTo>
                    <a:pt x="0" y="4"/>
                  </a:lnTo>
                  <a:lnTo>
                    <a:pt x="0" y="2"/>
                  </a:lnTo>
                  <a:lnTo>
                    <a:pt x="2" y="2"/>
                  </a:lnTo>
                  <a:lnTo>
                    <a:pt x="1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09" name="Freeform 272">
              <a:extLst>
                <a:ext uri="{FF2B5EF4-FFF2-40B4-BE49-F238E27FC236}">
                  <a16:creationId xmlns:a16="http://schemas.microsoft.com/office/drawing/2014/main" id="{0CB6637D-6F97-4051-A9DE-F6740EFA7468}"/>
                </a:ext>
              </a:extLst>
            </p:cNvPr>
            <p:cNvSpPr>
              <a:spLocks/>
            </p:cNvSpPr>
            <p:nvPr/>
          </p:nvSpPr>
          <p:spPr bwMode="auto">
            <a:xfrm>
              <a:off x="2355657" y="2732380"/>
              <a:ext cx="25896" cy="12948"/>
            </a:xfrm>
            <a:custGeom>
              <a:avLst/>
              <a:gdLst/>
              <a:ahLst/>
              <a:cxnLst>
                <a:cxn ang="0">
                  <a:pos x="2" y="0"/>
                </a:cxn>
                <a:cxn ang="0">
                  <a:pos x="4" y="0"/>
                </a:cxn>
                <a:cxn ang="0">
                  <a:pos x="4" y="4"/>
                </a:cxn>
                <a:cxn ang="0">
                  <a:pos x="6" y="6"/>
                </a:cxn>
                <a:cxn ang="0">
                  <a:pos x="14" y="6"/>
                </a:cxn>
                <a:cxn ang="0">
                  <a:pos x="20" y="8"/>
                </a:cxn>
                <a:cxn ang="0">
                  <a:pos x="14" y="6"/>
                </a:cxn>
                <a:cxn ang="0">
                  <a:pos x="6" y="8"/>
                </a:cxn>
                <a:cxn ang="0">
                  <a:pos x="6" y="10"/>
                </a:cxn>
                <a:cxn ang="0">
                  <a:pos x="4" y="10"/>
                </a:cxn>
                <a:cxn ang="0">
                  <a:pos x="4" y="8"/>
                </a:cxn>
                <a:cxn ang="0">
                  <a:pos x="0" y="8"/>
                </a:cxn>
                <a:cxn ang="0">
                  <a:pos x="0" y="6"/>
                </a:cxn>
                <a:cxn ang="0">
                  <a:pos x="2" y="6"/>
                </a:cxn>
                <a:cxn ang="0">
                  <a:pos x="2" y="2"/>
                </a:cxn>
                <a:cxn ang="0">
                  <a:pos x="2" y="0"/>
                </a:cxn>
              </a:cxnLst>
              <a:rect l="0" t="0" r="r" b="b"/>
              <a:pathLst>
                <a:path w="20" h="10">
                  <a:moveTo>
                    <a:pt x="2" y="0"/>
                  </a:moveTo>
                  <a:lnTo>
                    <a:pt x="4" y="0"/>
                  </a:lnTo>
                  <a:lnTo>
                    <a:pt x="4" y="4"/>
                  </a:lnTo>
                  <a:lnTo>
                    <a:pt x="6" y="6"/>
                  </a:lnTo>
                  <a:lnTo>
                    <a:pt x="14" y="6"/>
                  </a:lnTo>
                  <a:lnTo>
                    <a:pt x="20" y="8"/>
                  </a:lnTo>
                  <a:lnTo>
                    <a:pt x="14" y="6"/>
                  </a:lnTo>
                  <a:lnTo>
                    <a:pt x="6" y="8"/>
                  </a:lnTo>
                  <a:lnTo>
                    <a:pt x="6" y="10"/>
                  </a:lnTo>
                  <a:lnTo>
                    <a:pt x="4" y="10"/>
                  </a:lnTo>
                  <a:lnTo>
                    <a:pt x="4" y="8"/>
                  </a:lnTo>
                  <a:lnTo>
                    <a:pt x="0" y="8"/>
                  </a:lnTo>
                  <a:lnTo>
                    <a:pt x="0" y="6"/>
                  </a:lnTo>
                  <a:lnTo>
                    <a:pt x="2" y="6"/>
                  </a:lnTo>
                  <a:lnTo>
                    <a:pt x="2" y="2"/>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0" name="Freeform 273">
              <a:extLst>
                <a:ext uri="{FF2B5EF4-FFF2-40B4-BE49-F238E27FC236}">
                  <a16:creationId xmlns:a16="http://schemas.microsoft.com/office/drawing/2014/main" id="{6A465AD8-A88E-4344-B307-A62467D6F0DB}"/>
                </a:ext>
              </a:extLst>
            </p:cNvPr>
            <p:cNvSpPr>
              <a:spLocks/>
            </p:cNvSpPr>
            <p:nvPr/>
          </p:nvSpPr>
          <p:spPr bwMode="auto">
            <a:xfrm>
              <a:off x="2355657" y="2732380"/>
              <a:ext cx="25896" cy="12948"/>
            </a:xfrm>
            <a:custGeom>
              <a:avLst/>
              <a:gdLst/>
              <a:ahLst/>
              <a:cxnLst>
                <a:cxn ang="0">
                  <a:pos x="2" y="0"/>
                </a:cxn>
                <a:cxn ang="0">
                  <a:pos x="4" y="0"/>
                </a:cxn>
                <a:cxn ang="0">
                  <a:pos x="4" y="4"/>
                </a:cxn>
                <a:cxn ang="0">
                  <a:pos x="6" y="6"/>
                </a:cxn>
                <a:cxn ang="0">
                  <a:pos x="14" y="6"/>
                </a:cxn>
                <a:cxn ang="0">
                  <a:pos x="20" y="8"/>
                </a:cxn>
                <a:cxn ang="0">
                  <a:pos x="14" y="6"/>
                </a:cxn>
                <a:cxn ang="0">
                  <a:pos x="6" y="8"/>
                </a:cxn>
                <a:cxn ang="0">
                  <a:pos x="6" y="10"/>
                </a:cxn>
                <a:cxn ang="0">
                  <a:pos x="4" y="10"/>
                </a:cxn>
                <a:cxn ang="0">
                  <a:pos x="4" y="8"/>
                </a:cxn>
                <a:cxn ang="0">
                  <a:pos x="0" y="8"/>
                </a:cxn>
                <a:cxn ang="0">
                  <a:pos x="0" y="6"/>
                </a:cxn>
                <a:cxn ang="0">
                  <a:pos x="2" y="6"/>
                </a:cxn>
                <a:cxn ang="0">
                  <a:pos x="2" y="2"/>
                </a:cxn>
                <a:cxn ang="0">
                  <a:pos x="2" y="0"/>
                </a:cxn>
              </a:cxnLst>
              <a:rect l="0" t="0" r="r" b="b"/>
              <a:pathLst>
                <a:path w="20" h="10">
                  <a:moveTo>
                    <a:pt x="2" y="0"/>
                  </a:moveTo>
                  <a:lnTo>
                    <a:pt x="4" y="0"/>
                  </a:lnTo>
                  <a:lnTo>
                    <a:pt x="4" y="4"/>
                  </a:lnTo>
                  <a:lnTo>
                    <a:pt x="6" y="6"/>
                  </a:lnTo>
                  <a:lnTo>
                    <a:pt x="14" y="6"/>
                  </a:lnTo>
                  <a:lnTo>
                    <a:pt x="20" y="8"/>
                  </a:lnTo>
                  <a:lnTo>
                    <a:pt x="14" y="6"/>
                  </a:lnTo>
                  <a:lnTo>
                    <a:pt x="6" y="8"/>
                  </a:lnTo>
                  <a:lnTo>
                    <a:pt x="6" y="10"/>
                  </a:lnTo>
                  <a:lnTo>
                    <a:pt x="4" y="10"/>
                  </a:lnTo>
                  <a:lnTo>
                    <a:pt x="4" y="8"/>
                  </a:lnTo>
                  <a:lnTo>
                    <a:pt x="0" y="8"/>
                  </a:lnTo>
                  <a:lnTo>
                    <a:pt x="0" y="6"/>
                  </a:lnTo>
                  <a:lnTo>
                    <a:pt x="2" y="6"/>
                  </a:lnTo>
                  <a:lnTo>
                    <a:pt x="2" y="2"/>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1" name="Freeform 274">
              <a:extLst>
                <a:ext uri="{FF2B5EF4-FFF2-40B4-BE49-F238E27FC236}">
                  <a16:creationId xmlns:a16="http://schemas.microsoft.com/office/drawing/2014/main" id="{105A7EE5-7587-44FA-9A2A-C2F1EBD1E6FB}"/>
                </a:ext>
              </a:extLst>
            </p:cNvPr>
            <p:cNvSpPr>
              <a:spLocks/>
            </p:cNvSpPr>
            <p:nvPr/>
          </p:nvSpPr>
          <p:spPr bwMode="auto">
            <a:xfrm>
              <a:off x="5126540" y="3812247"/>
              <a:ext cx="100995" cy="139839"/>
            </a:xfrm>
            <a:custGeom>
              <a:avLst/>
              <a:gdLst/>
              <a:ahLst/>
              <a:cxnLst>
                <a:cxn ang="0">
                  <a:pos x="48" y="96"/>
                </a:cxn>
                <a:cxn ang="0">
                  <a:pos x="46" y="84"/>
                </a:cxn>
                <a:cxn ang="0">
                  <a:pos x="32" y="78"/>
                </a:cxn>
                <a:cxn ang="0">
                  <a:pos x="36" y="72"/>
                </a:cxn>
                <a:cxn ang="0">
                  <a:pos x="36" y="64"/>
                </a:cxn>
                <a:cxn ang="0">
                  <a:pos x="46" y="60"/>
                </a:cxn>
                <a:cxn ang="0">
                  <a:pos x="50" y="52"/>
                </a:cxn>
                <a:cxn ang="0">
                  <a:pos x="56" y="52"/>
                </a:cxn>
                <a:cxn ang="0">
                  <a:pos x="60" y="46"/>
                </a:cxn>
                <a:cxn ang="0">
                  <a:pos x="64" y="42"/>
                </a:cxn>
                <a:cxn ang="0">
                  <a:pos x="60" y="32"/>
                </a:cxn>
                <a:cxn ang="0">
                  <a:pos x="64" y="26"/>
                </a:cxn>
                <a:cxn ang="0">
                  <a:pos x="68" y="22"/>
                </a:cxn>
                <a:cxn ang="0">
                  <a:pos x="78" y="12"/>
                </a:cxn>
                <a:cxn ang="0">
                  <a:pos x="68" y="8"/>
                </a:cxn>
                <a:cxn ang="0">
                  <a:pos x="62" y="14"/>
                </a:cxn>
                <a:cxn ang="0">
                  <a:pos x="52" y="16"/>
                </a:cxn>
                <a:cxn ang="0">
                  <a:pos x="48" y="24"/>
                </a:cxn>
                <a:cxn ang="0">
                  <a:pos x="42" y="28"/>
                </a:cxn>
                <a:cxn ang="0">
                  <a:pos x="34" y="20"/>
                </a:cxn>
                <a:cxn ang="0">
                  <a:pos x="28" y="30"/>
                </a:cxn>
                <a:cxn ang="0">
                  <a:pos x="16" y="44"/>
                </a:cxn>
                <a:cxn ang="0">
                  <a:pos x="6" y="58"/>
                </a:cxn>
                <a:cxn ang="0">
                  <a:pos x="2" y="68"/>
                </a:cxn>
                <a:cxn ang="0">
                  <a:pos x="6" y="78"/>
                </a:cxn>
                <a:cxn ang="0">
                  <a:pos x="6" y="86"/>
                </a:cxn>
                <a:cxn ang="0">
                  <a:pos x="0" y="96"/>
                </a:cxn>
                <a:cxn ang="0">
                  <a:pos x="6" y="102"/>
                </a:cxn>
                <a:cxn ang="0">
                  <a:pos x="10" y="108"/>
                </a:cxn>
                <a:cxn ang="0">
                  <a:pos x="16" y="104"/>
                </a:cxn>
                <a:cxn ang="0">
                  <a:pos x="24" y="104"/>
                </a:cxn>
                <a:cxn ang="0">
                  <a:pos x="36" y="94"/>
                </a:cxn>
                <a:cxn ang="0">
                  <a:pos x="48" y="96"/>
                </a:cxn>
              </a:cxnLst>
              <a:rect l="0" t="0" r="r" b="b"/>
              <a:pathLst>
                <a:path w="78" h="108">
                  <a:moveTo>
                    <a:pt x="48" y="96"/>
                  </a:moveTo>
                  <a:lnTo>
                    <a:pt x="48" y="96"/>
                  </a:lnTo>
                  <a:lnTo>
                    <a:pt x="46" y="92"/>
                  </a:lnTo>
                  <a:lnTo>
                    <a:pt x="46" y="84"/>
                  </a:lnTo>
                  <a:lnTo>
                    <a:pt x="40" y="80"/>
                  </a:lnTo>
                  <a:lnTo>
                    <a:pt x="32" y="78"/>
                  </a:lnTo>
                  <a:lnTo>
                    <a:pt x="34" y="74"/>
                  </a:lnTo>
                  <a:lnTo>
                    <a:pt x="36" y="72"/>
                  </a:lnTo>
                  <a:lnTo>
                    <a:pt x="36" y="68"/>
                  </a:lnTo>
                  <a:lnTo>
                    <a:pt x="36" y="64"/>
                  </a:lnTo>
                  <a:lnTo>
                    <a:pt x="40" y="62"/>
                  </a:lnTo>
                  <a:lnTo>
                    <a:pt x="46" y="60"/>
                  </a:lnTo>
                  <a:lnTo>
                    <a:pt x="48" y="58"/>
                  </a:lnTo>
                  <a:lnTo>
                    <a:pt x="50" y="52"/>
                  </a:lnTo>
                  <a:lnTo>
                    <a:pt x="54" y="52"/>
                  </a:lnTo>
                  <a:lnTo>
                    <a:pt x="56" y="52"/>
                  </a:lnTo>
                  <a:lnTo>
                    <a:pt x="58" y="48"/>
                  </a:lnTo>
                  <a:lnTo>
                    <a:pt x="60" y="46"/>
                  </a:lnTo>
                  <a:lnTo>
                    <a:pt x="64" y="46"/>
                  </a:lnTo>
                  <a:lnTo>
                    <a:pt x="64" y="42"/>
                  </a:lnTo>
                  <a:lnTo>
                    <a:pt x="62" y="36"/>
                  </a:lnTo>
                  <a:lnTo>
                    <a:pt x="60" y="32"/>
                  </a:lnTo>
                  <a:lnTo>
                    <a:pt x="62" y="28"/>
                  </a:lnTo>
                  <a:lnTo>
                    <a:pt x="64" y="26"/>
                  </a:lnTo>
                  <a:lnTo>
                    <a:pt x="66" y="22"/>
                  </a:lnTo>
                  <a:lnTo>
                    <a:pt x="68" y="22"/>
                  </a:lnTo>
                  <a:lnTo>
                    <a:pt x="70" y="22"/>
                  </a:lnTo>
                  <a:lnTo>
                    <a:pt x="78" y="12"/>
                  </a:lnTo>
                  <a:lnTo>
                    <a:pt x="68" y="0"/>
                  </a:lnTo>
                  <a:lnTo>
                    <a:pt x="68" y="8"/>
                  </a:lnTo>
                  <a:lnTo>
                    <a:pt x="62" y="10"/>
                  </a:lnTo>
                  <a:lnTo>
                    <a:pt x="62" y="14"/>
                  </a:lnTo>
                  <a:lnTo>
                    <a:pt x="58" y="16"/>
                  </a:lnTo>
                  <a:lnTo>
                    <a:pt x="52" y="16"/>
                  </a:lnTo>
                  <a:lnTo>
                    <a:pt x="48" y="20"/>
                  </a:lnTo>
                  <a:lnTo>
                    <a:pt x="48" y="24"/>
                  </a:lnTo>
                  <a:lnTo>
                    <a:pt x="48" y="30"/>
                  </a:lnTo>
                  <a:lnTo>
                    <a:pt x="42" y="28"/>
                  </a:lnTo>
                  <a:lnTo>
                    <a:pt x="38" y="26"/>
                  </a:lnTo>
                  <a:lnTo>
                    <a:pt x="34" y="20"/>
                  </a:lnTo>
                  <a:lnTo>
                    <a:pt x="28" y="22"/>
                  </a:lnTo>
                  <a:lnTo>
                    <a:pt x="28" y="30"/>
                  </a:lnTo>
                  <a:lnTo>
                    <a:pt x="20" y="38"/>
                  </a:lnTo>
                  <a:lnTo>
                    <a:pt x="16" y="44"/>
                  </a:lnTo>
                  <a:lnTo>
                    <a:pt x="10" y="52"/>
                  </a:lnTo>
                  <a:lnTo>
                    <a:pt x="6" y="58"/>
                  </a:lnTo>
                  <a:lnTo>
                    <a:pt x="0" y="66"/>
                  </a:lnTo>
                  <a:lnTo>
                    <a:pt x="2" y="68"/>
                  </a:lnTo>
                  <a:lnTo>
                    <a:pt x="8" y="72"/>
                  </a:lnTo>
                  <a:lnTo>
                    <a:pt x="6" y="78"/>
                  </a:lnTo>
                  <a:lnTo>
                    <a:pt x="10" y="84"/>
                  </a:lnTo>
                  <a:lnTo>
                    <a:pt x="6" y="86"/>
                  </a:lnTo>
                  <a:lnTo>
                    <a:pt x="2" y="88"/>
                  </a:lnTo>
                  <a:lnTo>
                    <a:pt x="0" y="96"/>
                  </a:lnTo>
                  <a:lnTo>
                    <a:pt x="8" y="98"/>
                  </a:lnTo>
                  <a:lnTo>
                    <a:pt x="6" y="102"/>
                  </a:lnTo>
                  <a:lnTo>
                    <a:pt x="8" y="106"/>
                  </a:lnTo>
                  <a:lnTo>
                    <a:pt x="10" y="108"/>
                  </a:lnTo>
                  <a:lnTo>
                    <a:pt x="14" y="106"/>
                  </a:lnTo>
                  <a:lnTo>
                    <a:pt x="16" y="104"/>
                  </a:lnTo>
                  <a:lnTo>
                    <a:pt x="20" y="104"/>
                  </a:lnTo>
                  <a:lnTo>
                    <a:pt x="24" y="104"/>
                  </a:lnTo>
                  <a:lnTo>
                    <a:pt x="32" y="96"/>
                  </a:lnTo>
                  <a:lnTo>
                    <a:pt x="36" y="94"/>
                  </a:lnTo>
                  <a:lnTo>
                    <a:pt x="42" y="98"/>
                  </a:lnTo>
                  <a:lnTo>
                    <a:pt x="48" y="96"/>
                  </a:lnTo>
                  <a:lnTo>
                    <a:pt x="48" y="9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2" name="Freeform 275">
              <a:extLst>
                <a:ext uri="{FF2B5EF4-FFF2-40B4-BE49-F238E27FC236}">
                  <a16:creationId xmlns:a16="http://schemas.microsoft.com/office/drawing/2014/main" id="{E2935BC3-D378-44DC-AF47-49B4FF060BB4}"/>
                </a:ext>
              </a:extLst>
            </p:cNvPr>
            <p:cNvSpPr>
              <a:spLocks/>
            </p:cNvSpPr>
            <p:nvPr/>
          </p:nvSpPr>
          <p:spPr bwMode="auto">
            <a:xfrm>
              <a:off x="5126540" y="3812247"/>
              <a:ext cx="100995" cy="139839"/>
            </a:xfrm>
            <a:custGeom>
              <a:avLst/>
              <a:gdLst/>
              <a:ahLst/>
              <a:cxnLst>
                <a:cxn ang="0">
                  <a:pos x="48" y="96"/>
                </a:cxn>
                <a:cxn ang="0">
                  <a:pos x="46" y="84"/>
                </a:cxn>
                <a:cxn ang="0">
                  <a:pos x="32" y="78"/>
                </a:cxn>
                <a:cxn ang="0">
                  <a:pos x="36" y="72"/>
                </a:cxn>
                <a:cxn ang="0">
                  <a:pos x="36" y="64"/>
                </a:cxn>
                <a:cxn ang="0">
                  <a:pos x="46" y="60"/>
                </a:cxn>
                <a:cxn ang="0">
                  <a:pos x="50" y="52"/>
                </a:cxn>
                <a:cxn ang="0">
                  <a:pos x="56" y="52"/>
                </a:cxn>
                <a:cxn ang="0">
                  <a:pos x="60" y="46"/>
                </a:cxn>
                <a:cxn ang="0">
                  <a:pos x="64" y="42"/>
                </a:cxn>
                <a:cxn ang="0">
                  <a:pos x="60" y="32"/>
                </a:cxn>
                <a:cxn ang="0">
                  <a:pos x="64" y="26"/>
                </a:cxn>
                <a:cxn ang="0">
                  <a:pos x="68" y="22"/>
                </a:cxn>
                <a:cxn ang="0">
                  <a:pos x="78" y="12"/>
                </a:cxn>
                <a:cxn ang="0">
                  <a:pos x="68" y="8"/>
                </a:cxn>
                <a:cxn ang="0">
                  <a:pos x="62" y="14"/>
                </a:cxn>
                <a:cxn ang="0">
                  <a:pos x="52" y="16"/>
                </a:cxn>
                <a:cxn ang="0">
                  <a:pos x="48" y="24"/>
                </a:cxn>
                <a:cxn ang="0">
                  <a:pos x="42" y="28"/>
                </a:cxn>
                <a:cxn ang="0">
                  <a:pos x="34" y="20"/>
                </a:cxn>
                <a:cxn ang="0">
                  <a:pos x="28" y="30"/>
                </a:cxn>
                <a:cxn ang="0">
                  <a:pos x="16" y="44"/>
                </a:cxn>
                <a:cxn ang="0">
                  <a:pos x="6" y="58"/>
                </a:cxn>
                <a:cxn ang="0">
                  <a:pos x="2" y="68"/>
                </a:cxn>
                <a:cxn ang="0">
                  <a:pos x="6" y="78"/>
                </a:cxn>
                <a:cxn ang="0">
                  <a:pos x="6" y="86"/>
                </a:cxn>
                <a:cxn ang="0">
                  <a:pos x="0" y="96"/>
                </a:cxn>
                <a:cxn ang="0">
                  <a:pos x="6" y="102"/>
                </a:cxn>
                <a:cxn ang="0">
                  <a:pos x="10" y="108"/>
                </a:cxn>
                <a:cxn ang="0">
                  <a:pos x="16" y="104"/>
                </a:cxn>
                <a:cxn ang="0">
                  <a:pos x="24" y="104"/>
                </a:cxn>
                <a:cxn ang="0">
                  <a:pos x="36" y="94"/>
                </a:cxn>
                <a:cxn ang="0">
                  <a:pos x="48" y="96"/>
                </a:cxn>
              </a:cxnLst>
              <a:rect l="0" t="0" r="r" b="b"/>
              <a:pathLst>
                <a:path w="78" h="108">
                  <a:moveTo>
                    <a:pt x="48" y="96"/>
                  </a:moveTo>
                  <a:lnTo>
                    <a:pt x="48" y="96"/>
                  </a:lnTo>
                  <a:lnTo>
                    <a:pt x="46" y="92"/>
                  </a:lnTo>
                  <a:lnTo>
                    <a:pt x="46" y="84"/>
                  </a:lnTo>
                  <a:lnTo>
                    <a:pt x="40" y="80"/>
                  </a:lnTo>
                  <a:lnTo>
                    <a:pt x="32" y="78"/>
                  </a:lnTo>
                  <a:lnTo>
                    <a:pt x="34" y="74"/>
                  </a:lnTo>
                  <a:lnTo>
                    <a:pt x="36" y="72"/>
                  </a:lnTo>
                  <a:lnTo>
                    <a:pt x="36" y="68"/>
                  </a:lnTo>
                  <a:lnTo>
                    <a:pt x="36" y="64"/>
                  </a:lnTo>
                  <a:lnTo>
                    <a:pt x="40" y="62"/>
                  </a:lnTo>
                  <a:lnTo>
                    <a:pt x="46" y="60"/>
                  </a:lnTo>
                  <a:lnTo>
                    <a:pt x="48" y="58"/>
                  </a:lnTo>
                  <a:lnTo>
                    <a:pt x="50" y="52"/>
                  </a:lnTo>
                  <a:lnTo>
                    <a:pt x="54" y="52"/>
                  </a:lnTo>
                  <a:lnTo>
                    <a:pt x="56" y="52"/>
                  </a:lnTo>
                  <a:lnTo>
                    <a:pt x="58" y="48"/>
                  </a:lnTo>
                  <a:lnTo>
                    <a:pt x="60" y="46"/>
                  </a:lnTo>
                  <a:lnTo>
                    <a:pt x="64" y="46"/>
                  </a:lnTo>
                  <a:lnTo>
                    <a:pt x="64" y="42"/>
                  </a:lnTo>
                  <a:lnTo>
                    <a:pt x="62" y="36"/>
                  </a:lnTo>
                  <a:lnTo>
                    <a:pt x="60" y="32"/>
                  </a:lnTo>
                  <a:lnTo>
                    <a:pt x="62" y="28"/>
                  </a:lnTo>
                  <a:lnTo>
                    <a:pt x="64" y="26"/>
                  </a:lnTo>
                  <a:lnTo>
                    <a:pt x="66" y="22"/>
                  </a:lnTo>
                  <a:lnTo>
                    <a:pt x="68" y="22"/>
                  </a:lnTo>
                  <a:lnTo>
                    <a:pt x="70" y="22"/>
                  </a:lnTo>
                  <a:lnTo>
                    <a:pt x="78" y="12"/>
                  </a:lnTo>
                  <a:lnTo>
                    <a:pt x="68" y="0"/>
                  </a:lnTo>
                  <a:lnTo>
                    <a:pt x="68" y="8"/>
                  </a:lnTo>
                  <a:lnTo>
                    <a:pt x="62" y="10"/>
                  </a:lnTo>
                  <a:lnTo>
                    <a:pt x="62" y="14"/>
                  </a:lnTo>
                  <a:lnTo>
                    <a:pt x="58" y="16"/>
                  </a:lnTo>
                  <a:lnTo>
                    <a:pt x="52" y="16"/>
                  </a:lnTo>
                  <a:lnTo>
                    <a:pt x="48" y="20"/>
                  </a:lnTo>
                  <a:lnTo>
                    <a:pt x="48" y="24"/>
                  </a:lnTo>
                  <a:lnTo>
                    <a:pt x="48" y="30"/>
                  </a:lnTo>
                  <a:lnTo>
                    <a:pt x="42" y="28"/>
                  </a:lnTo>
                  <a:lnTo>
                    <a:pt x="38" y="26"/>
                  </a:lnTo>
                  <a:lnTo>
                    <a:pt x="34" y="20"/>
                  </a:lnTo>
                  <a:lnTo>
                    <a:pt x="28" y="22"/>
                  </a:lnTo>
                  <a:lnTo>
                    <a:pt x="28" y="30"/>
                  </a:lnTo>
                  <a:lnTo>
                    <a:pt x="20" y="38"/>
                  </a:lnTo>
                  <a:lnTo>
                    <a:pt x="16" y="44"/>
                  </a:lnTo>
                  <a:lnTo>
                    <a:pt x="10" y="52"/>
                  </a:lnTo>
                  <a:lnTo>
                    <a:pt x="6" y="58"/>
                  </a:lnTo>
                  <a:lnTo>
                    <a:pt x="0" y="66"/>
                  </a:lnTo>
                  <a:lnTo>
                    <a:pt x="2" y="68"/>
                  </a:lnTo>
                  <a:lnTo>
                    <a:pt x="8" y="72"/>
                  </a:lnTo>
                  <a:lnTo>
                    <a:pt x="6" y="78"/>
                  </a:lnTo>
                  <a:lnTo>
                    <a:pt x="10" y="84"/>
                  </a:lnTo>
                  <a:lnTo>
                    <a:pt x="6" y="86"/>
                  </a:lnTo>
                  <a:lnTo>
                    <a:pt x="2" y="88"/>
                  </a:lnTo>
                  <a:lnTo>
                    <a:pt x="0" y="96"/>
                  </a:lnTo>
                  <a:lnTo>
                    <a:pt x="8" y="98"/>
                  </a:lnTo>
                  <a:lnTo>
                    <a:pt x="6" y="102"/>
                  </a:lnTo>
                  <a:lnTo>
                    <a:pt x="8" y="106"/>
                  </a:lnTo>
                  <a:lnTo>
                    <a:pt x="10" y="108"/>
                  </a:lnTo>
                  <a:lnTo>
                    <a:pt x="14" y="106"/>
                  </a:lnTo>
                  <a:lnTo>
                    <a:pt x="16" y="104"/>
                  </a:lnTo>
                  <a:lnTo>
                    <a:pt x="20" y="104"/>
                  </a:lnTo>
                  <a:lnTo>
                    <a:pt x="24" y="104"/>
                  </a:lnTo>
                  <a:lnTo>
                    <a:pt x="32" y="96"/>
                  </a:lnTo>
                  <a:lnTo>
                    <a:pt x="36" y="94"/>
                  </a:lnTo>
                  <a:lnTo>
                    <a:pt x="42" y="98"/>
                  </a:lnTo>
                  <a:lnTo>
                    <a:pt x="48" y="96"/>
                  </a:lnTo>
                  <a:lnTo>
                    <a:pt x="48" y="9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3" name="Freeform 276">
              <a:extLst>
                <a:ext uri="{FF2B5EF4-FFF2-40B4-BE49-F238E27FC236}">
                  <a16:creationId xmlns:a16="http://schemas.microsoft.com/office/drawing/2014/main" id="{CAB83B7E-6B13-4E70-8EB0-77DE52F942AD}"/>
                </a:ext>
              </a:extLst>
            </p:cNvPr>
            <p:cNvSpPr>
              <a:spLocks/>
            </p:cNvSpPr>
            <p:nvPr/>
          </p:nvSpPr>
          <p:spPr bwMode="auto">
            <a:xfrm>
              <a:off x="3028955" y="4257660"/>
              <a:ext cx="269319" cy="243423"/>
            </a:xfrm>
            <a:custGeom>
              <a:avLst/>
              <a:gdLst/>
              <a:ahLst/>
              <a:cxnLst>
                <a:cxn ang="0">
                  <a:pos x="186" y="14"/>
                </a:cxn>
                <a:cxn ang="0">
                  <a:pos x="154" y="0"/>
                </a:cxn>
                <a:cxn ang="0">
                  <a:pos x="76" y="66"/>
                </a:cxn>
                <a:cxn ang="0">
                  <a:pos x="58" y="106"/>
                </a:cxn>
                <a:cxn ang="0">
                  <a:pos x="54" y="116"/>
                </a:cxn>
                <a:cxn ang="0">
                  <a:pos x="46" y="120"/>
                </a:cxn>
                <a:cxn ang="0">
                  <a:pos x="28" y="126"/>
                </a:cxn>
                <a:cxn ang="0">
                  <a:pos x="14" y="128"/>
                </a:cxn>
                <a:cxn ang="0">
                  <a:pos x="6" y="128"/>
                </a:cxn>
                <a:cxn ang="0">
                  <a:pos x="2" y="132"/>
                </a:cxn>
                <a:cxn ang="0">
                  <a:pos x="4" y="142"/>
                </a:cxn>
                <a:cxn ang="0">
                  <a:pos x="14" y="152"/>
                </a:cxn>
                <a:cxn ang="0">
                  <a:pos x="22" y="164"/>
                </a:cxn>
                <a:cxn ang="0">
                  <a:pos x="24" y="170"/>
                </a:cxn>
                <a:cxn ang="0">
                  <a:pos x="26" y="186"/>
                </a:cxn>
                <a:cxn ang="0">
                  <a:pos x="34" y="178"/>
                </a:cxn>
                <a:cxn ang="0">
                  <a:pos x="40" y="182"/>
                </a:cxn>
                <a:cxn ang="0">
                  <a:pos x="48" y="188"/>
                </a:cxn>
                <a:cxn ang="0">
                  <a:pos x="54" y="174"/>
                </a:cxn>
                <a:cxn ang="0">
                  <a:pos x="56" y="162"/>
                </a:cxn>
                <a:cxn ang="0">
                  <a:pos x="76" y="154"/>
                </a:cxn>
                <a:cxn ang="0">
                  <a:pos x="84" y="154"/>
                </a:cxn>
                <a:cxn ang="0">
                  <a:pos x="90" y="158"/>
                </a:cxn>
                <a:cxn ang="0">
                  <a:pos x="94" y="164"/>
                </a:cxn>
                <a:cxn ang="0">
                  <a:pos x="104" y="164"/>
                </a:cxn>
                <a:cxn ang="0">
                  <a:pos x="110" y="160"/>
                </a:cxn>
                <a:cxn ang="0">
                  <a:pos x="112" y="164"/>
                </a:cxn>
                <a:cxn ang="0">
                  <a:pos x="128" y="166"/>
                </a:cxn>
                <a:cxn ang="0">
                  <a:pos x="132" y="166"/>
                </a:cxn>
                <a:cxn ang="0">
                  <a:pos x="140" y="160"/>
                </a:cxn>
                <a:cxn ang="0">
                  <a:pos x="154" y="162"/>
                </a:cxn>
                <a:cxn ang="0">
                  <a:pos x="170" y="162"/>
                </a:cxn>
                <a:cxn ang="0">
                  <a:pos x="174" y="158"/>
                </a:cxn>
                <a:cxn ang="0">
                  <a:pos x="184" y="152"/>
                </a:cxn>
                <a:cxn ang="0">
                  <a:pos x="204" y="122"/>
                </a:cxn>
                <a:cxn ang="0">
                  <a:pos x="204" y="68"/>
                </a:cxn>
                <a:cxn ang="0">
                  <a:pos x="208" y="54"/>
                </a:cxn>
                <a:cxn ang="0">
                  <a:pos x="206" y="46"/>
                </a:cxn>
                <a:cxn ang="0">
                  <a:pos x="196" y="8"/>
                </a:cxn>
              </a:cxnLst>
              <a:rect l="0" t="0" r="r" b="b"/>
              <a:pathLst>
                <a:path w="208" h="188">
                  <a:moveTo>
                    <a:pt x="196" y="8"/>
                  </a:moveTo>
                  <a:lnTo>
                    <a:pt x="186" y="14"/>
                  </a:lnTo>
                  <a:lnTo>
                    <a:pt x="186" y="16"/>
                  </a:lnTo>
                  <a:lnTo>
                    <a:pt x="154" y="0"/>
                  </a:lnTo>
                  <a:lnTo>
                    <a:pt x="84" y="52"/>
                  </a:lnTo>
                  <a:lnTo>
                    <a:pt x="76" y="66"/>
                  </a:lnTo>
                  <a:lnTo>
                    <a:pt x="56" y="68"/>
                  </a:lnTo>
                  <a:lnTo>
                    <a:pt x="58" y="106"/>
                  </a:lnTo>
                  <a:lnTo>
                    <a:pt x="54" y="110"/>
                  </a:lnTo>
                  <a:lnTo>
                    <a:pt x="54" y="116"/>
                  </a:lnTo>
                  <a:lnTo>
                    <a:pt x="52" y="120"/>
                  </a:lnTo>
                  <a:lnTo>
                    <a:pt x="46" y="120"/>
                  </a:lnTo>
                  <a:lnTo>
                    <a:pt x="40" y="124"/>
                  </a:lnTo>
                  <a:lnTo>
                    <a:pt x="28" y="126"/>
                  </a:lnTo>
                  <a:lnTo>
                    <a:pt x="22" y="128"/>
                  </a:lnTo>
                  <a:lnTo>
                    <a:pt x="14" y="128"/>
                  </a:lnTo>
                  <a:lnTo>
                    <a:pt x="10" y="128"/>
                  </a:lnTo>
                  <a:lnTo>
                    <a:pt x="6" y="128"/>
                  </a:lnTo>
                  <a:lnTo>
                    <a:pt x="4" y="132"/>
                  </a:lnTo>
                  <a:lnTo>
                    <a:pt x="2" y="132"/>
                  </a:lnTo>
                  <a:lnTo>
                    <a:pt x="0" y="136"/>
                  </a:lnTo>
                  <a:lnTo>
                    <a:pt x="4" y="142"/>
                  </a:lnTo>
                  <a:lnTo>
                    <a:pt x="14" y="148"/>
                  </a:lnTo>
                  <a:lnTo>
                    <a:pt x="14" y="152"/>
                  </a:lnTo>
                  <a:lnTo>
                    <a:pt x="20" y="166"/>
                  </a:lnTo>
                  <a:lnTo>
                    <a:pt x="22" y="164"/>
                  </a:lnTo>
                  <a:lnTo>
                    <a:pt x="24" y="166"/>
                  </a:lnTo>
                  <a:lnTo>
                    <a:pt x="24" y="170"/>
                  </a:lnTo>
                  <a:lnTo>
                    <a:pt x="22" y="172"/>
                  </a:lnTo>
                  <a:lnTo>
                    <a:pt x="26" y="186"/>
                  </a:lnTo>
                  <a:lnTo>
                    <a:pt x="32" y="178"/>
                  </a:lnTo>
                  <a:lnTo>
                    <a:pt x="34" y="178"/>
                  </a:lnTo>
                  <a:lnTo>
                    <a:pt x="38" y="180"/>
                  </a:lnTo>
                  <a:lnTo>
                    <a:pt x="40" y="182"/>
                  </a:lnTo>
                  <a:lnTo>
                    <a:pt x="40" y="184"/>
                  </a:lnTo>
                  <a:lnTo>
                    <a:pt x="48" y="188"/>
                  </a:lnTo>
                  <a:lnTo>
                    <a:pt x="52" y="176"/>
                  </a:lnTo>
                  <a:lnTo>
                    <a:pt x="54" y="174"/>
                  </a:lnTo>
                  <a:lnTo>
                    <a:pt x="56" y="168"/>
                  </a:lnTo>
                  <a:lnTo>
                    <a:pt x="56" y="162"/>
                  </a:lnTo>
                  <a:lnTo>
                    <a:pt x="70" y="154"/>
                  </a:lnTo>
                  <a:lnTo>
                    <a:pt x="76" y="154"/>
                  </a:lnTo>
                  <a:lnTo>
                    <a:pt x="82" y="152"/>
                  </a:lnTo>
                  <a:lnTo>
                    <a:pt x="84" y="154"/>
                  </a:lnTo>
                  <a:lnTo>
                    <a:pt x="88" y="156"/>
                  </a:lnTo>
                  <a:lnTo>
                    <a:pt x="90" y="158"/>
                  </a:lnTo>
                  <a:lnTo>
                    <a:pt x="92" y="160"/>
                  </a:lnTo>
                  <a:lnTo>
                    <a:pt x="94" y="164"/>
                  </a:lnTo>
                  <a:lnTo>
                    <a:pt x="98" y="164"/>
                  </a:lnTo>
                  <a:lnTo>
                    <a:pt x="104" y="164"/>
                  </a:lnTo>
                  <a:lnTo>
                    <a:pt x="108" y="160"/>
                  </a:lnTo>
                  <a:lnTo>
                    <a:pt x="110" y="160"/>
                  </a:lnTo>
                  <a:lnTo>
                    <a:pt x="112" y="162"/>
                  </a:lnTo>
                  <a:lnTo>
                    <a:pt x="112" y="164"/>
                  </a:lnTo>
                  <a:lnTo>
                    <a:pt x="118" y="166"/>
                  </a:lnTo>
                  <a:lnTo>
                    <a:pt x="128" y="166"/>
                  </a:lnTo>
                  <a:lnTo>
                    <a:pt x="130" y="166"/>
                  </a:lnTo>
                  <a:lnTo>
                    <a:pt x="132" y="166"/>
                  </a:lnTo>
                  <a:lnTo>
                    <a:pt x="134" y="162"/>
                  </a:lnTo>
                  <a:lnTo>
                    <a:pt x="140" y="160"/>
                  </a:lnTo>
                  <a:lnTo>
                    <a:pt x="146" y="160"/>
                  </a:lnTo>
                  <a:lnTo>
                    <a:pt x="154" y="162"/>
                  </a:lnTo>
                  <a:lnTo>
                    <a:pt x="162" y="162"/>
                  </a:lnTo>
                  <a:lnTo>
                    <a:pt x="170" y="162"/>
                  </a:lnTo>
                  <a:lnTo>
                    <a:pt x="172" y="160"/>
                  </a:lnTo>
                  <a:lnTo>
                    <a:pt x="174" y="158"/>
                  </a:lnTo>
                  <a:lnTo>
                    <a:pt x="176" y="156"/>
                  </a:lnTo>
                  <a:lnTo>
                    <a:pt x="184" y="152"/>
                  </a:lnTo>
                  <a:lnTo>
                    <a:pt x="184" y="138"/>
                  </a:lnTo>
                  <a:lnTo>
                    <a:pt x="204" y="122"/>
                  </a:lnTo>
                  <a:lnTo>
                    <a:pt x="202" y="96"/>
                  </a:lnTo>
                  <a:lnTo>
                    <a:pt x="204" y="68"/>
                  </a:lnTo>
                  <a:lnTo>
                    <a:pt x="204" y="60"/>
                  </a:lnTo>
                  <a:lnTo>
                    <a:pt x="208" y="54"/>
                  </a:lnTo>
                  <a:lnTo>
                    <a:pt x="208" y="50"/>
                  </a:lnTo>
                  <a:lnTo>
                    <a:pt x="206" y="46"/>
                  </a:lnTo>
                  <a:lnTo>
                    <a:pt x="202" y="40"/>
                  </a:lnTo>
                  <a:lnTo>
                    <a:pt x="196" y="8"/>
                  </a:lnTo>
                  <a:lnTo>
                    <a:pt x="196"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4" name="Freeform 277">
              <a:extLst>
                <a:ext uri="{FF2B5EF4-FFF2-40B4-BE49-F238E27FC236}">
                  <a16:creationId xmlns:a16="http://schemas.microsoft.com/office/drawing/2014/main" id="{2F1615EF-6B6E-4FF5-AE4E-E2CEEAFB0ACF}"/>
                </a:ext>
              </a:extLst>
            </p:cNvPr>
            <p:cNvSpPr>
              <a:spLocks/>
            </p:cNvSpPr>
            <p:nvPr/>
          </p:nvSpPr>
          <p:spPr bwMode="auto">
            <a:xfrm>
              <a:off x="1571005" y="4441523"/>
              <a:ext cx="69919" cy="80278"/>
            </a:xfrm>
            <a:custGeom>
              <a:avLst/>
              <a:gdLst/>
              <a:ahLst/>
              <a:cxnLst>
                <a:cxn ang="0">
                  <a:pos x="0" y="30"/>
                </a:cxn>
                <a:cxn ang="0">
                  <a:pos x="0" y="30"/>
                </a:cxn>
                <a:cxn ang="0">
                  <a:pos x="0" y="34"/>
                </a:cxn>
                <a:cxn ang="0">
                  <a:pos x="4" y="34"/>
                </a:cxn>
                <a:cxn ang="0">
                  <a:pos x="8" y="38"/>
                </a:cxn>
                <a:cxn ang="0">
                  <a:pos x="10" y="44"/>
                </a:cxn>
                <a:cxn ang="0">
                  <a:pos x="12" y="50"/>
                </a:cxn>
                <a:cxn ang="0">
                  <a:pos x="18" y="56"/>
                </a:cxn>
                <a:cxn ang="0">
                  <a:pos x="20" y="54"/>
                </a:cxn>
                <a:cxn ang="0">
                  <a:pos x="24" y="56"/>
                </a:cxn>
                <a:cxn ang="0">
                  <a:pos x="22" y="52"/>
                </a:cxn>
                <a:cxn ang="0">
                  <a:pos x="20" y="50"/>
                </a:cxn>
                <a:cxn ang="0">
                  <a:pos x="20" y="46"/>
                </a:cxn>
                <a:cxn ang="0">
                  <a:pos x="22" y="42"/>
                </a:cxn>
                <a:cxn ang="0">
                  <a:pos x="26" y="50"/>
                </a:cxn>
                <a:cxn ang="0">
                  <a:pos x="28" y="50"/>
                </a:cxn>
                <a:cxn ang="0">
                  <a:pos x="30" y="54"/>
                </a:cxn>
                <a:cxn ang="0">
                  <a:pos x="32" y="60"/>
                </a:cxn>
                <a:cxn ang="0">
                  <a:pos x="36" y="60"/>
                </a:cxn>
                <a:cxn ang="0">
                  <a:pos x="38" y="60"/>
                </a:cxn>
                <a:cxn ang="0">
                  <a:pos x="40" y="60"/>
                </a:cxn>
                <a:cxn ang="0">
                  <a:pos x="42" y="62"/>
                </a:cxn>
                <a:cxn ang="0">
                  <a:pos x="48" y="62"/>
                </a:cxn>
                <a:cxn ang="0">
                  <a:pos x="46" y="60"/>
                </a:cxn>
                <a:cxn ang="0">
                  <a:pos x="44" y="58"/>
                </a:cxn>
                <a:cxn ang="0">
                  <a:pos x="44" y="56"/>
                </a:cxn>
                <a:cxn ang="0">
                  <a:pos x="46" y="54"/>
                </a:cxn>
                <a:cxn ang="0">
                  <a:pos x="46" y="50"/>
                </a:cxn>
                <a:cxn ang="0">
                  <a:pos x="44" y="46"/>
                </a:cxn>
                <a:cxn ang="0">
                  <a:pos x="46" y="34"/>
                </a:cxn>
                <a:cxn ang="0">
                  <a:pos x="48" y="34"/>
                </a:cxn>
                <a:cxn ang="0">
                  <a:pos x="48" y="26"/>
                </a:cxn>
                <a:cxn ang="0">
                  <a:pos x="48" y="22"/>
                </a:cxn>
                <a:cxn ang="0">
                  <a:pos x="50" y="16"/>
                </a:cxn>
                <a:cxn ang="0">
                  <a:pos x="52" y="12"/>
                </a:cxn>
                <a:cxn ang="0">
                  <a:pos x="54" y="8"/>
                </a:cxn>
                <a:cxn ang="0">
                  <a:pos x="52" y="0"/>
                </a:cxn>
                <a:cxn ang="0">
                  <a:pos x="44" y="2"/>
                </a:cxn>
                <a:cxn ang="0">
                  <a:pos x="40" y="4"/>
                </a:cxn>
                <a:cxn ang="0">
                  <a:pos x="38" y="8"/>
                </a:cxn>
                <a:cxn ang="0">
                  <a:pos x="38" y="10"/>
                </a:cxn>
                <a:cxn ang="0">
                  <a:pos x="34" y="10"/>
                </a:cxn>
                <a:cxn ang="0">
                  <a:pos x="28" y="12"/>
                </a:cxn>
                <a:cxn ang="0">
                  <a:pos x="26" y="12"/>
                </a:cxn>
                <a:cxn ang="0">
                  <a:pos x="26" y="14"/>
                </a:cxn>
                <a:cxn ang="0">
                  <a:pos x="24" y="12"/>
                </a:cxn>
                <a:cxn ang="0">
                  <a:pos x="22" y="10"/>
                </a:cxn>
                <a:cxn ang="0">
                  <a:pos x="16" y="10"/>
                </a:cxn>
                <a:cxn ang="0">
                  <a:pos x="6" y="14"/>
                </a:cxn>
                <a:cxn ang="0">
                  <a:pos x="6" y="20"/>
                </a:cxn>
                <a:cxn ang="0">
                  <a:pos x="6" y="28"/>
                </a:cxn>
                <a:cxn ang="0">
                  <a:pos x="4" y="28"/>
                </a:cxn>
                <a:cxn ang="0">
                  <a:pos x="2" y="30"/>
                </a:cxn>
                <a:cxn ang="0">
                  <a:pos x="0" y="30"/>
                </a:cxn>
                <a:cxn ang="0">
                  <a:pos x="0" y="30"/>
                </a:cxn>
              </a:cxnLst>
              <a:rect l="0" t="0" r="r" b="b"/>
              <a:pathLst>
                <a:path w="54" h="62">
                  <a:moveTo>
                    <a:pt x="0" y="30"/>
                  </a:moveTo>
                  <a:lnTo>
                    <a:pt x="0" y="30"/>
                  </a:lnTo>
                  <a:lnTo>
                    <a:pt x="0" y="34"/>
                  </a:lnTo>
                  <a:lnTo>
                    <a:pt x="4" y="34"/>
                  </a:lnTo>
                  <a:lnTo>
                    <a:pt x="8" y="38"/>
                  </a:lnTo>
                  <a:lnTo>
                    <a:pt x="10" y="44"/>
                  </a:lnTo>
                  <a:lnTo>
                    <a:pt x="12" y="50"/>
                  </a:lnTo>
                  <a:lnTo>
                    <a:pt x="18" y="56"/>
                  </a:lnTo>
                  <a:lnTo>
                    <a:pt x="20" y="54"/>
                  </a:lnTo>
                  <a:lnTo>
                    <a:pt x="24" y="56"/>
                  </a:lnTo>
                  <a:lnTo>
                    <a:pt x="22" y="52"/>
                  </a:lnTo>
                  <a:lnTo>
                    <a:pt x="20" y="50"/>
                  </a:lnTo>
                  <a:lnTo>
                    <a:pt x="20" y="46"/>
                  </a:lnTo>
                  <a:lnTo>
                    <a:pt x="22" y="42"/>
                  </a:lnTo>
                  <a:lnTo>
                    <a:pt x="26" y="50"/>
                  </a:lnTo>
                  <a:lnTo>
                    <a:pt x="28" y="50"/>
                  </a:lnTo>
                  <a:lnTo>
                    <a:pt x="30" y="54"/>
                  </a:lnTo>
                  <a:lnTo>
                    <a:pt x="32" y="60"/>
                  </a:lnTo>
                  <a:lnTo>
                    <a:pt x="36" y="60"/>
                  </a:lnTo>
                  <a:lnTo>
                    <a:pt x="38" y="60"/>
                  </a:lnTo>
                  <a:lnTo>
                    <a:pt x="40" y="60"/>
                  </a:lnTo>
                  <a:lnTo>
                    <a:pt x="42" y="62"/>
                  </a:lnTo>
                  <a:lnTo>
                    <a:pt x="48" y="62"/>
                  </a:lnTo>
                  <a:lnTo>
                    <a:pt x="46" y="60"/>
                  </a:lnTo>
                  <a:lnTo>
                    <a:pt x="44" y="58"/>
                  </a:lnTo>
                  <a:lnTo>
                    <a:pt x="44" y="56"/>
                  </a:lnTo>
                  <a:lnTo>
                    <a:pt x="46" y="54"/>
                  </a:lnTo>
                  <a:lnTo>
                    <a:pt x="46" y="50"/>
                  </a:lnTo>
                  <a:lnTo>
                    <a:pt x="44" y="46"/>
                  </a:lnTo>
                  <a:lnTo>
                    <a:pt x="46" y="34"/>
                  </a:lnTo>
                  <a:lnTo>
                    <a:pt x="48" y="34"/>
                  </a:lnTo>
                  <a:lnTo>
                    <a:pt x="48" y="26"/>
                  </a:lnTo>
                  <a:lnTo>
                    <a:pt x="48" y="22"/>
                  </a:lnTo>
                  <a:lnTo>
                    <a:pt x="50" y="16"/>
                  </a:lnTo>
                  <a:lnTo>
                    <a:pt x="52" y="12"/>
                  </a:lnTo>
                  <a:lnTo>
                    <a:pt x="54" y="8"/>
                  </a:lnTo>
                  <a:lnTo>
                    <a:pt x="52" y="0"/>
                  </a:lnTo>
                  <a:lnTo>
                    <a:pt x="44" y="2"/>
                  </a:lnTo>
                  <a:lnTo>
                    <a:pt x="40" y="4"/>
                  </a:lnTo>
                  <a:lnTo>
                    <a:pt x="38" y="8"/>
                  </a:lnTo>
                  <a:lnTo>
                    <a:pt x="38" y="10"/>
                  </a:lnTo>
                  <a:lnTo>
                    <a:pt x="34" y="10"/>
                  </a:lnTo>
                  <a:lnTo>
                    <a:pt x="28" y="12"/>
                  </a:lnTo>
                  <a:lnTo>
                    <a:pt x="26" y="12"/>
                  </a:lnTo>
                  <a:lnTo>
                    <a:pt x="26" y="14"/>
                  </a:lnTo>
                  <a:lnTo>
                    <a:pt x="24" y="12"/>
                  </a:lnTo>
                  <a:lnTo>
                    <a:pt x="22" y="10"/>
                  </a:lnTo>
                  <a:lnTo>
                    <a:pt x="16" y="10"/>
                  </a:lnTo>
                  <a:lnTo>
                    <a:pt x="6" y="14"/>
                  </a:lnTo>
                  <a:lnTo>
                    <a:pt x="6" y="20"/>
                  </a:lnTo>
                  <a:lnTo>
                    <a:pt x="6" y="28"/>
                  </a:lnTo>
                  <a:lnTo>
                    <a:pt x="4" y="28"/>
                  </a:lnTo>
                  <a:lnTo>
                    <a:pt x="2" y="30"/>
                  </a:lnTo>
                  <a:lnTo>
                    <a:pt x="0" y="30"/>
                  </a:lnTo>
                  <a:lnTo>
                    <a:pt x="0" y="3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5" name="Freeform 278">
              <a:extLst>
                <a:ext uri="{FF2B5EF4-FFF2-40B4-BE49-F238E27FC236}">
                  <a16:creationId xmlns:a16="http://schemas.microsoft.com/office/drawing/2014/main" id="{A59E1035-9B32-49CA-B324-0EAEE89E5C70}"/>
                </a:ext>
              </a:extLst>
            </p:cNvPr>
            <p:cNvSpPr>
              <a:spLocks/>
            </p:cNvSpPr>
            <p:nvPr/>
          </p:nvSpPr>
          <p:spPr bwMode="auto">
            <a:xfrm>
              <a:off x="5942267" y="5650871"/>
              <a:ext cx="2590" cy="2590"/>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6" name="Freeform 279">
              <a:extLst>
                <a:ext uri="{FF2B5EF4-FFF2-40B4-BE49-F238E27FC236}">
                  <a16:creationId xmlns:a16="http://schemas.microsoft.com/office/drawing/2014/main" id="{EEA8C88C-6E97-43EF-9330-FEC2375ABBC1}"/>
                </a:ext>
              </a:extLst>
            </p:cNvPr>
            <p:cNvSpPr>
              <a:spLocks/>
            </p:cNvSpPr>
            <p:nvPr/>
          </p:nvSpPr>
          <p:spPr bwMode="auto">
            <a:xfrm>
              <a:off x="5942267" y="5650871"/>
              <a:ext cx="2590" cy="2590"/>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7" name="Freeform 280">
              <a:extLst>
                <a:ext uri="{FF2B5EF4-FFF2-40B4-BE49-F238E27FC236}">
                  <a16:creationId xmlns:a16="http://schemas.microsoft.com/office/drawing/2014/main" id="{A15B19FC-50F0-487A-A559-919ADB1364EC}"/>
                </a:ext>
              </a:extLst>
            </p:cNvPr>
            <p:cNvSpPr>
              <a:spLocks noEditPoints="1"/>
            </p:cNvSpPr>
            <p:nvPr/>
          </p:nvSpPr>
          <p:spPr bwMode="auto">
            <a:xfrm>
              <a:off x="5820555" y="5500673"/>
              <a:ext cx="207169" cy="305574"/>
            </a:xfrm>
            <a:custGeom>
              <a:avLst/>
              <a:gdLst/>
              <a:ahLst/>
              <a:cxnLst>
                <a:cxn ang="0">
                  <a:pos x="22" y="234"/>
                </a:cxn>
                <a:cxn ang="0">
                  <a:pos x="16" y="222"/>
                </a:cxn>
                <a:cxn ang="0">
                  <a:pos x="76" y="112"/>
                </a:cxn>
                <a:cxn ang="0">
                  <a:pos x="72" y="130"/>
                </a:cxn>
                <a:cxn ang="0">
                  <a:pos x="62" y="146"/>
                </a:cxn>
                <a:cxn ang="0">
                  <a:pos x="52" y="160"/>
                </a:cxn>
                <a:cxn ang="0">
                  <a:pos x="36" y="174"/>
                </a:cxn>
                <a:cxn ang="0">
                  <a:pos x="18" y="184"/>
                </a:cxn>
                <a:cxn ang="0">
                  <a:pos x="10" y="190"/>
                </a:cxn>
                <a:cxn ang="0">
                  <a:pos x="4" y="196"/>
                </a:cxn>
                <a:cxn ang="0">
                  <a:pos x="4" y="206"/>
                </a:cxn>
                <a:cxn ang="0">
                  <a:pos x="6" y="214"/>
                </a:cxn>
                <a:cxn ang="0">
                  <a:pos x="16" y="214"/>
                </a:cxn>
                <a:cxn ang="0">
                  <a:pos x="36" y="224"/>
                </a:cxn>
                <a:cxn ang="0">
                  <a:pos x="46" y="212"/>
                </a:cxn>
                <a:cxn ang="0">
                  <a:pos x="54" y="200"/>
                </a:cxn>
                <a:cxn ang="0">
                  <a:pos x="68" y="178"/>
                </a:cxn>
                <a:cxn ang="0">
                  <a:pos x="80" y="172"/>
                </a:cxn>
                <a:cxn ang="0">
                  <a:pos x="82" y="160"/>
                </a:cxn>
                <a:cxn ang="0">
                  <a:pos x="92" y="148"/>
                </a:cxn>
                <a:cxn ang="0">
                  <a:pos x="100" y="132"/>
                </a:cxn>
                <a:cxn ang="0">
                  <a:pos x="102" y="120"/>
                </a:cxn>
                <a:cxn ang="0">
                  <a:pos x="96" y="120"/>
                </a:cxn>
                <a:cxn ang="0">
                  <a:pos x="92" y="124"/>
                </a:cxn>
                <a:cxn ang="0">
                  <a:pos x="82" y="114"/>
                </a:cxn>
                <a:cxn ang="0">
                  <a:pos x="84" y="108"/>
                </a:cxn>
                <a:cxn ang="0">
                  <a:pos x="80" y="0"/>
                </a:cxn>
                <a:cxn ang="0">
                  <a:pos x="88" y="12"/>
                </a:cxn>
                <a:cxn ang="0">
                  <a:pos x="104" y="36"/>
                </a:cxn>
                <a:cxn ang="0">
                  <a:pos x="104" y="48"/>
                </a:cxn>
                <a:cxn ang="0">
                  <a:pos x="110" y="68"/>
                </a:cxn>
                <a:cxn ang="0">
                  <a:pos x="96" y="84"/>
                </a:cxn>
                <a:cxn ang="0">
                  <a:pos x="100" y="92"/>
                </a:cxn>
                <a:cxn ang="0">
                  <a:pos x="114" y="114"/>
                </a:cxn>
                <a:cxn ang="0">
                  <a:pos x="116" y="126"/>
                </a:cxn>
                <a:cxn ang="0">
                  <a:pos x="132" y="116"/>
                </a:cxn>
                <a:cxn ang="0">
                  <a:pos x="138" y="104"/>
                </a:cxn>
                <a:cxn ang="0">
                  <a:pos x="144" y="88"/>
                </a:cxn>
                <a:cxn ang="0">
                  <a:pos x="150" y="82"/>
                </a:cxn>
                <a:cxn ang="0">
                  <a:pos x="152" y="62"/>
                </a:cxn>
                <a:cxn ang="0">
                  <a:pos x="130" y="64"/>
                </a:cxn>
                <a:cxn ang="0">
                  <a:pos x="122" y="48"/>
                </a:cxn>
                <a:cxn ang="0">
                  <a:pos x="118" y="52"/>
                </a:cxn>
                <a:cxn ang="0">
                  <a:pos x="112" y="36"/>
                </a:cxn>
                <a:cxn ang="0">
                  <a:pos x="110" y="22"/>
                </a:cxn>
                <a:cxn ang="0">
                  <a:pos x="104" y="16"/>
                </a:cxn>
                <a:cxn ang="0">
                  <a:pos x="94" y="8"/>
                </a:cxn>
                <a:cxn ang="0">
                  <a:pos x="84" y="4"/>
                </a:cxn>
                <a:cxn ang="0">
                  <a:pos x="80" y="0"/>
                </a:cxn>
              </a:cxnLst>
              <a:rect l="0" t="0" r="r" b="b"/>
              <a:pathLst>
                <a:path w="160" h="236">
                  <a:moveTo>
                    <a:pt x="16" y="222"/>
                  </a:moveTo>
                  <a:lnTo>
                    <a:pt x="16" y="222"/>
                  </a:lnTo>
                  <a:lnTo>
                    <a:pt x="14" y="236"/>
                  </a:lnTo>
                  <a:lnTo>
                    <a:pt x="22" y="234"/>
                  </a:lnTo>
                  <a:lnTo>
                    <a:pt x="24" y="230"/>
                  </a:lnTo>
                  <a:lnTo>
                    <a:pt x="20" y="230"/>
                  </a:lnTo>
                  <a:lnTo>
                    <a:pt x="20" y="226"/>
                  </a:lnTo>
                  <a:lnTo>
                    <a:pt x="16" y="222"/>
                  </a:lnTo>
                  <a:lnTo>
                    <a:pt x="16" y="222"/>
                  </a:lnTo>
                  <a:close/>
                  <a:moveTo>
                    <a:pt x="78" y="108"/>
                  </a:moveTo>
                  <a:lnTo>
                    <a:pt x="78" y="108"/>
                  </a:lnTo>
                  <a:lnTo>
                    <a:pt x="76" y="112"/>
                  </a:lnTo>
                  <a:lnTo>
                    <a:pt x="74" y="118"/>
                  </a:lnTo>
                  <a:lnTo>
                    <a:pt x="74" y="120"/>
                  </a:lnTo>
                  <a:lnTo>
                    <a:pt x="74" y="124"/>
                  </a:lnTo>
                  <a:lnTo>
                    <a:pt x="72" y="130"/>
                  </a:lnTo>
                  <a:lnTo>
                    <a:pt x="68" y="132"/>
                  </a:lnTo>
                  <a:lnTo>
                    <a:pt x="68" y="136"/>
                  </a:lnTo>
                  <a:lnTo>
                    <a:pt x="64" y="138"/>
                  </a:lnTo>
                  <a:lnTo>
                    <a:pt x="62" y="146"/>
                  </a:lnTo>
                  <a:lnTo>
                    <a:pt x="60" y="146"/>
                  </a:lnTo>
                  <a:lnTo>
                    <a:pt x="58" y="154"/>
                  </a:lnTo>
                  <a:lnTo>
                    <a:pt x="54" y="160"/>
                  </a:lnTo>
                  <a:lnTo>
                    <a:pt x="52" y="160"/>
                  </a:lnTo>
                  <a:lnTo>
                    <a:pt x="48" y="162"/>
                  </a:lnTo>
                  <a:lnTo>
                    <a:pt x="48" y="164"/>
                  </a:lnTo>
                  <a:lnTo>
                    <a:pt x="38" y="170"/>
                  </a:lnTo>
                  <a:lnTo>
                    <a:pt x="36" y="174"/>
                  </a:lnTo>
                  <a:lnTo>
                    <a:pt x="30" y="174"/>
                  </a:lnTo>
                  <a:lnTo>
                    <a:pt x="26" y="176"/>
                  </a:lnTo>
                  <a:lnTo>
                    <a:pt x="22" y="180"/>
                  </a:lnTo>
                  <a:lnTo>
                    <a:pt x="18" y="184"/>
                  </a:lnTo>
                  <a:lnTo>
                    <a:pt x="16" y="184"/>
                  </a:lnTo>
                  <a:lnTo>
                    <a:pt x="14" y="184"/>
                  </a:lnTo>
                  <a:lnTo>
                    <a:pt x="14" y="188"/>
                  </a:lnTo>
                  <a:lnTo>
                    <a:pt x="10" y="190"/>
                  </a:lnTo>
                  <a:lnTo>
                    <a:pt x="8" y="192"/>
                  </a:lnTo>
                  <a:lnTo>
                    <a:pt x="8" y="194"/>
                  </a:lnTo>
                  <a:lnTo>
                    <a:pt x="4" y="194"/>
                  </a:lnTo>
                  <a:lnTo>
                    <a:pt x="4" y="196"/>
                  </a:lnTo>
                  <a:lnTo>
                    <a:pt x="6" y="196"/>
                  </a:lnTo>
                  <a:lnTo>
                    <a:pt x="6" y="198"/>
                  </a:lnTo>
                  <a:lnTo>
                    <a:pt x="4" y="202"/>
                  </a:lnTo>
                  <a:lnTo>
                    <a:pt x="4" y="206"/>
                  </a:lnTo>
                  <a:lnTo>
                    <a:pt x="0" y="206"/>
                  </a:lnTo>
                  <a:lnTo>
                    <a:pt x="0" y="210"/>
                  </a:lnTo>
                  <a:lnTo>
                    <a:pt x="2" y="212"/>
                  </a:lnTo>
                  <a:lnTo>
                    <a:pt x="6" y="214"/>
                  </a:lnTo>
                  <a:lnTo>
                    <a:pt x="8" y="216"/>
                  </a:lnTo>
                  <a:lnTo>
                    <a:pt x="10" y="216"/>
                  </a:lnTo>
                  <a:lnTo>
                    <a:pt x="12" y="214"/>
                  </a:lnTo>
                  <a:lnTo>
                    <a:pt x="16" y="214"/>
                  </a:lnTo>
                  <a:lnTo>
                    <a:pt x="16" y="220"/>
                  </a:lnTo>
                  <a:lnTo>
                    <a:pt x="22" y="220"/>
                  </a:lnTo>
                  <a:lnTo>
                    <a:pt x="24" y="222"/>
                  </a:lnTo>
                  <a:lnTo>
                    <a:pt x="36" y="224"/>
                  </a:lnTo>
                  <a:lnTo>
                    <a:pt x="42" y="218"/>
                  </a:lnTo>
                  <a:lnTo>
                    <a:pt x="42" y="216"/>
                  </a:lnTo>
                  <a:lnTo>
                    <a:pt x="46" y="214"/>
                  </a:lnTo>
                  <a:lnTo>
                    <a:pt x="46" y="212"/>
                  </a:lnTo>
                  <a:lnTo>
                    <a:pt x="50" y="210"/>
                  </a:lnTo>
                  <a:lnTo>
                    <a:pt x="52" y="208"/>
                  </a:lnTo>
                  <a:lnTo>
                    <a:pt x="54" y="204"/>
                  </a:lnTo>
                  <a:lnTo>
                    <a:pt x="54" y="200"/>
                  </a:lnTo>
                  <a:lnTo>
                    <a:pt x="58" y="190"/>
                  </a:lnTo>
                  <a:lnTo>
                    <a:pt x="62" y="180"/>
                  </a:lnTo>
                  <a:lnTo>
                    <a:pt x="64" y="178"/>
                  </a:lnTo>
                  <a:lnTo>
                    <a:pt x="68" y="178"/>
                  </a:lnTo>
                  <a:lnTo>
                    <a:pt x="70" y="178"/>
                  </a:lnTo>
                  <a:lnTo>
                    <a:pt x="74" y="176"/>
                  </a:lnTo>
                  <a:lnTo>
                    <a:pt x="74" y="172"/>
                  </a:lnTo>
                  <a:lnTo>
                    <a:pt x="80" y="172"/>
                  </a:lnTo>
                  <a:lnTo>
                    <a:pt x="86" y="172"/>
                  </a:lnTo>
                  <a:lnTo>
                    <a:pt x="80" y="172"/>
                  </a:lnTo>
                  <a:lnTo>
                    <a:pt x="82" y="162"/>
                  </a:lnTo>
                  <a:lnTo>
                    <a:pt x="82" y="160"/>
                  </a:lnTo>
                  <a:lnTo>
                    <a:pt x="86" y="158"/>
                  </a:lnTo>
                  <a:lnTo>
                    <a:pt x="88" y="156"/>
                  </a:lnTo>
                  <a:lnTo>
                    <a:pt x="90" y="152"/>
                  </a:lnTo>
                  <a:lnTo>
                    <a:pt x="92" y="148"/>
                  </a:lnTo>
                  <a:lnTo>
                    <a:pt x="96" y="144"/>
                  </a:lnTo>
                  <a:lnTo>
                    <a:pt x="100" y="136"/>
                  </a:lnTo>
                  <a:lnTo>
                    <a:pt x="102" y="136"/>
                  </a:lnTo>
                  <a:lnTo>
                    <a:pt x="100" y="132"/>
                  </a:lnTo>
                  <a:lnTo>
                    <a:pt x="100" y="130"/>
                  </a:lnTo>
                  <a:lnTo>
                    <a:pt x="102" y="128"/>
                  </a:lnTo>
                  <a:lnTo>
                    <a:pt x="104" y="124"/>
                  </a:lnTo>
                  <a:lnTo>
                    <a:pt x="102" y="120"/>
                  </a:lnTo>
                  <a:lnTo>
                    <a:pt x="98" y="122"/>
                  </a:lnTo>
                  <a:lnTo>
                    <a:pt x="96" y="124"/>
                  </a:lnTo>
                  <a:lnTo>
                    <a:pt x="96" y="122"/>
                  </a:lnTo>
                  <a:lnTo>
                    <a:pt x="96" y="120"/>
                  </a:lnTo>
                  <a:lnTo>
                    <a:pt x="92" y="120"/>
                  </a:lnTo>
                  <a:lnTo>
                    <a:pt x="92" y="122"/>
                  </a:lnTo>
                  <a:lnTo>
                    <a:pt x="90" y="122"/>
                  </a:lnTo>
                  <a:lnTo>
                    <a:pt x="92" y="124"/>
                  </a:lnTo>
                  <a:lnTo>
                    <a:pt x="86" y="124"/>
                  </a:lnTo>
                  <a:lnTo>
                    <a:pt x="86" y="116"/>
                  </a:lnTo>
                  <a:lnTo>
                    <a:pt x="84" y="116"/>
                  </a:lnTo>
                  <a:lnTo>
                    <a:pt x="82" y="114"/>
                  </a:lnTo>
                  <a:lnTo>
                    <a:pt x="80" y="114"/>
                  </a:lnTo>
                  <a:lnTo>
                    <a:pt x="80" y="112"/>
                  </a:lnTo>
                  <a:lnTo>
                    <a:pt x="82" y="110"/>
                  </a:lnTo>
                  <a:lnTo>
                    <a:pt x="84" y="108"/>
                  </a:lnTo>
                  <a:lnTo>
                    <a:pt x="78" y="108"/>
                  </a:lnTo>
                  <a:lnTo>
                    <a:pt x="78" y="108"/>
                  </a:lnTo>
                  <a:close/>
                  <a:moveTo>
                    <a:pt x="80" y="0"/>
                  </a:moveTo>
                  <a:lnTo>
                    <a:pt x="80" y="0"/>
                  </a:lnTo>
                  <a:lnTo>
                    <a:pt x="80" y="2"/>
                  </a:lnTo>
                  <a:lnTo>
                    <a:pt x="80" y="4"/>
                  </a:lnTo>
                  <a:lnTo>
                    <a:pt x="84" y="8"/>
                  </a:lnTo>
                  <a:lnTo>
                    <a:pt x="88" y="12"/>
                  </a:lnTo>
                  <a:lnTo>
                    <a:pt x="92" y="22"/>
                  </a:lnTo>
                  <a:lnTo>
                    <a:pt x="100" y="32"/>
                  </a:lnTo>
                  <a:lnTo>
                    <a:pt x="100" y="34"/>
                  </a:lnTo>
                  <a:lnTo>
                    <a:pt x="104" y="36"/>
                  </a:lnTo>
                  <a:lnTo>
                    <a:pt x="106" y="40"/>
                  </a:lnTo>
                  <a:lnTo>
                    <a:pt x="104" y="42"/>
                  </a:lnTo>
                  <a:lnTo>
                    <a:pt x="104" y="44"/>
                  </a:lnTo>
                  <a:lnTo>
                    <a:pt x="104" y="48"/>
                  </a:lnTo>
                  <a:lnTo>
                    <a:pt x="110" y="50"/>
                  </a:lnTo>
                  <a:lnTo>
                    <a:pt x="108" y="52"/>
                  </a:lnTo>
                  <a:lnTo>
                    <a:pt x="110" y="62"/>
                  </a:lnTo>
                  <a:lnTo>
                    <a:pt x="110" y="68"/>
                  </a:lnTo>
                  <a:lnTo>
                    <a:pt x="108" y="72"/>
                  </a:lnTo>
                  <a:lnTo>
                    <a:pt x="106" y="76"/>
                  </a:lnTo>
                  <a:lnTo>
                    <a:pt x="104" y="82"/>
                  </a:lnTo>
                  <a:lnTo>
                    <a:pt x="96" y="84"/>
                  </a:lnTo>
                  <a:lnTo>
                    <a:pt x="96" y="86"/>
                  </a:lnTo>
                  <a:lnTo>
                    <a:pt x="94" y="86"/>
                  </a:lnTo>
                  <a:lnTo>
                    <a:pt x="94" y="90"/>
                  </a:lnTo>
                  <a:lnTo>
                    <a:pt x="100" y="92"/>
                  </a:lnTo>
                  <a:lnTo>
                    <a:pt x="108" y="98"/>
                  </a:lnTo>
                  <a:lnTo>
                    <a:pt x="112" y="104"/>
                  </a:lnTo>
                  <a:lnTo>
                    <a:pt x="114" y="108"/>
                  </a:lnTo>
                  <a:lnTo>
                    <a:pt x="114" y="114"/>
                  </a:lnTo>
                  <a:lnTo>
                    <a:pt x="112" y="118"/>
                  </a:lnTo>
                  <a:lnTo>
                    <a:pt x="108" y="122"/>
                  </a:lnTo>
                  <a:lnTo>
                    <a:pt x="108" y="124"/>
                  </a:lnTo>
                  <a:lnTo>
                    <a:pt x="116" y="126"/>
                  </a:lnTo>
                  <a:lnTo>
                    <a:pt x="120" y="130"/>
                  </a:lnTo>
                  <a:lnTo>
                    <a:pt x="126" y="126"/>
                  </a:lnTo>
                  <a:lnTo>
                    <a:pt x="128" y="122"/>
                  </a:lnTo>
                  <a:lnTo>
                    <a:pt x="132" y="116"/>
                  </a:lnTo>
                  <a:lnTo>
                    <a:pt x="132" y="112"/>
                  </a:lnTo>
                  <a:lnTo>
                    <a:pt x="134" y="110"/>
                  </a:lnTo>
                  <a:lnTo>
                    <a:pt x="138" y="106"/>
                  </a:lnTo>
                  <a:lnTo>
                    <a:pt x="138" y="104"/>
                  </a:lnTo>
                  <a:lnTo>
                    <a:pt x="138" y="100"/>
                  </a:lnTo>
                  <a:lnTo>
                    <a:pt x="140" y="96"/>
                  </a:lnTo>
                  <a:lnTo>
                    <a:pt x="138" y="92"/>
                  </a:lnTo>
                  <a:lnTo>
                    <a:pt x="144" y="88"/>
                  </a:lnTo>
                  <a:lnTo>
                    <a:pt x="148" y="88"/>
                  </a:lnTo>
                  <a:lnTo>
                    <a:pt x="152" y="90"/>
                  </a:lnTo>
                  <a:lnTo>
                    <a:pt x="150" y="86"/>
                  </a:lnTo>
                  <a:lnTo>
                    <a:pt x="150" y="82"/>
                  </a:lnTo>
                  <a:lnTo>
                    <a:pt x="152" y="80"/>
                  </a:lnTo>
                  <a:lnTo>
                    <a:pt x="160" y="68"/>
                  </a:lnTo>
                  <a:lnTo>
                    <a:pt x="154" y="64"/>
                  </a:lnTo>
                  <a:lnTo>
                    <a:pt x="152" y="62"/>
                  </a:lnTo>
                  <a:lnTo>
                    <a:pt x="142" y="68"/>
                  </a:lnTo>
                  <a:lnTo>
                    <a:pt x="140" y="70"/>
                  </a:lnTo>
                  <a:lnTo>
                    <a:pt x="132" y="66"/>
                  </a:lnTo>
                  <a:lnTo>
                    <a:pt x="130" y="64"/>
                  </a:lnTo>
                  <a:lnTo>
                    <a:pt x="128" y="62"/>
                  </a:lnTo>
                  <a:lnTo>
                    <a:pt x="128" y="56"/>
                  </a:lnTo>
                  <a:lnTo>
                    <a:pt x="126" y="46"/>
                  </a:lnTo>
                  <a:lnTo>
                    <a:pt x="122" y="48"/>
                  </a:lnTo>
                  <a:lnTo>
                    <a:pt x="122" y="44"/>
                  </a:lnTo>
                  <a:lnTo>
                    <a:pt x="122" y="40"/>
                  </a:lnTo>
                  <a:lnTo>
                    <a:pt x="120" y="40"/>
                  </a:lnTo>
                  <a:lnTo>
                    <a:pt x="118" y="52"/>
                  </a:lnTo>
                  <a:lnTo>
                    <a:pt x="116" y="52"/>
                  </a:lnTo>
                  <a:lnTo>
                    <a:pt x="116" y="50"/>
                  </a:lnTo>
                  <a:lnTo>
                    <a:pt x="112" y="48"/>
                  </a:lnTo>
                  <a:lnTo>
                    <a:pt x="112" y="36"/>
                  </a:lnTo>
                  <a:lnTo>
                    <a:pt x="110" y="32"/>
                  </a:lnTo>
                  <a:lnTo>
                    <a:pt x="108" y="28"/>
                  </a:lnTo>
                  <a:lnTo>
                    <a:pt x="110" y="26"/>
                  </a:lnTo>
                  <a:lnTo>
                    <a:pt x="110" y="22"/>
                  </a:lnTo>
                  <a:lnTo>
                    <a:pt x="108" y="20"/>
                  </a:lnTo>
                  <a:lnTo>
                    <a:pt x="106" y="20"/>
                  </a:lnTo>
                  <a:lnTo>
                    <a:pt x="104" y="22"/>
                  </a:lnTo>
                  <a:lnTo>
                    <a:pt x="104" y="16"/>
                  </a:lnTo>
                  <a:lnTo>
                    <a:pt x="100" y="12"/>
                  </a:lnTo>
                  <a:lnTo>
                    <a:pt x="96" y="12"/>
                  </a:lnTo>
                  <a:lnTo>
                    <a:pt x="94" y="10"/>
                  </a:lnTo>
                  <a:lnTo>
                    <a:pt x="94" y="8"/>
                  </a:lnTo>
                  <a:lnTo>
                    <a:pt x="92" y="10"/>
                  </a:lnTo>
                  <a:lnTo>
                    <a:pt x="92" y="12"/>
                  </a:lnTo>
                  <a:lnTo>
                    <a:pt x="88" y="8"/>
                  </a:lnTo>
                  <a:lnTo>
                    <a:pt x="84" y="4"/>
                  </a:lnTo>
                  <a:lnTo>
                    <a:pt x="84" y="2"/>
                  </a:lnTo>
                  <a:lnTo>
                    <a:pt x="84" y="0"/>
                  </a:lnTo>
                  <a:lnTo>
                    <a:pt x="80" y="0"/>
                  </a:lnTo>
                  <a:lnTo>
                    <a:pt x="8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8" name="Freeform 281">
              <a:extLst>
                <a:ext uri="{FF2B5EF4-FFF2-40B4-BE49-F238E27FC236}">
                  <a16:creationId xmlns:a16="http://schemas.microsoft.com/office/drawing/2014/main" id="{3DC5E312-8942-4FAB-AB25-26497714E2F8}"/>
                </a:ext>
              </a:extLst>
            </p:cNvPr>
            <p:cNvSpPr>
              <a:spLocks/>
            </p:cNvSpPr>
            <p:nvPr/>
          </p:nvSpPr>
          <p:spPr bwMode="auto">
            <a:xfrm>
              <a:off x="3823966" y="3882167"/>
              <a:ext cx="15538" cy="18127"/>
            </a:xfrm>
            <a:custGeom>
              <a:avLst/>
              <a:gdLst/>
              <a:ahLst/>
              <a:cxnLst>
                <a:cxn ang="0">
                  <a:pos x="10" y="14"/>
                </a:cxn>
                <a:cxn ang="0">
                  <a:pos x="10" y="14"/>
                </a:cxn>
                <a:cxn ang="0">
                  <a:pos x="4" y="8"/>
                </a:cxn>
                <a:cxn ang="0">
                  <a:pos x="2" y="6"/>
                </a:cxn>
                <a:cxn ang="0">
                  <a:pos x="0" y="2"/>
                </a:cxn>
                <a:cxn ang="0">
                  <a:pos x="6" y="0"/>
                </a:cxn>
                <a:cxn ang="0">
                  <a:pos x="8" y="4"/>
                </a:cxn>
                <a:cxn ang="0">
                  <a:pos x="6" y="4"/>
                </a:cxn>
                <a:cxn ang="0">
                  <a:pos x="8" y="8"/>
                </a:cxn>
                <a:cxn ang="0">
                  <a:pos x="12" y="10"/>
                </a:cxn>
                <a:cxn ang="0">
                  <a:pos x="12" y="12"/>
                </a:cxn>
                <a:cxn ang="0">
                  <a:pos x="12" y="14"/>
                </a:cxn>
                <a:cxn ang="0">
                  <a:pos x="10" y="14"/>
                </a:cxn>
                <a:cxn ang="0">
                  <a:pos x="10" y="14"/>
                </a:cxn>
              </a:cxnLst>
              <a:rect l="0" t="0" r="r" b="b"/>
              <a:pathLst>
                <a:path w="12" h="14">
                  <a:moveTo>
                    <a:pt x="10" y="14"/>
                  </a:moveTo>
                  <a:lnTo>
                    <a:pt x="10" y="14"/>
                  </a:lnTo>
                  <a:lnTo>
                    <a:pt x="4" y="8"/>
                  </a:lnTo>
                  <a:lnTo>
                    <a:pt x="2" y="6"/>
                  </a:lnTo>
                  <a:lnTo>
                    <a:pt x="0" y="2"/>
                  </a:lnTo>
                  <a:lnTo>
                    <a:pt x="6" y="0"/>
                  </a:lnTo>
                  <a:lnTo>
                    <a:pt x="8" y="4"/>
                  </a:lnTo>
                  <a:lnTo>
                    <a:pt x="6" y="4"/>
                  </a:lnTo>
                  <a:lnTo>
                    <a:pt x="8" y="8"/>
                  </a:lnTo>
                  <a:lnTo>
                    <a:pt x="12" y="10"/>
                  </a:lnTo>
                  <a:lnTo>
                    <a:pt x="12" y="12"/>
                  </a:lnTo>
                  <a:lnTo>
                    <a:pt x="12" y="14"/>
                  </a:lnTo>
                  <a:lnTo>
                    <a:pt x="10" y="14"/>
                  </a:lnTo>
                  <a:lnTo>
                    <a:pt x="10"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19" name="Freeform 282">
              <a:extLst>
                <a:ext uri="{FF2B5EF4-FFF2-40B4-BE49-F238E27FC236}">
                  <a16:creationId xmlns:a16="http://schemas.microsoft.com/office/drawing/2014/main" id="{E61F221A-FC45-4BAA-B82A-7F0D48E6CE6F}"/>
                </a:ext>
              </a:extLst>
            </p:cNvPr>
            <p:cNvSpPr>
              <a:spLocks/>
            </p:cNvSpPr>
            <p:nvPr/>
          </p:nvSpPr>
          <p:spPr bwMode="auto">
            <a:xfrm>
              <a:off x="3823966" y="3882167"/>
              <a:ext cx="15538" cy="18127"/>
            </a:xfrm>
            <a:custGeom>
              <a:avLst/>
              <a:gdLst/>
              <a:ahLst/>
              <a:cxnLst>
                <a:cxn ang="0">
                  <a:pos x="10" y="14"/>
                </a:cxn>
                <a:cxn ang="0">
                  <a:pos x="10" y="14"/>
                </a:cxn>
                <a:cxn ang="0">
                  <a:pos x="4" y="8"/>
                </a:cxn>
                <a:cxn ang="0">
                  <a:pos x="2" y="6"/>
                </a:cxn>
                <a:cxn ang="0">
                  <a:pos x="0" y="2"/>
                </a:cxn>
                <a:cxn ang="0">
                  <a:pos x="6" y="0"/>
                </a:cxn>
                <a:cxn ang="0">
                  <a:pos x="8" y="4"/>
                </a:cxn>
                <a:cxn ang="0">
                  <a:pos x="6" y="4"/>
                </a:cxn>
                <a:cxn ang="0">
                  <a:pos x="8" y="8"/>
                </a:cxn>
                <a:cxn ang="0">
                  <a:pos x="12" y="10"/>
                </a:cxn>
                <a:cxn ang="0">
                  <a:pos x="12" y="12"/>
                </a:cxn>
                <a:cxn ang="0">
                  <a:pos x="12" y="14"/>
                </a:cxn>
                <a:cxn ang="0">
                  <a:pos x="10" y="14"/>
                </a:cxn>
                <a:cxn ang="0">
                  <a:pos x="10" y="14"/>
                </a:cxn>
              </a:cxnLst>
              <a:rect l="0" t="0" r="r" b="b"/>
              <a:pathLst>
                <a:path w="12" h="14">
                  <a:moveTo>
                    <a:pt x="10" y="14"/>
                  </a:moveTo>
                  <a:lnTo>
                    <a:pt x="10" y="14"/>
                  </a:lnTo>
                  <a:lnTo>
                    <a:pt x="4" y="8"/>
                  </a:lnTo>
                  <a:lnTo>
                    <a:pt x="2" y="6"/>
                  </a:lnTo>
                  <a:lnTo>
                    <a:pt x="0" y="2"/>
                  </a:lnTo>
                  <a:lnTo>
                    <a:pt x="6" y="0"/>
                  </a:lnTo>
                  <a:lnTo>
                    <a:pt x="8" y="4"/>
                  </a:lnTo>
                  <a:lnTo>
                    <a:pt x="6" y="4"/>
                  </a:lnTo>
                  <a:lnTo>
                    <a:pt x="8" y="8"/>
                  </a:lnTo>
                  <a:lnTo>
                    <a:pt x="12" y="10"/>
                  </a:lnTo>
                  <a:lnTo>
                    <a:pt x="12" y="12"/>
                  </a:lnTo>
                  <a:lnTo>
                    <a:pt x="12" y="14"/>
                  </a:lnTo>
                  <a:lnTo>
                    <a:pt x="10" y="14"/>
                  </a:lnTo>
                  <a:lnTo>
                    <a:pt x="10"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0" name="Freeform 283">
              <a:extLst>
                <a:ext uri="{FF2B5EF4-FFF2-40B4-BE49-F238E27FC236}">
                  <a16:creationId xmlns:a16="http://schemas.microsoft.com/office/drawing/2014/main" id="{55D65AEC-75B4-497C-99CA-78C6D12A95DA}"/>
                </a:ext>
              </a:extLst>
            </p:cNvPr>
            <p:cNvSpPr>
              <a:spLocks/>
            </p:cNvSpPr>
            <p:nvPr/>
          </p:nvSpPr>
          <p:spPr bwMode="auto">
            <a:xfrm>
              <a:off x="4517981" y="3597310"/>
              <a:ext cx="530870" cy="256371"/>
            </a:xfrm>
            <a:custGeom>
              <a:avLst/>
              <a:gdLst/>
              <a:ahLst/>
              <a:cxnLst>
                <a:cxn ang="0">
                  <a:pos x="14" y="50"/>
                </a:cxn>
                <a:cxn ang="0">
                  <a:pos x="20" y="40"/>
                </a:cxn>
                <a:cxn ang="0">
                  <a:pos x="38" y="30"/>
                </a:cxn>
                <a:cxn ang="0">
                  <a:pos x="60" y="26"/>
                </a:cxn>
                <a:cxn ang="0">
                  <a:pos x="80" y="32"/>
                </a:cxn>
                <a:cxn ang="0">
                  <a:pos x="104" y="38"/>
                </a:cxn>
                <a:cxn ang="0">
                  <a:pos x="130" y="34"/>
                </a:cxn>
                <a:cxn ang="0">
                  <a:pos x="118" y="16"/>
                </a:cxn>
                <a:cxn ang="0">
                  <a:pos x="126" y="0"/>
                </a:cxn>
                <a:cxn ang="0">
                  <a:pos x="152" y="2"/>
                </a:cxn>
                <a:cxn ang="0">
                  <a:pos x="176" y="18"/>
                </a:cxn>
                <a:cxn ang="0">
                  <a:pos x="192" y="36"/>
                </a:cxn>
                <a:cxn ang="0">
                  <a:pos x="214" y="42"/>
                </a:cxn>
                <a:cxn ang="0">
                  <a:pos x="232" y="38"/>
                </a:cxn>
                <a:cxn ang="0">
                  <a:pos x="250" y="48"/>
                </a:cxn>
                <a:cxn ang="0">
                  <a:pos x="268" y="54"/>
                </a:cxn>
                <a:cxn ang="0">
                  <a:pos x="286" y="54"/>
                </a:cxn>
                <a:cxn ang="0">
                  <a:pos x="310" y="50"/>
                </a:cxn>
                <a:cxn ang="0">
                  <a:pos x="338" y="40"/>
                </a:cxn>
                <a:cxn ang="0">
                  <a:pos x="362" y="48"/>
                </a:cxn>
                <a:cxn ang="0">
                  <a:pos x="358" y="72"/>
                </a:cxn>
                <a:cxn ang="0">
                  <a:pos x="354" y="84"/>
                </a:cxn>
                <a:cxn ang="0">
                  <a:pos x="380" y="80"/>
                </a:cxn>
                <a:cxn ang="0">
                  <a:pos x="394" y="90"/>
                </a:cxn>
                <a:cxn ang="0">
                  <a:pos x="406" y="106"/>
                </a:cxn>
                <a:cxn ang="0">
                  <a:pos x="396" y="106"/>
                </a:cxn>
                <a:cxn ang="0">
                  <a:pos x="386" y="112"/>
                </a:cxn>
                <a:cxn ang="0">
                  <a:pos x="362" y="114"/>
                </a:cxn>
                <a:cxn ang="0">
                  <a:pos x="354" y="126"/>
                </a:cxn>
                <a:cxn ang="0">
                  <a:pos x="322" y="146"/>
                </a:cxn>
                <a:cxn ang="0">
                  <a:pos x="302" y="134"/>
                </a:cxn>
                <a:cxn ang="0">
                  <a:pos x="292" y="152"/>
                </a:cxn>
                <a:cxn ang="0">
                  <a:pos x="292" y="172"/>
                </a:cxn>
                <a:cxn ang="0">
                  <a:pos x="264" y="182"/>
                </a:cxn>
                <a:cxn ang="0">
                  <a:pos x="240" y="184"/>
                </a:cxn>
                <a:cxn ang="0">
                  <a:pos x="216" y="196"/>
                </a:cxn>
                <a:cxn ang="0">
                  <a:pos x="186" y="194"/>
                </a:cxn>
                <a:cxn ang="0">
                  <a:pos x="158" y="184"/>
                </a:cxn>
                <a:cxn ang="0">
                  <a:pos x="124" y="182"/>
                </a:cxn>
                <a:cxn ang="0">
                  <a:pos x="102" y="170"/>
                </a:cxn>
                <a:cxn ang="0">
                  <a:pos x="90" y="154"/>
                </a:cxn>
                <a:cxn ang="0">
                  <a:pos x="72" y="142"/>
                </a:cxn>
                <a:cxn ang="0">
                  <a:pos x="48" y="134"/>
                </a:cxn>
                <a:cxn ang="0">
                  <a:pos x="50" y="114"/>
                </a:cxn>
                <a:cxn ang="0">
                  <a:pos x="38" y="100"/>
                </a:cxn>
                <a:cxn ang="0">
                  <a:pos x="16" y="88"/>
                </a:cxn>
                <a:cxn ang="0">
                  <a:pos x="2" y="78"/>
                </a:cxn>
                <a:cxn ang="0">
                  <a:pos x="2" y="54"/>
                </a:cxn>
              </a:cxnLst>
              <a:rect l="0" t="0" r="r" b="b"/>
              <a:pathLst>
                <a:path w="410" h="198">
                  <a:moveTo>
                    <a:pt x="2" y="54"/>
                  </a:moveTo>
                  <a:lnTo>
                    <a:pt x="8" y="52"/>
                  </a:lnTo>
                  <a:lnTo>
                    <a:pt x="14" y="50"/>
                  </a:lnTo>
                  <a:lnTo>
                    <a:pt x="16" y="48"/>
                  </a:lnTo>
                  <a:lnTo>
                    <a:pt x="16" y="44"/>
                  </a:lnTo>
                  <a:lnTo>
                    <a:pt x="20" y="40"/>
                  </a:lnTo>
                  <a:lnTo>
                    <a:pt x="24" y="36"/>
                  </a:lnTo>
                  <a:lnTo>
                    <a:pt x="32" y="34"/>
                  </a:lnTo>
                  <a:lnTo>
                    <a:pt x="38" y="30"/>
                  </a:lnTo>
                  <a:lnTo>
                    <a:pt x="42" y="26"/>
                  </a:lnTo>
                  <a:lnTo>
                    <a:pt x="52" y="26"/>
                  </a:lnTo>
                  <a:lnTo>
                    <a:pt x="60" y="26"/>
                  </a:lnTo>
                  <a:lnTo>
                    <a:pt x="62" y="30"/>
                  </a:lnTo>
                  <a:lnTo>
                    <a:pt x="70" y="28"/>
                  </a:lnTo>
                  <a:lnTo>
                    <a:pt x="80" y="32"/>
                  </a:lnTo>
                  <a:lnTo>
                    <a:pt x="88" y="36"/>
                  </a:lnTo>
                  <a:lnTo>
                    <a:pt x="96" y="38"/>
                  </a:lnTo>
                  <a:lnTo>
                    <a:pt x="104" y="38"/>
                  </a:lnTo>
                  <a:lnTo>
                    <a:pt x="116" y="38"/>
                  </a:lnTo>
                  <a:lnTo>
                    <a:pt x="126" y="38"/>
                  </a:lnTo>
                  <a:lnTo>
                    <a:pt x="130" y="34"/>
                  </a:lnTo>
                  <a:lnTo>
                    <a:pt x="128" y="26"/>
                  </a:lnTo>
                  <a:lnTo>
                    <a:pt x="124" y="20"/>
                  </a:lnTo>
                  <a:lnTo>
                    <a:pt x="118" y="16"/>
                  </a:lnTo>
                  <a:lnTo>
                    <a:pt x="120" y="10"/>
                  </a:lnTo>
                  <a:lnTo>
                    <a:pt x="124" y="4"/>
                  </a:lnTo>
                  <a:lnTo>
                    <a:pt x="126" y="0"/>
                  </a:lnTo>
                  <a:lnTo>
                    <a:pt x="136" y="0"/>
                  </a:lnTo>
                  <a:lnTo>
                    <a:pt x="142" y="2"/>
                  </a:lnTo>
                  <a:lnTo>
                    <a:pt x="152" y="2"/>
                  </a:lnTo>
                  <a:lnTo>
                    <a:pt x="156" y="6"/>
                  </a:lnTo>
                  <a:lnTo>
                    <a:pt x="164" y="8"/>
                  </a:lnTo>
                  <a:lnTo>
                    <a:pt x="176" y="18"/>
                  </a:lnTo>
                  <a:lnTo>
                    <a:pt x="184" y="24"/>
                  </a:lnTo>
                  <a:lnTo>
                    <a:pt x="188" y="34"/>
                  </a:lnTo>
                  <a:lnTo>
                    <a:pt x="192" y="36"/>
                  </a:lnTo>
                  <a:lnTo>
                    <a:pt x="202" y="42"/>
                  </a:lnTo>
                  <a:lnTo>
                    <a:pt x="208" y="42"/>
                  </a:lnTo>
                  <a:lnTo>
                    <a:pt x="214" y="42"/>
                  </a:lnTo>
                  <a:lnTo>
                    <a:pt x="220" y="40"/>
                  </a:lnTo>
                  <a:lnTo>
                    <a:pt x="224" y="36"/>
                  </a:lnTo>
                  <a:lnTo>
                    <a:pt x="232" y="38"/>
                  </a:lnTo>
                  <a:lnTo>
                    <a:pt x="244" y="42"/>
                  </a:lnTo>
                  <a:lnTo>
                    <a:pt x="250" y="42"/>
                  </a:lnTo>
                  <a:lnTo>
                    <a:pt x="250" y="48"/>
                  </a:lnTo>
                  <a:lnTo>
                    <a:pt x="256" y="50"/>
                  </a:lnTo>
                  <a:lnTo>
                    <a:pt x="262" y="50"/>
                  </a:lnTo>
                  <a:lnTo>
                    <a:pt x="268" y="54"/>
                  </a:lnTo>
                  <a:lnTo>
                    <a:pt x="274" y="54"/>
                  </a:lnTo>
                  <a:lnTo>
                    <a:pt x="280" y="52"/>
                  </a:lnTo>
                  <a:lnTo>
                    <a:pt x="286" y="54"/>
                  </a:lnTo>
                  <a:lnTo>
                    <a:pt x="294" y="56"/>
                  </a:lnTo>
                  <a:lnTo>
                    <a:pt x="304" y="54"/>
                  </a:lnTo>
                  <a:lnTo>
                    <a:pt x="310" y="50"/>
                  </a:lnTo>
                  <a:lnTo>
                    <a:pt x="322" y="50"/>
                  </a:lnTo>
                  <a:lnTo>
                    <a:pt x="334" y="42"/>
                  </a:lnTo>
                  <a:lnTo>
                    <a:pt x="338" y="40"/>
                  </a:lnTo>
                  <a:lnTo>
                    <a:pt x="348" y="46"/>
                  </a:lnTo>
                  <a:lnTo>
                    <a:pt x="354" y="46"/>
                  </a:lnTo>
                  <a:lnTo>
                    <a:pt x="362" y="48"/>
                  </a:lnTo>
                  <a:lnTo>
                    <a:pt x="356" y="62"/>
                  </a:lnTo>
                  <a:lnTo>
                    <a:pt x="358" y="68"/>
                  </a:lnTo>
                  <a:lnTo>
                    <a:pt x="358" y="72"/>
                  </a:lnTo>
                  <a:lnTo>
                    <a:pt x="356" y="74"/>
                  </a:lnTo>
                  <a:lnTo>
                    <a:pt x="354" y="78"/>
                  </a:lnTo>
                  <a:lnTo>
                    <a:pt x="354" y="84"/>
                  </a:lnTo>
                  <a:lnTo>
                    <a:pt x="364" y="88"/>
                  </a:lnTo>
                  <a:lnTo>
                    <a:pt x="374" y="86"/>
                  </a:lnTo>
                  <a:lnTo>
                    <a:pt x="380" y="80"/>
                  </a:lnTo>
                  <a:lnTo>
                    <a:pt x="384" y="80"/>
                  </a:lnTo>
                  <a:lnTo>
                    <a:pt x="388" y="84"/>
                  </a:lnTo>
                  <a:lnTo>
                    <a:pt x="394" y="90"/>
                  </a:lnTo>
                  <a:lnTo>
                    <a:pt x="404" y="94"/>
                  </a:lnTo>
                  <a:lnTo>
                    <a:pt x="410" y="100"/>
                  </a:lnTo>
                  <a:lnTo>
                    <a:pt x="406" y="106"/>
                  </a:lnTo>
                  <a:lnTo>
                    <a:pt x="402" y="104"/>
                  </a:lnTo>
                  <a:lnTo>
                    <a:pt x="398" y="104"/>
                  </a:lnTo>
                  <a:lnTo>
                    <a:pt x="396" y="106"/>
                  </a:lnTo>
                  <a:lnTo>
                    <a:pt x="392" y="108"/>
                  </a:lnTo>
                  <a:lnTo>
                    <a:pt x="388" y="108"/>
                  </a:lnTo>
                  <a:lnTo>
                    <a:pt x="386" y="112"/>
                  </a:lnTo>
                  <a:lnTo>
                    <a:pt x="378" y="110"/>
                  </a:lnTo>
                  <a:lnTo>
                    <a:pt x="368" y="118"/>
                  </a:lnTo>
                  <a:lnTo>
                    <a:pt x="362" y="114"/>
                  </a:lnTo>
                  <a:lnTo>
                    <a:pt x="358" y="114"/>
                  </a:lnTo>
                  <a:lnTo>
                    <a:pt x="356" y="122"/>
                  </a:lnTo>
                  <a:lnTo>
                    <a:pt x="354" y="126"/>
                  </a:lnTo>
                  <a:lnTo>
                    <a:pt x="336" y="130"/>
                  </a:lnTo>
                  <a:lnTo>
                    <a:pt x="334" y="140"/>
                  </a:lnTo>
                  <a:lnTo>
                    <a:pt x="322" y="146"/>
                  </a:lnTo>
                  <a:lnTo>
                    <a:pt x="314" y="142"/>
                  </a:lnTo>
                  <a:lnTo>
                    <a:pt x="308" y="136"/>
                  </a:lnTo>
                  <a:lnTo>
                    <a:pt x="302" y="134"/>
                  </a:lnTo>
                  <a:lnTo>
                    <a:pt x="296" y="138"/>
                  </a:lnTo>
                  <a:lnTo>
                    <a:pt x="294" y="146"/>
                  </a:lnTo>
                  <a:lnTo>
                    <a:pt x="292" y="152"/>
                  </a:lnTo>
                  <a:lnTo>
                    <a:pt x="294" y="162"/>
                  </a:lnTo>
                  <a:lnTo>
                    <a:pt x="296" y="166"/>
                  </a:lnTo>
                  <a:lnTo>
                    <a:pt x="292" y="172"/>
                  </a:lnTo>
                  <a:lnTo>
                    <a:pt x="288" y="176"/>
                  </a:lnTo>
                  <a:lnTo>
                    <a:pt x="278" y="178"/>
                  </a:lnTo>
                  <a:lnTo>
                    <a:pt x="264" y="182"/>
                  </a:lnTo>
                  <a:lnTo>
                    <a:pt x="252" y="182"/>
                  </a:lnTo>
                  <a:lnTo>
                    <a:pt x="244" y="184"/>
                  </a:lnTo>
                  <a:lnTo>
                    <a:pt x="240" y="184"/>
                  </a:lnTo>
                  <a:lnTo>
                    <a:pt x="232" y="192"/>
                  </a:lnTo>
                  <a:lnTo>
                    <a:pt x="224" y="196"/>
                  </a:lnTo>
                  <a:lnTo>
                    <a:pt x="216" y="196"/>
                  </a:lnTo>
                  <a:lnTo>
                    <a:pt x="206" y="198"/>
                  </a:lnTo>
                  <a:lnTo>
                    <a:pt x="194" y="198"/>
                  </a:lnTo>
                  <a:lnTo>
                    <a:pt x="186" y="194"/>
                  </a:lnTo>
                  <a:lnTo>
                    <a:pt x="180" y="186"/>
                  </a:lnTo>
                  <a:lnTo>
                    <a:pt x="176" y="184"/>
                  </a:lnTo>
                  <a:lnTo>
                    <a:pt x="158" y="184"/>
                  </a:lnTo>
                  <a:lnTo>
                    <a:pt x="146" y="182"/>
                  </a:lnTo>
                  <a:lnTo>
                    <a:pt x="134" y="182"/>
                  </a:lnTo>
                  <a:lnTo>
                    <a:pt x="124" y="182"/>
                  </a:lnTo>
                  <a:lnTo>
                    <a:pt x="116" y="182"/>
                  </a:lnTo>
                  <a:lnTo>
                    <a:pt x="110" y="176"/>
                  </a:lnTo>
                  <a:lnTo>
                    <a:pt x="102" y="170"/>
                  </a:lnTo>
                  <a:lnTo>
                    <a:pt x="96" y="164"/>
                  </a:lnTo>
                  <a:lnTo>
                    <a:pt x="92" y="162"/>
                  </a:lnTo>
                  <a:lnTo>
                    <a:pt x="90" y="154"/>
                  </a:lnTo>
                  <a:lnTo>
                    <a:pt x="84" y="148"/>
                  </a:lnTo>
                  <a:lnTo>
                    <a:pt x="76" y="146"/>
                  </a:lnTo>
                  <a:lnTo>
                    <a:pt x="72" y="142"/>
                  </a:lnTo>
                  <a:lnTo>
                    <a:pt x="64" y="138"/>
                  </a:lnTo>
                  <a:lnTo>
                    <a:pt x="56" y="136"/>
                  </a:lnTo>
                  <a:lnTo>
                    <a:pt x="48" y="134"/>
                  </a:lnTo>
                  <a:lnTo>
                    <a:pt x="46" y="128"/>
                  </a:lnTo>
                  <a:lnTo>
                    <a:pt x="48" y="120"/>
                  </a:lnTo>
                  <a:lnTo>
                    <a:pt x="50" y="114"/>
                  </a:lnTo>
                  <a:lnTo>
                    <a:pt x="46" y="108"/>
                  </a:lnTo>
                  <a:lnTo>
                    <a:pt x="38" y="106"/>
                  </a:lnTo>
                  <a:lnTo>
                    <a:pt x="38" y="100"/>
                  </a:lnTo>
                  <a:lnTo>
                    <a:pt x="32" y="92"/>
                  </a:lnTo>
                  <a:lnTo>
                    <a:pt x="24" y="86"/>
                  </a:lnTo>
                  <a:lnTo>
                    <a:pt x="16" y="88"/>
                  </a:lnTo>
                  <a:lnTo>
                    <a:pt x="8" y="86"/>
                  </a:lnTo>
                  <a:lnTo>
                    <a:pt x="4" y="82"/>
                  </a:lnTo>
                  <a:lnTo>
                    <a:pt x="2" y="78"/>
                  </a:lnTo>
                  <a:lnTo>
                    <a:pt x="0" y="68"/>
                  </a:lnTo>
                  <a:lnTo>
                    <a:pt x="2" y="54"/>
                  </a:lnTo>
                  <a:lnTo>
                    <a:pt x="2" y="5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1" name="Freeform 284">
              <a:extLst>
                <a:ext uri="{FF2B5EF4-FFF2-40B4-BE49-F238E27FC236}">
                  <a16:creationId xmlns:a16="http://schemas.microsoft.com/office/drawing/2014/main" id="{C987CEE4-F9E5-41C6-9257-2DB38F32BDC3}"/>
                </a:ext>
              </a:extLst>
            </p:cNvPr>
            <p:cNvSpPr>
              <a:spLocks/>
            </p:cNvSpPr>
            <p:nvPr/>
          </p:nvSpPr>
          <p:spPr bwMode="auto">
            <a:xfrm>
              <a:off x="3148078" y="3804478"/>
              <a:ext cx="7769" cy="5179"/>
            </a:xfrm>
            <a:custGeom>
              <a:avLst/>
              <a:gdLst/>
              <a:ahLst/>
              <a:cxnLst>
                <a:cxn ang="0">
                  <a:pos x="4" y="4"/>
                </a:cxn>
                <a:cxn ang="0">
                  <a:pos x="0" y="2"/>
                </a:cxn>
                <a:cxn ang="0">
                  <a:pos x="4" y="0"/>
                </a:cxn>
                <a:cxn ang="0">
                  <a:pos x="6" y="2"/>
                </a:cxn>
                <a:cxn ang="0">
                  <a:pos x="4" y="4"/>
                </a:cxn>
                <a:cxn ang="0">
                  <a:pos x="4" y="4"/>
                </a:cxn>
              </a:cxnLst>
              <a:rect l="0" t="0" r="r" b="b"/>
              <a:pathLst>
                <a:path w="6" h="4">
                  <a:moveTo>
                    <a:pt x="4" y="4"/>
                  </a:moveTo>
                  <a:lnTo>
                    <a:pt x="0" y="2"/>
                  </a:lnTo>
                  <a:lnTo>
                    <a:pt x="4" y="0"/>
                  </a:lnTo>
                  <a:lnTo>
                    <a:pt x="6" y="2"/>
                  </a:lnTo>
                  <a:lnTo>
                    <a:pt x="4" y="4"/>
                  </a:lnTo>
                  <a:lnTo>
                    <a:pt x="4"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2" name="Freeform 285">
              <a:extLst>
                <a:ext uri="{FF2B5EF4-FFF2-40B4-BE49-F238E27FC236}">
                  <a16:creationId xmlns:a16="http://schemas.microsoft.com/office/drawing/2014/main" id="{40405152-A66B-4121-9304-E2E11D0C2319}"/>
                </a:ext>
              </a:extLst>
            </p:cNvPr>
            <p:cNvSpPr>
              <a:spLocks/>
            </p:cNvSpPr>
            <p:nvPr/>
          </p:nvSpPr>
          <p:spPr bwMode="auto">
            <a:xfrm>
              <a:off x="3148078" y="3804478"/>
              <a:ext cx="7769" cy="5179"/>
            </a:xfrm>
            <a:custGeom>
              <a:avLst/>
              <a:gdLst/>
              <a:ahLst/>
              <a:cxnLst>
                <a:cxn ang="0">
                  <a:pos x="4" y="4"/>
                </a:cxn>
                <a:cxn ang="0">
                  <a:pos x="0" y="2"/>
                </a:cxn>
                <a:cxn ang="0">
                  <a:pos x="4" y="0"/>
                </a:cxn>
                <a:cxn ang="0">
                  <a:pos x="6" y="2"/>
                </a:cxn>
                <a:cxn ang="0">
                  <a:pos x="4" y="4"/>
                </a:cxn>
                <a:cxn ang="0">
                  <a:pos x="4" y="4"/>
                </a:cxn>
              </a:cxnLst>
              <a:rect l="0" t="0" r="r" b="b"/>
              <a:pathLst>
                <a:path w="6" h="4">
                  <a:moveTo>
                    <a:pt x="4" y="4"/>
                  </a:moveTo>
                  <a:lnTo>
                    <a:pt x="0" y="2"/>
                  </a:lnTo>
                  <a:lnTo>
                    <a:pt x="4" y="0"/>
                  </a:lnTo>
                  <a:lnTo>
                    <a:pt x="6" y="2"/>
                  </a:lnTo>
                  <a:lnTo>
                    <a:pt x="4" y="4"/>
                  </a:lnTo>
                  <a:lnTo>
                    <a:pt x="4"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3" name="Freeform 286">
              <a:extLst>
                <a:ext uri="{FF2B5EF4-FFF2-40B4-BE49-F238E27FC236}">
                  <a16:creationId xmlns:a16="http://schemas.microsoft.com/office/drawing/2014/main" id="{C42EB7D8-836A-48C3-9E2C-EBCCFF625F6C}"/>
                </a:ext>
              </a:extLst>
            </p:cNvPr>
            <p:cNvSpPr>
              <a:spLocks/>
            </p:cNvSpPr>
            <p:nvPr/>
          </p:nvSpPr>
          <p:spPr bwMode="auto">
            <a:xfrm>
              <a:off x="3487316" y="3680177"/>
              <a:ext cx="62151" cy="82868"/>
            </a:xfrm>
            <a:custGeom>
              <a:avLst/>
              <a:gdLst/>
              <a:ahLst/>
              <a:cxnLst>
                <a:cxn ang="0">
                  <a:pos x="24" y="64"/>
                </a:cxn>
                <a:cxn ang="0">
                  <a:pos x="24" y="64"/>
                </a:cxn>
                <a:cxn ang="0">
                  <a:pos x="28" y="62"/>
                </a:cxn>
                <a:cxn ang="0">
                  <a:pos x="30" y="56"/>
                </a:cxn>
                <a:cxn ang="0">
                  <a:pos x="32" y="52"/>
                </a:cxn>
                <a:cxn ang="0">
                  <a:pos x="32" y="50"/>
                </a:cxn>
                <a:cxn ang="0">
                  <a:pos x="34" y="48"/>
                </a:cxn>
                <a:cxn ang="0">
                  <a:pos x="36" y="48"/>
                </a:cxn>
                <a:cxn ang="0">
                  <a:pos x="40" y="50"/>
                </a:cxn>
                <a:cxn ang="0">
                  <a:pos x="46" y="52"/>
                </a:cxn>
                <a:cxn ang="0">
                  <a:pos x="48" y="54"/>
                </a:cxn>
                <a:cxn ang="0">
                  <a:pos x="40" y="42"/>
                </a:cxn>
                <a:cxn ang="0">
                  <a:pos x="38" y="40"/>
                </a:cxn>
                <a:cxn ang="0">
                  <a:pos x="36" y="38"/>
                </a:cxn>
                <a:cxn ang="0">
                  <a:pos x="36" y="34"/>
                </a:cxn>
                <a:cxn ang="0">
                  <a:pos x="36" y="30"/>
                </a:cxn>
                <a:cxn ang="0">
                  <a:pos x="34" y="26"/>
                </a:cxn>
                <a:cxn ang="0">
                  <a:pos x="32" y="24"/>
                </a:cxn>
                <a:cxn ang="0">
                  <a:pos x="32" y="20"/>
                </a:cxn>
                <a:cxn ang="0">
                  <a:pos x="32" y="14"/>
                </a:cxn>
                <a:cxn ang="0">
                  <a:pos x="28" y="10"/>
                </a:cxn>
                <a:cxn ang="0">
                  <a:pos x="22" y="6"/>
                </a:cxn>
                <a:cxn ang="0">
                  <a:pos x="16" y="2"/>
                </a:cxn>
                <a:cxn ang="0">
                  <a:pos x="12" y="0"/>
                </a:cxn>
                <a:cxn ang="0">
                  <a:pos x="8" y="2"/>
                </a:cxn>
                <a:cxn ang="0">
                  <a:pos x="4" y="2"/>
                </a:cxn>
                <a:cxn ang="0">
                  <a:pos x="0" y="4"/>
                </a:cxn>
                <a:cxn ang="0">
                  <a:pos x="0" y="6"/>
                </a:cxn>
                <a:cxn ang="0">
                  <a:pos x="4" y="8"/>
                </a:cxn>
                <a:cxn ang="0">
                  <a:pos x="10" y="16"/>
                </a:cxn>
                <a:cxn ang="0">
                  <a:pos x="10" y="20"/>
                </a:cxn>
                <a:cxn ang="0">
                  <a:pos x="14" y="24"/>
                </a:cxn>
                <a:cxn ang="0">
                  <a:pos x="18" y="30"/>
                </a:cxn>
                <a:cxn ang="0">
                  <a:pos x="20" y="34"/>
                </a:cxn>
                <a:cxn ang="0">
                  <a:pos x="20" y="36"/>
                </a:cxn>
                <a:cxn ang="0">
                  <a:pos x="20" y="38"/>
                </a:cxn>
                <a:cxn ang="0">
                  <a:pos x="20" y="40"/>
                </a:cxn>
                <a:cxn ang="0">
                  <a:pos x="20" y="42"/>
                </a:cxn>
                <a:cxn ang="0">
                  <a:pos x="22" y="44"/>
                </a:cxn>
                <a:cxn ang="0">
                  <a:pos x="20" y="46"/>
                </a:cxn>
                <a:cxn ang="0">
                  <a:pos x="20" y="48"/>
                </a:cxn>
                <a:cxn ang="0">
                  <a:pos x="20" y="54"/>
                </a:cxn>
                <a:cxn ang="0">
                  <a:pos x="20" y="56"/>
                </a:cxn>
                <a:cxn ang="0">
                  <a:pos x="22" y="58"/>
                </a:cxn>
                <a:cxn ang="0">
                  <a:pos x="20" y="60"/>
                </a:cxn>
                <a:cxn ang="0">
                  <a:pos x="20" y="62"/>
                </a:cxn>
                <a:cxn ang="0">
                  <a:pos x="22" y="64"/>
                </a:cxn>
                <a:cxn ang="0">
                  <a:pos x="24" y="64"/>
                </a:cxn>
                <a:cxn ang="0">
                  <a:pos x="24" y="64"/>
                </a:cxn>
              </a:cxnLst>
              <a:rect l="0" t="0" r="r" b="b"/>
              <a:pathLst>
                <a:path w="48" h="64">
                  <a:moveTo>
                    <a:pt x="24" y="64"/>
                  </a:moveTo>
                  <a:lnTo>
                    <a:pt x="24" y="64"/>
                  </a:lnTo>
                  <a:lnTo>
                    <a:pt x="28" y="62"/>
                  </a:lnTo>
                  <a:lnTo>
                    <a:pt x="30" y="56"/>
                  </a:lnTo>
                  <a:lnTo>
                    <a:pt x="32" y="52"/>
                  </a:lnTo>
                  <a:lnTo>
                    <a:pt x="32" y="50"/>
                  </a:lnTo>
                  <a:lnTo>
                    <a:pt x="34" y="48"/>
                  </a:lnTo>
                  <a:lnTo>
                    <a:pt x="36" y="48"/>
                  </a:lnTo>
                  <a:lnTo>
                    <a:pt x="40" y="50"/>
                  </a:lnTo>
                  <a:lnTo>
                    <a:pt x="46" y="52"/>
                  </a:lnTo>
                  <a:lnTo>
                    <a:pt x="48" y="54"/>
                  </a:lnTo>
                  <a:lnTo>
                    <a:pt x="40" y="42"/>
                  </a:lnTo>
                  <a:lnTo>
                    <a:pt x="38" y="40"/>
                  </a:lnTo>
                  <a:lnTo>
                    <a:pt x="36" y="38"/>
                  </a:lnTo>
                  <a:lnTo>
                    <a:pt x="36" y="34"/>
                  </a:lnTo>
                  <a:lnTo>
                    <a:pt x="36" y="30"/>
                  </a:lnTo>
                  <a:lnTo>
                    <a:pt x="34" y="26"/>
                  </a:lnTo>
                  <a:lnTo>
                    <a:pt x="32" y="24"/>
                  </a:lnTo>
                  <a:lnTo>
                    <a:pt x="32" y="20"/>
                  </a:lnTo>
                  <a:lnTo>
                    <a:pt x="32" y="14"/>
                  </a:lnTo>
                  <a:lnTo>
                    <a:pt x="28" y="10"/>
                  </a:lnTo>
                  <a:lnTo>
                    <a:pt x="22" y="6"/>
                  </a:lnTo>
                  <a:lnTo>
                    <a:pt x="16" y="2"/>
                  </a:lnTo>
                  <a:lnTo>
                    <a:pt x="12" y="0"/>
                  </a:lnTo>
                  <a:lnTo>
                    <a:pt x="8" y="2"/>
                  </a:lnTo>
                  <a:lnTo>
                    <a:pt x="4" y="2"/>
                  </a:lnTo>
                  <a:lnTo>
                    <a:pt x="0" y="4"/>
                  </a:lnTo>
                  <a:lnTo>
                    <a:pt x="0" y="6"/>
                  </a:lnTo>
                  <a:lnTo>
                    <a:pt x="4" y="8"/>
                  </a:lnTo>
                  <a:lnTo>
                    <a:pt x="10" y="16"/>
                  </a:lnTo>
                  <a:lnTo>
                    <a:pt x="10" y="20"/>
                  </a:lnTo>
                  <a:lnTo>
                    <a:pt x="14" y="24"/>
                  </a:lnTo>
                  <a:lnTo>
                    <a:pt x="18" y="30"/>
                  </a:lnTo>
                  <a:lnTo>
                    <a:pt x="20" y="34"/>
                  </a:lnTo>
                  <a:lnTo>
                    <a:pt x="20" y="36"/>
                  </a:lnTo>
                  <a:lnTo>
                    <a:pt x="20" y="38"/>
                  </a:lnTo>
                  <a:lnTo>
                    <a:pt x="20" y="40"/>
                  </a:lnTo>
                  <a:lnTo>
                    <a:pt x="20" y="42"/>
                  </a:lnTo>
                  <a:lnTo>
                    <a:pt x="22" y="44"/>
                  </a:lnTo>
                  <a:lnTo>
                    <a:pt x="20" y="46"/>
                  </a:lnTo>
                  <a:lnTo>
                    <a:pt x="20" y="48"/>
                  </a:lnTo>
                  <a:lnTo>
                    <a:pt x="20" y="54"/>
                  </a:lnTo>
                  <a:lnTo>
                    <a:pt x="20" y="56"/>
                  </a:lnTo>
                  <a:lnTo>
                    <a:pt x="22" y="58"/>
                  </a:lnTo>
                  <a:lnTo>
                    <a:pt x="20" y="60"/>
                  </a:lnTo>
                  <a:lnTo>
                    <a:pt x="20" y="62"/>
                  </a:lnTo>
                  <a:lnTo>
                    <a:pt x="22" y="64"/>
                  </a:lnTo>
                  <a:lnTo>
                    <a:pt x="24" y="64"/>
                  </a:lnTo>
                  <a:lnTo>
                    <a:pt x="24" y="6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4" name="Freeform 287">
              <a:extLst>
                <a:ext uri="{FF2B5EF4-FFF2-40B4-BE49-F238E27FC236}">
                  <a16:creationId xmlns:a16="http://schemas.microsoft.com/office/drawing/2014/main" id="{B01C6E76-3346-422C-8DE1-B76B1FFDDAFC}"/>
                </a:ext>
              </a:extLst>
            </p:cNvPr>
            <p:cNvSpPr>
              <a:spLocks/>
            </p:cNvSpPr>
            <p:nvPr/>
          </p:nvSpPr>
          <p:spPr bwMode="auto">
            <a:xfrm>
              <a:off x="1071210" y="4053081"/>
              <a:ext cx="507564" cy="383262"/>
            </a:xfrm>
            <a:custGeom>
              <a:avLst/>
              <a:gdLst/>
              <a:ahLst/>
              <a:cxnLst>
                <a:cxn ang="0">
                  <a:pos x="6" y="16"/>
                </a:cxn>
                <a:cxn ang="0">
                  <a:pos x="16" y="34"/>
                </a:cxn>
                <a:cxn ang="0">
                  <a:pos x="28" y="48"/>
                </a:cxn>
                <a:cxn ang="0">
                  <a:pos x="36" y="72"/>
                </a:cxn>
                <a:cxn ang="0">
                  <a:pos x="36" y="94"/>
                </a:cxn>
                <a:cxn ang="0">
                  <a:pos x="60" y="110"/>
                </a:cxn>
                <a:cxn ang="0">
                  <a:pos x="66" y="134"/>
                </a:cxn>
                <a:cxn ang="0">
                  <a:pos x="92" y="164"/>
                </a:cxn>
                <a:cxn ang="0">
                  <a:pos x="88" y="146"/>
                </a:cxn>
                <a:cxn ang="0">
                  <a:pos x="82" y="132"/>
                </a:cxn>
                <a:cxn ang="0">
                  <a:pos x="68" y="102"/>
                </a:cxn>
                <a:cxn ang="0">
                  <a:pos x="56" y="80"/>
                </a:cxn>
                <a:cxn ang="0">
                  <a:pos x="48" y="62"/>
                </a:cxn>
                <a:cxn ang="0">
                  <a:pos x="46" y="56"/>
                </a:cxn>
                <a:cxn ang="0">
                  <a:pos x="32" y="34"/>
                </a:cxn>
                <a:cxn ang="0">
                  <a:pos x="26" y="12"/>
                </a:cxn>
                <a:cxn ang="0">
                  <a:pos x="46" y="14"/>
                </a:cxn>
                <a:cxn ang="0">
                  <a:pos x="58" y="44"/>
                </a:cxn>
                <a:cxn ang="0">
                  <a:pos x="70" y="66"/>
                </a:cxn>
                <a:cxn ang="0">
                  <a:pos x="88" y="82"/>
                </a:cxn>
                <a:cxn ang="0">
                  <a:pos x="96" y="98"/>
                </a:cxn>
                <a:cxn ang="0">
                  <a:pos x="98" y="108"/>
                </a:cxn>
                <a:cxn ang="0">
                  <a:pos x="118" y="132"/>
                </a:cxn>
                <a:cxn ang="0">
                  <a:pos x="136" y="154"/>
                </a:cxn>
                <a:cxn ang="0">
                  <a:pos x="150" y="178"/>
                </a:cxn>
                <a:cxn ang="0">
                  <a:pos x="148" y="204"/>
                </a:cxn>
                <a:cxn ang="0">
                  <a:pos x="152" y="220"/>
                </a:cxn>
                <a:cxn ang="0">
                  <a:pos x="168" y="234"/>
                </a:cxn>
                <a:cxn ang="0">
                  <a:pos x="188" y="252"/>
                </a:cxn>
                <a:cxn ang="0">
                  <a:pos x="214" y="264"/>
                </a:cxn>
                <a:cxn ang="0">
                  <a:pos x="236" y="272"/>
                </a:cxn>
                <a:cxn ang="0">
                  <a:pos x="250" y="280"/>
                </a:cxn>
                <a:cxn ang="0">
                  <a:pos x="266" y="286"/>
                </a:cxn>
                <a:cxn ang="0">
                  <a:pos x="288" y="278"/>
                </a:cxn>
                <a:cxn ang="0">
                  <a:pos x="312" y="286"/>
                </a:cxn>
                <a:cxn ang="0">
                  <a:pos x="320" y="290"/>
                </a:cxn>
                <a:cxn ang="0">
                  <a:pos x="342" y="272"/>
                </a:cxn>
                <a:cxn ang="0">
                  <a:pos x="340" y="248"/>
                </a:cxn>
                <a:cxn ang="0">
                  <a:pos x="376" y="236"/>
                </a:cxn>
                <a:cxn ang="0">
                  <a:pos x="386" y="222"/>
                </a:cxn>
                <a:cxn ang="0">
                  <a:pos x="390" y="190"/>
                </a:cxn>
                <a:cxn ang="0">
                  <a:pos x="368" y="192"/>
                </a:cxn>
                <a:cxn ang="0">
                  <a:pos x="348" y="220"/>
                </a:cxn>
                <a:cxn ang="0">
                  <a:pos x="334" y="240"/>
                </a:cxn>
                <a:cxn ang="0">
                  <a:pos x="312" y="244"/>
                </a:cxn>
                <a:cxn ang="0">
                  <a:pos x="284" y="238"/>
                </a:cxn>
                <a:cxn ang="0">
                  <a:pos x="266" y="220"/>
                </a:cxn>
                <a:cxn ang="0">
                  <a:pos x="252" y="198"/>
                </a:cxn>
                <a:cxn ang="0">
                  <a:pos x="252" y="170"/>
                </a:cxn>
                <a:cxn ang="0">
                  <a:pos x="250" y="146"/>
                </a:cxn>
                <a:cxn ang="0">
                  <a:pos x="252" y="130"/>
                </a:cxn>
                <a:cxn ang="0">
                  <a:pos x="258" y="118"/>
                </a:cxn>
                <a:cxn ang="0">
                  <a:pos x="232" y="104"/>
                </a:cxn>
                <a:cxn ang="0">
                  <a:pos x="216" y="68"/>
                </a:cxn>
                <a:cxn ang="0">
                  <a:pos x="196" y="52"/>
                </a:cxn>
                <a:cxn ang="0">
                  <a:pos x="170" y="60"/>
                </a:cxn>
                <a:cxn ang="0">
                  <a:pos x="152" y="30"/>
                </a:cxn>
                <a:cxn ang="0">
                  <a:pos x="70" y="22"/>
                </a:cxn>
              </a:cxnLst>
              <a:rect l="0" t="0" r="r" b="b"/>
              <a:pathLst>
                <a:path w="392" h="296">
                  <a:moveTo>
                    <a:pt x="0" y="4"/>
                  </a:moveTo>
                  <a:lnTo>
                    <a:pt x="0" y="4"/>
                  </a:lnTo>
                  <a:lnTo>
                    <a:pt x="0" y="6"/>
                  </a:lnTo>
                  <a:lnTo>
                    <a:pt x="2" y="8"/>
                  </a:lnTo>
                  <a:lnTo>
                    <a:pt x="6" y="12"/>
                  </a:lnTo>
                  <a:lnTo>
                    <a:pt x="6" y="16"/>
                  </a:lnTo>
                  <a:lnTo>
                    <a:pt x="8" y="18"/>
                  </a:lnTo>
                  <a:lnTo>
                    <a:pt x="10" y="22"/>
                  </a:lnTo>
                  <a:lnTo>
                    <a:pt x="10" y="26"/>
                  </a:lnTo>
                  <a:lnTo>
                    <a:pt x="10" y="30"/>
                  </a:lnTo>
                  <a:lnTo>
                    <a:pt x="12" y="34"/>
                  </a:lnTo>
                  <a:lnTo>
                    <a:pt x="16" y="34"/>
                  </a:lnTo>
                  <a:lnTo>
                    <a:pt x="16" y="38"/>
                  </a:lnTo>
                  <a:lnTo>
                    <a:pt x="20" y="40"/>
                  </a:lnTo>
                  <a:lnTo>
                    <a:pt x="22" y="44"/>
                  </a:lnTo>
                  <a:lnTo>
                    <a:pt x="24" y="44"/>
                  </a:lnTo>
                  <a:lnTo>
                    <a:pt x="26" y="44"/>
                  </a:lnTo>
                  <a:lnTo>
                    <a:pt x="28" y="48"/>
                  </a:lnTo>
                  <a:lnTo>
                    <a:pt x="32" y="50"/>
                  </a:lnTo>
                  <a:lnTo>
                    <a:pt x="34" y="54"/>
                  </a:lnTo>
                  <a:lnTo>
                    <a:pt x="34" y="56"/>
                  </a:lnTo>
                  <a:lnTo>
                    <a:pt x="36" y="62"/>
                  </a:lnTo>
                  <a:lnTo>
                    <a:pt x="36" y="64"/>
                  </a:lnTo>
                  <a:lnTo>
                    <a:pt x="36" y="72"/>
                  </a:lnTo>
                  <a:lnTo>
                    <a:pt x="36" y="80"/>
                  </a:lnTo>
                  <a:lnTo>
                    <a:pt x="26" y="80"/>
                  </a:lnTo>
                  <a:lnTo>
                    <a:pt x="26" y="82"/>
                  </a:lnTo>
                  <a:lnTo>
                    <a:pt x="34" y="88"/>
                  </a:lnTo>
                  <a:lnTo>
                    <a:pt x="36" y="90"/>
                  </a:lnTo>
                  <a:lnTo>
                    <a:pt x="36" y="94"/>
                  </a:lnTo>
                  <a:lnTo>
                    <a:pt x="40" y="94"/>
                  </a:lnTo>
                  <a:lnTo>
                    <a:pt x="40" y="96"/>
                  </a:lnTo>
                  <a:lnTo>
                    <a:pt x="40" y="98"/>
                  </a:lnTo>
                  <a:lnTo>
                    <a:pt x="46" y="98"/>
                  </a:lnTo>
                  <a:lnTo>
                    <a:pt x="54" y="104"/>
                  </a:lnTo>
                  <a:lnTo>
                    <a:pt x="60" y="110"/>
                  </a:lnTo>
                  <a:lnTo>
                    <a:pt x="60" y="112"/>
                  </a:lnTo>
                  <a:lnTo>
                    <a:pt x="60" y="114"/>
                  </a:lnTo>
                  <a:lnTo>
                    <a:pt x="62" y="120"/>
                  </a:lnTo>
                  <a:lnTo>
                    <a:pt x="62" y="126"/>
                  </a:lnTo>
                  <a:lnTo>
                    <a:pt x="62" y="132"/>
                  </a:lnTo>
                  <a:lnTo>
                    <a:pt x="66" y="134"/>
                  </a:lnTo>
                  <a:lnTo>
                    <a:pt x="70" y="134"/>
                  </a:lnTo>
                  <a:lnTo>
                    <a:pt x="70" y="138"/>
                  </a:lnTo>
                  <a:lnTo>
                    <a:pt x="76" y="142"/>
                  </a:lnTo>
                  <a:lnTo>
                    <a:pt x="88" y="158"/>
                  </a:lnTo>
                  <a:lnTo>
                    <a:pt x="88" y="164"/>
                  </a:lnTo>
                  <a:lnTo>
                    <a:pt x="92" y="164"/>
                  </a:lnTo>
                  <a:lnTo>
                    <a:pt x="92" y="162"/>
                  </a:lnTo>
                  <a:lnTo>
                    <a:pt x="94" y="160"/>
                  </a:lnTo>
                  <a:lnTo>
                    <a:pt x="96" y="158"/>
                  </a:lnTo>
                  <a:lnTo>
                    <a:pt x="96" y="156"/>
                  </a:lnTo>
                  <a:lnTo>
                    <a:pt x="94" y="152"/>
                  </a:lnTo>
                  <a:lnTo>
                    <a:pt x="88" y="146"/>
                  </a:lnTo>
                  <a:lnTo>
                    <a:pt x="88" y="142"/>
                  </a:lnTo>
                  <a:lnTo>
                    <a:pt x="86" y="140"/>
                  </a:lnTo>
                  <a:lnTo>
                    <a:pt x="82" y="140"/>
                  </a:lnTo>
                  <a:lnTo>
                    <a:pt x="80" y="138"/>
                  </a:lnTo>
                  <a:lnTo>
                    <a:pt x="80" y="136"/>
                  </a:lnTo>
                  <a:lnTo>
                    <a:pt x="82" y="132"/>
                  </a:lnTo>
                  <a:lnTo>
                    <a:pt x="78" y="128"/>
                  </a:lnTo>
                  <a:lnTo>
                    <a:pt x="78" y="124"/>
                  </a:lnTo>
                  <a:lnTo>
                    <a:pt x="78" y="122"/>
                  </a:lnTo>
                  <a:lnTo>
                    <a:pt x="72" y="114"/>
                  </a:lnTo>
                  <a:lnTo>
                    <a:pt x="72" y="110"/>
                  </a:lnTo>
                  <a:lnTo>
                    <a:pt x="68" y="102"/>
                  </a:lnTo>
                  <a:lnTo>
                    <a:pt x="62" y="96"/>
                  </a:lnTo>
                  <a:lnTo>
                    <a:pt x="62" y="92"/>
                  </a:lnTo>
                  <a:lnTo>
                    <a:pt x="62" y="88"/>
                  </a:lnTo>
                  <a:lnTo>
                    <a:pt x="58" y="86"/>
                  </a:lnTo>
                  <a:lnTo>
                    <a:pt x="58" y="82"/>
                  </a:lnTo>
                  <a:lnTo>
                    <a:pt x="56" y="80"/>
                  </a:lnTo>
                  <a:lnTo>
                    <a:pt x="54" y="78"/>
                  </a:lnTo>
                  <a:lnTo>
                    <a:pt x="54" y="72"/>
                  </a:lnTo>
                  <a:lnTo>
                    <a:pt x="52" y="66"/>
                  </a:lnTo>
                  <a:lnTo>
                    <a:pt x="50" y="66"/>
                  </a:lnTo>
                  <a:lnTo>
                    <a:pt x="50" y="62"/>
                  </a:lnTo>
                  <a:lnTo>
                    <a:pt x="48" y="62"/>
                  </a:lnTo>
                  <a:lnTo>
                    <a:pt x="46" y="62"/>
                  </a:lnTo>
                  <a:lnTo>
                    <a:pt x="44" y="62"/>
                  </a:lnTo>
                  <a:lnTo>
                    <a:pt x="44" y="60"/>
                  </a:lnTo>
                  <a:lnTo>
                    <a:pt x="44" y="58"/>
                  </a:lnTo>
                  <a:lnTo>
                    <a:pt x="46" y="58"/>
                  </a:lnTo>
                  <a:lnTo>
                    <a:pt x="46" y="56"/>
                  </a:lnTo>
                  <a:lnTo>
                    <a:pt x="42" y="48"/>
                  </a:lnTo>
                  <a:lnTo>
                    <a:pt x="38" y="48"/>
                  </a:lnTo>
                  <a:lnTo>
                    <a:pt x="36" y="46"/>
                  </a:lnTo>
                  <a:lnTo>
                    <a:pt x="36" y="44"/>
                  </a:lnTo>
                  <a:lnTo>
                    <a:pt x="34" y="38"/>
                  </a:lnTo>
                  <a:lnTo>
                    <a:pt x="32" y="34"/>
                  </a:lnTo>
                  <a:lnTo>
                    <a:pt x="30" y="28"/>
                  </a:lnTo>
                  <a:lnTo>
                    <a:pt x="26" y="24"/>
                  </a:lnTo>
                  <a:lnTo>
                    <a:pt x="26" y="18"/>
                  </a:lnTo>
                  <a:lnTo>
                    <a:pt x="28" y="14"/>
                  </a:lnTo>
                  <a:lnTo>
                    <a:pt x="26" y="14"/>
                  </a:lnTo>
                  <a:lnTo>
                    <a:pt x="26" y="12"/>
                  </a:lnTo>
                  <a:lnTo>
                    <a:pt x="32" y="12"/>
                  </a:lnTo>
                  <a:lnTo>
                    <a:pt x="36" y="16"/>
                  </a:lnTo>
                  <a:lnTo>
                    <a:pt x="38" y="18"/>
                  </a:lnTo>
                  <a:lnTo>
                    <a:pt x="40" y="16"/>
                  </a:lnTo>
                  <a:lnTo>
                    <a:pt x="42" y="14"/>
                  </a:lnTo>
                  <a:lnTo>
                    <a:pt x="46" y="14"/>
                  </a:lnTo>
                  <a:lnTo>
                    <a:pt x="46" y="18"/>
                  </a:lnTo>
                  <a:lnTo>
                    <a:pt x="50" y="22"/>
                  </a:lnTo>
                  <a:lnTo>
                    <a:pt x="50" y="32"/>
                  </a:lnTo>
                  <a:lnTo>
                    <a:pt x="54" y="38"/>
                  </a:lnTo>
                  <a:lnTo>
                    <a:pt x="56" y="38"/>
                  </a:lnTo>
                  <a:lnTo>
                    <a:pt x="58" y="44"/>
                  </a:lnTo>
                  <a:lnTo>
                    <a:pt x="58" y="50"/>
                  </a:lnTo>
                  <a:lnTo>
                    <a:pt x="66" y="60"/>
                  </a:lnTo>
                  <a:lnTo>
                    <a:pt x="70" y="60"/>
                  </a:lnTo>
                  <a:lnTo>
                    <a:pt x="70" y="62"/>
                  </a:lnTo>
                  <a:lnTo>
                    <a:pt x="70" y="64"/>
                  </a:lnTo>
                  <a:lnTo>
                    <a:pt x="70" y="66"/>
                  </a:lnTo>
                  <a:lnTo>
                    <a:pt x="76" y="68"/>
                  </a:lnTo>
                  <a:lnTo>
                    <a:pt x="78" y="74"/>
                  </a:lnTo>
                  <a:lnTo>
                    <a:pt x="80" y="78"/>
                  </a:lnTo>
                  <a:lnTo>
                    <a:pt x="82" y="80"/>
                  </a:lnTo>
                  <a:lnTo>
                    <a:pt x="86" y="80"/>
                  </a:lnTo>
                  <a:lnTo>
                    <a:pt x="88" y="82"/>
                  </a:lnTo>
                  <a:lnTo>
                    <a:pt x="88" y="84"/>
                  </a:lnTo>
                  <a:lnTo>
                    <a:pt x="86" y="88"/>
                  </a:lnTo>
                  <a:lnTo>
                    <a:pt x="90" y="90"/>
                  </a:lnTo>
                  <a:lnTo>
                    <a:pt x="94" y="92"/>
                  </a:lnTo>
                  <a:lnTo>
                    <a:pt x="94" y="98"/>
                  </a:lnTo>
                  <a:lnTo>
                    <a:pt x="96" y="98"/>
                  </a:lnTo>
                  <a:lnTo>
                    <a:pt x="98" y="98"/>
                  </a:lnTo>
                  <a:lnTo>
                    <a:pt x="100" y="100"/>
                  </a:lnTo>
                  <a:lnTo>
                    <a:pt x="102" y="102"/>
                  </a:lnTo>
                  <a:lnTo>
                    <a:pt x="104" y="102"/>
                  </a:lnTo>
                  <a:lnTo>
                    <a:pt x="102" y="106"/>
                  </a:lnTo>
                  <a:lnTo>
                    <a:pt x="98" y="108"/>
                  </a:lnTo>
                  <a:lnTo>
                    <a:pt x="98" y="114"/>
                  </a:lnTo>
                  <a:lnTo>
                    <a:pt x="104" y="116"/>
                  </a:lnTo>
                  <a:lnTo>
                    <a:pt x="104" y="118"/>
                  </a:lnTo>
                  <a:lnTo>
                    <a:pt x="108" y="120"/>
                  </a:lnTo>
                  <a:lnTo>
                    <a:pt x="110" y="122"/>
                  </a:lnTo>
                  <a:lnTo>
                    <a:pt x="118" y="132"/>
                  </a:lnTo>
                  <a:lnTo>
                    <a:pt x="120" y="136"/>
                  </a:lnTo>
                  <a:lnTo>
                    <a:pt x="122" y="138"/>
                  </a:lnTo>
                  <a:lnTo>
                    <a:pt x="124" y="140"/>
                  </a:lnTo>
                  <a:lnTo>
                    <a:pt x="128" y="144"/>
                  </a:lnTo>
                  <a:lnTo>
                    <a:pt x="128" y="148"/>
                  </a:lnTo>
                  <a:lnTo>
                    <a:pt x="136" y="154"/>
                  </a:lnTo>
                  <a:lnTo>
                    <a:pt x="136" y="156"/>
                  </a:lnTo>
                  <a:lnTo>
                    <a:pt x="138" y="158"/>
                  </a:lnTo>
                  <a:lnTo>
                    <a:pt x="140" y="166"/>
                  </a:lnTo>
                  <a:lnTo>
                    <a:pt x="144" y="172"/>
                  </a:lnTo>
                  <a:lnTo>
                    <a:pt x="148" y="176"/>
                  </a:lnTo>
                  <a:lnTo>
                    <a:pt x="150" y="178"/>
                  </a:lnTo>
                  <a:lnTo>
                    <a:pt x="150" y="186"/>
                  </a:lnTo>
                  <a:lnTo>
                    <a:pt x="152" y="188"/>
                  </a:lnTo>
                  <a:lnTo>
                    <a:pt x="154" y="192"/>
                  </a:lnTo>
                  <a:lnTo>
                    <a:pt x="154" y="196"/>
                  </a:lnTo>
                  <a:lnTo>
                    <a:pt x="150" y="202"/>
                  </a:lnTo>
                  <a:lnTo>
                    <a:pt x="148" y="204"/>
                  </a:lnTo>
                  <a:lnTo>
                    <a:pt x="150" y="204"/>
                  </a:lnTo>
                  <a:lnTo>
                    <a:pt x="152" y="206"/>
                  </a:lnTo>
                  <a:lnTo>
                    <a:pt x="150" y="208"/>
                  </a:lnTo>
                  <a:lnTo>
                    <a:pt x="148" y="210"/>
                  </a:lnTo>
                  <a:lnTo>
                    <a:pt x="148" y="212"/>
                  </a:lnTo>
                  <a:lnTo>
                    <a:pt x="152" y="220"/>
                  </a:lnTo>
                  <a:lnTo>
                    <a:pt x="154" y="220"/>
                  </a:lnTo>
                  <a:lnTo>
                    <a:pt x="154" y="224"/>
                  </a:lnTo>
                  <a:lnTo>
                    <a:pt x="160" y="232"/>
                  </a:lnTo>
                  <a:lnTo>
                    <a:pt x="166" y="232"/>
                  </a:lnTo>
                  <a:lnTo>
                    <a:pt x="166" y="232"/>
                  </a:lnTo>
                  <a:lnTo>
                    <a:pt x="168" y="234"/>
                  </a:lnTo>
                  <a:lnTo>
                    <a:pt x="170" y="236"/>
                  </a:lnTo>
                  <a:lnTo>
                    <a:pt x="174" y="238"/>
                  </a:lnTo>
                  <a:lnTo>
                    <a:pt x="178" y="244"/>
                  </a:lnTo>
                  <a:lnTo>
                    <a:pt x="182" y="250"/>
                  </a:lnTo>
                  <a:lnTo>
                    <a:pt x="186" y="252"/>
                  </a:lnTo>
                  <a:lnTo>
                    <a:pt x="188" y="252"/>
                  </a:lnTo>
                  <a:lnTo>
                    <a:pt x="192" y="252"/>
                  </a:lnTo>
                  <a:lnTo>
                    <a:pt x="196" y="252"/>
                  </a:lnTo>
                  <a:lnTo>
                    <a:pt x="198" y="256"/>
                  </a:lnTo>
                  <a:lnTo>
                    <a:pt x="202" y="258"/>
                  </a:lnTo>
                  <a:lnTo>
                    <a:pt x="208" y="262"/>
                  </a:lnTo>
                  <a:lnTo>
                    <a:pt x="214" y="264"/>
                  </a:lnTo>
                  <a:lnTo>
                    <a:pt x="216" y="268"/>
                  </a:lnTo>
                  <a:lnTo>
                    <a:pt x="224" y="270"/>
                  </a:lnTo>
                  <a:lnTo>
                    <a:pt x="228" y="270"/>
                  </a:lnTo>
                  <a:lnTo>
                    <a:pt x="230" y="272"/>
                  </a:lnTo>
                  <a:lnTo>
                    <a:pt x="234" y="272"/>
                  </a:lnTo>
                  <a:lnTo>
                    <a:pt x="236" y="272"/>
                  </a:lnTo>
                  <a:lnTo>
                    <a:pt x="238" y="274"/>
                  </a:lnTo>
                  <a:lnTo>
                    <a:pt x="242" y="274"/>
                  </a:lnTo>
                  <a:lnTo>
                    <a:pt x="246" y="278"/>
                  </a:lnTo>
                  <a:lnTo>
                    <a:pt x="246" y="282"/>
                  </a:lnTo>
                  <a:lnTo>
                    <a:pt x="248" y="280"/>
                  </a:lnTo>
                  <a:lnTo>
                    <a:pt x="250" y="280"/>
                  </a:lnTo>
                  <a:lnTo>
                    <a:pt x="252" y="280"/>
                  </a:lnTo>
                  <a:lnTo>
                    <a:pt x="254" y="282"/>
                  </a:lnTo>
                  <a:lnTo>
                    <a:pt x="258" y="282"/>
                  </a:lnTo>
                  <a:lnTo>
                    <a:pt x="262" y="282"/>
                  </a:lnTo>
                  <a:lnTo>
                    <a:pt x="262" y="284"/>
                  </a:lnTo>
                  <a:lnTo>
                    <a:pt x="266" y="286"/>
                  </a:lnTo>
                  <a:lnTo>
                    <a:pt x="270" y="286"/>
                  </a:lnTo>
                  <a:lnTo>
                    <a:pt x="272" y="284"/>
                  </a:lnTo>
                  <a:lnTo>
                    <a:pt x="276" y="282"/>
                  </a:lnTo>
                  <a:lnTo>
                    <a:pt x="282" y="280"/>
                  </a:lnTo>
                  <a:lnTo>
                    <a:pt x="284" y="282"/>
                  </a:lnTo>
                  <a:lnTo>
                    <a:pt x="288" y="278"/>
                  </a:lnTo>
                  <a:lnTo>
                    <a:pt x="290" y="278"/>
                  </a:lnTo>
                  <a:lnTo>
                    <a:pt x="292" y="280"/>
                  </a:lnTo>
                  <a:lnTo>
                    <a:pt x="298" y="280"/>
                  </a:lnTo>
                  <a:lnTo>
                    <a:pt x="304" y="282"/>
                  </a:lnTo>
                  <a:lnTo>
                    <a:pt x="308" y="286"/>
                  </a:lnTo>
                  <a:lnTo>
                    <a:pt x="312" y="286"/>
                  </a:lnTo>
                  <a:lnTo>
                    <a:pt x="316" y="290"/>
                  </a:lnTo>
                  <a:lnTo>
                    <a:pt x="318" y="294"/>
                  </a:lnTo>
                  <a:lnTo>
                    <a:pt x="318" y="296"/>
                  </a:lnTo>
                  <a:lnTo>
                    <a:pt x="320" y="292"/>
                  </a:lnTo>
                  <a:lnTo>
                    <a:pt x="320" y="292"/>
                  </a:lnTo>
                  <a:lnTo>
                    <a:pt x="320" y="290"/>
                  </a:lnTo>
                  <a:lnTo>
                    <a:pt x="320" y="286"/>
                  </a:lnTo>
                  <a:lnTo>
                    <a:pt x="322" y="282"/>
                  </a:lnTo>
                  <a:lnTo>
                    <a:pt x="328" y="276"/>
                  </a:lnTo>
                  <a:lnTo>
                    <a:pt x="344" y="278"/>
                  </a:lnTo>
                  <a:lnTo>
                    <a:pt x="344" y="274"/>
                  </a:lnTo>
                  <a:lnTo>
                    <a:pt x="342" y="272"/>
                  </a:lnTo>
                  <a:lnTo>
                    <a:pt x="340" y="268"/>
                  </a:lnTo>
                  <a:lnTo>
                    <a:pt x="336" y="264"/>
                  </a:lnTo>
                  <a:lnTo>
                    <a:pt x="334" y="260"/>
                  </a:lnTo>
                  <a:lnTo>
                    <a:pt x="334" y="256"/>
                  </a:lnTo>
                  <a:lnTo>
                    <a:pt x="338" y="256"/>
                  </a:lnTo>
                  <a:lnTo>
                    <a:pt x="340" y="248"/>
                  </a:lnTo>
                  <a:lnTo>
                    <a:pt x="360" y="248"/>
                  </a:lnTo>
                  <a:lnTo>
                    <a:pt x="366" y="246"/>
                  </a:lnTo>
                  <a:lnTo>
                    <a:pt x="368" y="244"/>
                  </a:lnTo>
                  <a:lnTo>
                    <a:pt x="370" y="242"/>
                  </a:lnTo>
                  <a:lnTo>
                    <a:pt x="372" y="244"/>
                  </a:lnTo>
                  <a:lnTo>
                    <a:pt x="376" y="236"/>
                  </a:lnTo>
                  <a:lnTo>
                    <a:pt x="376" y="240"/>
                  </a:lnTo>
                  <a:lnTo>
                    <a:pt x="376" y="242"/>
                  </a:lnTo>
                  <a:lnTo>
                    <a:pt x="382" y="246"/>
                  </a:lnTo>
                  <a:lnTo>
                    <a:pt x="382" y="234"/>
                  </a:lnTo>
                  <a:lnTo>
                    <a:pt x="384" y="222"/>
                  </a:lnTo>
                  <a:lnTo>
                    <a:pt x="386" y="222"/>
                  </a:lnTo>
                  <a:lnTo>
                    <a:pt x="386" y="220"/>
                  </a:lnTo>
                  <a:lnTo>
                    <a:pt x="384" y="216"/>
                  </a:lnTo>
                  <a:lnTo>
                    <a:pt x="386" y="210"/>
                  </a:lnTo>
                  <a:lnTo>
                    <a:pt x="390" y="202"/>
                  </a:lnTo>
                  <a:lnTo>
                    <a:pt x="392" y="194"/>
                  </a:lnTo>
                  <a:lnTo>
                    <a:pt x="390" y="190"/>
                  </a:lnTo>
                  <a:lnTo>
                    <a:pt x="388" y="188"/>
                  </a:lnTo>
                  <a:lnTo>
                    <a:pt x="386" y="188"/>
                  </a:lnTo>
                  <a:lnTo>
                    <a:pt x="384" y="186"/>
                  </a:lnTo>
                  <a:lnTo>
                    <a:pt x="376" y="186"/>
                  </a:lnTo>
                  <a:lnTo>
                    <a:pt x="372" y="188"/>
                  </a:lnTo>
                  <a:lnTo>
                    <a:pt x="368" y="192"/>
                  </a:lnTo>
                  <a:lnTo>
                    <a:pt x="362" y="194"/>
                  </a:lnTo>
                  <a:lnTo>
                    <a:pt x="358" y="196"/>
                  </a:lnTo>
                  <a:lnTo>
                    <a:pt x="352" y="198"/>
                  </a:lnTo>
                  <a:lnTo>
                    <a:pt x="350" y="200"/>
                  </a:lnTo>
                  <a:lnTo>
                    <a:pt x="348" y="210"/>
                  </a:lnTo>
                  <a:lnTo>
                    <a:pt x="348" y="220"/>
                  </a:lnTo>
                  <a:lnTo>
                    <a:pt x="344" y="224"/>
                  </a:lnTo>
                  <a:lnTo>
                    <a:pt x="344" y="228"/>
                  </a:lnTo>
                  <a:lnTo>
                    <a:pt x="344" y="232"/>
                  </a:lnTo>
                  <a:lnTo>
                    <a:pt x="342" y="232"/>
                  </a:lnTo>
                  <a:lnTo>
                    <a:pt x="338" y="234"/>
                  </a:lnTo>
                  <a:lnTo>
                    <a:pt x="334" y="240"/>
                  </a:lnTo>
                  <a:lnTo>
                    <a:pt x="330" y="240"/>
                  </a:lnTo>
                  <a:lnTo>
                    <a:pt x="328" y="240"/>
                  </a:lnTo>
                  <a:lnTo>
                    <a:pt x="326" y="236"/>
                  </a:lnTo>
                  <a:lnTo>
                    <a:pt x="320" y="238"/>
                  </a:lnTo>
                  <a:lnTo>
                    <a:pt x="314" y="242"/>
                  </a:lnTo>
                  <a:lnTo>
                    <a:pt x="312" y="244"/>
                  </a:lnTo>
                  <a:lnTo>
                    <a:pt x="304" y="244"/>
                  </a:lnTo>
                  <a:lnTo>
                    <a:pt x="304" y="248"/>
                  </a:lnTo>
                  <a:lnTo>
                    <a:pt x="292" y="248"/>
                  </a:lnTo>
                  <a:lnTo>
                    <a:pt x="288" y="242"/>
                  </a:lnTo>
                  <a:lnTo>
                    <a:pt x="286" y="238"/>
                  </a:lnTo>
                  <a:lnTo>
                    <a:pt x="284" y="238"/>
                  </a:lnTo>
                  <a:lnTo>
                    <a:pt x="276" y="238"/>
                  </a:lnTo>
                  <a:lnTo>
                    <a:pt x="276" y="234"/>
                  </a:lnTo>
                  <a:lnTo>
                    <a:pt x="274" y="230"/>
                  </a:lnTo>
                  <a:lnTo>
                    <a:pt x="270" y="226"/>
                  </a:lnTo>
                  <a:lnTo>
                    <a:pt x="270" y="220"/>
                  </a:lnTo>
                  <a:lnTo>
                    <a:pt x="266" y="220"/>
                  </a:lnTo>
                  <a:lnTo>
                    <a:pt x="264" y="216"/>
                  </a:lnTo>
                  <a:lnTo>
                    <a:pt x="262" y="212"/>
                  </a:lnTo>
                  <a:lnTo>
                    <a:pt x="258" y="210"/>
                  </a:lnTo>
                  <a:lnTo>
                    <a:pt x="256" y="206"/>
                  </a:lnTo>
                  <a:lnTo>
                    <a:pt x="256" y="202"/>
                  </a:lnTo>
                  <a:lnTo>
                    <a:pt x="252" y="198"/>
                  </a:lnTo>
                  <a:lnTo>
                    <a:pt x="252" y="192"/>
                  </a:lnTo>
                  <a:lnTo>
                    <a:pt x="248" y="194"/>
                  </a:lnTo>
                  <a:lnTo>
                    <a:pt x="250" y="186"/>
                  </a:lnTo>
                  <a:lnTo>
                    <a:pt x="250" y="178"/>
                  </a:lnTo>
                  <a:lnTo>
                    <a:pt x="252" y="176"/>
                  </a:lnTo>
                  <a:lnTo>
                    <a:pt x="252" y="170"/>
                  </a:lnTo>
                  <a:lnTo>
                    <a:pt x="250" y="166"/>
                  </a:lnTo>
                  <a:lnTo>
                    <a:pt x="250" y="162"/>
                  </a:lnTo>
                  <a:lnTo>
                    <a:pt x="250" y="160"/>
                  </a:lnTo>
                  <a:lnTo>
                    <a:pt x="248" y="158"/>
                  </a:lnTo>
                  <a:lnTo>
                    <a:pt x="248" y="152"/>
                  </a:lnTo>
                  <a:lnTo>
                    <a:pt x="250" y="146"/>
                  </a:lnTo>
                  <a:lnTo>
                    <a:pt x="248" y="142"/>
                  </a:lnTo>
                  <a:lnTo>
                    <a:pt x="248" y="138"/>
                  </a:lnTo>
                  <a:lnTo>
                    <a:pt x="248" y="136"/>
                  </a:lnTo>
                  <a:lnTo>
                    <a:pt x="248" y="134"/>
                  </a:lnTo>
                  <a:lnTo>
                    <a:pt x="250" y="132"/>
                  </a:lnTo>
                  <a:lnTo>
                    <a:pt x="252" y="130"/>
                  </a:lnTo>
                  <a:lnTo>
                    <a:pt x="252" y="126"/>
                  </a:lnTo>
                  <a:lnTo>
                    <a:pt x="256" y="126"/>
                  </a:lnTo>
                  <a:lnTo>
                    <a:pt x="258" y="124"/>
                  </a:lnTo>
                  <a:lnTo>
                    <a:pt x="258" y="120"/>
                  </a:lnTo>
                  <a:lnTo>
                    <a:pt x="260" y="118"/>
                  </a:lnTo>
                  <a:lnTo>
                    <a:pt x="258" y="118"/>
                  </a:lnTo>
                  <a:lnTo>
                    <a:pt x="252" y="118"/>
                  </a:lnTo>
                  <a:lnTo>
                    <a:pt x="248" y="116"/>
                  </a:lnTo>
                  <a:lnTo>
                    <a:pt x="242" y="114"/>
                  </a:lnTo>
                  <a:lnTo>
                    <a:pt x="238" y="112"/>
                  </a:lnTo>
                  <a:lnTo>
                    <a:pt x="232" y="110"/>
                  </a:lnTo>
                  <a:lnTo>
                    <a:pt x="232" y="104"/>
                  </a:lnTo>
                  <a:lnTo>
                    <a:pt x="230" y="94"/>
                  </a:lnTo>
                  <a:lnTo>
                    <a:pt x="226" y="90"/>
                  </a:lnTo>
                  <a:lnTo>
                    <a:pt x="224" y="86"/>
                  </a:lnTo>
                  <a:lnTo>
                    <a:pt x="222" y="82"/>
                  </a:lnTo>
                  <a:lnTo>
                    <a:pt x="218" y="74"/>
                  </a:lnTo>
                  <a:lnTo>
                    <a:pt x="216" y="68"/>
                  </a:lnTo>
                  <a:lnTo>
                    <a:pt x="214" y="66"/>
                  </a:lnTo>
                  <a:lnTo>
                    <a:pt x="212" y="62"/>
                  </a:lnTo>
                  <a:lnTo>
                    <a:pt x="208" y="58"/>
                  </a:lnTo>
                  <a:lnTo>
                    <a:pt x="204" y="54"/>
                  </a:lnTo>
                  <a:lnTo>
                    <a:pt x="200" y="52"/>
                  </a:lnTo>
                  <a:lnTo>
                    <a:pt x="196" y="52"/>
                  </a:lnTo>
                  <a:lnTo>
                    <a:pt x="190" y="54"/>
                  </a:lnTo>
                  <a:lnTo>
                    <a:pt x="186" y="60"/>
                  </a:lnTo>
                  <a:lnTo>
                    <a:pt x="182" y="62"/>
                  </a:lnTo>
                  <a:lnTo>
                    <a:pt x="178" y="62"/>
                  </a:lnTo>
                  <a:lnTo>
                    <a:pt x="174" y="62"/>
                  </a:lnTo>
                  <a:lnTo>
                    <a:pt x="170" y="60"/>
                  </a:lnTo>
                  <a:lnTo>
                    <a:pt x="166" y="54"/>
                  </a:lnTo>
                  <a:lnTo>
                    <a:pt x="162" y="50"/>
                  </a:lnTo>
                  <a:lnTo>
                    <a:pt x="162" y="46"/>
                  </a:lnTo>
                  <a:lnTo>
                    <a:pt x="160" y="40"/>
                  </a:lnTo>
                  <a:lnTo>
                    <a:pt x="156" y="34"/>
                  </a:lnTo>
                  <a:lnTo>
                    <a:pt x="152" y="30"/>
                  </a:lnTo>
                  <a:lnTo>
                    <a:pt x="150" y="28"/>
                  </a:lnTo>
                  <a:lnTo>
                    <a:pt x="146" y="24"/>
                  </a:lnTo>
                  <a:lnTo>
                    <a:pt x="140" y="16"/>
                  </a:lnTo>
                  <a:lnTo>
                    <a:pt x="112" y="16"/>
                  </a:lnTo>
                  <a:lnTo>
                    <a:pt x="112" y="24"/>
                  </a:lnTo>
                  <a:lnTo>
                    <a:pt x="70" y="22"/>
                  </a:lnTo>
                  <a:lnTo>
                    <a:pt x="36" y="6"/>
                  </a:lnTo>
                  <a:lnTo>
                    <a:pt x="36" y="0"/>
                  </a:lnTo>
                  <a:lnTo>
                    <a:pt x="0" y="4"/>
                  </a:lnTo>
                  <a:lnTo>
                    <a:pt x="0"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5" name="Freeform 288">
              <a:extLst>
                <a:ext uri="{FF2B5EF4-FFF2-40B4-BE49-F238E27FC236}">
                  <a16:creationId xmlns:a16="http://schemas.microsoft.com/office/drawing/2014/main" id="{1AE32F05-64B2-45BD-A6DA-1FC9AFDEAF82}"/>
                </a:ext>
              </a:extLst>
            </p:cNvPr>
            <p:cNvSpPr>
              <a:spLocks/>
            </p:cNvSpPr>
            <p:nvPr/>
          </p:nvSpPr>
          <p:spPr bwMode="auto">
            <a:xfrm>
              <a:off x="2749278" y="4185151"/>
              <a:ext cx="207169" cy="253782"/>
            </a:xfrm>
            <a:custGeom>
              <a:avLst/>
              <a:gdLst/>
              <a:ahLst/>
              <a:cxnLst>
                <a:cxn ang="0">
                  <a:pos x="12" y="170"/>
                </a:cxn>
                <a:cxn ang="0">
                  <a:pos x="16" y="168"/>
                </a:cxn>
                <a:cxn ang="0">
                  <a:pos x="18" y="164"/>
                </a:cxn>
                <a:cxn ang="0">
                  <a:pos x="22" y="166"/>
                </a:cxn>
                <a:cxn ang="0">
                  <a:pos x="36" y="166"/>
                </a:cxn>
                <a:cxn ang="0">
                  <a:pos x="42" y="172"/>
                </a:cxn>
                <a:cxn ang="0">
                  <a:pos x="44" y="180"/>
                </a:cxn>
                <a:cxn ang="0">
                  <a:pos x="50" y="180"/>
                </a:cxn>
                <a:cxn ang="0">
                  <a:pos x="52" y="184"/>
                </a:cxn>
                <a:cxn ang="0">
                  <a:pos x="54" y="190"/>
                </a:cxn>
                <a:cxn ang="0">
                  <a:pos x="60" y="190"/>
                </a:cxn>
                <a:cxn ang="0">
                  <a:pos x="66" y="196"/>
                </a:cxn>
                <a:cxn ang="0">
                  <a:pos x="70" y="192"/>
                </a:cxn>
                <a:cxn ang="0">
                  <a:pos x="70" y="188"/>
                </a:cxn>
                <a:cxn ang="0">
                  <a:pos x="72" y="182"/>
                </a:cxn>
                <a:cxn ang="0">
                  <a:pos x="88" y="184"/>
                </a:cxn>
                <a:cxn ang="0">
                  <a:pos x="90" y="184"/>
                </a:cxn>
                <a:cxn ang="0">
                  <a:pos x="92" y="182"/>
                </a:cxn>
                <a:cxn ang="0">
                  <a:pos x="92" y="176"/>
                </a:cxn>
                <a:cxn ang="0">
                  <a:pos x="98" y="178"/>
                </a:cxn>
                <a:cxn ang="0">
                  <a:pos x="150" y="170"/>
                </a:cxn>
                <a:cxn ang="0">
                  <a:pos x="148" y="166"/>
                </a:cxn>
                <a:cxn ang="0">
                  <a:pos x="138" y="32"/>
                </a:cxn>
                <a:cxn ang="0">
                  <a:pos x="116" y="0"/>
                </a:cxn>
                <a:cxn ang="0">
                  <a:pos x="68" y="22"/>
                </a:cxn>
                <a:cxn ang="0">
                  <a:pos x="60" y="60"/>
                </a:cxn>
                <a:cxn ang="0">
                  <a:pos x="52" y="64"/>
                </a:cxn>
                <a:cxn ang="0">
                  <a:pos x="52" y="92"/>
                </a:cxn>
                <a:cxn ang="0">
                  <a:pos x="0" y="98"/>
                </a:cxn>
                <a:cxn ang="0">
                  <a:pos x="6" y="108"/>
                </a:cxn>
                <a:cxn ang="0">
                  <a:pos x="8" y="112"/>
                </a:cxn>
                <a:cxn ang="0">
                  <a:pos x="6" y="116"/>
                </a:cxn>
                <a:cxn ang="0">
                  <a:pos x="8" y="124"/>
                </a:cxn>
                <a:cxn ang="0">
                  <a:pos x="6" y="130"/>
                </a:cxn>
                <a:cxn ang="0">
                  <a:pos x="10" y="136"/>
                </a:cxn>
                <a:cxn ang="0">
                  <a:pos x="10" y="148"/>
                </a:cxn>
                <a:cxn ang="0">
                  <a:pos x="12" y="152"/>
                </a:cxn>
                <a:cxn ang="0">
                  <a:pos x="10" y="156"/>
                </a:cxn>
                <a:cxn ang="0">
                  <a:pos x="8" y="172"/>
                </a:cxn>
              </a:cxnLst>
              <a:rect l="0" t="0" r="r" b="b"/>
              <a:pathLst>
                <a:path w="160" h="196">
                  <a:moveTo>
                    <a:pt x="8" y="172"/>
                  </a:moveTo>
                  <a:lnTo>
                    <a:pt x="12" y="170"/>
                  </a:lnTo>
                  <a:lnTo>
                    <a:pt x="14" y="168"/>
                  </a:lnTo>
                  <a:lnTo>
                    <a:pt x="16" y="168"/>
                  </a:lnTo>
                  <a:lnTo>
                    <a:pt x="18" y="166"/>
                  </a:lnTo>
                  <a:lnTo>
                    <a:pt x="18" y="164"/>
                  </a:lnTo>
                  <a:lnTo>
                    <a:pt x="20" y="164"/>
                  </a:lnTo>
                  <a:lnTo>
                    <a:pt x="22" y="166"/>
                  </a:lnTo>
                  <a:lnTo>
                    <a:pt x="32" y="166"/>
                  </a:lnTo>
                  <a:lnTo>
                    <a:pt x="36" y="166"/>
                  </a:lnTo>
                  <a:lnTo>
                    <a:pt x="40" y="170"/>
                  </a:lnTo>
                  <a:lnTo>
                    <a:pt x="42" y="172"/>
                  </a:lnTo>
                  <a:lnTo>
                    <a:pt x="44" y="178"/>
                  </a:lnTo>
                  <a:lnTo>
                    <a:pt x="44" y="180"/>
                  </a:lnTo>
                  <a:lnTo>
                    <a:pt x="46" y="180"/>
                  </a:lnTo>
                  <a:lnTo>
                    <a:pt x="50" y="180"/>
                  </a:lnTo>
                  <a:lnTo>
                    <a:pt x="52" y="182"/>
                  </a:lnTo>
                  <a:lnTo>
                    <a:pt x="52" y="184"/>
                  </a:lnTo>
                  <a:lnTo>
                    <a:pt x="52" y="188"/>
                  </a:lnTo>
                  <a:lnTo>
                    <a:pt x="54" y="190"/>
                  </a:lnTo>
                  <a:lnTo>
                    <a:pt x="56" y="190"/>
                  </a:lnTo>
                  <a:lnTo>
                    <a:pt x="60" y="190"/>
                  </a:lnTo>
                  <a:lnTo>
                    <a:pt x="64" y="196"/>
                  </a:lnTo>
                  <a:lnTo>
                    <a:pt x="66" y="196"/>
                  </a:lnTo>
                  <a:lnTo>
                    <a:pt x="68" y="194"/>
                  </a:lnTo>
                  <a:lnTo>
                    <a:pt x="70" y="192"/>
                  </a:lnTo>
                  <a:lnTo>
                    <a:pt x="70" y="190"/>
                  </a:lnTo>
                  <a:lnTo>
                    <a:pt x="70" y="188"/>
                  </a:lnTo>
                  <a:lnTo>
                    <a:pt x="72" y="184"/>
                  </a:lnTo>
                  <a:lnTo>
                    <a:pt x="72" y="182"/>
                  </a:lnTo>
                  <a:lnTo>
                    <a:pt x="82" y="184"/>
                  </a:lnTo>
                  <a:lnTo>
                    <a:pt x="88" y="184"/>
                  </a:lnTo>
                  <a:lnTo>
                    <a:pt x="88" y="184"/>
                  </a:lnTo>
                  <a:lnTo>
                    <a:pt x="90" y="184"/>
                  </a:lnTo>
                  <a:lnTo>
                    <a:pt x="92" y="184"/>
                  </a:lnTo>
                  <a:lnTo>
                    <a:pt x="92" y="182"/>
                  </a:lnTo>
                  <a:lnTo>
                    <a:pt x="90" y="178"/>
                  </a:lnTo>
                  <a:lnTo>
                    <a:pt x="92" y="176"/>
                  </a:lnTo>
                  <a:lnTo>
                    <a:pt x="96" y="176"/>
                  </a:lnTo>
                  <a:lnTo>
                    <a:pt x="98" y="178"/>
                  </a:lnTo>
                  <a:lnTo>
                    <a:pt x="146" y="178"/>
                  </a:lnTo>
                  <a:lnTo>
                    <a:pt x="150" y="170"/>
                  </a:lnTo>
                  <a:lnTo>
                    <a:pt x="150" y="166"/>
                  </a:lnTo>
                  <a:lnTo>
                    <a:pt x="148" y="166"/>
                  </a:lnTo>
                  <a:lnTo>
                    <a:pt x="146" y="164"/>
                  </a:lnTo>
                  <a:lnTo>
                    <a:pt x="138" y="32"/>
                  </a:lnTo>
                  <a:lnTo>
                    <a:pt x="160" y="32"/>
                  </a:lnTo>
                  <a:lnTo>
                    <a:pt x="116" y="0"/>
                  </a:lnTo>
                  <a:lnTo>
                    <a:pt x="116" y="22"/>
                  </a:lnTo>
                  <a:lnTo>
                    <a:pt x="68" y="22"/>
                  </a:lnTo>
                  <a:lnTo>
                    <a:pt x="68" y="58"/>
                  </a:lnTo>
                  <a:lnTo>
                    <a:pt x="60" y="60"/>
                  </a:lnTo>
                  <a:lnTo>
                    <a:pt x="54" y="62"/>
                  </a:lnTo>
                  <a:lnTo>
                    <a:pt x="52" y="64"/>
                  </a:lnTo>
                  <a:lnTo>
                    <a:pt x="52" y="68"/>
                  </a:lnTo>
                  <a:lnTo>
                    <a:pt x="52" y="92"/>
                  </a:lnTo>
                  <a:lnTo>
                    <a:pt x="4" y="94"/>
                  </a:lnTo>
                  <a:lnTo>
                    <a:pt x="0" y="98"/>
                  </a:lnTo>
                  <a:lnTo>
                    <a:pt x="4" y="104"/>
                  </a:lnTo>
                  <a:lnTo>
                    <a:pt x="6" y="108"/>
                  </a:lnTo>
                  <a:lnTo>
                    <a:pt x="8" y="110"/>
                  </a:lnTo>
                  <a:lnTo>
                    <a:pt x="8" y="112"/>
                  </a:lnTo>
                  <a:lnTo>
                    <a:pt x="8" y="114"/>
                  </a:lnTo>
                  <a:lnTo>
                    <a:pt x="6" y="116"/>
                  </a:lnTo>
                  <a:lnTo>
                    <a:pt x="8" y="118"/>
                  </a:lnTo>
                  <a:lnTo>
                    <a:pt x="8" y="124"/>
                  </a:lnTo>
                  <a:lnTo>
                    <a:pt x="6" y="126"/>
                  </a:lnTo>
                  <a:lnTo>
                    <a:pt x="6" y="130"/>
                  </a:lnTo>
                  <a:lnTo>
                    <a:pt x="8" y="134"/>
                  </a:lnTo>
                  <a:lnTo>
                    <a:pt x="10" y="136"/>
                  </a:lnTo>
                  <a:lnTo>
                    <a:pt x="10" y="142"/>
                  </a:lnTo>
                  <a:lnTo>
                    <a:pt x="10" y="148"/>
                  </a:lnTo>
                  <a:lnTo>
                    <a:pt x="12" y="150"/>
                  </a:lnTo>
                  <a:lnTo>
                    <a:pt x="12" y="152"/>
                  </a:lnTo>
                  <a:lnTo>
                    <a:pt x="10" y="152"/>
                  </a:lnTo>
                  <a:lnTo>
                    <a:pt x="10" y="156"/>
                  </a:lnTo>
                  <a:lnTo>
                    <a:pt x="10" y="164"/>
                  </a:lnTo>
                  <a:lnTo>
                    <a:pt x="8" y="172"/>
                  </a:lnTo>
                  <a:lnTo>
                    <a:pt x="8" y="17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6" name="Freeform 289">
              <a:extLst>
                <a:ext uri="{FF2B5EF4-FFF2-40B4-BE49-F238E27FC236}">
                  <a16:creationId xmlns:a16="http://schemas.microsoft.com/office/drawing/2014/main" id="{E9A6B56B-2B91-4066-922E-8354706F7924}"/>
                </a:ext>
              </a:extLst>
            </p:cNvPr>
            <p:cNvSpPr>
              <a:spLocks/>
            </p:cNvSpPr>
            <p:nvPr/>
          </p:nvSpPr>
          <p:spPr bwMode="auto">
            <a:xfrm>
              <a:off x="2829555" y="4226585"/>
              <a:ext cx="274499" cy="326291"/>
            </a:xfrm>
            <a:custGeom>
              <a:avLst/>
              <a:gdLst/>
              <a:ahLst/>
              <a:cxnLst>
                <a:cxn ang="0">
                  <a:pos x="86" y="228"/>
                </a:cxn>
                <a:cxn ang="0">
                  <a:pos x="88" y="220"/>
                </a:cxn>
                <a:cxn ang="0">
                  <a:pos x="88" y="210"/>
                </a:cxn>
                <a:cxn ang="0">
                  <a:pos x="94" y="202"/>
                </a:cxn>
                <a:cxn ang="0">
                  <a:pos x="102" y="190"/>
                </a:cxn>
                <a:cxn ang="0">
                  <a:pos x="116" y="184"/>
                </a:cxn>
                <a:cxn ang="0">
                  <a:pos x="122" y="174"/>
                </a:cxn>
                <a:cxn ang="0">
                  <a:pos x="132" y="166"/>
                </a:cxn>
                <a:cxn ang="0">
                  <a:pos x="138" y="156"/>
                </a:cxn>
                <a:cxn ang="0">
                  <a:pos x="144" y="148"/>
                </a:cxn>
                <a:cxn ang="0">
                  <a:pos x="150" y="150"/>
                </a:cxn>
                <a:cxn ang="0">
                  <a:pos x="156" y="154"/>
                </a:cxn>
                <a:cxn ang="0">
                  <a:pos x="164" y="152"/>
                </a:cxn>
                <a:cxn ang="0">
                  <a:pos x="182" y="148"/>
                </a:cxn>
                <a:cxn ang="0">
                  <a:pos x="206" y="142"/>
                </a:cxn>
                <a:cxn ang="0">
                  <a:pos x="212" y="130"/>
                </a:cxn>
                <a:cxn ang="0">
                  <a:pos x="200" y="94"/>
                </a:cxn>
                <a:cxn ang="0">
                  <a:pos x="198" y="86"/>
                </a:cxn>
                <a:cxn ang="0">
                  <a:pos x="198" y="76"/>
                </a:cxn>
                <a:cxn ang="0">
                  <a:pos x="184" y="68"/>
                </a:cxn>
                <a:cxn ang="0">
                  <a:pos x="98" y="0"/>
                </a:cxn>
                <a:cxn ang="0">
                  <a:pos x="86" y="134"/>
                </a:cxn>
                <a:cxn ang="0">
                  <a:pos x="84" y="144"/>
                </a:cxn>
                <a:cxn ang="0">
                  <a:pos x="30" y="142"/>
                </a:cxn>
                <a:cxn ang="0">
                  <a:pos x="30" y="150"/>
                </a:cxn>
                <a:cxn ang="0">
                  <a:pos x="26" y="150"/>
                </a:cxn>
                <a:cxn ang="0">
                  <a:pos x="10" y="150"/>
                </a:cxn>
                <a:cxn ang="0">
                  <a:pos x="8" y="160"/>
                </a:cxn>
                <a:cxn ang="0">
                  <a:pos x="2" y="164"/>
                </a:cxn>
                <a:cxn ang="0">
                  <a:pos x="2" y="172"/>
                </a:cxn>
                <a:cxn ang="0">
                  <a:pos x="0" y="184"/>
                </a:cxn>
                <a:cxn ang="0">
                  <a:pos x="6" y="192"/>
                </a:cxn>
                <a:cxn ang="0">
                  <a:pos x="8" y="208"/>
                </a:cxn>
                <a:cxn ang="0">
                  <a:pos x="16" y="206"/>
                </a:cxn>
                <a:cxn ang="0">
                  <a:pos x="24" y="206"/>
                </a:cxn>
                <a:cxn ang="0">
                  <a:pos x="30" y="206"/>
                </a:cxn>
                <a:cxn ang="0">
                  <a:pos x="36" y="208"/>
                </a:cxn>
                <a:cxn ang="0">
                  <a:pos x="36" y="220"/>
                </a:cxn>
                <a:cxn ang="0">
                  <a:pos x="38" y="226"/>
                </a:cxn>
                <a:cxn ang="0">
                  <a:pos x="42" y="232"/>
                </a:cxn>
                <a:cxn ang="0">
                  <a:pos x="36" y="238"/>
                </a:cxn>
                <a:cxn ang="0">
                  <a:pos x="42" y="238"/>
                </a:cxn>
                <a:cxn ang="0">
                  <a:pos x="46" y="242"/>
                </a:cxn>
                <a:cxn ang="0">
                  <a:pos x="52" y="248"/>
                </a:cxn>
                <a:cxn ang="0">
                  <a:pos x="62" y="250"/>
                </a:cxn>
                <a:cxn ang="0">
                  <a:pos x="70" y="248"/>
                </a:cxn>
                <a:cxn ang="0">
                  <a:pos x="74" y="240"/>
                </a:cxn>
                <a:cxn ang="0">
                  <a:pos x="80" y="244"/>
                </a:cxn>
                <a:cxn ang="0">
                  <a:pos x="84" y="238"/>
                </a:cxn>
              </a:cxnLst>
              <a:rect l="0" t="0" r="r" b="b"/>
              <a:pathLst>
                <a:path w="212" h="252">
                  <a:moveTo>
                    <a:pt x="86" y="234"/>
                  </a:moveTo>
                  <a:lnTo>
                    <a:pt x="86" y="234"/>
                  </a:lnTo>
                  <a:lnTo>
                    <a:pt x="86" y="228"/>
                  </a:lnTo>
                  <a:lnTo>
                    <a:pt x="86" y="224"/>
                  </a:lnTo>
                  <a:lnTo>
                    <a:pt x="86" y="222"/>
                  </a:lnTo>
                  <a:lnTo>
                    <a:pt x="88" y="220"/>
                  </a:lnTo>
                  <a:lnTo>
                    <a:pt x="88" y="218"/>
                  </a:lnTo>
                  <a:lnTo>
                    <a:pt x="88" y="214"/>
                  </a:lnTo>
                  <a:lnTo>
                    <a:pt x="88" y="210"/>
                  </a:lnTo>
                  <a:lnTo>
                    <a:pt x="88" y="208"/>
                  </a:lnTo>
                  <a:lnTo>
                    <a:pt x="90" y="206"/>
                  </a:lnTo>
                  <a:lnTo>
                    <a:pt x="94" y="202"/>
                  </a:lnTo>
                  <a:lnTo>
                    <a:pt x="96" y="204"/>
                  </a:lnTo>
                  <a:lnTo>
                    <a:pt x="100" y="196"/>
                  </a:lnTo>
                  <a:lnTo>
                    <a:pt x="102" y="190"/>
                  </a:lnTo>
                  <a:lnTo>
                    <a:pt x="104" y="188"/>
                  </a:lnTo>
                  <a:lnTo>
                    <a:pt x="110" y="186"/>
                  </a:lnTo>
                  <a:lnTo>
                    <a:pt x="116" y="184"/>
                  </a:lnTo>
                  <a:lnTo>
                    <a:pt x="118" y="182"/>
                  </a:lnTo>
                  <a:lnTo>
                    <a:pt x="120" y="178"/>
                  </a:lnTo>
                  <a:lnTo>
                    <a:pt x="122" y="174"/>
                  </a:lnTo>
                  <a:lnTo>
                    <a:pt x="126" y="170"/>
                  </a:lnTo>
                  <a:lnTo>
                    <a:pt x="130" y="168"/>
                  </a:lnTo>
                  <a:lnTo>
                    <a:pt x="132" y="166"/>
                  </a:lnTo>
                  <a:lnTo>
                    <a:pt x="134" y="160"/>
                  </a:lnTo>
                  <a:lnTo>
                    <a:pt x="134" y="158"/>
                  </a:lnTo>
                  <a:lnTo>
                    <a:pt x="138" y="156"/>
                  </a:lnTo>
                  <a:lnTo>
                    <a:pt x="142" y="156"/>
                  </a:lnTo>
                  <a:lnTo>
                    <a:pt x="144" y="152"/>
                  </a:lnTo>
                  <a:lnTo>
                    <a:pt x="144" y="148"/>
                  </a:lnTo>
                  <a:lnTo>
                    <a:pt x="146" y="148"/>
                  </a:lnTo>
                  <a:lnTo>
                    <a:pt x="148" y="150"/>
                  </a:lnTo>
                  <a:lnTo>
                    <a:pt x="150" y="150"/>
                  </a:lnTo>
                  <a:lnTo>
                    <a:pt x="152" y="148"/>
                  </a:lnTo>
                  <a:lnTo>
                    <a:pt x="152" y="150"/>
                  </a:lnTo>
                  <a:lnTo>
                    <a:pt x="156" y="154"/>
                  </a:lnTo>
                  <a:lnTo>
                    <a:pt x="158" y="156"/>
                  </a:lnTo>
                  <a:lnTo>
                    <a:pt x="160" y="152"/>
                  </a:lnTo>
                  <a:lnTo>
                    <a:pt x="164" y="152"/>
                  </a:lnTo>
                  <a:lnTo>
                    <a:pt x="168" y="152"/>
                  </a:lnTo>
                  <a:lnTo>
                    <a:pt x="176" y="150"/>
                  </a:lnTo>
                  <a:lnTo>
                    <a:pt x="182" y="148"/>
                  </a:lnTo>
                  <a:lnTo>
                    <a:pt x="194" y="146"/>
                  </a:lnTo>
                  <a:lnTo>
                    <a:pt x="200" y="142"/>
                  </a:lnTo>
                  <a:lnTo>
                    <a:pt x="206" y="142"/>
                  </a:lnTo>
                  <a:lnTo>
                    <a:pt x="208" y="140"/>
                  </a:lnTo>
                  <a:lnTo>
                    <a:pt x="208" y="134"/>
                  </a:lnTo>
                  <a:lnTo>
                    <a:pt x="212" y="130"/>
                  </a:lnTo>
                  <a:lnTo>
                    <a:pt x="210" y="92"/>
                  </a:lnTo>
                  <a:lnTo>
                    <a:pt x="204" y="94"/>
                  </a:lnTo>
                  <a:lnTo>
                    <a:pt x="200" y="94"/>
                  </a:lnTo>
                  <a:lnTo>
                    <a:pt x="200" y="92"/>
                  </a:lnTo>
                  <a:lnTo>
                    <a:pt x="198" y="86"/>
                  </a:lnTo>
                  <a:lnTo>
                    <a:pt x="198" y="86"/>
                  </a:lnTo>
                  <a:lnTo>
                    <a:pt x="198" y="82"/>
                  </a:lnTo>
                  <a:lnTo>
                    <a:pt x="198" y="78"/>
                  </a:lnTo>
                  <a:lnTo>
                    <a:pt x="198" y="76"/>
                  </a:lnTo>
                  <a:lnTo>
                    <a:pt x="194" y="74"/>
                  </a:lnTo>
                  <a:lnTo>
                    <a:pt x="190" y="72"/>
                  </a:lnTo>
                  <a:lnTo>
                    <a:pt x="184" y="68"/>
                  </a:lnTo>
                  <a:lnTo>
                    <a:pt x="180" y="64"/>
                  </a:lnTo>
                  <a:lnTo>
                    <a:pt x="180" y="62"/>
                  </a:lnTo>
                  <a:lnTo>
                    <a:pt x="98" y="0"/>
                  </a:lnTo>
                  <a:lnTo>
                    <a:pt x="76" y="0"/>
                  </a:lnTo>
                  <a:lnTo>
                    <a:pt x="84" y="132"/>
                  </a:lnTo>
                  <a:lnTo>
                    <a:pt x="86" y="134"/>
                  </a:lnTo>
                  <a:lnTo>
                    <a:pt x="86" y="134"/>
                  </a:lnTo>
                  <a:lnTo>
                    <a:pt x="86" y="138"/>
                  </a:lnTo>
                  <a:lnTo>
                    <a:pt x="84" y="144"/>
                  </a:lnTo>
                  <a:lnTo>
                    <a:pt x="36" y="144"/>
                  </a:lnTo>
                  <a:lnTo>
                    <a:pt x="34" y="142"/>
                  </a:lnTo>
                  <a:lnTo>
                    <a:pt x="30" y="142"/>
                  </a:lnTo>
                  <a:lnTo>
                    <a:pt x="30" y="144"/>
                  </a:lnTo>
                  <a:lnTo>
                    <a:pt x="30" y="148"/>
                  </a:lnTo>
                  <a:lnTo>
                    <a:pt x="30" y="150"/>
                  </a:lnTo>
                  <a:lnTo>
                    <a:pt x="30" y="150"/>
                  </a:lnTo>
                  <a:lnTo>
                    <a:pt x="28" y="150"/>
                  </a:lnTo>
                  <a:lnTo>
                    <a:pt x="26" y="150"/>
                  </a:lnTo>
                  <a:lnTo>
                    <a:pt x="20" y="150"/>
                  </a:lnTo>
                  <a:lnTo>
                    <a:pt x="10" y="148"/>
                  </a:lnTo>
                  <a:lnTo>
                    <a:pt x="10" y="150"/>
                  </a:lnTo>
                  <a:lnTo>
                    <a:pt x="8" y="154"/>
                  </a:lnTo>
                  <a:lnTo>
                    <a:pt x="8" y="158"/>
                  </a:lnTo>
                  <a:lnTo>
                    <a:pt x="8" y="160"/>
                  </a:lnTo>
                  <a:lnTo>
                    <a:pt x="6" y="162"/>
                  </a:lnTo>
                  <a:lnTo>
                    <a:pt x="4" y="164"/>
                  </a:lnTo>
                  <a:lnTo>
                    <a:pt x="2" y="164"/>
                  </a:lnTo>
                  <a:lnTo>
                    <a:pt x="0" y="168"/>
                  </a:lnTo>
                  <a:lnTo>
                    <a:pt x="2" y="170"/>
                  </a:lnTo>
                  <a:lnTo>
                    <a:pt x="2" y="172"/>
                  </a:lnTo>
                  <a:lnTo>
                    <a:pt x="2" y="174"/>
                  </a:lnTo>
                  <a:lnTo>
                    <a:pt x="2" y="178"/>
                  </a:lnTo>
                  <a:lnTo>
                    <a:pt x="0" y="184"/>
                  </a:lnTo>
                  <a:lnTo>
                    <a:pt x="0" y="186"/>
                  </a:lnTo>
                  <a:lnTo>
                    <a:pt x="2" y="188"/>
                  </a:lnTo>
                  <a:lnTo>
                    <a:pt x="6" y="192"/>
                  </a:lnTo>
                  <a:lnTo>
                    <a:pt x="6" y="194"/>
                  </a:lnTo>
                  <a:lnTo>
                    <a:pt x="8" y="202"/>
                  </a:lnTo>
                  <a:lnTo>
                    <a:pt x="8" y="208"/>
                  </a:lnTo>
                  <a:lnTo>
                    <a:pt x="12" y="208"/>
                  </a:lnTo>
                  <a:lnTo>
                    <a:pt x="12" y="206"/>
                  </a:lnTo>
                  <a:lnTo>
                    <a:pt x="16" y="206"/>
                  </a:lnTo>
                  <a:lnTo>
                    <a:pt x="20" y="208"/>
                  </a:lnTo>
                  <a:lnTo>
                    <a:pt x="22" y="208"/>
                  </a:lnTo>
                  <a:lnTo>
                    <a:pt x="24" y="206"/>
                  </a:lnTo>
                  <a:lnTo>
                    <a:pt x="26" y="204"/>
                  </a:lnTo>
                  <a:lnTo>
                    <a:pt x="28" y="206"/>
                  </a:lnTo>
                  <a:lnTo>
                    <a:pt x="30" y="206"/>
                  </a:lnTo>
                  <a:lnTo>
                    <a:pt x="30" y="206"/>
                  </a:lnTo>
                  <a:lnTo>
                    <a:pt x="36" y="206"/>
                  </a:lnTo>
                  <a:lnTo>
                    <a:pt x="36" y="208"/>
                  </a:lnTo>
                  <a:lnTo>
                    <a:pt x="38" y="214"/>
                  </a:lnTo>
                  <a:lnTo>
                    <a:pt x="38" y="218"/>
                  </a:lnTo>
                  <a:lnTo>
                    <a:pt x="36" y="220"/>
                  </a:lnTo>
                  <a:lnTo>
                    <a:pt x="36" y="222"/>
                  </a:lnTo>
                  <a:lnTo>
                    <a:pt x="36" y="224"/>
                  </a:lnTo>
                  <a:lnTo>
                    <a:pt x="38" y="226"/>
                  </a:lnTo>
                  <a:lnTo>
                    <a:pt x="40" y="230"/>
                  </a:lnTo>
                  <a:lnTo>
                    <a:pt x="40" y="232"/>
                  </a:lnTo>
                  <a:lnTo>
                    <a:pt x="42" y="232"/>
                  </a:lnTo>
                  <a:lnTo>
                    <a:pt x="46" y="232"/>
                  </a:lnTo>
                  <a:lnTo>
                    <a:pt x="34" y="238"/>
                  </a:lnTo>
                  <a:lnTo>
                    <a:pt x="36" y="238"/>
                  </a:lnTo>
                  <a:lnTo>
                    <a:pt x="38" y="240"/>
                  </a:lnTo>
                  <a:lnTo>
                    <a:pt x="40" y="238"/>
                  </a:lnTo>
                  <a:lnTo>
                    <a:pt x="42" y="238"/>
                  </a:lnTo>
                  <a:lnTo>
                    <a:pt x="42" y="240"/>
                  </a:lnTo>
                  <a:lnTo>
                    <a:pt x="44" y="242"/>
                  </a:lnTo>
                  <a:lnTo>
                    <a:pt x="46" y="242"/>
                  </a:lnTo>
                  <a:lnTo>
                    <a:pt x="48" y="242"/>
                  </a:lnTo>
                  <a:lnTo>
                    <a:pt x="50" y="244"/>
                  </a:lnTo>
                  <a:lnTo>
                    <a:pt x="52" y="248"/>
                  </a:lnTo>
                  <a:lnTo>
                    <a:pt x="56" y="250"/>
                  </a:lnTo>
                  <a:lnTo>
                    <a:pt x="60" y="252"/>
                  </a:lnTo>
                  <a:lnTo>
                    <a:pt x="62" y="250"/>
                  </a:lnTo>
                  <a:lnTo>
                    <a:pt x="66" y="248"/>
                  </a:lnTo>
                  <a:lnTo>
                    <a:pt x="68" y="246"/>
                  </a:lnTo>
                  <a:lnTo>
                    <a:pt x="70" y="248"/>
                  </a:lnTo>
                  <a:lnTo>
                    <a:pt x="70" y="250"/>
                  </a:lnTo>
                  <a:lnTo>
                    <a:pt x="72" y="242"/>
                  </a:lnTo>
                  <a:lnTo>
                    <a:pt x="74" y="240"/>
                  </a:lnTo>
                  <a:lnTo>
                    <a:pt x="76" y="242"/>
                  </a:lnTo>
                  <a:lnTo>
                    <a:pt x="78" y="244"/>
                  </a:lnTo>
                  <a:lnTo>
                    <a:pt x="80" y="244"/>
                  </a:lnTo>
                  <a:lnTo>
                    <a:pt x="82" y="242"/>
                  </a:lnTo>
                  <a:lnTo>
                    <a:pt x="84" y="240"/>
                  </a:lnTo>
                  <a:lnTo>
                    <a:pt x="84" y="238"/>
                  </a:lnTo>
                  <a:lnTo>
                    <a:pt x="86" y="234"/>
                  </a:lnTo>
                  <a:lnTo>
                    <a:pt x="86" y="2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7" name="Freeform 290">
              <a:extLst>
                <a:ext uri="{FF2B5EF4-FFF2-40B4-BE49-F238E27FC236}">
                  <a16:creationId xmlns:a16="http://schemas.microsoft.com/office/drawing/2014/main" id="{BAD3AD6A-C1AE-4540-A76B-986857041D53}"/>
                </a:ext>
              </a:extLst>
            </p:cNvPr>
            <p:cNvSpPr>
              <a:spLocks noEditPoints="1"/>
            </p:cNvSpPr>
            <p:nvPr/>
          </p:nvSpPr>
          <p:spPr bwMode="auto">
            <a:xfrm>
              <a:off x="4717381" y="4612437"/>
              <a:ext cx="313343" cy="126891"/>
            </a:xfrm>
            <a:custGeom>
              <a:avLst/>
              <a:gdLst/>
              <a:ahLst/>
              <a:cxnLst>
                <a:cxn ang="0">
                  <a:pos x="122" y="92"/>
                </a:cxn>
                <a:cxn ang="0">
                  <a:pos x="138" y="98"/>
                </a:cxn>
                <a:cxn ang="0">
                  <a:pos x="154" y="92"/>
                </a:cxn>
                <a:cxn ang="0">
                  <a:pos x="174" y="92"/>
                </a:cxn>
                <a:cxn ang="0">
                  <a:pos x="182" y="78"/>
                </a:cxn>
                <a:cxn ang="0">
                  <a:pos x="190" y="70"/>
                </a:cxn>
                <a:cxn ang="0">
                  <a:pos x="198" y="52"/>
                </a:cxn>
                <a:cxn ang="0">
                  <a:pos x="218" y="48"/>
                </a:cxn>
                <a:cxn ang="0">
                  <a:pos x="230" y="42"/>
                </a:cxn>
                <a:cxn ang="0">
                  <a:pos x="230" y="36"/>
                </a:cxn>
                <a:cxn ang="0">
                  <a:pos x="238" y="32"/>
                </a:cxn>
                <a:cxn ang="0">
                  <a:pos x="242" y="26"/>
                </a:cxn>
                <a:cxn ang="0">
                  <a:pos x="230" y="20"/>
                </a:cxn>
                <a:cxn ang="0">
                  <a:pos x="228" y="10"/>
                </a:cxn>
                <a:cxn ang="0">
                  <a:pos x="222" y="2"/>
                </a:cxn>
                <a:cxn ang="0">
                  <a:pos x="214" y="2"/>
                </a:cxn>
                <a:cxn ang="0">
                  <a:pos x="208" y="8"/>
                </a:cxn>
                <a:cxn ang="0">
                  <a:pos x="196" y="24"/>
                </a:cxn>
                <a:cxn ang="0">
                  <a:pos x="196" y="30"/>
                </a:cxn>
                <a:cxn ang="0">
                  <a:pos x="196" y="44"/>
                </a:cxn>
                <a:cxn ang="0">
                  <a:pos x="188" y="46"/>
                </a:cxn>
                <a:cxn ang="0">
                  <a:pos x="178" y="42"/>
                </a:cxn>
                <a:cxn ang="0">
                  <a:pos x="162" y="64"/>
                </a:cxn>
                <a:cxn ang="0">
                  <a:pos x="142" y="70"/>
                </a:cxn>
                <a:cxn ang="0">
                  <a:pos x="140" y="82"/>
                </a:cxn>
                <a:cxn ang="0">
                  <a:pos x="134" y="86"/>
                </a:cxn>
                <a:cxn ang="0">
                  <a:pos x="128" y="80"/>
                </a:cxn>
                <a:cxn ang="0">
                  <a:pos x="120" y="78"/>
                </a:cxn>
                <a:cxn ang="0">
                  <a:pos x="0" y="18"/>
                </a:cxn>
                <a:cxn ang="0">
                  <a:pos x="4" y="30"/>
                </a:cxn>
                <a:cxn ang="0">
                  <a:pos x="8" y="52"/>
                </a:cxn>
                <a:cxn ang="0">
                  <a:pos x="14" y="60"/>
                </a:cxn>
                <a:cxn ang="0">
                  <a:pos x="20" y="74"/>
                </a:cxn>
                <a:cxn ang="0">
                  <a:pos x="42" y="88"/>
                </a:cxn>
                <a:cxn ang="0">
                  <a:pos x="52" y="84"/>
                </a:cxn>
                <a:cxn ang="0">
                  <a:pos x="48" y="72"/>
                </a:cxn>
                <a:cxn ang="0">
                  <a:pos x="42" y="64"/>
                </a:cxn>
                <a:cxn ang="0">
                  <a:pos x="44" y="40"/>
                </a:cxn>
                <a:cxn ang="0">
                  <a:pos x="36" y="22"/>
                </a:cxn>
                <a:cxn ang="0">
                  <a:pos x="24" y="14"/>
                </a:cxn>
                <a:cxn ang="0">
                  <a:pos x="16" y="20"/>
                </a:cxn>
                <a:cxn ang="0">
                  <a:pos x="12" y="18"/>
                </a:cxn>
                <a:cxn ang="0">
                  <a:pos x="0" y="18"/>
                </a:cxn>
              </a:cxnLst>
              <a:rect l="0" t="0" r="r" b="b"/>
              <a:pathLst>
                <a:path w="242" h="98">
                  <a:moveTo>
                    <a:pt x="120" y="78"/>
                  </a:moveTo>
                  <a:lnTo>
                    <a:pt x="120" y="86"/>
                  </a:lnTo>
                  <a:lnTo>
                    <a:pt x="122" y="92"/>
                  </a:lnTo>
                  <a:lnTo>
                    <a:pt x="128" y="94"/>
                  </a:lnTo>
                  <a:lnTo>
                    <a:pt x="132" y="96"/>
                  </a:lnTo>
                  <a:lnTo>
                    <a:pt x="138" y="98"/>
                  </a:lnTo>
                  <a:lnTo>
                    <a:pt x="144" y="96"/>
                  </a:lnTo>
                  <a:lnTo>
                    <a:pt x="152" y="94"/>
                  </a:lnTo>
                  <a:lnTo>
                    <a:pt x="154" y="92"/>
                  </a:lnTo>
                  <a:lnTo>
                    <a:pt x="162" y="90"/>
                  </a:lnTo>
                  <a:lnTo>
                    <a:pt x="166" y="92"/>
                  </a:lnTo>
                  <a:lnTo>
                    <a:pt x="174" y="92"/>
                  </a:lnTo>
                  <a:lnTo>
                    <a:pt x="180" y="88"/>
                  </a:lnTo>
                  <a:lnTo>
                    <a:pt x="182" y="86"/>
                  </a:lnTo>
                  <a:lnTo>
                    <a:pt x="182" y="78"/>
                  </a:lnTo>
                  <a:lnTo>
                    <a:pt x="182" y="74"/>
                  </a:lnTo>
                  <a:lnTo>
                    <a:pt x="186" y="74"/>
                  </a:lnTo>
                  <a:lnTo>
                    <a:pt x="190" y="70"/>
                  </a:lnTo>
                  <a:lnTo>
                    <a:pt x="192" y="66"/>
                  </a:lnTo>
                  <a:lnTo>
                    <a:pt x="196" y="62"/>
                  </a:lnTo>
                  <a:lnTo>
                    <a:pt x="198" y="52"/>
                  </a:lnTo>
                  <a:lnTo>
                    <a:pt x="200" y="48"/>
                  </a:lnTo>
                  <a:lnTo>
                    <a:pt x="208" y="50"/>
                  </a:lnTo>
                  <a:lnTo>
                    <a:pt x="218" y="48"/>
                  </a:lnTo>
                  <a:lnTo>
                    <a:pt x="220" y="44"/>
                  </a:lnTo>
                  <a:lnTo>
                    <a:pt x="228" y="46"/>
                  </a:lnTo>
                  <a:lnTo>
                    <a:pt x="230" y="42"/>
                  </a:lnTo>
                  <a:lnTo>
                    <a:pt x="232" y="42"/>
                  </a:lnTo>
                  <a:lnTo>
                    <a:pt x="232" y="38"/>
                  </a:lnTo>
                  <a:lnTo>
                    <a:pt x="230" y="36"/>
                  </a:lnTo>
                  <a:lnTo>
                    <a:pt x="230" y="34"/>
                  </a:lnTo>
                  <a:lnTo>
                    <a:pt x="230" y="32"/>
                  </a:lnTo>
                  <a:lnTo>
                    <a:pt x="238" y="32"/>
                  </a:lnTo>
                  <a:lnTo>
                    <a:pt x="240" y="30"/>
                  </a:lnTo>
                  <a:lnTo>
                    <a:pt x="242" y="28"/>
                  </a:lnTo>
                  <a:lnTo>
                    <a:pt x="242" y="26"/>
                  </a:lnTo>
                  <a:lnTo>
                    <a:pt x="238" y="22"/>
                  </a:lnTo>
                  <a:lnTo>
                    <a:pt x="236" y="18"/>
                  </a:lnTo>
                  <a:lnTo>
                    <a:pt x="230" y="20"/>
                  </a:lnTo>
                  <a:lnTo>
                    <a:pt x="230" y="18"/>
                  </a:lnTo>
                  <a:lnTo>
                    <a:pt x="226" y="16"/>
                  </a:lnTo>
                  <a:lnTo>
                    <a:pt x="228" y="10"/>
                  </a:lnTo>
                  <a:lnTo>
                    <a:pt x="224" y="6"/>
                  </a:lnTo>
                  <a:lnTo>
                    <a:pt x="222" y="6"/>
                  </a:lnTo>
                  <a:lnTo>
                    <a:pt x="222" y="2"/>
                  </a:lnTo>
                  <a:lnTo>
                    <a:pt x="220" y="4"/>
                  </a:lnTo>
                  <a:lnTo>
                    <a:pt x="216" y="4"/>
                  </a:lnTo>
                  <a:lnTo>
                    <a:pt x="214" y="2"/>
                  </a:lnTo>
                  <a:lnTo>
                    <a:pt x="214" y="0"/>
                  </a:lnTo>
                  <a:lnTo>
                    <a:pt x="212" y="0"/>
                  </a:lnTo>
                  <a:lnTo>
                    <a:pt x="208" y="8"/>
                  </a:lnTo>
                  <a:lnTo>
                    <a:pt x="206" y="14"/>
                  </a:lnTo>
                  <a:lnTo>
                    <a:pt x="194" y="22"/>
                  </a:lnTo>
                  <a:lnTo>
                    <a:pt x="196" y="24"/>
                  </a:lnTo>
                  <a:lnTo>
                    <a:pt x="198" y="24"/>
                  </a:lnTo>
                  <a:lnTo>
                    <a:pt x="198" y="28"/>
                  </a:lnTo>
                  <a:lnTo>
                    <a:pt x="196" y="30"/>
                  </a:lnTo>
                  <a:lnTo>
                    <a:pt x="196" y="34"/>
                  </a:lnTo>
                  <a:lnTo>
                    <a:pt x="192" y="34"/>
                  </a:lnTo>
                  <a:lnTo>
                    <a:pt x="196" y="44"/>
                  </a:lnTo>
                  <a:lnTo>
                    <a:pt x="194" y="44"/>
                  </a:lnTo>
                  <a:lnTo>
                    <a:pt x="190" y="42"/>
                  </a:lnTo>
                  <a:lnTo>
                    <a:pt x="188" y="46"/>
                  </a:lnTo>
                  <a:lnTo>
                    <a:pt x="186" y="48"/>
                  </a:lnTo>
                  <a:lnTo>
                    <a:pt x="182" y="48"/>
                  </a:lnTo>
                  <a:lnTo>
                    <a:pt x="178" y="42"/>
                  </a:lnTo>
                  <a:lnTo>
                    <a:pt x="178" y="44"/>
                  </a:lnTo>
                  <a:lnTo>
                    <a:pt x="166" y="64"/>
                  </a:lnTo>
                  <a:lnTo>
                    <a:pt x="162" y="64"/>
                  </a:lnTo>
                  <a:lnTo>
                    <a:pt x="158" y="64"/>
                  </a:lnTo>
                  <a:lnTo>
                    <a:pt x="150" y="66"/>
                  </a:lnTo>
                  <a:lnTo>
                    <a:pt x="142" y="70"/>
                  </a:lnTo>
                  <a:lnTo>
                    <a:pt x="142" y="74"/>
                  </a:lnTo>
                  <a:lnTo>
                    <a:pt x="142" y="74"/>
                  </a:lnTo>
                  <a:lnTo>
                    <a:pt x="140" y="82"/>
                  </a:lnTo>
                  <a:lnTo>
                    <a:pt x="138" y="82"/>
                  </a:lnTo>
                  <a:lnTo>
                    <a:pt x="138" y="86"/>
                  </a:lnTo>
                  <a:lnTo>
                    <a:pt x="134" y="86"/>
                  </a:lnTo>
                  <a:lnTo>
                    <a:pt x="132" y="84"/>
                  </a:lnTo>
                  <a:lnTo>
                    <a:pt x="130" y="82"/>
                  </a:lnTo>
                  <a:lnTo>
                    <a:pt x="128" y="80"/>
                  </a:lnTo>
                  <a:lnTo>
                    <a:pt x="126" y="82"/>
                  </a:lnTo>
                  <a:lnTo>
                    <a:pt x="124" y="82"/>
                  </a:lnTo>
                  <a:lnTo>
                    <a:pt x="120" y="78"/>
                  </a:lnTo>
                  <a:lnTo>
                    <a:pt x="120" y="78"/>
                  </a:lnTo>
                  <a:close/>
                  <a:moveTo>
                    <a:pt x="0" y="18"/>
                  </a:moveTo>
                  <a:lnTo>
                    <a:pt x="0" y="18"/>
                  </a:lnTo>
                  <a:lnTo>
                    <a:pt x="2" y="22"/>
                  </a:lnTo>
                  <a:lnTo>
                    <a:pt x="4" y="26"/>
                  </a:lnTo>
                  <a:lnTo>
                    <a:pt x="4" y="30"/>
                  </a:lnTo>
                  <a:lnTo>
                    <a:pt x="2" y="34"/>
                  </a:lnTo>
                  <a:lnTo>
                    <a:pt x="8" y="48"/>
                  </a:lnTo>
                  <a:lnTo>
                    <a:pt x="8" y="52"/>
                  </a:lnTo>
                  <a:lnTo>
                    <a:pt x="8" y="54"/>
                  </a:lnTo>
                  <a:lnTo>
                    <a:pt x="10" y="56"/>
                  </a:lnTo>
                  <a:lnTo>
                    <a:pt x="14" y="60"/>
                  </a:lnTo>
                  <a:lnTo>
                    <a:pt x="14" y="66"/>
                  </a:lnTo>
                  <a:lnTo>
                    <a:pt x="16" y="70"/>
                  </a:lnTo>
                  <a:lnTo>
                    <a:pt x="20" y="74"/>
                  </a:lnTo>
                  <a:lnTo>
                    <a:pt x="26" y="76"/>
                  </a:lnTo>
                  <a:lnTo>
                    <a:pt x="28" y="80"/>
                  </a:lnTo>
                  <a:lnTo>
                    <a:pt x="42" y="88"/>
                  </a:lnTo>
                  <a:lnTo>
                    <a:pt x="42" y="86"/>
                  </a:lnTo>
                  <a:lnTo>
                    <a:pt x="46" y="84"/>
                  </a:lnTo>
                  <a:lnTo>
                    <a:pt x="52" y="84"/>
                  </a:lnTo>
                  <a:lnTo>
                    <a:pt x="52" y="78"/>
                  </a:lnTo>
                  <a:lnTo>
                    <a:pt x="50" y="74"/>
                  </a:lnTo>
                  <a:lnTo>
                    <a:pt x="48" y="72"/>
                  </a:lnTo>
                  <a:lnTo>
                    <a:pt x="48" y="68"/>
                  </a:lnTo>
                  <a:lnTo>
                    <a:pt x="44" y="66"/>
                  </a:lnTo>
                  <a:lnTo>
                    <a:pt x="42" y="64"/>
                  </a:lnTo>
                  <a:lnTo>
                    <a:pt x="42" y="56"/>
                  </a:lnTo>
                  <a:lnTo>
                    <a:pt x="42" y="52"/>
                  </a:lnTo>
                  <a:lnTo>
                    <a:pt x="44" y="40"/>
                  </a:lnTo>
                  <a:lnTo>
                    <a:pt x="40" y="32"/>
                  </a:lnTo>
                  <a:lnTo>
                    <a:pt x="38" y="30"/>
                  </a:lnTo>
                  <a:lnTo>
                    <a:pt x="36" y="22"/>
                  </a:lnTo>
                  <a:lnTo>
                    <a:pt x="32" y="18"/>
                  </a:lnTo>
                  <a:lnTo>
                    <a:pt x="28" y="16"/>
                  </a:lnTo>
                  <a:lnTo>
                    <a:pt x="24" y="14"/>
                  </a:lnTo>
                  <a:lnTo>
                    <a:pt x="22" y="16"/>
                  </a:lnTo>
                  <a:lnTo>
                    <a:pt x="22" y="22"/>
                  </a:lnTo>
                  <a:lnTo>
                    <a:pt x="16" y="20"/>
                  </a:lnTo>
                  <a:lnTo>
                    <a:pt x="16" y="24"/>
                  </a:lnTo>
                  <a:lnTo>
                    <a:pt x="12" y="24"/>
                  </a:lnTo>
                  <a:lnTo>
                    <a:pt x="12" y="18"/>
                  </a:lnTo>
                  <a:lnTo>
                    <a:pt x="6" y="16"/>
                  </a:lnTo>
                  <a:lnTo>
                    <a:pt x="0" y="18"/>
                  </a:lnTo>
                  <a:lnTo>
                    <a:pt x="0"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8" name="Freeform 291">
              <a:extLst>
                <a:ext uri="{FF2B5EF4-FFF2-40B4-BE49-F238E27FC236}">
                  <a16:creationId xmlns:a16="http://schemas.microsoft.com/office/drawing/2014/main" id="{6717369B-AFCD-4185-8333-BFD3857FA651}"/>
                </a:ext>
              </a:extLst>
            </p:cNvPr>
            <p:cNvSpPr>
              <a:spLocks/>
            </p:cNvSpPr>
            <p:nvPr/>
          </p:nvSpPr>
          <p:spPr bwMode="auto">
            <a:xfrm>
              <a:off x="3383732" y="3835554"/>
              <a:ext cx="51792" cy="44023"/>
            </a:xfrm>
            <a:custGeom>
              <a:avLst/>
              <a:gdLst/>
              <a:ahLst/>
              <a:cxnLst>
                <a:cxn ang="0">
                  <a:pos x="4" y="12"/>
                </a:cxn>
                <a:cxn ang="0">
                  <a:pos x="8" y="8"/>
                </a:cxn>
                <a:cxn ang="0">
                  <a:pos x="12" y="6"/>
                </a:cxn>
                <a:cxn ang="0">
                  <a:pos x="14" y="10"/>
                </a:cxn>
                <a:cxn ang="0">
                  <a:pos x="16" y="4"/>
                </a:cxn>
                <a:cxn ang="0">
                  <a:pos x="20" y="4"/>
                </a:cxn>
                <a:cxn ang="0">
                  <a:pos x="24" y="4"/>
                </a:cxn>
                <a:cxn ang="0">
                  <a:pos x="30" y="2"/>
                </a:cxn>
                <a:cxn ang="0">
                  <a:pos x="32" y="0"/>
                </a:cxn>
                <a:cxn ang="0">
                  <a:pos x="36" y="4"/>
                </a:cxn>
                <a:cxn ang="0">
                  <a:pos x="36" y="6"/>
                </a:cxn>
                <a:cxn ang="0">
                  <a:pos x="36" y="8"/>
                </a:cxn>
                <a:cxn ang="0">
                  <a:pos x="36" y="10"/>
                </a:cxn>
                <a:cxn ang="0">
                  <a:pos x="40" y="14"/>
                </a:cxn>
                <a:cxn ang="0">
                  <a:pos x="38" y="14"/>
                </a:cxn>
                <a:cxn ang="0">
                  <a:pos x="38" y="20"/>
                </a:cxn>
                <a:cxn ang="0">
                  <a:pos x="36" y="24"/>
                </a:cxn>
                <a:cxn ang="0">
                  <a:pos x="36" y="26"/>
                </a:cxn>
                <a:cxn ang="0">
                  <a:pos x="34" y="26"/>
                </a:cxn>
                <a:cxn ang="0">
                  <a:pos x="30" y="26"/>
                </a:cxn>
                <a:cxn ang="0">
                  <a:pos x="28" y="28"/>
                </a:cxn>
                <a:cxn ang="0">
                  <a:pos x="26" y="28"/>
                </a:cxn>
                <a:cxn ang="0">
                  <a:pos x="26" y="30"/>
                </a:cxn>
                <a:cxn ang="0">
                  <a:pos x="24" y="30"/>
                </a:cxn>
                <a:cxn ang="0">
                  <a:pos x="22" y="32"/>
                </a:cxn>
                <a:cxn ang="0">
                  <a:pos x="20" y="34"/>
                </a:cxn>
                <a:cxn ang="0">
                  <a:pos x="18" y="34"/>
                </a:cxn>
                <a:cxn ang="0">
                  <a:pos x="6" y="34"/>
                </a:cxn>
                <a:cxn ang="0">
                  <a:pos x="4" y="32"/>
                </a:cxn>
                <a:cxn ang="0">
                  <a:pos x="2" y="28"/>
                </a:cxn>
                <a:cxn ang="0">
                  <a:pos x="0" y="24"/>
                </a:cxn>
                <a:cxn ang="0">
                  <a:pos x="2" y="22"/>
                </a:cxn>
                <a:cxn ang="0">
                  <a:pos x="2" y="16"/>
                </a:cxn>
                <a:cxn ang="0">
                  <a:pos x="2" y="14"/>
                </a:cxn>
                <a:cxn ang="0">
                  <a:pos x="4" y="12"/>
                </a:cxn>
                <a:cxn ang="0">
                  <a:pos x="4" y="12"/>
                </a:cxn>
              </a:cxnLst>
              <a:rect l="0" t="0" r="r" b="b"/>
              <a:pathLst>
                <a:path w="40" h="34">
                  <a:moveTo>
                    <a:pt x="4" y="12"/>
                  </a:moveTo>
                  <a:lnTo>
                    <a:pt x="8" y="8"/>
                  </a:lnTo>
                  <a:lnTo>
                    <a:pt x="12" y="6"/>
                  </a:lnTo>
                  <a:lnTo>
                    <a:pt x="14" y="10"/>
                  </a:lnTo>
                  <a:lnTo>
                    <a:pt x="16" y="4"/>
                  </a:lnTo>
                  <a:lnTo>
                    <a:pt x="20" y="4"/>
                  </a:lnTo>
                  <a:lnTo>
                    <a:pt x="24" y="4"/>
                  </a:lnTo>
                  <a:lnTo>
                    <a:pt x="30" y="2"/>
                  </a:lnTo>
                  <a:lnTo>
                    <a:pt x="32" y="0"/>
                  </a:lnTo>
                  <a:lnTo>
                    <a:pt x="36" y="4"/>
                  </a:lnTo>
                  <a:lnTo>
                    <a:pt x="36" y="6"/>
                  </a:lnTo>
                  <a:lnTo>
                    <a:pt x="36" y="8"/>
                  </a:lnTo>
                  <a:lnTo>
                    <a:pt x="36" y="10"/>
                  </a:lnTo>
                  <a:lnTo>
                    <a:pt x="40" y="14"/>
                  </a:lnTo>
                  <a:lnTo>
                    <a:pt x="38" y="14"/>
                  </a:lnTo>
                  <a:lnTo>
                    <a:pt x="38" y="20"/>
                  </a:lnTo>
                  <a:lnTo>
                    <a:pt x="36" y="24"/>
                  </a:lnTo>
                  <a:lnTo>
                    <a:pt x="36" y="26"/>
                  </a:lnTo>
                  <a:lnTo>
                    <a:pt x="34" y="26"/>
                  </a:lnTo>
                  <a:lnTo>
                    <a:pt x="30" y="26"/>
                  </a:lnTo>
                  <a:lnTo>
                    <a:pt x="28" y="28"/>
                  </a:lnTo>
                  <a:lnTo>
                    <a:pt x="26" y="28"/>
                  </a:lnTo>
                  <a:lnTo>
                    <a:pt x="26" y="30"/>
                  </a:lnTo>
                  <a:lnTo>
                    <a:pt x="24" y="30"/>
                  </a:lnTo>
                  <a:lnTo>
                    <a:pt x="22" y="32"/>
                  </a:lnTo>
                  <a:lnTo>
                    <a:pt x="20" y="34"/>
                  </a:lnTo>
                  <a:lnTo>
                    <a:pt x="18" y="34"/>
                  </a:lnTo>
                  <a:lnTo>
                    <a:pt x="6" y="34"/>
                  </a:lnTo>
                  <a:lnTo>
                    <a:pt x="4" y="32"/>
                  </a:lnTo>
                  <a:lnTo>
                    <a:pt x="2" y="28"/>
                  </a:lnTo>
                  <a:lnTo>
                    <a:pt x="0" y="24"/>
                  </a:lnTo>
                  <a:lnTo>
                    <a:pt x="2" y="22"/>
                  </a:lnTo>
                  <a:lnTo>
                    <a:pt x="2" y="16"/>
                  </a:lnTo>
                  <a:lnTo>
                    <a:pt x="2" y="14"/>
                  </a:lnTo>
                  <a:lnTo>
                    <a:pt x="4" y="12"/>
                  </a:lnTo>
                  <a:lnTo>
                    <a:pt x="4"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29" name="Freeform 292">
              <a:extLst>
                <a:ext uri="{FF2B5EF4-FFF2-40B4-BE49-F238E27FC236}">
                  <a16:creationId xmlns:a16="http://schemas.microsoft.com/office/drawing/2014/main" id="{1A74315B-2D9D-48C7-94B7-EB194F7D3C78}"/>
                </a:ext>
              </a:extLst>
            </p:cNvPr>
            <p:cNvSpPr>
              <a:spLocks/>
            </p:cNvSpPr>
            <p:nvPr/>
          </p:nvSpPr>
          <p:spPr bwMode="auto">
            <a:xfrm>
              <a:off x="3132540" y="3646512"/>
              <a:ext cx="10358" cy="23306"/>
            </a:xfrm>
            <a:custGeom>
              <a:avLst/>
              <a:gdLst/>
              <a:ahLst/>
              <a:cxnLst>
                <a:cxn ang="0">
                  <a:pos x="0" y="10"/>
                </a:cxn>
                <a:cxn ang="0">
                  <a:pos x="0" y="10"/>
                </a:cxn>
                <a:cxn ang="0">
                  <a:pos x="0" y="6"/>
                </a:cxn>
                <a:cxn ang="0">
                  <a:pos x="0" y="2"/>
                </a:cxn>
                <a:cxn ang="0">
                  <a:pos x="2" y="2"/>
                </a:cxn>
                <a:cxn ang="0">
                  <a:pos x="4" y="0"/>
                </a:cxn>
                <a:cxn ang="0">
                  <a:pos x="4" y="2"/>
                </a:cxn>
                <a:cxn ang="0">
                  <a:pos x="6" y="4"/>
                </a:cxn>
                <a:cxn ang="0">
                  <a:pos x="8" y="6"/>
                </a:cxn>
                <a:cxn ang="0">
                  <a:pos x="8" y="10"/>
                </a:cxn>
                <a:cxn ang="0">
                  <a:pos x="6" y="12"/>
                </a:cxn>
                <a:cxn ang="0">
                  <a:pos x="6" y="16"/>
                </a:cxn>
                <a:cxn ang="0">
                  <a:pos x="8" y="18"/>
                </a:cxn>
                <a:cxn ang="0">
                  <a:pos x="2" y="16"/>
                </a:cxn>
                <a:cxn ang="0">
                  <a:pos x="0" y="14"/>
                </a:cxn>
                <a:cxn ang="0">
                  <a:pos x="0" y="12"/>
                </a:cxn>
                <a:cxn ang="0">
                  <a:pos x="0" y="10"/>
                </a:cxn>
                <a:cxn ang="0">
                  <a:pos x="0" y="10"/>
                </a:cxn>
              </a:cxnLst>
              <a:rect l="0" t="0" r="r" b="b"/>
              <a:pathLst>
                <a:path w="8" h="18">
                  <a:moveTo>
                    <a:pt x="0" y="10"/>
                  </a:moveTo>
                  <a:lnTo>
                    <a:pt x="0" y="10"/>
                  </a:lnTo>
                  <a:lnTo>
                    <a:pt x="0" y="6"/>
                  </a:lnTo>
                  <a:lnTo>
                    <a:pt x="0" y="2"/>
                  </a:lnTo>
                  <a:lnTo>
                    <a:pt x="2" y="2"/>
                  </a:lnTo>
                  <a:lnTo>
                    <a:pt x="4" y="0"/>
                  </a:lnTo>
                  <a:lnTo>
                    <a:pt x="4" y="2"/>
                  </a:lnTo>
                  <a:lnTo>
                    <a:pt x="6" y="4"/>
                  </a:lnTo>
                  <a:lnTo>
                    <a:pt x="8" y="6"/>
                  </a:lnTo>
                  <a:lnTo>
                    <a:pt x="8" y="10"/>
                  </a:lnTo>
                  <a:lnTo>
                    <a:pt x="6" y="12"/>
                  </a:lnTo>
                  <a:lnTo>
                    <a:pt x="6" y="16"/>
                  </a:lnTo>
                  <a:lnTo>
                    <a:pt x="8" y="18"/>
                  </a:lnTo>
                  <a:lnTo>
                    <a:pt x="2" y="16"/>
                  </a:lnTo>
                  <a:lnTo>
                    <a:pt x="0" y="14"/>
                  </a:lnTo>
                  <a:lnTo>
                    <a:pt x="0" y="12"/>
                  </a:lnTo>
                  <a:lnTo>
                    <a:pt x="0" y="10"/>
                  </a:lnTo>
                  <a:lnTo>
                    <a:pt x="0"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0" name="Rectangle 293">
              <a:extLst>
                <a:ext uri="{FF2B5EF4-FFF2-40B4-BE49-F238E27FC236}">
                  <a16:creationId xmlns:a16="http://schemas.microsoft.com/office/drawing/2014/main" id="{9923EB9A-8091-4842-B718-9A6CFD5C5831}"/>
                </a:ext>
              </a:extLst>
            </p:cNvPr>
            <p:cNvSpPr>
              <a:spLocks noChangeArrowheads="1"/>
            </p:cNvSpPr>
            <p:nvPr/>
          </p:nvSpPr>
          <p:spPr bwMode="auto">
            <a:xfrm>
              <a:off x="3383732" y="3506673"/>
              <a:ext cx="2590" cy="2590"/>
            </a:xfrm>
            <a:prstGeom prst="rect">
              <a:avLst/>
            </a:prstGeom>
            <a:grpFill/>
            <a:ln w="6350">
              <a:noFill/>
              <a:miter lim="800000"/>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1" name="Rectangle 294">
              <a:extLst>
                <a:ext uri="{FF2B5EF4-FFF2-40B4-BE49-F238E27FC236}">
                  <a16:creationId xmlns:a16="http://schemas.microsoft.com/office/drawing/2014/main" id="{41E039D2-EFC3-4DF3-86AC-C4F041EEFAC6}"/>
                </a:ext>
              </a:extLst>
            </p:cNvPr>
            <p:cNvSpPr>
              <a:spLocks noChangeArrowheads="1"/>
            </p:cNvSpPr>
            <p:nvPr/>
          </p:nvSpPr>
          <p:spPr bwMode="auto">
            <a:xfrm>
              <a:off x="3383732" y="3506673"/>
              <a:ext cx="2590" cy="2590"/>
            </a:xfrm>
            <a:prstGeom prst="rect">
              <a:avLst/>
            </a:prstGeom>
            <a:grpFill/>
            <a:ln w="6350">
              <a:noFill/>
              <a:prstDash val="solid"/>
              <a:miter lim="800000"/>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2" name="Freeform 295">
              <a:extLst>
                <a:ext uri="{FF2B5EF4-FFF2-40B4-BE49-F238E27FC236}">
                  <a16:creationId xmlns:a16="http://schemas.microsoft.com/office/drawing/2014/main" id="{7180E551-AC10-4B20-A72A-EE5107BCE70A}"/>
                </a:ext>
              </a:extLst>
            </p:cNvPr>
            <p:cNvSpPr>
              <a:spLocks/>
            </p:cNvSpPr>
            <p:nvPr/>
          </p:nvSpPr>
          <p:spPr bwMode="auto">
            <a:xfrm>
              <a:off x="3205049" y="3716432"/>
              <a:ext cx="5179" cy="10358"/>
            </a:xfrm>
            <a:custGeom>
              <a:avLst/>
              <a:gdLst/>
              <a:ahLst/>
              <a:cxnLst>
                <a:cxn ang="0">
                  <a:pos x="4" y="8"/>
                </a:cxn>
                <a:cxn ang="0">
                  <a:pos x="4" y="8"/>
                </a:cxn>
                <a:cxn ang="0">
                  <a:pos x="2" y="6"/>
                </a:cxn>
                <a:cxn ang="0">
                  <a:pos x="0" y="4"/>
                </a:cxn>
                <a:cxn ang="0">
                  <a:pos x="0" y="0"/>
                </a:cxn>
                <a:cxn ang="0">
                  <a:pos x="4" y="0"/>
                </a:cxn>
                <a:cxn ang="0">
                  <a:pos x="4" y="2"/>
                </a:cxn>
                <a:cxn ang="0">
                  <a:pos x="4" y="8"/>
                </a:cxn>
                <a:cxn ang="0">
                  <a:pos x="4" y="8"/>
                </a:cxn>
              </a:cxnLst>
              <a:rect l="0" t="0" r="r" b="b"/>
              <a:pathLst>
                <a:path w="4" h="8">
                  <a:moveTo>
                    <a:pt x="4" y="8"/>
                  </a:moveTo>
                  <a:lnTo>
                    <a:pt x="4" y="8"/>
                  </a:lnTo>
                  <a:lnTo>
                    <a:pt x="2" y="6"/>
                  </a:lnTo>
                  <a:lnTo>
                    <a:pt x="0" y="4"/>
                  </a:lnTo>
                  <a:lnTo>
                    <a:pt x="0" y="0"/>
                  </a:lnTo>
                  <a:lnTo>
                    <a:pt x="4" y="0"/>
                  </a:lnTo>
                  <a:lnTo>
                    <a:pt x="4" y="2"/>
                  </a:lnTo>
                  <a:lnTo>
                    <a:pt x="4" y="8"/>
                  </a:lnTo>
                  <a:lnTo>
                    <a:pt x="4"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3" name="Freeform 296">
              <a:extLst>
                <a:ext uri="{FF2B5EF4-FFF2-40B4-BE49-F238E27FC236}">
                  <a16:creationId xmlns:a16="http://schemas.microsoft.com/office/drawing/2014/main" id="{0C7ECF9F-6EFC-477B-8090-F2DB14B95576}"/>
                </a:ext>
              </a:extLst>
            </p:cNvPr>
            <p:cNvSpPr>
              <a:spLocks/>
            </p:cNvSpPr>
            <p:nvPr/>
          </p:nvSpPr>
          <p:spPr bwMode="auto">
            <a:xfrm>
              <a:off x="3205049" y="3716432"/>
              <a:ext cx="5179" cy="10358"/>
            </a:xfrm>
            <a:custGeom>
              <a:avLst/>
              <a:gdLst/>
              <a:ahLst/>
              <a:cxnLst>
                <a:cxn ang="0">
                  <a:pos x="4" y="8"/>
                </a:cxn>
                <a:cxn ang="0">
                  <a:pos x="4" y="8"/>
                </a:cxn>
                <a:cxn ang="0">
                  <a:pos x="2" y="6"/>
                </a:cxn>
                <a:cxn ang="0">
                  <a:pos x="0" y="4"/>
                </a:cxn>
                <a:cxn ang="0">
                  <a:pos x="0" y="0"/>
                </a:cxn>
                <a:cxn ang="0">
                  <a:pos x="4" y="0"/>
                </a:cxn>
                <a:cxn ang="0">
                  <a:pos x="4" y="2"/>
                </a:cxn>
                <a:cxn ang="0">
                  <a:pos x="4" y="8"/>
                </a:cxn>
                <a:cxn ang="0">
                  <a:pos x="4" y="8"/>
                </a:cxn>
              </a:cxnLst>
              <a:rect l="0" t="0" r="r" b="b"/>
              <a:pathLst>
                <a:path w="4" h="8">
                  <a:moveTo>
                    <a:pt x="4" y="8"/>
                  </a:moveTo>
                  <a:lnTo>
                    <a:pt x="4" y="8"/>
                  </a:lnTo>
                  <a:lnTo>
                    <a:pt x="2" y="6"/>
                  </a:lnTo>
                  <a:lnTo>
                    <a:pt x="0" y="4"/>
                  </a:lnTo>
                  <a:lnTo>
                    <a:pt x="0" y="0"/>
                  </a:lnTo>
                  <a:lnTo>
                    <a:pt x="4" y="0"/>
                  </a:lnTo>
                  <a:lnTo>
                    <a:pt x="4" y="2"/>
                  </a:lnTo>
                  <a:lnTo>
                    <a:pt x="4" y="8"/>
                  </a:lnTo>
                  <a:lnTo>
                    <a:pt x="4"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4" name="Freeform 297">
              <a:extLst>
                <a:ext uri="{FF2B5EF4-FFF2-40B4-BE49-F238E27FC236}">
                  <a16:creationId xmlns:a16="http://schemas.microsoft.com/office/drawing/2014/main" id="{D6729410-5207-4AF4-9300-95078C2C9A5B}"/>
                </a:ext>
              </a:extLst>
            </p:cNvPr>
            <p:cNvSpPr>
              <a:spLocks/>
            </p:cNvSpPr>
            <p:nvPr/>
          </p:nvSpPr>
          <p:spPr bwMode="auto">
            <a:xfrm>
              <a:off x="2839914" y="4571003"/>
              <a:ext cx="72509" cy="93226"/>
            </a:xfrm>
            <a:custGeom>
              <a:avLst/>
              <a:gdLst/>
              <a:ahLst/>
              <a:cxnLst>
                <a:cxn ang="0">
                  <a:pos x="2" y="32"/>
                </a:cxn>
                <a:cxn ang="0">
                  <a:pos x="2" y="32"/>
                </a:cxn>
                <a:cxn ang="0">
                  <a:pos x="4" y="36"/>
                </a:cxn>
                <a:cxn ang="0">
                  <a:pos x="6" y="38"/>
                </a:cxn>
                <a:cxn ang="0">
                  <a:pos x="10" y="44"/>
                </a:cxn>
                <a:cxn ang="0">
                  <a:pos x="12" y="44"/>
                </a:cxn>
                <a:cxn ang="0">
                  <a:pos x="12" y="46"/>
                </a:cxn>
                <a:cxn ang="0">
                  <a:pos x="20" y="54"/>
                </a:cxn>
                <a:cxn ang="0">
                  <a:pos x="22" y="54"/>
                </a:cxn>
                <a:cxn ang="0">
                  <a:pos x="24" y="58"/>
                </a:cxn>
                <a:cxn ang="0">
                  <a:pos x="36" y="68"/>
                </a:cxn>
                <a:cxn ang="0">
                  <a:pos x="42" y="68"/>
                </a:cxn>
                <a:cxn ang="0">
                  <a:pos x="44" y="70"/>
                </a:cxn>
                <a:cxn ang="0">
                  <a:pos x="46" y="72"/>
                </a:cxn>
                <a:cxn ang="0">
                  <a:pos x="50" y="72"/>
                </a:cxn>
                <a:cxn ang="0">
                  <a:pos x="52" y="68"/>
                </a:cxn>
                <a:cxn ang="0">
                  <a:pos x="50" y="64"/>
                </a:cxn>
                <a:cxn ang="0">
                  <a:pos x="52" y="62"/>
                </a:cxn>
                <a:cxn ang="0">
                  <a:pos x="54" y="58"/>
                </a:cxn>
                <a:cxn ang="0">
                  <a:pos x="54" y="56"/>
                </a:cxn>
                <a:cxn ang="0">
                  <a:pos x="56" y="52"/>
                </a:cxn>
                <a:cxn ang="0">
                  <a:pos x="54" y="52"/>
                </a:cxn>
                <a:cxn ang="0">
                  <a:pos x="52" y="52"/>
                </a:cxn>
                <a:cxn ang="0">
                  <a:pos x="50" y="50"/>
                </a:cxn>
                <a:cxn ang="0">
                  <a:pos x="48" y="44"/>
                </a:cxn>
                <a:cxn ang="0">
                  <a:pos x="46" y="40"/>
                </a:cxn>
                <a:cxn ang="0">
                  <a:pos x="44" y="36"/>
                </a:cxn>
                <a:cxn ang="0">
                  <a:pos x="34" y="34"/>
                </a:cxn>
                <a:cxn ang="0">
                  <a:pos x="38" y="30"/>
                </a:cxn>
                <a:cxn ang="0">
                  <a:pos x="42" y="24"/>
                </a:cxn>
                <a:cxn ang="0">
                  <a:pos x="42" y="20"/>
                </a:cxn>
                <a:cxn ang="0">
                  <a:pos x="42" y="18"/>
                </a:cxn>
                <a:cxn ang="0">
                  <a:pos x="40" y="14"/>
                </a:cxn>
                <a:cxn ang="0">
                  <a:pos x="40" y="12"/>
                </a:cxn>
                <a:cxn ang="0">
                  <a:pos x="38" y="10"/>
                </a:cxn>
                <a:cxn ang="0">
                  <a:pos x="36" y="12"/>
                </a:cxn>
                <a:cxn ang="0">
                  <a:pos x="30" y="20"/>
                </a:cxn>
                <a:cxn ang="0">
                  <a:pos x="26" y="18"/>
                </a:cxn>
                <a:cxn ang="0">
                  <a:pos x="28" y="14"/>
                </a:cxn>
                <a:cxn ang="0">
                  <a:pos x="30" y="10"/>
                </a:cxn>
                <a:cxn ang="0">
                  <a:pos x="30" y="8"/>
                </a:cxn>
                <a:cxn ang="0">
                  <a:pos x="26" y="0"/>
                </a:cxn>
                <a:cxn ang="0">
                  <a:pos x="26" y="0"/>
                </a:cxn>
                <a:cxn ang="0">
                  <a:pos x="24" y="4"/>
                </a:cxn>
                <a:cxn ang="0">
                  <a:pos x="20" y="4"/>
                </a:cxn>
                <a:cxn ang="0">
                  <a:pos x="18" y="4"/>
                </a:cxn>
                <a:cxn ang="0">
                  <a:pos x="16" y="6"/>
                </a:cxn>
                <a:cxn ang="0">
                  <a:pos x="16" y="8"/>
                </a:cxn>
                <a:cxn ang="0">
                  <a:pos x="14" y="8"/>
                </a:cxn>
                <a:cxn ang="0">
                  <a:pos x="12" y="10"/>
                </a:cxn>
                <a:cxn ang="0">
                  <a:pos x="12" y="14"/>
                </a:cxn>
                <a:cxn ang="0">
                  <a:pos x="4" y="22"/>
                </a:cxn>
                <a:cxn ang="0">
                  <a:pos x="2" y="28"/>
                </a:cxn>
                <a:cxn ang="0">
                  <a:pos x="0" y="32"/>
                </a:cxn>
                <a:cxn ang="0">
                  <a:pos x="2" y="32"/>
                </a:cxn>
                <a:cxn ang="0">
                  <a:pos x="2" y="32"/>
                </a:cxn>
              </a:cxnLst>
              <a:rect l="0" t="0" r="r" b="b"/>
              <a:pathLst>
                <a:path w="56" h="72">
                  <a:moveTo>
                    <a:pt x="2" y="32"/>
                  </a:moveTo>
                  <a:lnTo>
                    <a:pt x="2" y="32"/>
                  </a:lnTo>
                  <a:lnTo>
                    <a:pt x="4" y="36"/>
                  </a:lnTo>
                  <a:lnTo>
                    <a:pt x="6" y="38"/>
                  </a:lnTo>
                  <a:lnTo>
                    <a:pt x="10" y="44"/>
                  </a:lnTo>
                  <a:lnTo>
                    <a:pt x="12" y="44"/>
                  </a:lnTo>
                  <a:lnTo>
                    <a:pt x="12" y="46"/>
                  </a:lnTo>
                  <a:lnTo>
                    <a:pt x="20" y="54"/>
                  </a:lnTo>
                  <a:lnTo>
                    <a:pt x="22" y="54"/>
                  </a:lnTo>
                  <a:lnTo>
                    <a:pt x="24" y="58"/>
                  </a:lnTo>
                  <a:lnTo>
                    <a:pt x="36" y="68"/>
                  </a:lnTo>
                  <a:lnTo>
                    <a:pt x="42" y="68"/>
                  </a:lnTo>
                  <a:lnTo>
                    <a:pt x="44" y="70"/>
                  </a:lnTo>
                  <a:lnTo>
                    <a:pt x="46" y="72"/>
                  </a:lnTo>
                  <a:lnTo>
                    <a:pt x="50" y="72"/>
                  </a:lnTo>
                  <a:lnTo>
                    <a:pt x="52" y="68"/>
                  </a:lnTo>
                  <a:lnTo>
                    <a:pt x="50" y="64"/>
                  </a:lnTo>
                  <a:lnTo>
                    <a:pt x="52" y="62"/>
                  </a:lnTo>
                  <a:lnTo>
                    <a:pt x="54" y="58"/>
                  </a:lnTo>
                  <a:lnTo>
                    <a:pt x="54" y="56"/>
                  </a:lnTo>
                  <a:lnTo>
                    <a:pt x="56" y="52"/>
                  </a:lnTo>
                  <a:lnTo>
                    <a:pt x="54" y="52"/>
                  </a:lnTo>
                  <a:lnTo>
                    <a:pt x="52" y="52"/>
                  </a:lnTo>
                  <a:lnTo>
                    <a:pt x="50" y="50"/>
                  </a:lnTo>
                  <a:lnTo>
                    <a:pt x="48" y="44"/>
                  </a:lnTo>
                  <a:lnTo>
                    <a:pt x="46" y="40"/>
                  </a:lnTo>
                  <a:lnTo>
                    <a:pt x="44" y="36"/>
                  </a:lnTo>
                  <a:lnTo>
                    <a:pt x="34" y="34"/>
                  </a:lnTo>
                  <a:lnTo>
                    <a:pt x="38" y="30"/>
                  </a:lnTo>
                  <a:lnTo>
                    <a:pt x="42" y="24"/>
                  </a:lnTo>
                  <a:lnTo>
                    <a:pt x="42" y="20"/>
                  </a:lnTo>
                  <a:lnTo>
                    <a:pt x="42" y="18"/>
                  </a:lnTo>
                  <a:lnTo>
                    <a:pt x="40" y="14"/>
                  </a:lnTo>
                  <a:lnTo>
                    <a:pt x="40" y="12"/>
                  </a:lnTo>
                  <a:lnTo>
                    <a:pt x="38" y="10"/>
                  </a:lnTo>
                  <a:lnTo>
                    <a:pt x="36" y="12"/>
                  </a:lnTo>
                  <a:lnTo>
                    <a:pt x="30" y="20"/>
                  </a:lnTo>
                  <a:lnTo>
                    <a:pt x="26" y="18"/>
                  </a:lnTo>
                  <a:lnTo>
                    <a:pt x="28" y="14"/>
                  </a:lnTo>
                  <a:lnTo>
                    <a:pt x="30" y="10"/>
                  </a:lnTo>
                  <a:lnTo>
                    <a:pt x="30" y="8"/>
                  </a:lnTo>
                  <a:lnTo>
                    <a:pt x="26" y="0"/>
                  </a:lnTo>
                  <a:lnTo>
                    <a:pt x="26" y="0"/>
                  </a:lnTo>
                  <a:lnTo>
                    <a:pt x="24" y="4"/>
                  </a:lnTo>
                  <a:lnTo>
                    <a:pt x="20" y="4"/>
                  </a:lnTo>
                  <a:lnTo>
                    <a:pt x="18" y="4"/>
                  </a:lnTo>
                  <a:lnTo>
                    <a:pt x="16" y="6"/>
                  </a:lnTo>
                  <a:lnTo>
                    <a:pt x="16" y="8"/>
                  </a:lnTo>
                  <a:lnTo>
                    <a:pt x="14" y="8"/>
                  </a:lnTo>
                  <a:lnTo>
                    <a:pt x="12" y="10"/>
                  </a:lnTo>
                  <a:lnTo>
                    <a:pt x="12" y="14"/>
                  </a:lnTo>
                  <a:lnTo>
                    <a:pt x="4" y="22"/>
                  </a:lnTo>
                  <a:lnTo>
                    <a:pt x="2" y="28"/>
                  </a:lnTo>
                  <a:lnTo>
                    <a:pt x="0" y="32"/>
                  </a:lnTo>
                  <a:lnTo>
                    <a:pt x="2" y="32"/>
                  </a:lnTo>
                  <a:lnTo>
                    <a:pt x="2" y="3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5" name="Freeform 298">
              <a:extLst>
                <a:ext uri="{FF2B5EF4-FFF2-40B4-BE49-F238E27FC236}">
                  <a16:creationId xmlns:a16="http://schemas.microsoft.com/office/drawing/2014/main" id="{46DAF12B-18B6-4540-B727-C23508FBF3C7}"/>
                </a:ext>
              </a:extLst>
            </p:cNvPr>
            <p:cNvSpPr>
              <a:spLocks/>
            </p:cNvSpPr>
            <p:nvPr/>
          </p:nvSpPr>
          <p:spPr bwMode="auto">
            <a:xfrm>
              <a:off x="3627155" y="4016826"/>
              <a:ext cx="33665" cy="46613"/>
            </a:xfrm>
            <a:custGeom>
              <a:avLst/>
              <a:gdLst/>
              <a:ahLst/>
              <a:cxnLst>
                <a:cxn ang="0">
                  <a:pos x="14" y="4"/>
                </a:cxn>
                <a:cxn ang="0">
                  <a:pos x="14" y="4"/>
                </a:cxn>
                <a:cxn ang="0">
                  <a:pos x="12" y="6"/>
                </a:cxn>
                <a:cxn ang="0">
                  <a:pos x="10" y="12"/>
                </a:cxn>
                <a:cxn ang="0">
                  <a:pos x="8" y="12"/>
                </a:cxn>
                <a:cxn ang="0">
                  <a:pos x="6" y="14"/>
                </a:cxn>
                <a:cxn ang="0">
                  <a:pos x="6" y="20"/>
                </a:cxn>
                <a:cxn ang="0">
                  <a:pos x="6" y="28"/>
                </a:cxn>
                <a:cxn ang="0">
                  <a:pos x="2" y="28"/>
                </a:cxn>
                <a:cxn ang="0">
                  <a:pos x="0" y="32"/>
                </a:cxn>
                <a:cxn ang="0">
                  <a:pos x="0" y="36"/>
                </a:cxn>
                <a:cxn ang="0">
                  <a:pos x="4" y="36"/>
                </a:cxn>
                <a:cxn ang="0">
                  <a:pos x="6" y="36"/>
                </a:cxn>
                <a:cxn ang="0">
                  <a:pos x="8" y="34"/>
                </a:cxn>
                <a:cxn ang="0">
                  <a:pos x="10" y="34"/>
                </a:cxn>
                <a:cxn ang="0">
                  <a:pos x="14" y="28"/>
                </a:cxn>
                <a:cxn ang="0">
                  <a:pos x="16" y="28"/>
                </a:cxn>
                <a:cxn ang="0">
                  <a:pos x="18" y="26"/>
                </a:cxn>
                <a:cxn ang="0">
                  <a:pos x="18" y="22"/>
                </a:cxn>
                <a:cxn ang="0">
                  <a:pos x="20" y="18"/>
                </a:cxn>
                <a:cxn ang="0">
                  <a:pos x="24" y="12"/>
                </a:cxn>
                <a:cxn ang="0">
                  <a:pos x="26" y="4"/>
                </a:cxn>
                <a:cxn ang="0">
                  <a:pos x="26" y="2"/>
                </a:cxn>
                <a:cxn ang="0">
                  <a:pos x="24" y="2"/>
                </a:cxn>
                <a:cxn ang="0">
                  <a:pos x="20" y="0"/>
                </a:cxn>
                <a:cxn ang="0">
                  <a:pos x="18" y="0"/>
                </a:cxn>
                <a:cxn ang="0">
                  <a:pos x="16" y="0"/>
                </a:cxn>
                <a:cxn ang="0">
                  <a:pos x="14" y="4"/>
                </a:cxn>
                <a:cxn ang="0">
                  <a:pos x="14" y="4"/>
                </a:cxn>
              </a:cxnLst>
              <a:rect l="0" t="0" r="r" b="b"/>
              <a:pathLst>
                <a:path w="26" h="36">
                  <a:moveTo>
                    <a:pt x="14" y="4"/>
                  </a:moveTo>
                  <a:lnTo>
                    <a:pt x="14" y="4"/>
                  </a:lnTo>
                  <a:lnTo>
                    <a:pt x="12" y="6"/>
                  </a:lnTo>
                  <a:lnTo>
                    <a:pt x="10" y="12"/>
                  </a:lnTo>
                  <a:lnTo>
                    <a:pt x="8" y="12"/>
                  </a:lnTo>
                  <a:lnTo>
                    <a:pt x="6" y="14"/>
                  </a:lnTo>
                  <a:lnTo>
                    <a:pt x="6" y="20"/>
                  </a:lnTo>
                  <a:lnTo>
                    <a:pt x="6" y="28"/>
                  </a:lnTo>
                  <a:lnTo>
                    <a:pt x="2" y="28"/>
                  </a:lnTo>
                  <a:lnTo>
                    <a:pt x="0" y="32"/>
                  </a:lnTo>
                  <a:lnTo>
                    <a:pt x="0" y="36"/>
                  </a:lnTo>
                  <a:lnTo>
                    <a:pt x="4" y="36"/>
                  </a:lnTo>
                  <a:lnTo>
                    <a:pt x="6" y="36"/>
                  </a:lnTo>
                  <a:lnTo>
                    <a:pt x="8" y="34"/>
                  </a:lnTo>
                  <a:lnTo>
                    <a:pt x="10" y="34"/>
                  </a:lnTo>
                  <a:lnTo>
                    <a:pt x="14" y="28"/>
                  </a:lnTo>
                  <a:lnTo>
                    <a:pt x="16" y="28"/>
                  </a:lnTo>
                  <a:lnTo>
                    <a:pt x="18" y="26"/>
                  </a:lnTo>
                  <a:lnTo>
                    <a:pt x="18" y="22"/>
                  </a:lnTo>
                  <a:lnTo>
                    <a:pt x="20" y="18"/>
                  </a:lnTo>
                  <a:lnTo>
                    <a:pt x="24" y="12"/>
                  </a:lnTo>
                  <a:lnTo>
                    <a:pt x="26" y="4"/>
                  </a:lnTo>
                  <a:lnTo>
                    <a:pt x="26" y="2"/>
                  </a:lnTo>
                  <a:lnTo>
                    <a:pt x="24" y="2"/>
                  </a:lnTo>
                  <a:lnTo>
                    <a:pt x="20" y="0"/>
                  </a:lnTo>
                  <a:lnTo>
                    <a:pt x="18" y="0"/>
                  </a:lnTo>
                  <a:lnTo>
                    <a:pt x="16" y="0"/>
                  </a:lnTo>
                  <a:lnTo>
                    <a:pt x="14" y="4"/>
                  </a:lnTo>
                  <a:lnTo>
                    <a:pt x="14"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6" name="Freeform 299">
              <a:extLst>
                <a:ext uri="{FF2B5EF4-FFF2-40B4-BE49-F238E27FC236}">
                  <a16:creationId xmlns:a16="http://schemas.microsoft.com/office/drawing/2014/main" id="{C45075BC-0CF3-4703-A16F-C22AB426F802}"/>
                </a:ext>
              </a:extLst>
            </p:cNvPr>
            <p:cNvSpPr>
              <a:spLocks/>
            </p:cNvSpPr>
            <p:nvPr/>
          </p:nvSpPr>
          <p:spPr bwMode="auto">
            <a:xfrm>
              <a:off x="3627155" y="4016826"/>
              <a:ext cx="33665" cy="46613"/>
            </a:xfrm>
            <a:custGeom>
              <a:avLst/>
              <a:gdLst/>
              <a:ahLst/>
              <a:cxnLst>
                <a:cxn ang="0">
                  <a:pos x="14" y="4"/>
                </a:cxn>
                <a:cxn ang="0">
                  <a:pos x="14" y="4"/>
                </a:cxn>
                <a:cxn ang="0">
                  <a:pos x="12" y="6"/>
                </a:cxn>
                <a:cxn ang="0">
                  <a:pos x="10" y="12"/>
                </a:cxn>
                <a:cxn ang="0">
                  <a:pos x="8" y="12"/>
                </a:cxn>
                <a:cxn ang="0">
                  <a:pos x="6" y="14"/>
                </a:cxn>
                <a:cxn ang="0">
                  <a:pos x="6" y="20"/>
                </a:cxn>
                <a:cxn ang="0">
                  <a:pos x="6" y="28"/>
                </a:cxn>
                <a:cxn ang="0">
                  <a:pos x="2" y="28"/>
                </a:cxn>
                <a:cxn ang="0">
                  <a:pos x="0" y="32"/>
                </a:cxn>
                <a:cxn ang="0">
                  <a:pos x="0" y="36"/>
                </a:cxn>
                <a:cxn ang="0">
                  <a:pos x="4" y="36"/>
                </a:cxn>
                <a:cxn ang="0">
                  <a:pos x="6" y="36"/>
                </a:cxn>
                <a:cxn ang="0">
                  <a:pos x="8" y="34"/>
                </a:cxn>
                <a:cxn ang="0">
                  <a:pos x="10" y="34"/>
                </a:cxn>
                <a:cxn ang="0">
                  <a:pos x="14" y="28"/>
                </a:cxn>
                <a:cxn ang="0">
                  <a:pos x="16" y="28"/>
                </a:cxn>
                <a:cxn ang="0">
                  <a:pos x="18" y="26"/>
                </a:cxn>
                <a:cxn ang="0">
                  <a:pos x="18" y="22"/>
                </a:cxn>
                <a:cxn ang="0">
                  <a:pos x="20" y="18"/>
                </a:cxn>
                <a:cxn ang="0">
                  <a:pos x="24" y="12"/>
                </a:cxn>
                <a:cxn ang="0">
                  <a:pos x="26" y="4"/>
                </a:cxn>
                <a:cxn ang="0">
                  <a:pos x="26" y="2"/>
                </a:cxn>
                <a:cxn ang="0">
                  <a:pos x="24" y="2"/>
                </a:cxn>
                <a:cxn ang="0">
                  <a:pos x="20" y="0"/>
                </a:cxn>
                <a:cxn ang="0">
                  <a:pos x="18" y="0"/>
                </a:cxn>
                <a:cxn ang="0">
                  <a:pos x="16" y="0"/>
                </a:cxn>
                <a:cxn ang="0">
                  <a:pos x="14" y="4"/>
                </a:cxn>
                <a:cxn ang="0">
                  <a:pos x="14" y="4"/>
                </a:cxn>
              </a:cxnLst>
              <a:rect l="0" t="0" r="r" b="b"/>
              <a:pathLst>
                <a:path w="26" h="36">
                  <a:moveTo>
                    <a:pt x="14" y="4"/>
                  </a:moveTo>
                  <a:lnTo>
                    <a:pt x="14" y="4"/>
                  </a:lnTo>
                  <a:lnTo>
                    <a:pt x="12" y="6"/>
                  </a:lnTo>
                  <a:lnTo>
                    <a:pt x="10" y="12"/>
                  </a:lnTo>
                  <a:lnTo>
                    <a:pt x="8" y="12"/>
                  </a:lnTo>
                  <a:lnTo>
                    <a:pt x="6" y="14"/>
                  </a:lnTo>
                  <a:lnTo>
                    <a:pt x="6" y="20"/>
                  </a:lnTo>
                  <a:lnTo>
                    <a:pt x="6" y="28"/>
                  </a:lnTo>
                  <a:lnTo>
                    <a:pt x="2" y="28"/>
                  </a:lnTo>
                  <a:lnTo>
                    <a:pt x="0" y="32"/>
                  </a:lnTo>
                  <a:lnTo>
                    <a:pt x="0" y="36"/>
                  </a:lnTo>
                  <a:lnTo>
                    <a:pt x="4" y="36"/>
                  </a:lnTo>
                  <a:lnTo>
                    <a:pt x="6" y="36"/>
                  </a:lnTo>
                  <a:lnTo>
                    <a:pt x="8" y="34"/>
                  </a:lnTo>
                  <a:lnTo>
                    <a:pt x="10" y="34"/>
                  </a:lnTo>
                  <a:lnTo>
                    <a:pt x="14" y="28"/>
                  </a:lnTo>
                  <a:lnTo>
                    <a:pt x="16" y="28"/>
                  </a:lnTo>
                  <a:lnTo>
                    <a:pt x="18" y="26"/>
                  </a:lnTo>
                  <a:lnTo>
                    <a:pt x="18" y="22"/>
                  </a:lnTo>
                  <a:lnTo>
                    <a:pt x="20" y="18"/>
                  </a:lnTo>
                  <a:lnTo>
                    <a:pt x="24" y="12"/>
                  </a:lnTo>
                  <a:lnTo>
                    <a:pt x="26" y="4"/>
                  </a:lnTo>
                  <a:lnTo>
                    <a:pt x="26" y="2"/>
                  </a:lnTo>
                  <a:lnTo>
                    <a:pt x="24" y="2"/>
                  </a:lnTo>
                  <a:lnTo>
                    <a:pt x="20" y="0"/>
                  </a:lnTo>
                  <a:lnTo>
                    <a:pt x="18" y="0"/>
                  </a:lnTo>
                  <a:lnTo>
                    <a:pt x="16" y="0"/>
                  </a:lnTo>
                  <a:lnTo>
                    <a:pt x="14" y="4"/>
                  </a:lnTo>
                  <a:lnTo>
                    <a:pt x="14"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7" name="Freeform 300">
              <a:extLst>
                <a:ext uri="{FF2B5EF4-FFF2-40B4-BE49-F238E27FC236}">
                  <a16:creationId xmlns:a16="http://schemas.microsoft.com/office/drawing/2014/main" id="{1CE9E0E4-F44C-4B59-998D-2774EB8F430D}"/>
                </a:ext>
              </a:extLst>
            </p:cNvPr>
            <p:cNvSpPr>
              <a:spLocks/>
            </p:cNvSpPr>
            <p:nvPr/>
          </p:nvSpPr>
          <p:spPr bwMode="auto">
            <a:xfrm>
              <a:off x="4719971" y="4283556"/>
              <a:ext cx="116532" cy="178683"/>
            </a:xfrm>
            <a:custGeom>
              <a:avLst/>
              <a:gdLst/>
              <a:ahLst/>
              <a:cxnLst>
                <a:cxn ang="0">
                  <a:pos x="2" y="36"/>
                </a:cxn>
                <a:cxn ang="0">
                  <a:pos x="0" y="44"/>
                </a:cxn>
                <a:cxn ang="0">
                  <a:pos x="4" y="46"/>
                </a:cxn>
                <a:cxn ang="0">
                  <a:pos x="10" y="50"/>
                </a:cxn>
                <a:cxn ang="0">
                  <a:pos x="8" y="60"/>
                </a:cxn>
                <a:cxn ang="0">
                  <a:pos x="10" y="66"/>
                </a:cxn>
                <a:cxn ang="0">
                  <a:pos x="10" y="76"/>
                </a:cxn>
                <a:cxn ang="0">
                  <a:pos x="18" y="76"/>
                </a:cxn>
                <a:cxn ang="0">
                  <a:pos x="28" y="66"/>
                </a:cxn>
                <a:cxn ang="0">
                  <a:pos x="32" y="70"/>
                </a:cxn>
                <a:cxn ang="0">
                  <a:pos x="40" y="76"/>
                </a:cxn>
                <a:cxn ang="0">
                  <a:pos x="52" y="84"/>
                </a:cxn>
                <a:cxn ang="0">
                  <a:pos x="52" y="98"/>
                </a:cxn>
                <a:cxn ang="0">
                  <a:pos x="58" y="104"/>
                </a:cxn>
                <a:cxn ang="0">
                  <a:pos x="60" y="114"/>
                </a:cxn>
                <a:cxn ang="0">
                  <a:pos x="60" y="122"/>
                </a:cxn>
                <a:cxn ang="0">
                  <a:pos x="54" y="130"/>
                </a:cxn>
                <a:cxn ang="0">
                  <a:pos x="64" y="134"/>
                </a:cxn>
                <a:cxn ang="0">
                  <a:pos x="72" y="136"/>
                </a:cxn>
                <a:cxn ang="0">
                  <a:pos x="76" y="124"/>
                </a:cxn>
                <a:cxn ang="0">
                  <a:pos x="84" y="130"/>
                </a:cxn>
                <a:cxn ang="0">
                  <a:pos x="90" y="124"/>
                </a:cxn>
                <a:cxn ang="0">
                  <a:pos x="88" y="108"/>
                </a:cxn>
                <a:cxn ang="0">
                  <a:pos x="80" y="98"/>
                </a:cxn>
                <a:cxn ang="0">
                  <a:pos x="72" y="90"/>
                </a:cxn>
                <a:cxn ang="0">
                  <a:pos x="66" y="80"/>
                </a:cxn>
                <a:cxn ang="0">
                  <a:pos x="56" y="68"/>
                </a:cxn>
                <a:cxn ang="0">
                  <a:pos x="48" y="54"/>
                </a:cxn>
                <a:cxn ang="0">
                  <a:pos x="52" y="46"/>
                </a:cxn>
                <a:cxn ang="0">
                  <a:pos x="60" y="40"/>
                </a:cxn>
                <a:cxn ang="0">
                  <a:pos x="54" y="28"/>
                </a:cxn>
                <a:cxn ang="0">
                  <a:pos x="46" y="30"/>
                </a:cxn>
                <a:cxn ang="0">
                  <a:pos x="40" y="24"/>
                </a:cxn>
                <a:cxn ang="0">
                  <a:pos x="30" y="16"/>
                </a:cxn>
                <a:cxn ang="0">
                  <a:pos x="24" y="2"/>
                </a:cxn>
                <a:cxn ang="0">
                  <a:pos x="16" y="6"/>
                </a:cxn>
                <a:cxn ang="0">
                  <a:pos x="20" y="24"/>
                </a:cxn>
                <a:cxn ang="0">
                  <a:pos x="8" y="30"/>
                </a:cxn>
              </a:cxnLst>
              <a:rect l="0" t="0" r="r" b="b"/>
              <a:pathLst>
                <a:path w="90" h="138">
                  <a:moveTo>
                    <a:pt x="8" y="30"/>
                  </a:moveTo>
                  <a:lnTo>
                    <a:pt x="2" y="36"/>
                  </a:lnTo>
                  <a:lnTo>
                    <a:pt x="2" y="42"/>
                  </a:lnTo>
                  <a:lnTo>
                    <a:pt x="0" y="44"/>
                  </a:lnTo>
                  <a:lnTo>
                    <a:pt x="0" y="46"/>
                  </a:lnTo>
                  <a:lnTo>
                    <a:pt x="4" y="46"/>
                  </a:lnTo>
                  <a:lnTo>
                    <a:pt x="8" y="46"/>
                  </a:lnTo>
                  <a:lnTo>
                    <a:pt x="10" y="50"/>
                  </a:lnTo>
                  <a:lnTo>
                    <a:pt x="6" y="58"/>
                  </a:lnTo>
                  <a:lnTo>
                    <a:pt x="8" y="60"/>
                  </a:lnTo>
                  <a:lnTo>
                    <a:pt x="8" y="64"/>
                  </a:lnTo>
                  <a:lnTo>
                    <a:pt x="10" y="66"/>
                  </a:lnTo>
                  <a:lnTo>
                    <a:pt x="12" y="72"/>
                  </a:lnTo>
                  <a:lnTo>
                    <a:pt x="10" y="76"/>
                  </a:lnTo>
                  <a:lnTo>
                    <a:pt x="14" y="78"/>
                  </a:lnTo>
                  <a:lnTo>
                    <a:pt x="18" y="76"/>
                  </a:lnTo>
                  <a:lnTo>
                    <a:pt x="20" y="72"/>
                  </a:lnTo>
                  <a:lnTo>
                    <a:pt x="28" y="66"/>
                  </a:lnTo>
                  <a:lnTo>
                    <a:pt x="32" y="68"/>
                  </a:lnTo>
                  <a:lnTo>
                    <a:pt x="32" y="70"/>
                  </a:lnTo>
                  <a:lnTo>
                    <a:pt x="34" y="72"/>
                  </a:lnTo>
                  <a:lnTo>
                    <a:pt x="40" y="76"/>
                  </a:lnTo>
                  <a:lnTo>
                    <a:pt x="46" y="76"/>
                  </a:lnTo>
                  <a:lnTo>
                    <a:pt x="52" y="84"/>
                  </a:lnTo>
                  <a:lnTo>
                    <a:pt x="52" y="90"/>
                  </a:lnTo>
                  <a:lnTo>
                    <a:pt x="52" y="98"/>
                  </a:lnTo>
                  <a:lnTo>
                    <a:pt x="54" y="100"/>
                  </a:lnTo>
                  <a:lnTo>
                    <a:pt x="58" y="104"/>
                  </a:lnTo>
                  <a:lnTo>
                    <a:pt x="60" y="108"/>
                  </a:lnTo>
                  <a:lnTo>
                    <a:pt x="60" y="114"/>
                  </a:lnTo>
                  <a:lnTo>
                    <a:pt x="62" y="116"/>
                  </a:lnTo>
                  <a:lnTo>
                    <a:pt x="60" y="122"/>
                  </a:lnTo>
                  <a:lnTo>
                    <a:pt x="58" y="126"/>
                  </a:lnTo>
                  <a:lnTo>
                    <a:pt x="54" y="130"/>
                  </a:lnTo>
                  <a:lnTo>
                    <a:pt x="62" y="132"/>
                  </a:lnTo>
                  <a:lnTo>
                    <a:pt x="64" y="134"/>
                  </a:lnTo>
                  <a:lnTo>
                    <a:pt x="68" y="138"/>
                  </a:lnTo>
                  <a:lnTo>
                    <a:pt x="72" y="136"/>
                  </a:lnTo>
                  <a:lnTo>
                    <a:pt x="72" y="130"/>
                  </a:lnTo>
                  <a:lnTo>
                    <a:pt x="76" y="124"/>
                  </a:lnTo>
                  <a:lnTo>
                    <a:pt x="80" y="126"/>
                  </a:lnTo>
                  <a:lnTo>
                    <a:pt x="84" y="130"/>
                  </a:lnTo>
                  <a:lnTo>
                    <a:pt x="90" y="128"/>
                  </a:lnTo>
                  <a:lnTo>
                    <a:pt x="90" y="124"/>
                  </a:lnTo>
                  <a:lnTo>
                    <a:pt x="90" y="114"/>
                  </a:lnTo>
                  <a:lnTo>
                    <a:pt x="88" y="108"/>
                  </a:lnTo>
                  <a:lnTo>
                    <a:pt x="84" y="106"/>
                  </a:lnTo>
                  <a:lnTo>
                    <a:pt x="80" y="98"/>
                  </a:lnTo>
                  <a:lnTo>
                    <a:pt x="78" y="94"/>
                  </a:lnTo>
                  <a:lnTo>
                    <a:pt x="72" y="90"/>
                  </a:lnTo>
                  <a:lnTo>
                    <a:pt x="68" y="86"/>
                  </a:lnTo>
                  <a:lnTo>
                    <a:pt x="66" y="80"/>
                  </a:lnTo>
                  <a:lnTo>
                    <a:pt x="62" y="76"/>
                  </a:lnTo>
                  <a:lnTo>
                    <a:pt x="56" y="68"/>
                  </a:lnTo>
                  <a:lnTo>
                    <a:pt x="54" y="58"/>
                  </a:lnTo>
                  <a:lnTo>
                    <a:pt x="48" y="54"/>
                  </a:lnTo>
                  <a:lnTo>
                    <a:pt x="48" y="46"/>
                  </a:lnTo>
                  <a:lnTo>
                    <a:pt x="52" y="46"/>
                  </a:lnTo>
                  <a:lnTo>
                    <a:pt x="56" y="42"/>
                  </a:lnTo>
                  <a:lnTo>
                    <a:pt x="60" y="40"/>
                  </a:lnTo>
                  <a:lnTo>
                    <a:pt x="60" y="32"/>
                  </a:lnTo>
                  <a:lnTo>
                    <a:pt x="54"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8" y="30"/>
                  </a:lnTo>
                  <a:lnTo>
                    <a:pt x="8" y="3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8" name="Freeform 301">
              <a:extLst>
                <a:ext uri="{FF2B5EF4-FFF2-40B4-BE49-F238E27FC236}">
                  <a16:creationId xmlns:a16="http://schemas.microsoft.com/office/drawing/2014/main" id="{0009666C-4FC8-47F9-A956-64225E1C3632}"/>
                </a:ext>
              </a:extLst>
            </p:cNvPr>
            <p:cNvSpPr>
              <a:spLocks/>
            </p:cNvSpPr>
            <p:nvPr/>
          </p:nvSpPr>
          <p:spPr bwMode="auto">
            <a:xfrm>
              <a:off x="4196870" y="3817426"/>
              <a:ext cx="186452" cy="88047"/>
            </a:xfrm>
            <a:custGeom>
              <a:avLst/>
              <a:gdLst/>
              <a:ahLst/>
              <a:cxnLst>
                <a:cxn ang="0">
                  <a:pos x="48" y="66"/>
                </a:cxn>
                <a:cxn ang="0">
                  <a:pos x="58" y="60"/>
                </a:cxn>
                <a:cxn ang="0">
                  <a:pos x="66" y="52"/>
                </a:cxn>
                <a:cxn ang="0">
                  <a:pos x="72" y="54"/>
                </a:cxn>
                <a:cxn ang="0">
                  <a:pos x="74" y="58"/>
                </a:cxn>
                <a:cxn ang="0">
                  <a:pos x="78" y="58"/>
                </a:cxn>
                <a:cxn ang="0">
                  <a:pos x="88" y="54"/>
                </a:cxn>
                <a:cxn ang="0">
                  <a:pos x="94" y="52"/>
                </a:cxn>
                <a:cxn ang="0">
                  <a:pos x="96" y="46"/>
                </a:cxn>
                <a:cxn ang="0">
                  <a:pos x="96" y="40"/>
                </a:cxn>
                <a:cxn ang="0">
                  <a:pos x="100" y="36"/>
                </a:cxn>
                <a:cxn ang="0">
                  <a:pos x="114" y="34"/>
                </a:cxn>
                <a:cxn ang="0">
                  <a:pos x="116" y="32"/>
                </a:cxn>
                <a:cxn ang="0">
                  <a:pos x="118" y="26"/>
                </a:cxn>
                <a:cxn ang="0">
                  <a:pos x="126" y="24"/>
                </a:cxn>
                <a:cxn ang="0">
                  <a:pos x="138" y="14"/>
                </a:cxn>
                <a:cxn ang="0">
                  <a:pos x="136" y="8"/>
                </a:cxn>
                <a:cxn ang="0">
                  <a:pos x="128" y="6"/>
                </a:cxn>
                <a:cxn ang="0">
                  <a:pos x="120" y="0"/>
                </a:cxn>
                <a:cxn ang="0">
                  <a:pos x="108" y="0"/>
                </a:cxn>
                <a:cxn ang="0">
                  <a:pos x="88" y="4"/>
                </a:cxn>
                <a:cxn ang="0">
                  <a:pos x="78" y="8"/>
                </a:cxn>
                <a:cxn ang="0">
                  <a:pos x="74" y="4"/>
                </a:cxn>
                <a:cxn ang="0">
                  <a:pos x="70" y="2"/>
                </a:cxn>
                <a:cxn ang="0">
                  <a:pos x="66" y="0"/>
                </a:cxn>
                <a:cxn ang="0">
                  <a:pos x="60" y="4"/>
                </a:cxn>
                <a:cxn ang="0">
                  <a:pos x="54" y="8"/>
                </a:cxn>
                <a:cxn ang="0">
                  <a:pos x="50" y="14"/>
                </a:cxn>
                <a:cxn ang="0">
                  <a:pos x="46" y="10"/>
                </a:cxn>
                <a:cxn ang="0">
                  <a:pos x="36" y="6"/>
                </a:cxn>
                <a:cxn ang="0">
                  <a:pos x="24" y="6"/>
                </a:cxn>
                <a:cxn ang="0">
                  <a:pos x="18" y="14"/>
                </a:cxn>
                <a:cxn ang="0">
                  <a:pos x="24" y="14"/>
                </a:cxn>
                <a:cxn ang="0">
                  <a:pos x="24" y="18"/>
                </a:cxn>
                <a:cxn ang="0">
                  <a:pos x="14" y="26"/>
                </a:cxn>
                <a:cxn ang="0">
                  <a:pos x="14" y="26"/>
                </a:cxn>
                <a:cxn ang="0">
                  <a:pos x="18" y="30"/>
                </a:cxn>
                <a:cxn ang="0">
                  <a:pos x="22" y="30"/>
                </a:cxn>
                <a:cxn ang="0">
                  <a:pos x="28" y="30"/>
                </a:cxn>
                <a:cxn ang="0">
                  <a:pos x="26" y="34"/>
                </a:cxn>
                <a:cxn ang="0">
                  <a:pos x="32" y="36"/>
                </a:cxn>
                <a:cxn ang="0">
                  <a:pos x="42" y="40"/>
                </a:cxn>
                <a:cxn ang="0">
                  <a:pos x="42" y="42"/>
                </a:cxn>
                <a:cxn ang="0">
                  <a:pos x="34" y="52"/>
                </a:cxn>
                <a:cxn ang="0">
                  <a:pos x="26" y="54"/>
                </a:cxn>
                <a:cxn ang="0">
                  <a:pos x="20" y="58"/>
                </a:cxn>
                <a:cxn ang="0">
                  <a:pos x="18" y="56"/>
                </a:cxn>
                <a:cxn ang="0">
                  <a:pos x="14" y="56"/>
                </a:cxn>
                <a:cxn ang="0">
                  <a:pos x="8" y="56"/>
                </a:cxn>
                <a:cxn ang="0">
                  <a:pos x="4" y="64"/>
                </a:cxn>
                <a:cxn ang="0">
                  <a:pos x="14" y="64"/>
                </a:cxn>
                <a:cxn ang="0">
                  <a:pos x="18" y="66"/>
                </a:cxn>
                <a:cxn ang="0">
                  <a:pos x="24" y="64"/>
                </a:cxn>
                <a:cxn ang="0">
                  <a:pos x="28" y="68"/>
                </a:cxn>
                <a:cxn ang="0">
                  <a:pos x="32" y="68"/>
                </a:cxn>
                <a:cxn ang="0">
                  <a:pos x="38" y="68"/>
                </a:cxn>
                <a:cxn ang="0">
                  <a:pos x="48" y="66"/>
                </a:cxn>
              </a:cxnLst>
              <a:rect l="0" t="0" r="r" b="b"/>
              <a:pathLst>
                <a:path w="144" h="68">
                  <a:moveTo>
                    <a:pt x="48" y="66"/>
                  </a:moveTo>
                  <a:lnTo>
                    <a:pt x="48" y="66"/>
                  </a:lnTo>
                  <a:lnTo>
                    <a:pt x="52" y="62"/>
                  </a:lnTo>
                  <a:lnTo>
                    <a:pt x="58" y="60"/>
                  </a:lnTo>
                  <a:lnTo>
                    <a:pt x="62" y="56"/>
                  </a:lnTo>
                  <a:lnTo>
                    <a:pt x="66" y="52"/>
                  </a:lnTo>
                  <a:lnTo>
                    <a:pt x="70" y="52"/>
                  </a:lnTo>
                  <a:lnTo>
                    <a:pt x="72" y="54"/>
                  </a:lnTo>
                  <a:lnTo>
                    <a:pt x="72" y="56"/>
                  </a:lnTo>
                  <a:lnTo>
                    <a:pt x="74" y="58"/>
                  </a:lnTo>
                  <a:lnTo>
                    <a:pt x="76" y="58"/>
                  </a:lnTo>
                  <a:lnTo>
                    <a:pt x="78" y="58"/>
                  </a:lnTo>
                  <a:lnTo>
                    <a:pt x="82" y="56"/>
                  </a:lnTo>
                  <a:lnTo>
                    <a:pt x="88" y="54"/>
                  </a:lnTo>
                  <a:lnTo>
                    <a:pt x="90" y="54"/>
                  </a:lnTo>
                  <a:lnTo>
                    <a:pt x="94" y="52"/>
                  </a:lnTo>
                  <a:lnTo>
                    <a:pt x="94" y="50"/>
                  </a:lnTo>
                  <a:lnTo>
                    <a:pt x="96" y="46"/>
                  </a:lnTo>
                  <a:lnTo>
                    <a:pt x="96" y="44"/>
                  </a:lnTo>
                  <a:lnTo>
                    <a:pt x="96" y="40"/>
                  </a:lnTo>
                  <a:lnTo>
                    <a:pt x="98" y="38"/>
                  </a:lnTo>
                  <a:lnTo>
                    <a:pt x="100" y="36"/>
                  </a:lnTo>
                  <a:lnTo>
                    <a:pt x="108" y="34"/>
                  </a:lnTo>
                  <a:lnTo>
                    <a:pt x="114" y="34"/>
                  </a:lnTo>
                  <a:lnTo>
                    <a:pt x="116" y="34"/>
                  </a:lnTo>
                  <a:lnTo>
                    <a:pt x="116" y="32"/>
                  </a:lnTo>
                  <a:lnTo>
                    <a:pt x="116" y="30"/>
                  </a:lnTo>
                  <a:lnTo>
                    <a:pt x="118" y="26"/>
                  </a:lnTo>
                  <a:lnTo>
                    <a:pt x="122" y="24"/>
                  </a:lnTo>
                  <a:lnTo>
                    <a:pt x="126" y="24"/>
                  </a:lnTo>
                  <a:lnTo>
                    <a:pt x="132" y="18"/>
                  </a:lnTo>
                  <a:lnTo>
                    <a:pt x="138" y="14"/>
                  </a:lnTo>
                  <a:lnTo>
                    <a:pt x="144" y="12"/>
                  </a:lnTo>
                  <a:lnTo>
                    <a:pt x="136" y="8"/>
                  </a:lnTo>
                  <a:lnTo>
                    <a:pt x="132" y="8"/>
                  </a:lnTo>
                  <a:lnTo>
                    <a:pt x="128" y="6"/>
                  </a:lnTo>
                  <a:lnTo>
                    <a:pt x="126" y="2"/>
                  </a:lnTo>
                  <a:lnTo>
                    <a:pt x="120" y="0"/>
                  </a:lnTo>
                  <a:lnTo>
                    <a:pt x="114" y="0"/>
                  </a:lnTo>
                  <a:lnTo>
                    <a:pt x="108" y="0"/>
                  </a:lnTo>
                  <a:lnTo>
                    <a:pt x="94" y="0"/>
                  </a:lnTo>
                  <a:lnTo>
                    <a:pt x="88" y="4"/>
                  </a:lnTo>
                  <a:lnTo>
                    <a:pt x="80" y="8"/>
                  </a:lnTo>
                  <a:lnTo>
                    <a:pt x="78" y="8"/>
                  </a:lnTo>
                  <a:lnTo>
                    <a:pt x="76" y="6"/>
                  </a:lnTo>
                  <a:lnTo>
                    <a:pt x="74" y="4"/>
                  </a:lnTo>
                  <a:lnTo>
                    <a:pt x="70" y="4"/>
                  </a:lnTo>
                  <a:lnTo>
                    <a:pt x="70" y="2"/>
                  </a:lnTo>
                  <a:lnTo>
                    <a:pt x="68" y="0"/>
                  </a:lnTo>
                  <a:lnTo>
                    <a:pt x="66" y="0"/>
                  </a:lnTo>
                  <a:lnTo>
                    <a:pt x="62" y="4"/>
                  </a:lnTo>
                  <a:lnTo>
                    <a:pt x="60" y="4"/>
                  </a:lnTo>
                  <a:lnTo>
                    <a:pt x="56" y="6"/>
                  </a:lnTo>
                  <a:lnTo>
                    <a:pt x="54" y="8"/>
                  </a:lnTo>
                  <a:lnTo>
                    <a:pt x="52" y="10"/>
                  </a:lnTo>
                  <a:lnTo>
                    <a:pt x="50" y="14"/>
                  </a:lnTo>
                  <a:lnTo>
                    <a:pt x="48" y="14"/>
                  </a:lnTo>
                  <a:lnTo>
                    <a:pt x="46" y="10"/>
                  </a:lnTo>
                  <a:lnTo>
                    <a:pt x="40" y="6"/>
                  </a:lnTo>
                  <a:lnTo>
                    <a:pt x="36" y="6"/>
                  </a:lnTo>
                  <a:lnTo>
                    <a:pt x="28" y="6"/>
                  </a:lnTo>
                  <a:lnTo>
                    <a:pt x="24" y="6"/>
                  </a:lnTo>
                  <a:lnTo>
                    <a:pt x="22" y="10"/>
                  </a:lnTo>
                  <a:lnTo>
                    <a:pt x="18" y="14"/>
                  </a:lnTo>
                  <a:lnTo>
                    <a:pt x="22" y="12"/>
                  </a:lnTo>
                  <a:lnTo>
                    <a:pt x="24" y="14"/>
                  </a:lnTo>
                  <a:lnTo>
                    <a:pt x="26" y="16"/>
                  </a:lnTo>
                  <a:lnTo>
                    <a:pt x="24" y="18"/>
                  </a:lnTo>
                  <a:lnTo>
                    <a:pt x="18" y="24"/>
                  </a:lnTo>
                  <a:lnTo>
                    <a:pt x="14" y="26"/>
                  </a:lnTo>
                  <a:lnTo>
                    <a:pt x="12" y="26"/>
                  </a:lnTo>
                  <a:lnTo>
                    <a:pt x="14" y="26"/>
                  </a:lnTo>
                  <a:lnTo>
                    <a:pt x="16" y="28"/>
                  </a:lnTo>
                  <a:lnTo>
                    <a:pt x="18" y="30"/>
                  </a:lnTo>
                  <a:lnTo>
                    <a:pt x="20" y="32"/>
                  </a:lnTo>
                  <a:lnTo>
                    <a:pt x="22" y="30"/>
                  </a:lnTo>
                  <a:lnTo>
                    <a:pt x="26" y="30"/>
                  </a:lnTo>
                  <a:lnTo>
                    <a:pt x="28" y="30"/>
                  </a:lnTo>
                  <a:lnTo>
                    <a:pt x="28" y="32"/>
                  </a:lnTo>
                  <a:lnTo>
                    <a:pt x="26" y="34"/>
                  </a:lnTo>
                  <a:lnTo>
                    <a:pt x="30" y="36"/>
                  </a:lnTo>
                  <a:lnTo>
                    <a:pt x="32" y="36"/>
                  </a:lnTo>
                  <a:lnTo>
                    <a:pt x="38" y="38"/>
                  </a:lnTo>
                  <a:lnTo>
                    <a:pt x="42" y="40"/>
                  </a:lnTo>
                  <a:lnTo>
                    <a:pt x="44" y="40"/>
                  </a:lnTo>
                  <a:lnTo>
                    <a:pt x="42" y="42"/>
                  </a:lnTo>
                  <a:lnTo>
                    <a:pt x="36" y="50"/>
                  </a:lnTo>
                  <a:lnTo>
                    <a:pt x="34" y="52"/>
                  </a:lnTo>
                  <a:lnTo>
                    <a:pt x="32" y="54"/>
                  </a:lnTo>
                  <a:lnTo>
                    <a:pt x="26" y="54"/>
                  </a:lnTo>
                  <a:lnTo>
                    <a:pt x="22" y="58"/>
                  </a:lnTo>
                  <a:lnTo>
                    <a:pt x="20" y="58"/>
                  </a:lnTo>
                  <a:lnTo>
                    <a:pt x="18" y="58"/>
                  </a:lnTo>
                  <a:lnTo>
                    <a:pt x="18" y="56"/>
                  </a:lnTo>
                  <a:lnTo>
                    <a:pt x="16" y="56"/>
                  </a:lnTo>
                  <a:lnTo>
                    <a:pt x="14" y="56"/>
                  </a:lnTo>
                  <a:lnTo>
                    <a:pt x="14" y="60"/>
                  </a:lnTo>
                  <a:lnTo>
                    <a:pt x="8" y="56"/>
                  </a:lnTo>
                  <a:lnTo>
                    <a:pt x="0" y="60"/>
                  </a:lnTo>
                  <a:lnTo>
                    <a:pt x="4" y="64"/>
                  </a:lnTo>
                  <a:lnTo>
                    <a:pt x="14" y="62"/>
                  </a:lnTo>
                  <a:lnTo>
                    <a:pt x="14" y="64"/>
                  </a:lnTo>
                  <a:lnTo>
                    <a:pt x="16" y="66"/>
                  </a:lnTo>
                  <a:lnTo>
                    <a:pt x="18" y="66"/>
                  </a:lnTo>
                  <a:lnTo>
                    <a:pt x="22" y="64"/>
                  </a:lnTo>
                  <a:lnTo>
                    <a:pt x="24" y="64"/>
                  </a:lnTo>
                  <a:lnTo>
                    <a:pt x="26" y="66"/>
                  </a:lnTo>
                  <a:lnTo>
                    <a:pt x="28" y="68"/>
                  </a:lnTo>
                  <a:lnTo>
                    <a:pt x="30" y="68"/>
                  </a:lnTo>
                  <a:lnTo>
                    <a:pt x="32" y="68"/>
                  </a:lnTo>
                  <a:lnTo>
                    <a:pt x="34" y="68"/>
                  </a:lnTo>
                  <a:lnTo>
                    <a:pt x="38" y="68"/>
                  </a:lnTo>
                  <a:lnTo>
                    <a:pt x="44" y="66"/>
                  </a:lnTo>
                  <a:lnTo>
                    <a:pt x="48" y="66"/>
                  </a:lnTo>
                  <a:lnTo>
                    <a:pt x="48" y="6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39" name="Freeform 302">
              <a:extLst>
                <a:ext uri="{FF2B5EF4-FFF2-40B4-BE49-F238E27FC236}">
                  <a16:creationId xmlns:a16="http://schemas.microsoft.com/office/drawing/2014/main" id="{3F3E74AD-93D5-4EA0-BE6C-4EBA29FD0872}"/>
                </a:ext>
              </a:extLst>
            </p:cNvPr>
            <p:cNvSpPr>
              <a:spLocks/>
            </p:cNvSpPr>
            <p:nvPr/>
          </p:nvSpPr>
          <p:spPr bwMode="auto">
            <a:xfrm>
              <a:off x="3805838" y="4107463"/>
              <a:ext cx="44023" cy="36255"/>
            </a:xfrm>
            <a:custGeom>
              <a:avLst/>
              <a:gdLst/>
              <a:ahLst/>
              <a:cxnLst>
                <a:cxn ang="0">
                  <a:pos x="28" y="0"/>
                </a:cxn>
                <a:cxn ang="0">
                  <a:pos x="28" y="0"/>
                </a:cxn>
                <a:cxn ang="0">
                  <a:pos x="22" y="0"/>
                </a:cxn>
                <a:cxn ang="0">
                  <a:pos x="20" y="0"/>
                </a:cxn>
                <a:cxn ang="0">
                  <a:pos x="18" y="2"/>
                </a:cxn>
                <a:cxn ang="0">
                  <a:pos x="12" y="8"/>
                </a:cxn>
                <a:cxn ang="0">
                  <a:pos x="6" y="16"/>
                </a:cxn>
                <a:cxn ang="0">
                  <a:pos x="0" y="18"/>
                </a:cxn>
                <a:cxn ang="0">
                  <a:pos x="18" y="22"/>
                </a:cxn>
                <a:cxn ang="0">
                  <a:pos x="20" y="28"/>
                </a:cxn>
                <a:cxn ang="0">
                  <a:pos x="30" y="28"/>
                </a:cxn>
                <a:cxn ang="0">
                  <a:pos x="26" y="20"/>
                </a:cxn>
                <a:cxn ang="0">
                  <a:pos x="24" y="20"/>
                </a:cxn>
                <a:cxn ang="0">
                  <a:pos x="24" y="12"/>
                </a:cxn>
                <a:cxn ang="0">
                  <a:pos x="26" y="8"/>
                </a:cxn>
                <a:cxn ang="0">
                  <a:pos x="32" y="10"/>
                </a:cxn>
                <a:cxn ang="0">
                  <a:pos x="34" y="10"/>
                </a:cxn>
                <a:cxn ang="0">
                  <a:pos x="34" y="8"/>
                </a:cxn>
                <a:cxn ang="0">
                  <a:pos x="30" y="8"/>
                </a:cxn>
                <a:cxn ang="0">
                  <a:pos x="28" y="4"/>
                </a:cxn>
                <a:cxn ang="0">
                  <a:pos x="28" y="0"/>
                </a:cxn>
                <a:cxn ang="0">
                  <a:pos x="28" y="0"/>
                </a:cxn>
              </a:cxnLst>
              <a:rect l="0" t="0" r="r" b="b"/>
              <a:pathLst>
                <a:path w="34" h="28">
                  <a:moveTo>
                    <a:pt x="28" y="0"/>
                  </a:moveTo>
                  <a:lnTo>
                    <a:pt x="28" y="0"/>
                  </a:lnTo>
                  <a:lnTo>
                    <a:pt x="22" y="0"/>
                  </a:lnTo>
                  <a:lnTo>
                    <a:pt x="20" y="0"/>
                  </a:lnTo>
                  <a:lnTo>
                    <a:pt x="18" y="2"/>
                  </a:lnTo>
                  <a:lnTo>
                    <a:pt x="12" y="8"/>
                  </a:lnTo>
                  <a:lnTo>
                    <a:pt x="6" y="16"/>
                  </a:lnTo>
                  <a:lnTo>
                    <a:pt x="0" y="18"/>
                  </a:lnTo>
                  <a:lnTo>
                    <a:pt x="18" y="22"/>
                  </a:lnTo>
                  <a:lnTo>
                    <a:pt x="20" y="28"/>
                  </a:lnTo>
                  <a:lnTo>
                    <a:pt x="30" y="28"/>
                  </a:lnTo>
                  <a:lnTo>
                    <a:pt x="26" y="20"/>
                  </a:lnTo>
                  <a:lnTo>
                    <a:pt x="24" y="20"/>
                  </a:lnTo>
                  <a:lnTo>
                    <a:pt x="24" y="12"/>
                  </a:lnTo>
                  <a:lnTo>
                    <a:pt x="26" y="8"/>
                  </a:lnTo>
                  <a:lnTo>
                    <a:pt x="32" y="10"/>
                  </a:lnTo>
                  <a:lnTo>
                    <a:pt x="34" y="10"/>
                  </a:lnTo>
                  <a:lnTo>
                    <a:pt x="34" y="8"/>
                  </a:lnTo>
                  <a:lnTo>
                    <a:pt x="30" y="8"/>
                  </a:lnTo>
                  <a:lnTo>
                    <a:pt x="28" y="4"/>
                  </a:lnTo>
                  <a:lnTo>
                    <a:pt x="28" y="0"/>
                  </a:lnTo>
                  <a:lnTo>
                    <a:pt x="2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0" name="Freeform 303">
              <a:extLst>
                <a:ext uri="{FF2B5EF4-FFF2-40B4-BE49-F238E27FC236}">
                  <a16:creationId xmlns:a16="http://schemas.microsoft.com/office/drawing/2014/main" id="{C9C47D0F-28BC-49B6-A028-370FCD58B858}"/>
                </a:ext>
              </a:extLst>
            </p:cNvPr>
            <p:cNvSpPr>
              <a:spLocks/>
            </p:cNvSpPr>
            <p:nvPr/>
          </p:nvSpPr>
          <p:spPr bwMode="auto">
            <a:xfrm>
              <a:off x="3805838" y="4107463"/>
              <a:ext cx="44023" cy="36255"/>
            </a:xfrm>
            <a:custGeom>
              <a:avLst/>
              <a:gdLst/>
              <a:ahLst/>
              <a:cxnLst>
                <a:cxn ang="0">
                  <a:pos x="28" y="0"/>
                </a:cxn>
                <a:cxn ang="0">
                  <a:pos x="28" y="0"/>
                </a:cxn>
                <a:cxn ang="0">
                  <a:pos x="22" y="0"/>
                </a:cxn>
                <a:cxn ang="0">
                  <a:pos x="20" y="0"/>
                </a:cxn>
                <a:cxn ang="0">
                  <a:pos x="18" y="2"/>
                </a:cxn>
                <a:cxn ang="0">
                  <a:pos x="12" y="8"/>
                </a:cxn>
                <a:cxn ang="0">
                  <a:pos x="6" y="16"/>
                </a:cxn>
                <a:cxn ang="0">
                  <a:pos x="0" y="18"/>
                </a:cxn>
                <a:cxn ang="0">
                  <a:pos x="18" y="22"/>
                </a:cxn>
                <a:cxn ang="0">
                  <a:pos x="20" y="28"/>
                </a:cxn>
                <a:cxn ang="0">
                  <a:pos x="30" y="28"/>
                </a:cxn>
                <a:cxn ang="0">
                  <a:pos x="26" y="20"/>
                </a:cxn>
                <a:cxn ang="0">
                  <a:pos x="24" y="20"/>
                </a:cxn>
                <a:cxn ang="0">
                  <a:pos x="24" y="12"/>
                </a:cxn>
                <a:cxn ang="0">
                  <a:pos x="26" y="8"/>
                </a:cxn>
                <a:cxn ang="0">
                  <a:pos x="32" y="10"/>
                </a:cxn>
                <a:cxn ang="0">
                  <a:pos x="34" y="10"/>
                </a:cxn>
                <a:cxn ang="0">
                  <a:pos x="34" y="8"/>
                </a:cxn>
                <a:cxn ang="0">
                  <a:pos x="30" y="8"/>
                </a:cxn>
                <a:cxn ang="0">
                  <a:pos x="28" y="4"/>
                </a:cxn>
                <a:cxn ang="0">
                  <a:pos x="28" y="0"/>
                </a:cxn>
                <a:cxn ang="0">
                  <a:pos x="28" y="0"/>
                </a:cxn>
              </a:cxnLst>
              <a:rect l="0" t="0" r="r" b="b"/>
              <a:pathLst>
                <a:path w="34" h="28">
                  <a:moveTo>
                    <a:pt x="28" y="0"/>
                  </a:moveTo>
                  <a:lnTo>
                    <a:pt x="28" y="0"/>
                  </a:lnTo>
                  <a:lnTo>
                    <a:pt x="22" y="0"/>
                  </a:lnTo>
                  <a:lnTo>
                    <a:pt x="20" y="0"/>
                  </a:lnTo>
                  <a:lnTo>
                    <a:pt x="18" y="2"/>
                  </a:lnTo>
                  <a:lnTo>
                    <a:pt x="12" y="8"/>
                  </a:lnTo>
                  <a:lnTo>
                    <a:pt x="6" y="16"/>
                  </a:lnTo>
                  <a:lnTo>
                    <a:pt x="0" y="18"/>
                  </a:lnTo>
                  <a:lnTo>
                    <a:pt x="18" y="22"/>
                  </a:lnTo>
                  <a:lnTo>
                    <a:pt x="20" y="28"/>
                  </a:lnTo>
                  <a:lnTo>
                    <a:pt x="30" y="28"/>
                  </a:lnTo>
                  <a:lnTo>
                    <a:pt x="26" y="20"/>
                  </a:lnTo>
                  <a:lnTo>
                    <a:pt x="24" y="20"/>
                  </a:lnTo>
                  <a:lnTo>
                    <a:pt x="24" y="12"/>
                  </a:lnTo>
                  <a:lnTo>
                    <a:pt x="26" y="8"/>
                  </a:lnTo>
                  <a:lnTo>
                    <a:pt x="32" y="10"/>
                  </a:lnTo>
                  <a:lnTo>
                    <a:pt x="34" y="10"/>
                  </a:lnTo>
                  <a:lnTo>
                    <a:pt x="34" y="8"/>
                  </a:lnTo>
                  <a:lnTo>
                    <a:pt x="30" y="8"/>
                  </a:lnTo>
                  <a:lnTo>
                    <a:pt x="28" y="4"/>
                  </a:lnTo>
                  <a:lnTo>
                    <a:pt x="28" y="0"/>
                  </a:lnTo>
                  <a:lnTo>
                    <a:pt x="2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1" name="Freeform 304">
              <a:extLst>
                <a:ext uri="{FF2B5EF4-FFF2-40B4-BE49-F238E27FC236}">
                  <a16:creationId xmlns:a16="http://schemas.microsoft.com/office/drawing/2014/main" id="{90D2A9B3-B12A-4E6E-AE6C-7947BBC97B52}"/>
                </a:ext>
              </a:extLst>
            </p:cNvPr>
            <p:cNvSpPr>
              <a:spLocks/>
            </p:cNvSpPr>
            <p:nvPr/>
          </p:nvSpPr>
          <p:spPr bwMode="auto">
            <a:xfrm>
              <a:off x="3640103" y="4664229"/>
              <a:ext cx="18127" cy="41434"/>
            </a:xfrm>
            <a:custGeom>
              <a:avLst/>
              <a:gdLst/>
              <a:ahLst/>
              <a:cxnLst>
                <a:cxn ang="0">
                  <a:pos x="2" y="0"/>
                </a:cxn>
                <a:cxn ang="0">
                  <a:pos x="2" y="0"/>
                </a:cxn>
                <a:cxn ang="0">
                  <a:pos x="6" y="2"/>
                </a:cxn>
                <a:cxn ang="0">
                  <a:pos x="6" y="10"/>
                </a:cxn>
                <a:cxn ang="0">
                  <a:pos x="6" y="18"/>
                </a:cxn>
                <a:cxn ang="0">
                  <a:pos x="10" y="22"/>
                </a:cxn>
                <a:cxn ang="0">
                  <a:pos x="12" y="26"/>
                </a:cxn>
                <a:cxn ang="0">
                  <a:pos x="14" y="32"/>
                </a:cxn>
                <a:cxn ang="0">
                  <a:pos x="10" y="32"/>
                </a:cxn>
                <a:cxn ang="0">
                  <a:pos x="8" y="26"/>
                </a:cxn>
                <a:cxn ang="0">
                  <a:pos x="4" y="24"/>
                </a:cxn>
                <a:cxn ang="0">
                  <a:pos x="2" y="20"/>
                </a:cxn>
                <a:cxn ang="0">
                  <a:pos x="2" y="18"/>
                </a:cxn>
                <a:cxn ang="0">
                  <a:pos x="0" y="18"/>
                </a:cxn>
                <a:cxn ang="0">
                  <a:pos x="0" y="8"/>
                </a:cxn>
                <a:cxn ang="0">
                  <a:pos x="2" y="0"/>
                </a:cxn>
              </a:cxnLst>
              <a:rect l="0" t="0" r="r" b="b"/>
              <a:pathLst>
                <a:path w="14" h="32">
                  <a:moveTo>
                    <a:pt x="2" y="0"/>
                  </a:moveTo>
                  <a:lnTo>
                    <a:pt x="2" y="0"/>
                  </a:lnTo>
                  <a:lnTo>
                    <a:pt x="6" y="2"/>
                  </a:lnTo>
                  <a:lnTo>
                    <a:pt x="6" y="10"/>
                  </a:lnTo>
                  <a:lnTo>
                    <a:pt x="6" y="18"/>
                  </a:lnTo>
                  <a:lnTo>
                    <a:pt x="10" y="22"/>
                  </a:lnTo>
                  <a:lnTo>
                    <a:pt x="12" y="26"/>
                  </a:lnTo>
                  <a:lnTo>
                    <a:pt x="14" y="32"/>
                  </a:lnTo>
                  <a:lnTo>
                    <a:pt x="10" y="32"/>
                  </a:lnTo>
                  <a:lnTo>
                    <a:pt x="8" y="26"/>
                  </a:lnTo>
                  <a:lnTo>
                    <a:pt x="4" y="24"/>
                  </a:lnTo>
                  <a:lnTo>
                    <a:pt x="2" y="20"/>
                  </a:lnTo>
                  <a:lnTo>
                    <a:pt x="2" y="18"/>
                  </a:lnTo>
                  <a:lnTo>
                    <a:pt x="0" y="18"/>
                  </a:lnTo>
                  <a:lnTo>
                    <a:pt x="0" y="8"/>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2" name="Freeform 305">
              <a:extLst>
                <a:ext uri="{FF2B5EF4-FFF2-40B4-BE49-F238E27FC236}">
                  <a16:creationId xmlns:a16="http://schemas.microsoft.com/office/drawing/2014/main" id="{92E58FF0-33D5-4452-A054-C082190FF66F}"/>
                </a:ext>
              </a:extLst>
            </p:cNvPr>
            <p:cNvSpPr>
              <a:spLocks/>
            </p:cNvSpPr>
            <p:nvPr/>
          </p:nvSpPr>
          <p:spPr bwMode="auto">
            <a:xfrm>
              <a:off x="3640103" y="4664229"/>
              <a:ext cx="18127" cy="41434"/>
            </a:xfrm>
            <a:custGeom>
              <a:avLst/>
              <a:gdLst/>
              <a:ahLst/>
              <a:cxnLst>
                <a:cxn ang="0">
                  <a:pos x="2" y="0"/>
                </a:cxn>
                <a:cxn ang="0">
                  <a:pos x="2" y="0"/>
                </a:cxn>
                <a:cxn ang="0">
                  <a:pos x="6" y="2"/>
                </a:cxn>
                <a:cxn ang="0">
                  <a:pos x="6" y="10"/>
                </a:cxn>
                <a:cxn ang="0">
                  <a:pos x="6" y="18"/>
                </a:cxn>
                <a:cxn ang="0">
                  <a:pos x="10" y="22"/>
                </a:cxn>
                <a:cxn ang="0">
                  <a:pos x="12" y="26"/>
                </a:cxn>
                <a:cxn ang="0">
                  <a:pos x="14" y="32"/>
                </a:cxn>
                <a:cxn ang="0">
                  <a:pos x="10" y="32"/>
                </a:cxn>
                <a:cxn ang="0">
                  <a:pos x="8" y="26"/>
                </a:cxn>
                <a:cxn ang="0">
                  <a:pos x="4" y="24"/>
                </a:cxn>
                <a:cxn ang="0">
                  <a:pos x="2" y="20"/>
                </a:cxn>
                <a:cxn ang="0">
                  <a:pos x="2" y="18"/>
                </a:cxn>
                <a:cxn ang="0">
                  <a:pos x="0" y="18"/>
                </a:cxn>
                <a:cxn ang="0">
                  <a:pos x="0" y="8"/>
                </a:cxn>
                <a:cxn ang="0">
                  <a:pos x="2" y="0"/>
                </a:cxn>
              </a:cxnLst>
              <a:rect l="0" t="0" r="r" b="b"/>
              <a:pathLst>
                <a:path w="14" h="32">
                  <a:moveTo>
                    <a:pt x="2" y="0"/>
                  </a:moveTo>
                  <a:lnTo>
                    <a:pt x="2" y="0"/>
                  </a:lnTo>
                  <a:lnTo>
                    <a:pt x="6" y="2"/>
                  </a:lnTo>
                  <a:lnTo>
                    <a:pt x="6" y="10"/>
                  </a:lnTo>
                  <a:lnTo>
                    <a:pt x="6" y="18"/>
                  </a:lnTo>
                  <a:lnTo>
                    <a:pt x="10" y="22"/>
                  </a:lnTo>
                  <a:lnTo>
                    <a:pt x="12" y="26"/>
                  </a:lnTo>
                  <a:lnTo>
                    <a:pt x="14" y="32"/>
                  </a:lnTo>
                  <a:lnTo>
                    <a:pt x="10" y="32"/>
                  </a:lnTo>
                  <a:lnTo>
                    <a:pt x="8" y="26"/>
                  </a:lnTo>
                  <a:lnTo>
                    <a:pt x="4" y="24"/>
                  </a:lnTo>
                  <a:lnTo>
                    <a:pt x="2" y="20"/>
                  </a:lnTo>
                  <a:lnTo>
                    <a:pt x="2" y="18"/>
                  </a:lnTo>
                  <a:lnTo>
                    <a:pt x="0" y="18"/>
                  </a:lnTo>
                  <a:lnTo>
                    <a:pt x="0" y="8"/>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3" name="Freeform 306">
              <a:extLst>
                <a:ext uri="{FF2B5EF4-FFF2-40B4-BE49-F238E27FC236}">
                  <a16:creationId xmlns:a16="http://schemas.microsoft.com/office/drawing/2014/main" id="{6B3B2B63-61A1-48A6-8E63-146FB10AE7D9}"/>
                </a:ext>
              </a:extLst>
            </p:cNvPr>
            <p:cNvSpPr>
              <a:spLocks/>
            </p:cNvSpPr>
            <p:nvPr/>
          </p:nvSpPr>
          <p:spPr bwMode="auto">
            <a:xfrm>
              <a:off x="5263789" y="4009058"/>
              <a:ext cx="7769" cy="5179"/>
            </a:xfrm>
            <a:custGeom>
              <a:avLst/>
              <a:gdLst/>
              <a:ahLst/>
              <a:cxnLst>
                <a:cxn ang="0">
                  <a:pos x="4" y="0"/>
                </a:cxn>
                <a:cxn ang="0">
                  <a:pos x="4" y="0"/>
                </a:cxn>
                <a:cxn ang="0">
                  <a:pos x="6" y="0"/>
                </a:cxn>
                <a:cxn ang="0">
                  <a:pos x="6" y="2"/>
                </a:cxn>
                <a:cxn ang="0">
                  <a:pos x="6" y="4"/>
                </a:cxn>
                <a:cxn ang="0">
                  <a:pos x="0" y="4"/>
                </a:cxn>
                <a:cxn ang="0">
                  <a:pos x="0" y="2"/>
                </a:cxn>
                <a:cxn ang="0">
                  <a:pos x="0" y="0"/>
                </a:cxn>
                <a:cxn ang="0">
                  <a:pos x="4" y="0"/>
                </a:cxn>
                <a:cxn ang="0">
                  <a:pos x="4" y="0"/>
                </a:cxn>
              </a:cxnLst>
              <a:rect l="0" t="0" r="r" b="b"/>
              <a:pathLst>
                <a:path w="6" h="4">
                  <a:moveTo>
                    <a:pt x="4" y="0"/>
                  </a:moveTo>
                  <a:lnTo>
                    <a:pt x="4" y="0"/>
                  </a:lnTo>
                  <a:lnTo>
                    <a:pt x="6" y="0"/>
                  </a:lnTo>
                  <a:lnTo>
                    <a:pt x="6" y="2"/>
                  </a:lnTo>
                  <a:lnTo>
                    <a:pt x="6" y="4"/>
                  </a:lnTo>
                  <a:lnTo>
                    <a:pt x="0" y="4"/>
                  </a:lnTo>
                  <a:lnTo>
                    <a:pt x="0" y="2"/>
                  </a:lnTo>
                  <a:lnTo>
                    <a:pt x="0" y="0"/>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4" name="Freeform 307">
              <a:extLst>
                <a:ext uri="{FF2B5EF4-FFF2-40B4-BE49-F238E27FC236}">
                  <a16:creationId xmlns:a16="http://schemas.microsoft.com/office/drawing/2014/main" id="{9719A1BB-AB09-4ADA-870E-CF466FBF9762}"/>
                </a:ext>
              </a:extLst>
            </p:cNvPr>
            <p:cNvSpPr>
              <a:spLocks/>
            </p:cNvSpPr>
            <p:nvPr/>
          </p:nvSpPr>
          <p:spPr bwMode="auto">
            <a:xfrm>
              <a:off x="5263789" y="4009058"/>
              <a:ext cx="7769" cy="5179"/>
            </a:xfrm>
            <a:custGeom>
              <a:avLst/>
              <a:gdLst/>
              <a:ahLst/>
              <a:cxnLst>
                <a:cxn ang="0">
                  <a:pos x="4" y="0"/>
                </a:cxn>
                <a:cxn ang="0">
                  <a:pos x="4" y="0"/>
                </a:cxn>
                <a:cxn ang="0">
                  <a:pos x="6" y="0"/>
                </a:cxn>
                <a:cxn ang="0">
                  <a:pos x="6" y="2"/>
                </a:cxn>
                <a:cxn ang="0">
                  <a:pos x="6" y="4"/>
                </a:cxn>
                <a:cxn ang="0">
                  <a:pos x="0" y="4"/>
                </a:cxn>
                <a:cxn ang="0">
                  <a:pos x="0" y="2"/>
                </a:cxn>
                <a:cxn ang="0">
                  <a:pos x="0" y="0"/>
                </a:cxn>
                <a:cxn ang="0">
                  <a:pos x="4" y="0"/>
                </a:cxn>
                <a:cxn ang="0">
                  <a:pos x="4" y="0"/>
                </a:cxn>
              </a:cxnLst>
              <a:rect l="0" t="0" r="r" b="b"/>
              <a:pathLst>
                <a:path w="6" h="4">
                  <a:moveTo>
                    <a:pt x="4" y="0"/>
                  </a:moveTo>
                  <a:lnTo>
                    <a:pt x="4" y="0"/>
                  </a:lnTo>
                  <a:lnTo>
                    <a:pt x="6" y="0"/>
                  </a:lnTo>
                  <a:lnTo>
                    <a:pt x="6" y="2"/>
                  </a:lnTo>
                  <a:lnTo>
                    <a:pt x="6" y="4"/>
                  </a:lnTo>
                  <a:lnTo>
                    <a:pt x="0" y="4"/>
                  </a:lnTo>
                  <a:lnTo>
                    <a:pt x="0" y="2"/>
                  </a:lnTo>
                  <a:lnTo>
                    <a:pt x="0" y="0"/>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5" name="Freeform 308">
              <a:extLst>
                <a:ext uri="{FF2B5EF4-FFF2-40B4-BE49-F238E27FC236}">
                  <a16:creationId xmlns:a16="http://schemas.microsoft.com/office/drawing/2014/main" id="{3DE720BE-40C3-44BB-B395-09DE7530706F}"/>
                </a:ext>
              </a:extLst>
            </p:cNvPr>
            <p:cNvSpPr>
              <a:spLocks/>
            </p:cNvSpPr>
            <p:nvPr/>
          </p:nvSpPr>
          <p:spPr bwMode="auto">
            <a:xfrm>
              <a:off x="1721202" y="4356065"/>
              <a:ext cx="36255" cy="20717"/>
            </a:xfrm>
            <a:custGeom>
              <a:avLst/>
              <a:gdLst/>
              <a:ahLst/>
              <a:cxnLst>
                <a:cxn ang="0">
                  <a:pos x="8" y="0"/>
                </a:cxn>
                <a:cxn ang="0">
                  <a:pos x="8" y="0"/>
                </a:cxn>
                <a:cxn ang="0">
                  <a:pos x="4" y="2"/>
                </a:cxn>
                <a:cxn ang="0">
                  <a:pos x="0" y="4"/>
                </a:cxn>
                <a:cxn ang="0">
                  <a:pos x="2" y="6"/>
                </a:cxn>
                <a:cxn ang="0">
                  <a:pos x="6" y="6"/>
                </a:cxn>
                <a:cxn ang="0">
                  <a:pos x="6" y="8"/>
                </a:cxn>
                <a:cxn ang="0">
                  <a:pos x="8" y="10"/>
                </a:cxn>
                <a:cxn ang="0">
                  <a:pos x="14" y="14"/>
                </a:cxn>
                <a:cxn ang="0">
                  <a:pos x="20" y="16"/>
                </a:cxn>
                <a:cxn ang="0">
                  <a:pos x="20" y="12"/>
                </a:cxn>
                <a:cxn ang="0">
                  <a:pos x="28" y="12"/>
                </a:cxn>
                <a:cxn ang="0">
                  <a:pos x="28" y="8"/>
                </a:cxn>
                <a:cxn ang="0">
                  <a:pos x="22" y="2"/>
                </a:cxn>
                <a:cxn ang="0">
                  <a:pos x="18" y="2"/>
                </a:cxn>
                <a:cxn ang="0">
                  <a:pos x="14" y="2"/>
                </a:cxn>
                <a:cxn ang="0">
                  <a:pos x="8" y="0"/>
                </a:cxn>
                <a:cxn ang="0">
                  <a:pos x="8" y="0"/>
                </a:cxn>
              </a:cxnLst>
              <a:rect l="0" t="0" r="r" b="b"/>
              <a:pathLst>
                <a:path w="28" h="16">
                  <a:moveTo>
                    <a:pt x="8" y="0"/>
                  </a:moveTo>
                  <a:lnTo>
                    <a:pt x="8" y="0"/>
                  </a:lnTo>
                  <a:lnTo>
                    <a:pt x="4" y="2"/>
                  </a:lnTo>
                  <a:lnTo>
                    <a:pt x="0" y="4"/>
                  </a:lnTo>
                  <a:lnTo>
                    <a:pt x="2" y="6"/>
                  </a:lnTo>
                  <a:lnTo>
                    <a:pt x="6" y="6"/>
                  </a:lnTo>
                  <a:lnTo>
                    <a:pt x="6" y="8"/>
                  </a:lnTo>
                  <a:lnTo>
                    <a:pt x="8" y="10"/>
                  </a:lnTo>
                  <a:lnTo>
                    <a:pt x="14" y="14"/>
                  </a:lnTo>
                  <a:lnTo>
                    <a:pt x="20" y="16"/>
                  </a:lnTo>
                  <a:lnTo>
                    <a:pt x="20" y="12"/>
                  </a:lnTo>
                  <a:lnTo>
                    <a:pt x="28" y="12"/>
                  </a:lnTo>
                  <a:lnTo>
                    <a:pt x="28" y="8"/>
                  </a:lnTo>
                  <a:lnTo>
                    <a:pt x="22" y="2"/>
                  </a:lnTo>
                  <a:lnTo>
                    <a:pt x="18" y="2"/>
                  </a:lnTo>
                  <a:lnTo>
                    <a:pt x="14" y="2"/>
                  </a:lnTo>
                  <a:lnTo>
                    <a:pt x="8" y="0"/>
                  </a:lnTo>
                  <a:lnTo>
                    <a:pt x="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6" name="Freeform 309">
              <a:extLst>
                <a:ext uri="{FF2B5EF4-FFF2-40B4-BE49-F238E27FC236}">
                  <a16:creationId xmlns:a16="http://schemas.microsoft.com/office/drawing/2014/main" id="{C7B3193E-6BAA-4648-8CCB-500BEFE1C3A0}"/>
                </a:ext>
              </a:extLst>
            </p:cNvPr>
            <p:cNvSpPr>
              <a:spLocks/>
            </p:cNvSpPr>
            <p:nvPr/>
          </p:nvSpPr>
          <p:spPr bwMode="auto">
            <a:xfrm>
              <a:off x="3246483" y="3936549"/>
              <a:ext cx="49203" cy="33665"/>
            </a:xfrm>
            <a:custGeom>
              <a:avLst/>
              <a:gdLst/>
              <a:ahLst/>
              <a:cxnLst>
                <a:cxn ang="0">
                  <a:pos x="2" y="0"/>
                </a:cxn>
                <a:cxn ang="0">
                  <a:pos x="2" y="0"/>
                </a:cxn>
                <a:cxn ang="0">
                  <a:pos x="2" y="2"/>
                </a:cxn>
                <a:cxn ang="0">
                  <a:pos x="0" y="2"/>
                </a:cxn>
                <a:cxn ang="0">
                  <a:pos x="0" y="8"/>
                </a:cxn>
                <a:cxn ang="0">
                  <a:pos x="6" y="12"/>
                </a:cxn>
                <a:cxn ang="0">
                  <a:pos x="12" y="14"/>
                </a:cxn>
                <a:cxn ang="0">
                  <a:pos x="14" y="18"/>
                </a:cxn>
                <a:cxn ang="0">
                  <a:pos x="16" y="18"/>
                </a:cxn>
                <a:cxn ang="0">
                  <a:pos x="20" y="18"/>
                </a:cxn>
                <a:cxn ang="0">
                  <a:pos x="22" y="20"/>
                </a:cxn>
                <a:cxn ang="0">
                  <a:pos x="28" y="24"/>
                </a:cxn>
                <a:cxn ang="0">
                  <a:pos x="28" y="26"/>
                </a:cxn>
                <a:cxn ang="0">
                  <a:pos x="34" y="26"/>
                </a:cxn>
                <a:cxn ang="0">
                  <a:pos x="32" y="20"/>
                </a:cxn>
                <a:cxn ang="0">
                  <a:pos x="36" y="18"/>
                </a:cxn>
                <a:cxn ang="0">
                  <a:pos x="36" y="14"/>
                </a:cxn>
                <a:cxn ang="0">
                  <a:pos x="36" y="10"/>
                </a:cxn>
                <a:cxn ang="0">
                  <a:pos x="36" y="8"/>
                </a:cxn>
                <a:cxn ang="0">
                  <a:pos x="36" y="6"/>
                </a:cxn>
                <a:cxn ang="0">
                  <a:pos x="38" y="4"/>
                </a:cxn>
                <a:cxn ang="0">
                  <a:pos x="38" y="0"/>
                </a:cxn>
                <a:cxn ang="0">
                  <a:pos x="26" y="4"/>
                </a:cxn>
                <a:cxn ang="0">
                  <a:pos x="20" y="6"/>
                </a:cxn>
                <a:cxn ang="0">
                  <a:pos x="14" y="4"/>
                </a:cxn>
                <a:cxn ang="0">
                  <a:pos x="10" y="2"/>
                </a:cxn>
                <a:cxn ang="0">
                  <a:pos x="8" y="2"/>
                </a:cxn>
                <a:cxn ang="0">
                  <a:pos x="4" y="2"/>
                </a:cxn>
                <a:cxn ang="0">
                  <a:pos x="2" y="0"/>
                </a:cxn>
                <a:cxn ang="0">
                  <a:pos x="2" y="0"/>
                </a:cxn>
              </a:cxnLst>
              <a:rect l="0" t="0" r="r" b="b"/>
              <a:pathLst>
                <a:path w="38" h="26">
                  <a:moveTo>
                    <a:pt x="2" y="0"/>
                  </a:moveTo>
                  <a:lnTo>
                    <a:pt x="2" y="0"/>
                  </a:lnTo>
                  <a:lnTo>
                    <a:pt x="2" y="2"/>
                  </a:lnTo>
                  <a:lnTo>
                    <a:pt x="0" y="2"/>
                  </a:lnTo>
                  <a:lnTo>
                    <a:pt x="0" y="8"/>
                  </a:lnTo>
                  <a:lnTo>
                    <a:pt x="6" y="12"/>
                  </a:lnTo>
                  <a:lnTo>
                    <a:pt x="12" y="14"/>
                  </a:lnTo>
                  <a:lnTo>
                    <a:pt x="14" y="18"/>
                  </a:lnTo>
                  <a:lnTo>
                    <a:pt x="16" y="18"/>
                  </a:lnTo>
                  <a:lnTo>
                    <a:pt x="20" y="18"/>
                  </a:lnTo>
                  <a:lnTo>
                    <a:pt x="22" y="20"/>
                  </a:lnTo>
                  <a:lnTo>
                    <a:pt x="28" y="24"/>
                  </a:lnTo>
                  <a:lnTo>
                    <a:pt x="28" y="26"/>
                  </a:lnTo>
                  <a:lnTo>
                    <a:pt x="34" y="26"/>
                  </a:lnTo>
                  <a:lnTo>
                    <a:pt x="32" y="20"/>
                  </a:lnTo>
                  <a:lnTo>
                    <a:pt x="36" y="18"/>
                  </a:lnTo>
                  <a:lnTo>
                    <a:pt x="36" y="14"/>
                  </a:lnTo>
                  <a:lnTo>
                    <a:pt x="36" y="10"/>
                  </a:lnTo>
                  <a:lnTo>
                    <a:pt x="36" y="8"/>
                  </a:lnTo>
                  <a:lnTo>
                    <a:pt x="36" y="6"/>
                  </a:lnTo>
                  <a:lnTo>
                    <a:pt x="38" y="4"/>
                  </a:lnTo>
                  <a:lnTo>
                    <a:pt x="38" y="0"/>
                  </a:lnTo>
                  <a:lnTo>
                    <a:pt x="26" y="4"/>
                  </a:lnTo>
                  <a:lnTo>
                    <a:pt x="20" y="6"/>
                  </a:lnTo>
                  <a:lnTo>
                    <a:pt x="14" y="4"/>
                  </a:lnTo>
                  <a:lnTo>
                    <a:pt x="10" y="2"/>
                  </a:lnTo>
                  <a:lnTo>
                    <a:pt x="8" y="2"/>
                  </a:lnTo>
                  <a:lnTo>
                    <a:pt x="4"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7" name="Freeform 310">
              <a:extLst>
                <a:ext uri="{FF2B5EF4-FFF2-40B4-BE49-F238E27FC236}">
                  <a16:creationId xmlns:a16="http://schemas.microsoft.com/office/drawing/2014/main" id="{45E284D1-33F4-4C09-BB85-313724D2DB99}"/>
                </a:ext>
              </a:extLst>
            </p:cNvPr>
            <p:cNvSpPr>
              <a:spLocks/>
            </p:cNvSpPr>
            <p:nvPr/>
          </p:nvSpPr>
          <p:spPr bwMode="auto">
            <a:xfrm>
              <a:off x="3176563" y="3864039"/>
              <a:ext cx="25896" cy="51792"/>
            </a:xfrm>
            <a:custGeom>
              <a:avLst/>
              <a:gdLst/>
              <a:ahLst/>
              <a:cxnLst>
                <a:cxn ang="0">
                  <a:pos x="12" y="0"/>
                </a:cxn>
                <a:cxn ang="0">
                  <a:pos x="12" y="0"/>
                </a:cxn>
                <a:cxn ang="0">
                  <a:pos x="2" y="8"/>
                </a:cxn>
                <a:cxn ang="0">
                  <a:pos x="0" y="8"/>
                </a:cxn>
                <a:cxn ang="0">
                  <a:pos x="2" y="16"/>
                </a:cxn>
                <a:cxn ang="0">
                  <a:pos x="2" y="26"/>
                </a:cxn>
                <a:cxn ang="0">
                  <a:pos x="6" y="36"/>
                </a:cxn>
                <a:cxn ang="0">
                  <a:pos x="8" y="38"/>
                </a:cxn>
                <a:cxn ang="0">
                  <a:pos x="10" y="40"/>
                </a:cxn>
                <a:cxn ang="0">
                  <a:pos x="12" y="40"/>
                </a:cxn>
                <a:cxn ang="0">
                  <a:pos x="16" y="36"/>
                </a:cxn>
                <a:cxn ang="0">
                  <a:pos x="20" y="12"/>
                </a:cxn>
                <a:cxn ang="0">
                  <a:pos x="16" y="8"/>
                </a:cxn>
                <a:cxn ang="0">
                  <a:pos x="16" y="4"/>
                </a:cxn>
                <a:cxn ang="0">
                  <a:pos x="14" y="2"/>
                </a:cxn>
                <a:cxn ang="0">
                  <a:pos x="12" y="0"/>
                </a:cxn>
              </a:cxnLst>
              <a:rect l="0" t="0" r="r" b="b"/>
              <a:pathLst>
                <a:path w="20" h="40">
                  <a:moveTo>
                    <a:pt x="12" y="0"/>
                  </a:moveTo>
                  <a:lnTo>
                    <a:pt x="12" y="0"/>
                  </a:lnTo>
                  <a:lnTo>
                    <a:pt x="2" y="8"/>
                  </a:lnTo>
                  <a:lnTo>
                    <a:pt x="0" y="8"/>
                  </a:lnTo>
                  <a:lnTo>
                    <a:pt x="2" y="16"/>
                  </a:lnTo>
                  <a:lnTo>
                    <a:pt x="2" y="26"/>
                  </a:lnTo>
                  <a:lnTo>
                    <a:pt x="6" y="36"/>
                  </a:lnTo>
                  <a:lnTo>
                    <a:pt x="8" y="38"/>
                  </a:lnTo>
                  <a:lnTo>
                    <a:pt x="10" y="40"/>
                  </a:lnTo>
                  <a:lnTo>
                    <a:pt x="12" y="40"/>
                  </a:lnTo>
                  <a:lnTo>
                    <a:pt x="16" y="36"/>
                  </a:lnTo>
                  <a:lnTo>
                    <a:pt x="20" y="12"/>
                  </a:lnTo>
                  <a:lnTo>
                    <a:pt x="16" y="8"/>
                  </a:lnTo>
                  <a:lnTo>
                    <a:pt x="16" y="4"/>
                  </a:lnTo>
                  <a:lnTo>
                    <a:pt x="14" y="2"/>
                  </a:lnTo>
                  <a:lnTo>
                    <a:pt x="1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8" name="Freeform 311">
              <a:extLst>
                <a:ext uri="{FF2B5EF4-FFF2-40B4-BE49-F238E27FC236}">
                  <a16:creationId xmlns:a16="http://schemas.microsoft.com/office/drawing/2014/main" id="{CC1010A4-F889-42D6-9565-3244AB58F5EB}"/>
                </a:ext>
              </a:extLst>
            </p:cNvPr>
            <p:cNvSpPr>
              <a:spLocks/>
            </p:cNvSpPr>
            <p:nvPr/>
          </p:nvSpPr>
          <p:spPr bwMode="auto">
            <a:xfrm>
              <a:off x="3176563" y="3864039"/>
              <a:ext cx="25896" cy="51792"/>
            </a:xfrm>
            <a:custGeom>
              <a:avLst/>
              <a:gdLst/>
              <a:ahLst/>
              <a:cxnLst>
                <a:cxn ang="0">
                  <a:pos x="12" y="0"/>
                </a:cxn>
                <a:cxn ang="0">
                  <a:pos x="12" y="0"/>
                </a:cxn>
                <a:cxn ang="0">
                  <a:pos x="2" y="8"/>
                </a:cxn>
                <a:cxn ang="0">
                  <a:pos x="0" y="8"/>
                </a:cxn>
                <a:cxn ang="0">
                  <a:pos x="2" y="16"/>
                </a:cxn>
                <a:cxn ang="0">
                  <a:pos x="2" y="26"/>
                </a:cxn>
                <a:cxn ang="0">
                  <a:pos x="6" y="36"/>
                </a:cxn>
                <a:cxn ang="0">
                  <a:pos x="8" y="38"/>
                </a:cxn>
                <a:cxn ang="0">
                  <a:pos x="10" y="40"/>
                </a:cxn>
                <a:cxn ang="0">
                  <a:pos x="12" y="40"/>
                </a:cxn>
                <a:cxn ang="0">
                  <a:pos x="16" y="36"/>
                </a:cxn>
                <a:cxn ang="0">
                  <a:pos x="20" y="12"/>
                </a:cxn>
                <a:cxn ang="0">
                  <a:pos x="16" y="8"/>
                </a:cxn>
                <a:cxn ang="0">
                  <a:pos x="16" y="4"/>
                </a:cxn>
                <a:cxn ang="0">
                  <a:pos x="14" y="2"/>
                </a:cxn>
                <a:cxn ang="0">
                  <a:pos x="12" y="0"/>
                </a:cxn>
              </a:cxnLst>
              <a:rect l="0" t="0" r="r" b="b"/>
              <a:pathLst>
                <a:path w="20" h="40">
                  <a:moveTo>
                    <a:pt x="12" y="0"/>
                  </a:moveTo>
                  <a:lnTo>
                    <a:pt x="12" y="0"/>
                  </a:lnTo>
                  <a:lnTo>
                    <a:pt x="2" y="8"/>
                  </a:lnTo>
                  <a:lnTo>
                    <a:pt x="0" y="8"/>
                  </a:lnTo>
                  <a:lnTo>
                    <a:pt x="2" y="16"/>
                  </a:lnTo>
                  <a:lnTo>
                    <a:pt x="2" y="26"/>
                  </a:lnTo>
                  <a:lnTo>
                    <a:pt x="6" y="36"/>
                  </a:lnTo>
                  <a:lnTo>
                    <a:pt x="8" y="38"/>
                  </a:lnTo>
                  <a:lnTo>
                    <a:pt x="10" y="40"/>
                  </a:lnTo>
                  <a:lnTo>
                    <a:pt x="12" y="40"/>
                  </a:lnTo>
                  <a:lnTo>
                    <a:pt x="16" y="36"/>
                  </a:lnTo>
                  <a:lnTo>
                    <a:pt x="20" y="12"/>
                  </a:lnTo>
                  <a:lnTo>
                    <a:pt x="16" y="8"/>
                  </a:lnTo>
                  <a:lnTo>
                    <a:pt x="16" y="4"/>
                  </a:lnTo>
                  <a:lnTo>
                    <a:pt x="14" y="2"/>
                  </a:lnTo>
                  <a:lnTo>
                    <a:pt x="1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49" name="Freeform 312">
              <a:extLst>
                <a:ext uri="{FF2B5EF4-FFF2-40B4-BE49-F238E27FC236}">
                  <a16:creationId xmlns:a16="http://schemas.microsoft.com/office/drawing/2014/main" id="{09489EB4-E5BF-486B-8E4F-1D18A8C73049}"/>
                </a:ext>
              </a:extLst>
            </p:cNvPr>
            <p:cNvSpPr>
              <a:spLocks noEditPoints="1"/>
            </p:cNvSpPr>
            <p:nvPr/>
          </p:nvSpPr>
          <p:spPr bwMode="auto">
            <a:xfrm>
              <a:off x="3614207" y="4060850"/>
              <a:ext cx="28486" cy="75099"/>
            </a:xfrm>
            <a:custGeom>
              <a:avLst/>
              <a:gdLst/>
              <a:ahLst/>
              <a:cxnLst>
                <a:cxn ang="0">
                  <a:pos x="20" y="20"/>
                </a:cxn>
                <a:cxn ang="0">
                  <a:pos x="20" y="20"/>
                </a:cxn>
                <a:cxn ang="0">
                  <a:pos x="20" y="22"/>
                </a:cxn>
                <a:cxn ang="0">
                  <a:pos x="20" y="28"/>
                </a:cxn>
                <a:cxn ang="0">
                  <a:pos x="18" y="28"/>
                </a:cxn>
                <a:cxn ang="0">
                  <a:pos x="16" y="28"/>
                </a:cxn>
                <a:cxn ang="0">
                  <a:pos x="14" y="28"/>
                </a:cxn>
                <a:cxn ang="0">
                  <a:pos x="14" y="20"/>
                </a:cxn>
                <a:cxn ang="0">
                  <a:pos x="14" y="14"/>
                </a:cxn>
                <a:cxn ang="0">
                  <a:pos x="14" y="12"/>
                </a:cxn>
                <a:cxn ang="0">
                  <a:pos x="16" y="10"/>
                </a:cxn>
                <a:cxn ang="0">
                  <a:pos x="18" y="10"/>
                </a:cxn>
                <a:cxn ang="0">
                  <a:pos x="20" y="12"/>
                </a:cxn>
                <a:cxn ang="0">
                  <a:pos x="18" y="14"/>
                </a:cxn>
                <a:cxn ang="0">
                  <a:pos x="16" y="16"/>
                </a:cxn>
                <a:cxn ang="0">
                  <a:pos x="16" y="22"/>
                </a:cxn>
                <a:cxn ang="0">
                  <a:pos x="20" y="20"/>
                </a:cxn>
                <a:cxn ang="0">
                  <a:pos x="20" y="20"/>
                </a:cxn>
                <a:cxn ang="0">
                  <a:pos x="4" y="20"/>
                </a:cxn>
                <a:cxn ang="0">
                  <a:pos x="4" y="20"/>
                </a:cxn>
                <a:cxn ang="0">
                  <a:pos x="0" y="24"/>
                </a:cxn>
                <a:cxn ang="0">
                  <a:pos x="2" y="26"/>
                </a:cxn>
                <a:cxn ang="0">
                  <a:pos x="6" y="24"/>
                </a:cxn>
                <a:cxn ang="0">
                  <a:pos x="4" y="20"/>
                </a:cxn>
                <a:cxn ang="0">
                  <a:pos x="4" y="20"/>
                </a:cxn>
                <a:cxn ang="0">
                  <a:pos x="6" y="58"/>
                </a:cxn>
                <a:cxn ang="0">
                  <a:pos x="6" y="58"/>
                </a:cxn>
                <a:cxn ang="0">
                  <a:pos x="12" y="52"/>
                </a:cxn>
                <a:cxn ang="0">
                  <a:pos x="16" y="46"/>
                </a:cxn>
                <a:cxn ang="0">
                  <a:pos x="16" y="42"/>
                </a:cxn>
                <a:cxn ang="0">
                  <a:pos x="16" y="38"/>
                </a:cxn>
                <a:cxn ang="0">
                  <a:pos x="18" y="34"/>
                </a:cxn>
                <a:cxn ang="0">
                  <a:pos x="20" y="28"/>
                </a:cxn>
                <a:cxn ang="0">
                  <a:pos x="18" y="28"/>
                </a:cxn>
                <a:cxn ang="0">
                  <a:pos x="16" y="28"/>
                </a:cxn>
                <a:cxn ang="0">
                  <a:pos x="14" y="28"/>
                </a:cxn>
                <a:cxn ang="0">
                  <a:pos x="14" y="20"/>
                </a:cxn>
                <a:cxn ang="0">
                  <a:pos x="14" y="14"/>
                </a:cxn>
                <a:cxn ang="0">
                  <a:pos x="14" y="12"/>
                </a:cxn>
                <a:cxn ang="0">
                  <a:pos x="16" y="10"/>
                </a:cxn>
                <a:cxn ang="0">
                  <a:pos x="18" y="10"/>
                </a:cxn>
                <a:cxn ang="0">
                  <a:pos x="20" y="12"/>
                </a:cxn>
                <a:cxn ang="0">
                  <a:pos x="20" y="10"/>
                </a:cxn>
                <a:cxn ang="0">
                  <a:pos x="22" y="6"/>
                </a:cxn>
                <a:cxn ang="0">
                  <a:pos x="20" y="0"/>
                </a:cxn>
                <a:cxn ang="0">
                  <a:pos x="18" y="0"/>
                </a:cxn>
                <a:cxn ang="0">
                  <a:pos x="16" y="2"/>
                </a:cxn>
                <a:cxn ang="0">
                  <a:pos x="14" y="2"/>
                </a:cxn>
                <a:cxn ang="0">
                  <a:pos x="10" y="2"/>
                </a:cxn>
                <a:cxn ang="0">
                  <a:pos x="10" y="6"/>
                </a:cxn>
                <a:cxn ang="0">
                  <a:pos x="6" y="12"/>
                </a:cxn>
                <a:cxn ang="0">
                  <a:pos x="6" y="16"/>
                </a:cxn>
                <a:cxn ang="0">
                  <a:pos x="6" y="20"/>
                </a:cxn>
                <a:cxn ang="0">
                  <a:pos x="4" y="20"/>
                </a:cxn>
                <a:cxn ang="0">
                  <a:pos x="6" y="24"/>
                </a:cxn>
                <a:cxn ang="0">
                  <a:pos x="2" y="26"/>
                </a:cxn>
                <a:cxn ang="0">
                  <a:pos x="4" y="34"/>
                </a:cxn>
                <a:cxn ang="0">
                  <a:pos x="6" y="58"/>
                </a:cxn>
                <a:cxn ang="0">
                  <a:pos x="6" y="58"/>
                </a:cxn>
              </a:cxnLst>
              <a:rect l="0" t="0" r="r" b="b"/>
              <a:pathLst>
                <a:path w="22" h="58">
                  <a:moveTo>
                    <a:pt x="20" y="20"/>
                  </a:moveTo>
                  <a:lnTo>
                    <a:pt x="20" y="20"/>
                  </a:lnTo>
                  <a:lnTo>
                    <a:pt x="20" y="22"/>
                  </a:lnTo>
                  <a:lnTo>
                    <a:pt x="20" y="28"/>
                  </a:lnTo>
                  <a:lnTo>
                    <a:pt x="18" y="28"/>
                  </a:lnTo>
                  <a:lnTo>
                    <a:pt x="16" y="28"/>
                  </a:lnTo>
                  <a:lnTo>
                    <a:pt x="14" y="28"/>
                  </a:lnTo>
                  <a:lnTo>
                    <a:pt x="14" y="20"/>
                  </a:lnTo>
                  <a:lnTo>
                    <a:pt x="14" y="14"/>
                  </a:lnTo>
                  <a:lnTo>
                    <a:pt x="14" y="12"/>
                  </a:lnTo>
                  <a:lnTo>
                    <a:pt x="16" y="10"/>
                  </a:lnTo>
                  <a:lnTo>
                    <a:pt x="18" y="10"/>
                  </a:lnTo>
                  <a:lnTo>
                    <a:pt x="20" y="12"/>
                  </a:lnTo>
                  <a:lnTo>
                    <a:pt x="18" y="14"/>
                  </a:lnTo>
                  <a:lnTo>
                    <a:pt x="16" y="16"/>
                  </a:lnTo>
                  <a:lnTo>
                    <a:pt x="16" y="22"/>
                  </a:lnTo>
                  <a:lnTo>
                    <a:pt x="20" y="20"/>
                  </a:lnTo>
                  <a:lnTo>
                    <a:pt x="20" y="20"/>
                  </a:lnTo>
                  <a:close/>
                  <a:moveTo>
                    <a:pt x="4" y="20"/>
                  </a:moveTo>
                  <a:lnTo>
                    <a:pt x="4" y="20"/>
                  </a:lnTo>
                  <a:lnTo>
                    <a:pt x="0" y="24"/>
                  </a:lnTo>
                  <a:lnTo>
                    <a:pt x="2" y="26"/>
                  </a:lnTo>
                  <a:lnTo>
                    <a:pt x="6" y="24"/>
                  </a:lnTo>
                  <a:lnTo>
                    <a:pt x="4" y="20"/>
                  </a:lnTo>
                  <a:lnTo>
                    <a:pt x="4" y="20"/>
                  </a:lnTo>
                  <a:close/>
                  <a:moveTo>
                    <a:pt x="6" y="58"/>
                  </a:moveTo>
                  <a:lnTo>
                    <a:pt x="6" y="58"/>
                  </a:lnTo>
                  <a:lnTo>
                    <a:pt x="12" y="52"/>
                  </a:lnTo>
                  <a:lnTo>
                    <a:pt x="16" y="46"/>
                  </a:lnTo>
                  <a:lnTo>
                    <a:pt x="16" y="42"/>
                  </a:lnTo>
                  <a:lnTo>
                    <a:pt x="16" y="38"/>
                  </a:lnTo>
                  <a:lnTo>
                    <a:pt x="18" y="34"/>
                  </a:lnTo>
                  <a:lnTo>
                    <a:pt x="20" y="28"/>
                  </a:lnTo>
                  <a:lnTo>
                    <a:pt x="18" y="28"/>
                  </a:lnTo>
                  <a:lnTo>
                    <a:pt x="16" y="28"/>
                  </a:lnTo>
                  <a:lnTo>
                    <a:pt x="14" y="28"/>
                  </a:lnTo>
                  <a:lnTo>
                    <a:pt x="14" y="20"/>
                  </a:lnTo>
                  <a:lnTo>
                    <a:pt x="14" y="14"/>
                  </a:lnTo>
                  <a:lnTo>
                    <a:pt x="14" y="12"/>
                  </a:lnTo>
                  <a:lnTo>
                    <a:pt x="16" y="10"/>
                  </a:lnTo>
                  <a:lnTo>
                    <a:pt x="18" y="10"/>
                  </a:lnTo>
                  <a:lnTo>
                    <a:pt x="20" y="12"/>
                  </a:lnTo>
                  <a:lnTo>
                    <a:pt x="20" y="10"/>
                  </a:lnTo>
                  <a:lnTo>
                    <a:pt x="22" y="6"/>
                  </a:lnTo>
                  <a:lnTo>
                    <a:pt x="20" y="0"/>
                  </a:lnTo>
                  <a:lnTo>
                    <a:pt x="18" y="0"/>
                  </a:lnTo>
                  <a:lnTo>
                    <a:pt x="16" y="2"/>
                  </a:lnTo>
                  <a:lnTo>
                    <a:pt x="14" y="2"/>
                  </a:lnTo>
                  <a:lnTo>
                    <a:pt x="10" y="2"/>
                  </a:lnTo>
                  <a:lnTo>
                    <a:pt x="10" y="6"/>
                  </a:lnTo>
                  <a:lnTo>
                    <a:pt x="6" y="12"/>
                  </a:lnTo>
                  <a:lnTo>
                    <a:pt x="6" y="16"/>
                  </a:lnTo>
                  <a:lnTo>
                    <a:pt x="6" y="20"/>
                  </a:lnTo>
                  <a:lnTo>
                    <a:pt x="4" y="20"/>
                  </a:lnTo>
                  <a:lnTo>
                    <a:pt x="6" y="24"/>
                  </a:lnTo>
                  <a:lnTo>
                    <a:pt x="2" y="26"/>
                  </a:lnTo>
                  <a:lnTo>
                    <a:pt x="4" y="34"/>
                  </a:lnTo>
                  <a:lnTo>
                    <a:pt x="6" y="58"/>
                  </a:lnTo>
                  <a:lnTo>
                    <a:pt x="6" y="5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0" name="Freeform 313">
              <a:extLst>
                <a:ext uri="{FF2B5EF4-FFF2-40B4-BE49-F238E27FC236}">
                  <a16:creationId xmlns:a16="http://schemas.microsoft.com/office/drawing/2014/main" id="{2C7F163A-4F5B-433F-9EE7-CF864BE6996B}"/>
                </a:ext>
              </a:extLst>
            </p:cNvPr>
            <p:cNvSpPr>
              <a:spLocks/>
            </p:cNvSpPr>
            <p:nvPr/>
          </p:nvSpPr>
          <p:spPr bwMode="auto">
            <a:xfrm>
              <a:off x="3632335" y="4073798"/>
              <a:ext cx="7769" cy="23306"/>
            </a:xfrm>
            <a:custGeom>
              <a:avLst/>
              <a:gdLst/>
              <a:ahLst/>
              <a:cxnLst>
                <a:cxn ang="0">
                  <a:pos x="6" y="10"/>
                </a:cxn>
                <a:cxn ang="0">
                  <a:pos x="6" y="10"/>
                </a:cxn>
                <a:cxn ang="0">
                  <a:pos x="6" y="12"/>
                </a:cxn>
                <a:cxn ang="0">
                  <a:pos x="6" y="18"/>
                </a:cxn>
                <a:cxn ang="0">
                  <a:pos x="4" y="18"/>
                </a:cxn>
                <a:cxn ang="0">
                  <a:pos x="2" y="18"/>
                </a:cxn>
                <a:cxn ang="0">
                  <a:pos x="0" y="18"/>
                </a:cxn>
                <a:cxn ang="0">
                  <a:pos x="0" y="10"/>
                </a:cxn>
                <a:cxn ang="0">
                  <a:pos x="0" y="4"/>
                </a:cxn>
                <a:cxn ang="0">
                  <a:pos x="0" y="2"/>
                </a:cxn>
                <a:cxn ang="0">
                  <a:pos x="2" y="0"/>
                </a:cxn>
                <a:cxn ang="0">
                  <a:pos x="4" y="0"/>
                </a:cxn>
                <a:cxn ang="0">
                  <a:pos x="6" y="2"/>
                </a:cxn>
                <a:cxn ang="0">
                  <a:pos x="4" y="4"/>
                </a:cxn>
                <a:cxn ang="0">
                  <a:pos x="2" y="6"/>
                </a:cxn>
                <a:cxn ang="0">
                  <a:pos x="2" y="12"/>
                </a:cxn>
                <a:cxn ang="0">
                  <a:pos x="6" y="10"/>
                </a:cxn>
                <a:cxn ang="0">
                  <a:pos x="6" y="10"/>
                </a:cxn>
              </a:cxnLst>
              <a:rect l="0" t="0" r="r" b="b"/>
              <a:pathLst>
                <a:path w="6" h="18">
                  <a:moveTo>
                    <a:pt x="6" y="10"/>
                  </a:moveTo>
                  <a:lnTo>
                    <a:pt x="6" y="10"/>
                  </a:lnTo>
                  <a:lnTo>
                    <a:pt x="6" y="12"/>
                  </a:lnTo>
                  <a:lnTo>
                    <a:pt x="6" y="18"/>
                  </a:lnTo>
                  <a:lnTo>
                    <a:pt x="4" y="18"/>
                  </a:lnTo>
                  <a:lnTo>
                    <a:pt x="2" y="18"/>
                  </a:lnTo>
                  <a:lnTo>
                    <a:pt x="0" y="18"/>
                  </a:lnTo>
                  <a:lnTo>
                    <a:pt x="0" y="10"/>
                  </a:lnTo>
                  <a:lnTo>
                    <a:pt x="0" y="4"/>
                  </a:lnTo>
                  <a:lnTo>
                    <a:pt x="0" y="2"/>
                  </a:lnTo>
                  <a:lnTo>
                    <a:pt x="2" y="0"/>
                  </a:lnTo>
                  <a:lnTo>
                    <a:pt x="4" y="0"/>
                  </a:lnTo>
                  <a:lnTo>
                    <a:pt x="6" y="2"/>
                  </a:lnTo>
                  <a:lnTo>
                    <a:pt x="4" y="4"/>
                  </a:lnTo>
                  <a:lnTo>
                    <a:pt x="2" y="6"/>
                  </a:lnTo>
                  <a:lnTo>
                    <a:pt x="2" y="12"/>
                  </a:lnTo>
                  <a:lnTo>
                    <a:pt x="6" y="10"/>
                  </a:lnTo>
                  <a:lnTo>
                    <a:pt x="6"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1" name="Freeform 314">
              <a:extLst>
                <a:ext uri="{FF2B5EF4-FFF2-40B4-BE49-F238E27FC236}">
                  <a16:creationId xmlns:a16="http://schemas.microsoft.com/office/drawing/2014/main" id="{D3BBE51D-EBC0-4FBE-B9BD-34A2BBAA0329}"/>
                </a:ext>
              </a:extLst>
            </p:cNvPr>
            <p:cNvSpPr>
              <a:spLocks/>
            </p:cNvSpPr>
            <p:nvPr/>
          </p:nvSpPr>
          <p:spPr bwMode="auto">
            <a:xfrm>
              <a:off x="3614207" y="4086746"/>
              <a:ext cx="7769" cy="7769"/>
            </a:xfrm>
            <a:custGeom>
              <a:avLst/>
              <a:gdLst/>
              <a:ahLst/>
              <a:cxnLst>
                <a:cxn ang="0">
                  <a:pos x="4" y="0"/>
                </a:cxn>
                <a:cxn ang="0">
                  <a:pos x="4" y="0"/>
                </a:cxn>
                <a:cxn ang="0">
                  <a:pos x="0" y="4"/>
                </a:cxn>
                <a:cxn ang="0">
                  <a:pos x="2" y="6"/>
                </a:cxn>
                <a:cxn ang="0">
                  <a:pos x="6" y="4"/>
                </a:cxn>
                <a:cxn ang="0">
                  <a:pos x="4" y="0"/>
                </a:cxn>
              </a:cxnLst>
              <a:rect l="0" t="0" r="r" b="b"/>
              <a:pathLst>
                <a:path w="6" h="6">
                  <a:moveTo>
                    <a:pt x="4" y="0"/>
                  </a:moveTo>
                  <a:lnTo>
                    <a:pt x="4" y="0"/>
                  </a:lnTo>
                  <a:lnTo>
                    <a:pt x="0" y="4"/>
                  </a:lnTo>
                  <a:lnTo>
                    <a:pt x="2" y="6"/>
                  </a:lnTo>
                  <a:lnTo>
                    <a:pt x="6" y="4"/>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2" name="Freeform 315">
              <a:extLst>
                <a:ext uri="{FF2B5EF4-FFF2-40B4-BE49-F238E27FC236}">
                  <a16:creationId xmlns:a16="http://schemas.microsoft.com/office/drawing/2014/main" id="{3ED8BE67-5130-4095-AFBA-EFB5640BD09D}"/>
                </a:ext>
              </a:extLst>
            </p:cNvPr>
            <p:cNvSpPr>
              <a:spLocks/>
            </p:cNvSpPr>
            <p:nvPr/>
          </p:nvSpPr>
          <p:spPr bwMode="auto">
            <a:xfrm>
              <a:off x="3614207" y="4086746"/>
              <a:ext cx="7769" cy="7769"/>
            </a:xfrm>
            <a:custGeom>
              <a:avLst/>
              <a:gdLst/>
              <a:ahLst/>
              <a:cxnLst>
                <a:cxn ang="0">
                  <a:pos x="4" y="0"/>
                </a:cxn>
                <a:cxn ang="0">
                  <a:pos x="4" y="0"/>
                </a:cxn>
                <a:cxn ang="0">
                  <a:pos x="0" y="4"/>
                </a:cxn>
                <a:cxn ang="0">
                  <a:pos x="2" y="6"/>
                </a:cxn>
                <a:cxn ang="0">
                  <a:pos x="6" y="4"/>
                </a:cxn>
                <a:cxn ang="0">
                  <a:pos x="4" y="0"/>
                </a:cxn>
              </a:cxnLst>
              <a:rect l="0" t="0" r="r" b="b"/>
              <a:pathLst>
                <a:path w="6" h="6">
                  <a:moveTo>
                    <a:pt x="4" y="0"/>
                  </a:moveTo>
                  <a:lnTo>
                    <a:pt x="4" y="0"/>
                  </a:lnTo>
                  <a:lnTo>
                    <a:pt x="0" y="4"/>
                  </a:lnTo>
                  <a:lnTo>
                    <a:pt x="2" y="6"/>
                  </a:lnTo>
                  <a:lnTo>
                    <a:pt x="6" y="4"/>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3" name="Freeform 316">
              <a:extLst>
                <a:ext uri="{FF2B5EF4-FFF2-40B4-BE49-F238E27FC236}">
                  <a16:creationId xmlns:a16="http://schemas.microsoft.com/office/drawing/2014/main" id="{1A7B9036-355E-44A3-8A99-57341197FB5B}"/>
                </a:ext>
              </a:extLst>
            </p:cNvPr>
            <p:cNvSpPr>
              <a:spLocks/>
            </p:cNvSpPr>
            <p:nvPr/>
          </p:nvSpPr>
          <p:spPr bwMode="auto">
            <a:xfrm>
              <a:off x="3616797" y="4060850"/>
              <a:ext cx="25896" cy="75099"/>
            </a:xfrm>
            <a:custGeom>
              <a:avLst/>
              <a:gdLst/>
              <a:ahLst/>
              <a:cxnLst>
                <a:cxn ang="0">
                  <a:pos x="4" y="58"/>
                </a:cxn>
                <a:cxn ang="0">
                  <a:pos x="4" y="58"/>
                </a:cxn>
                <a:cxn ang="0">
                  <a:pos x="10" y="52"/>
                </a:cxn>
                <a:cxn ang="0">
                  <a:pos x="14" y="46"/>
                </a:cxn>
                <a:cxn ang="0">
                  <a:pos x="14" y="42"/>
                </a:cxn>
                <a:cxn ang="0">
                  <a:pos x="14" y="38"/>
                </a:cxn>
                <a:cxn ang="0">
                  <a:pos x="16" y="34"/>
                </a:cxn>
                <a:cxn ang="0">
                  <a:pos x="18" y="28"/>
                </a:cxn>
                <a:cxn ang="0">
                  <a:pos x="16" y="28"/>
                </a:cxn>
                <a:cxn ang="0">
                  <a:pos x="14" y="28"/>
                </a:cxn>
                <a:cxn ang="0">
                  <a:pos x="12" y="28"/>
                </a:cxn>
                <a:cxn ang="0">
                  <a:pos x="12" y="20"/>
                </a:cxn>
                <a:cxn ang="0">
                  <a:pos x="12" y="14"/>
                </a:cxn>
                <a:cxn ang="0">
                  <a:pos x="12" y="12"/>
                </a:cxn>
                <a:cxn ang="0">
                  <a:pos x="14" y="10"/>
                </a:cxn>
                <a:cxn ang="0">
                  <a:pos x="16" y="10"/>
                </a:cxn>
                <a:cxn ang="0">
                  <a:pos x="18" y="12"/>
                </a:cxn>
                <a:cxn ang="0">
                  <a:pos x="18" y="10"/>
                </a:cxn>
                <a:cxn ang="0">
                  <a:pos x="20" y="6"/>
                </a:cxn>
                <a:cxn ang="0">
                  <a:pos x="18" y="0"/>
                </a:cxn>
                <a:cxn ang="0">
                  <a:pos x="16" y="0"/>
                </a:cxn>
                <a:cxn ang="0">
                  <a:pos x="14" y="2"/>
                </a:cxn>
                <a:cxn ang="0">
                  <a:pos x="12" y="2"/>
                </a:cxn>
                <a:cxn ang="0">
                  <a:pos x="8" y="2"/>
                </a:cxn>
                <a:cxn ang="0">
                  <a:pos x="8" y="6"/>
                </a:cxn>
                <a:cxn ang="0">
                  <a:pos x="4" y="12"/>
                </a:cxn>
                <a:cxn ang="0">
                  <a:pos x="4" y="16"/>
                </a:cxn>
                <a:cxn ang="0">
                  <a:pos x="4" y="20"/>
                </a:cxn>
                <a:cxn ang="0">
                  <a:pos x="2" y="20"/>
                </a:cxn>
                <a:cxn ang="0">
                  <a:pos x="4" y="24"/>
                </a:cxn>
                <a:cxn ang="0">
                  <a:pos x="0" y="26"/>
                </a:cxn>
                <a:cxn ang="0">
                  <a:pos x="2" y="34"/>
                </a:cxn>
                <a:cxn ang="0">
                  <a:pos x="4" y="58"/>
                </a:cxn>
              </a:cxnLst>
              <a:rect l="0" t="0" r="r" b="b"/>
              <a:pathLst>
                <a:path w="20" h="58">
                  <a:moveTo>
                    <a:pt x="4" y="58"/>
                  </a:moveTo>
                  <a:lnTo>
                    <a:pt x="4" y="58"/>
                  </a:lnTo>
                  <a:lnTo>
                    <a:pt x="10" y="52"/>
                  </a:lnTo>
                  <a:lnTo>
                    <a:pt x="14" y="46"/>
                  </a:lnTo>
                  <a:lnTo>
                    <a:pt x="14" y="42"/>
                  </a:lnTo>
                  <a:lnTo>
                    <a:pt x="14" y="38"/>
                  </a:lnTo>
                  <a:lnTo>
                    <a:pt x="16" y="34"/>
                  </a:lnTo>
                  <a:lnTo>
                    <a:pt x="18" y="28"/>
                  </a:lnTo>
                  <a:lnTo>
                    <a:pt x="16" y="28"/>
                  </a:lnTo>
                  <a:lnTo>
                    <a:pt x="14" y="28"/>
                  </a:lnTo>
                  <a:lnTo>
                    <a:pt x="12" y="28"/>
                  </a:lnTo>
                  <a:lnTo>
                    <a:pt x="12" y="20"/>
                  </a:lnTo>
                  <a:lnTo>
                    <a:pt x="12" y="14"/>
                  </a:lnTo>
                  <a:lnTo>
                    <a:pt x="12" y="12"/>
                  </a:lnTo>
                  <a:lnTo>
                    <a:pt x="14" y="10"/>
                  </a:lnTo>
                  <a:lnTo>
                    <a:pt x="16" y="10"/>
                  </a:lnTo>
                  <a:lnTo>
                    <a:pt x="18" y="12"/>
                  </a:lnTo>
                  <a:lnTo>
                    <a:pt x="18" y="10"/>
                  </a:lnTo>
                  <a:lnTo>
                    <a:pt x="20" y="6"/>
                  </a:lnTo>
                  <a:lnTo>
                    <a:pt x="18" y="0"/>
                  </a:lnTo>
                  <a:lnTo>
                    <a:pt x="16" y="0"/>
                  </a:lnTo>
                  <a:lnTo>
                    <a:pt x="14" y="2"/>
                  </a:lnTo>
                  <a:lnTo>
                    <a:pt x="12" y="2"/>
                  </a:lnTo>
                  <a:lnTo>
                    <a:pt x="8" y="2"/>
                  </a:lnTo>
                  <a:lnTo>
                    <a:pt x="8" y="6"/>
                  </a:lnTo>
                  <a:lnTo>
                    <a:pt x="4" y="12"/>
                  </a:lnTo>
                  <a:lnTo>
                    <a:pt x="4" y="16"/>
                  </a:lnTo>
                  <a:lnTo>
                    <a:pt x="4" y="20"/>
                  </a:lnTo>
                  <a:lnTo>
                    <a:pt x="2" y="20"/>
                  </a:lnTo>
                  <a:lnTo>
                    <a:pt x="4" y="24"/>
                  </a:lnTo>
                  <a:lnTo>
                    <a:pt x="0" y="26"/>
                  </a:lnTo>
                  <a:lnTo>
                    <a:pt x="2" y="34"/>
                  </a:lnTo>
                  <a:lnTo>
                    <a:pt x="4" y="58"/>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4" name="Freeform 317">
              <a:extLst>
                <a:ext uri="{FF2B5EF4-FFF2-40B4-BE49-F238E27FC236}">
                  <a16:creationId xmlns:a16="http://schemas.microsoft.com/office/drawing/2014/main" id="{0445909C-C279-4745-8FC0-48F15E7CD80F}"/>
                </a:ext>
              </a:extLst>
            </p:cNvPr>
            <p:cNvSpPr>
              <a:spLocks/>
            </p:cNvSpPr>
            <p:nvPr/>
          </p:nvSpPr>
          <p:spPr bwMode="auto">
            <a:xfrm>
              <a:off x="3616797" y="4060850"/>
              <a:ext cx="25896" cy="75099"/>
            </a:xfrm>
            <a:custGeom>
              <a:avLst/>
              <a:gdLst/>
              <a:ahLst/>
              <a:cxnLst>
                <a:cxn ang="0">
                  <a:pos x="4" y="58"/>
                </a:cxn>
                <a:cxn ang="0">
                  <a:pos x="4" y="58"/>
                </a:cxn>
                <a:cxn ang="0">
                  <a:pos x="10" y="52"/>
                </a:cxn>
                <a:cxn ang="0">
                  <a:pos x="14" y="46"/>
                </a:cxn>
                <a:cxn ang="0">
                  <a:pos x="14" y="42"/>
                </a:cxn>
                <a:cxn ang="0">
                  <a:pos x="14" y="38"/>
                </a:cxn>
                <a:cxn ang="0">
                  <a:pos x="16" y="34"/>
                </a:cxn>
                <a:cxn ang="0">
                  <a:pos x="18" y="28"/>
                </a:cxn>
                <a:cxn ang="0">
                  <a:pos x="16" y="28"/>
                </a:cxn>
                <a:cxn ang="0">
                  <a:pos x="14" y="28"/>
                </a:cxn>
                <a:cxn ang="0">
                  <a:pos x="12" y="28"/>
                </a:cxn>
                <a:cxn ang="0">
                  <a:pos x="12" y="20"/>
                </a:cxn>
                <a:cxn ang="0">
                  <a:pos x="12" y="14"/>
                </a:cxn>
                <a:cxn ang="0">
                  <a:pos x="12" y="12"/>
                </a:cxn>
                <a:cxn ang="0">
                  <a:pos x="14" y="10"/>
                </a:cxn>
                <a:cxn ang="0">
                  <a:pos x="16" y="10"/>
                </a:cxn>
                <a:cxn ang="0">
                  <a:pos x="18" y="12"/>
                </a:cxn>
                <a:cxn ang="0">
                  <a:pos x="18" y="10"/>
                </a:cxn>
                <a:cxn ang="0">
                  <a:pos x="20" y="6"/>
                </a:cxn>
                <a:cxn ang="0">
                  <a:pos x="18" y="0"/>
                </a:cxn>
                <a:cxn ang="0">
                  <a:pos x="16" y="0"/>
                </a:cxn>
                <a:cxn ang="0">
                  <a:pos x="14" y="2"/>
                </a:cxn>
                <a:cxn ang="0">
                  <a:pos x="12" y="2"/>
                </a:cxn>
                <a:cxn ang="0">
                  <a:pos x="8" y="2"/>
                </a:cxn>
                <a:cxn ang="0">
                  <a:pos x="8" y="6"/>
                </a:cxn>
                <a:cxn ang="0">
                  <a:pos x="4" y="12"/>
                </a:cxn>
                <a:cxn ang="0">
                  <a:pos x="4" y="16"/>
                </a:cxn>
                <a:cxn ang="0">
                  <a:pos x="4" y="20"/>
                </a:cxn>
                <a:cxn ang="0">
                  <a:pos x="2" y="20"/>
                </a:cxn>
                <a:cxn ang="0">
                  <a:pos x="4" y="24"/>
                </a:cxn>
                <a:cxn ang="0">
                  <a:pos x="0" y="26"/>
                </a:cxn>
                <a:cxn ang="0">
                  <a:pos x="2" y="34"/>
                </a:cxn>
                <a:cxn ang="0">
                  <a:pos x="4" y="58"/>
                </a:cxn>
              </a:cxnLst>
              <a:rect l="0" t="0" r="r" b="b"/>
              <a:pathLst>
                <a:path w="20" h="58">
                  <a:moveTo>
                    <a:pt x="4" y="58"/>
                  </a:moveTo>
                  <a:lnTo>
                    <a:pt x="4" y="58"/>
                  </a:lnTo>
                  <a:lnTo>
                    <a:pt x="10" y="52"/>
                  </a:lnTo>
                  <a:lnTo>
                    <a:pt x="14" y="46"/>
                  </a:lnTo>
                  <a:lnTo>
                    <a:pt x="14" y="42"/>
                  </a:lnTo>
                  <a:lnTo>
                    <a:pt x="14" y="38"/>
                  </a:lnTo>
                  <a:lnTo>
                    <a:pt x="16" y="34"/>
                  </a:lnTo>
                  <a:lnTo>
                    <a:pt x="18" y="28"/>
                  </a:lnTo>
                  <a:lnTo>
                    <a:pt x="16" y="28"/>
                  </a:lnTo>
                  <a:lnTo>
                    <a:pt x="14" y="28"/>
                  </a:lnTo>
                  <a:lnTo>
                    <a:pt x="12" y="28"/>
                  </a:lnTo>
                  <a:lnTo>
                    <a:pt x="12" y="20"/>
                  </a:lnTo>
                  <a:lnTo>
                    <a:pt x="12" y="14"/>
                  </a:lnTo>
                  <a:lnTo>
                    <a:pt x="12" y="12"/>
                  </a:lnTo>
                  <a:lnTo>
                    <a:pt x="14" y="10"/>
                  </a:lnTo>
                  <a:lnTo>
                    <a:pt x="16" y="10"/>
                  </a:lnTo>
                  <a:lnTo>
                    <a:pt x="18" y="12"/>
                  </a:lnTo>
                  <a:lnTo>
                    <a:pt x="18" y="10"/>
                  </a:lnTo>
                  <a:lnTo>
                    <a:pt x="20" y="6"/>
                  </a:lnTo>
                  <a:lnTo>
                    <a:pt x="18" y="0"/>
                  </a:lnTo>
                  <a:lnTo>
                    <a:pt x="16" y="0"/>
                  </a:lnTo>
                  <a:lnTo>
                    <a:pt x="14" y="2"/>
                  </a:lnTo>
                  <a:lnTo>
                    <a:pt x="12" y="2"/>
                  </a:lnTo>
                  <a:lnTo>
                    <a:pt x="8" y="2"/>
                  </a:lnTo>
                  <a:lnTo>
                    <a:pt x="8" y="6"/>
                  </a:lnTo>
                  <a:lnTo>
                    <a:pt x="4" y="12"/>
                  </a:lnTo>
                  <a:lnTo>
                    <a:pt x="4" y="16"/>
                  </a:lnTo>
                  <a:lnTo>
                    <a:pt x="4" y="20"/>
                  </a:lnTo>
                  <a:lnTo>
                    <a:pt x="2" y="20"/>
                  </a:lnTo>
                  <a:lnTo>
                    <a:pt x="4" y="24"/>
                  </a:lnTo>
                  <a:lnTo>
                    <a:pt x="0" y="26"/>
                  </a:lnTo>
                  <a:lnTo>
                    <a:pt x="2" y="34"/>
                  </a:lnTo>
                  <a:lnTo>
                    <a:pt x="4" y="58"/>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5" name="Freeform 318">
              <a:extLst>
                <a:ext uri="{FF2B5EF4-FFF2-40B4-BE49-F238E27FC236}">
                  <a16:creationId xmlns:a16="http://schemas.microsoft.com/office/drawing/2014/main" id="{7B899E7B-2D70-4F54-8BE9-8C0F5244F5C8}"/>
                </a:ext>
              </a:extLst>
            </p:cNvPr>
            <p:cNvSpPr>
              <a:spLocks/>
            </p:cNvSpPr>
            <p:nvPr/>
          </p:nvSpPr>
          <p:spPr bwMode="auto">
            <a:xfrm>
              <a:off x="2881348" y="3579182"/>
              <a:ext cx="5179" cy="5179"/>
            </a:xfrm>
            <a:custGeom>
              <a:avLst/>
              <a:gdLst/>
              <a:ahLst/>
              <a:cxnLst>
                <a:cxn ang="0">
                  <a:pos x="4" y="0"/>
                </a:cxn>
                <a:cxn ang="0">
                  <a:pos x="4" y="0"/>
                </a:cxn>
                <a:cxn ang="0">
                  <a:pos x="4" y="2"/>
                </a:cxn>
                <a:cxn ang="0">
                  <a:pos x="2" y="4"/>
                </a:cxn>
                <a:cxn ang="0">
                  <a:pos x="0" y="4"/>
                </a:cxn>
                <a:cxn ang="0">
                  <a:pos x="4" y="0"/>
                </a:cxn>
              </a:cxnLst>
              <a:rect l="0" t="0" r="r" b="b"/>
              <a:pathLst>
                <a:path w="4" h="4">
                  <a:moveTo>
                    <a:pt x="4" y="0"/>
                  </a:moveTo>
                  <a:lnTo>
                    <a:pt x="4" y="0"/>
                  </a:lnTo>
                  <a:lnTo>
                    <a:pt x="4" y="2"/>
                  </a:lnTo>
                  <a:lnTo>
                    <a:pt x="2" y="4"/>
                  </a:lnTo>
                  <a:lnTo>
                    <a:pt x="0" y="4"/>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6" name="Freeform 319">
              <a:extLst>
                <a:ext uri="{FF2B5EF4-FFF2-40B4-BE49-F238E27FC236}">
                  <a16:creationId xmlns:a16="http://schemas.microsoft.com/office/drawing/2014/main" id="{DB73F279-056A-4930-9CD8-FB835C5632B3}"/>
                </a:ext>
              </a:extLst>
            </p:cNvPr>
            <p:cNvSpPr>
              <a:spLocks/>
            </p:cNvSpPr>
            <p:nvPr/>
          </p:nvSpPr>
          <p:spPr bwMode="auto">
            <a:xfrm>
              <a:off x="2881348" y="3579182"/>
              <a:ext cx="5179" cy="5179"/>
            </a:xfrm>
            <a:custGeom>
              <a:avLst/>
              <a:gdLst/>
              <a:ahLst/>
              <a:cxnLst>
                <a:cxn ang="0">
                  <a:pos x="4" y="0"/>
                </a:cxn>
                <a:cxn ang="0">
                  <a:pos x="4" y="0"/>
                </a:cxn>
                <a:cxn ang="0">
                  <a:pos x="4" y="2"/>
                </a:cxn>
                <a:cxn ang="0">
                  <a:pos x="2" y="4"/>
                </a:cxn>
                <a:cxn ang="0">
                  <a:pos x="0" y="4"/>
                </a:cxn>
                <a:cxn ang="0">
                  <a:pos x="4" y="0"/>
                </a:cxn>
              </a:cxnLst>
              <a:rect l="0" t="0" r="r" b="b"/>
              <a:pathLst>
                <a:path w="4" h="4">
                  <a:moveTo>
                    <a:pt x="4" y="0"/>
                  </a:moveTo>
                  <a:lnTo>
                    <a:pt x="4" y="0"/>
                  </a:lnTo>
                  <a:lnTo>
                    <a:pt x="4" y="2"/>
                  </a:lnTo>
                  <a:lnTo>
                    <a:pt x="2" y="4"/>
                  </a:lnTo>
                  <a:lnTo>
                    <a:pt x="0" y="4"/>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7" name="Freeform 320">
              <a:extLst>
                <a:ext uri="{FF2B5EF4-FFF2-40B4-BE49-F238E27FC236}">
                  <a16:creationId xmlns:a16="http://schemas.microsoft.com/office/drawing/2014/main" id="{5984E18F-481D-41F1-B9B3-0CF7EE7982ED}"/>
                </a:ext>
              </a:extLst>
            </p:cNvPr>
            <p:cNvSpPr>
              <a:spLocks/>
            </p:cNvSpPr>
            <p:nvPr/>
          </p:nvSpPr>
          <p:spPr bwMode="auto">
            <a:xfrm>
              <a:off x="3774763" y="3900294"/>
              <a:ext cx="328880" cy="328881"/>
            </a:xfrm>
            <a:custGeom>
              <a:avLst/>
              <a:gdLst/>
              <a:ahLst/>
              <a:cxnLst>
                <a:cxn ang="0">
                  <a:pos x="240" y="224"/>
                </a:cxn>
                <a:cxn ang="0">
                  <a:pos x="248" y="212"/>
                </a:cxn>
                <a:cxn ang="0">
                  <a:pos x="232" y="186"/>
                </a:cxn>
                <a:cxn ang="0">
                  <a:pos x="240" y="150"/>
                </a:cxn>
                <a:cxn ang="0">
                  <a:pos x="226" y="138"/>
                </a:cxn>
                <a:cxn ang="0">
                  <a:pos x="218" y="112"/>
                </a:cxn>
                <a:cxn ang="0">
                  <a:pos x="218" y="92"/>
                </a:cxn>
                <a:cxn ang="0">
                  <a:pos x="232" y="78"/>
                </a:cxn>
                <a:cxn ang="0">
                  <a:pos x="234" y="56"/>
                </a:cxn>
                <a:cxn ang="0">
                  <a:pos x="218" y="42"/>
                </a:cxn>
                <a:cxn ang="0">
                  <a:pos x="188" y="26"/>
                </a:cxn>
                <a:cxn ang="0">
                  <a:pos x="154" y="26"/>
                </a:cxn>
                <a:cxn ang="0">
                  <a:pos x="140" y="34"/>
                </a:cxn>
                <a:cxn ang="0">
                  <a:pos x="126" y="52"/>
                </a:cxn>
                <a:cxn ang="0">
                  <a:pos x="120" y="48"/>
                </a:cxn>
                <a:cxn ang="0">
                  <a:pos x="94" y="52"/>
                </a:cxn>
                <a:cxn ang="0">
                  <a:pos x="76" y="38"/>
                </a:cxn>
                <a:cxn ang="0">
                  <a:pos x="66" y="38"/>
                </a:cxn>
                <a:cxn ang="0">
                  <a:pos x="56" y="14"/>
                </a:cxn>
                <a:cxn ang="0">
                  <a:pos x="52" y="6"/>
                </a:cxn>
                <a:cxn ang="0">
                  <a:pos x="50" y="2"/>
                </a:cxn>
                <a:cxn ang="0">
                  <a:pos x="38" y="10"/>
                </a:cxn>
                <a:cxn ang="0">
                  <a:pos x="24" y="10"/>
                </a:cxn>
                <a:cxn ang="0">
                  <a:pos x="16" y="2"/>
                </a:cxn>
                <a:cxn ang="0">
                  <a:pos x="6" y="2"/>
                </a:cxn>
                <a:cxn ang="0">
                  <a:pos x="4" y="14"/>
                </a:cxn>
                <a:cxn ang="0">
                  <a:pos x="0" y="24"/>
                </a:cxn>
                <a:cxn ang="0">
                  <a:pos x="8" y="40"/>
                </a:cxn>
                <a:cxn ang="0">
                  <a:pos x="10" y="54"/>
                </a:cxn>
                <a:cxn ang="0">
                  <a:pos x="12" y="56"/>
                </a:cxn>
                <a:cxn ang="0">
                  <a:pos x="12" y="62"/>
                </a:cxn>
                <a:cxn ang="0">
                  <a:pos x="18" y="68"/>
                </a:cxn>
                <a:cxn ang="0">
                  <a:pos x="30" y="70"/>
                </a:cxn>
                <a:cxn ang="0">
                  <a:pos x="32" y="74"/>
                </a:cxn>
                <a:cxn ang="0">
                  <a:pos x="26" y="76"/>
                </a:cxn>
                <a:cxn ang="0">
                  <a:pos x="24" y="84"/>
                </a:cxn>
                <a:cxn ang="0">
                  <a:pos x="22" y="90"/>
                </a:cxn>
                <a:cxn ang="0">
                  <a:pos x="26" y="102"/>
                </a:cxn>
                <a:cxn ang="0">
                  <a:pos x="38" y="112"/>
                </a:cxn>
                <a:cxn ang="0">
                  <a:pos x="42" y="122"/>
                </a:cxn>
                <a:cxn ang="0">
                  <a:pos x="54" y="136"/>
                </a:cxn>
                <a:cxn ang="0">
                  <a:pos x="60" y="152"/>
                </a:cxn>
                <a:cxn ang="0">
                  <a:pos x="66" y="166"/>
                </a:cxn>
                <a:cxn ang="0">
                  <a:pos x="86" y="180"/>
                </a:cxn>
                <a:cxn ang="0">
                  <a:pos x="92" y="192"/>
                </a:cxn>
                <a:cxn ang="0">
                  <a:pos x="100" y="202"/>
                </a:cxn>
                <a:cxn ang="0">
                  <a:pos x="110" y="214"/>
                </a:cxn>
                <a:cxn ang="0">
                  <a:pos x="124" y="228"/>
                </a:cxn>
                <a:cxn ang="0">
                  <a:pos x="138" y="230"/>
                </a:cxn>
                <a:cxn ang="0">
                  <a:pos x="168" y="224"/>
                </a:cxn>
                <a:cxn ang="0">
                  <a:pos x="178" y="246"/>
                </a:cxn>
                <a:cxn ang="0">
                  <a:pos x="206" y="250"/>
                </a:cxn>
                <a:cxn ang="0">
                  <a:pos x="224" y="254"/>
                </a:cxn>
              </a:cxnLst>
              <a:rect l="0" t="0" r="r" b="b"/>
              <a:pathLst>
                <a:path w="254" h="254">
                  <a:moveTo>
                    <a:pt x="224" y="254"/>
                  </a:moveTo>
                  <a:lnTo>
                    <a:pt x="226" y="238"/>
                  </a:lnTo>
                  <a:lnTo>
                    <a:pt x="232" y="226"/>
                  </a:lnTo>
                  <a:lnTo>
                    <a:pt x="240" y="224"/>
                  </a:lnTo>
                  <a:lnTo>
                    <a:pt x="248" y="224"/>
                  </a:lnTo>
                  <a:lnTo>
                    <a:pt x="254" y="220"/>
                  </a:lnTo>
                  <a:lnTo>
                    <a:pt x="254" y="214"/>
                  </a:lnTo>
                  <a:lnTo>
                    <a:pt x="248" y="212"/>
                  </a:lnTo>
                  <a:lnTo>
                    <a:pt x="248" y="204"/>
                  </a:lnTo>
                  <a:lnTo>
                    <a:pt x="244" y="198"/>
                  </a:lnTo>
                  <a:lnTo>
                    <a:pt x="238" y="196"/>
                  </a:lnTo>
                  <a:lnTo>
                    <a:pt x="232" y="186"/>
                  </a:lnTo>
                  <a:lnTo>
                    <a:pt x="232" y="182"/>
                  </a:lnTo>
                  <a:lnTo>
                    <a:pt x="232" y="178"/>
                  </a:lnTo>
                  <a:lnTo>
                    <a:pt x="228" y="166"/>
                  </a:lnTo>
                  <a:lnTo>
                    <a:pt x="240" y="150"/>
                  </a:lnTo>
                  <a:lnTo>
                    <a:pt x="240" y="146"/>
                  </a:lnTo>
                  <a:lnTo>
                    <a:pt x="238" y="142"/>
                  </a:lnTo>
                  <a:lnTo>
                    <a:pt x="228" y="140"/>
                  </a:lnTo>
                  <a:lnTo>
                    <a:pt x="226" y="138"/>
                  </a:lnTo>
                  <a:lnTo>
                    <a:pt x="226" y="130"/>
                  </a:lnTo>
                  <a:lnTo>
                    <a:pt x="224" y="122"/>
                  </a:lnTo>
                  <a:lnTo>
                    <a:pt x="218" y="116"/>
                  </a:lnTo>
                  <a:lnTo>
                    <a:pt x="218" y="112"/>
                  </a:lnTo>
                  <a:lnTo>
                    <a:pt x="222" y="108"/>
                  </a:lnTo>
                  <a:lnTo>
                    <a:pt x="218" y="106"/>
                  </a:lnTo>
                  <a:lnTo>
                    <a:pt x="218" y="102"/>
                  </a:lnTo>
                  <a:lnTo>
                    <a:pt x="218" y="92"/>
                  </a:lnTo>
                  <a:lnTo>
                    <a:pt x="222" y="86"/>
                  </a:lnTo>
                  <a:lnTo>
                    <a:pt x="224" y="84"/>
                  </a:lnTo>
                  <a:lnTo>
                    <a:pt x="230" y="84"/>
                  </a:lnTo>
                  <a:lnTo>
                    <a:pt x="232" y="78"/>
                  </a:lnTo>
                  <a:lnTo>
                    <a:pt x="232" y="72"/>
                  </a:lnTo>
                  <a:lnTo>
                    <a:pt x="234" y="66"/>
                  </a:lnTo>
                  <a:lnTo>
                    <a:pt x="234" y="60"/>
                  </a:lnTo>
                  <a:lnTo>
                    <a:pt x="234" y="56"/>
                  </a:lnTo>
                  <a:lnTo>
                    <a:pt x="228" y="54"/>
                  </a:lnTo>
                  <a:lnTo>
                    <a:pt x="224" y="48"/>
                  </a:lnTo>
                  <a:lnTo>
                    <a:pt x="222" y="44"/>
                  </a:lnTo>
                  <a:lnTo>
                    <a:pt x="218" y="42"/>
                  </a:lnTo>
                  <a:lnTo>
                    <a:pt x="210" y="36"/>
                  </a:lnTo>
                  <a:lnTo>
                    <a:pt x="202" y="32"/>
                  </a:lnTo>
                  <a:lnTo>
                    <a:pt x="192" y="28"/>
                  </a:lnTo>
                  <a:lnTo>
                    <a:pt x="188" y="26"/>
                  </a:lnTo>
                  <a:lnTo>
                    <a:pt x="180" y="26"/>
                  </a:lnTo>
                  <a:lnTo>
                    <a:pt x="166" y="22"/>
                  </a:lnTo>
                  <a:lnTo>
                    <a:pt x="160" y="24"/>
                  </a:lnTo>
                  <a:lnTo>
                    <a:pt x="154" y="26"/>
                  </a:lnTo>
                  <a:lnTo>
                    <a:pt x="146" y="26"/>
                  </a:lnTo>
                  <a:lnTo>
                    <a:pt x="142" y="28"/>
                  </a:lnTo>
                  <a:lnTo>
                    <a:pt x="140" y="32"/>
                  </a:lnTo>
                  <a:lnTo>
                    <a:pt x="140" y="34"/>
                  </a:lnTo>
                  <a:lnTo>
                    <a:pt x="136" y="40"/>
                  </a:lnTo>
                  <a:lnTo>
                    <a:pt x="128" y="40"/>
                  </a:lnTo>
                  <a:lnTo>
                    <a:pt x="128" y="50"/>
                  </a:lnTo>
                  <a:lnTo>
                    <a:pt x="126" y="52"/>
                  </a:lnTo>
                  <a:lnTo>
                    <a:pt x="122" y="52"/>
                  </a:lnTo>
                  <a:lnTo>
                    <a:pt x="120" y="50"/>
                  </a:lnTo>
                  <a:lnTo>
                    <a:pt x="122" y="50"/>
                  </a:lnTo>
                  <a:lnTo>
                    <a:pt x="120" y="48"/>
                  </a:lnTo>
                  <a:lnTo>
                    <a:pt x="116" y="48"/>
                  </a:lnTo>
                  <a:lnTo>
                    <a:pt x="110" y="52"/>
                  </a:lnTo>
                  <a:lnTo>
                    <a:pt x="104" y="56"/>
                  </a:lnTo>
                  <a:lnTo>
                    <a:pt x="94" y="52"/>
                  </a:lnTo>
                  <a:lnTo>
                    <a:pt x="84" y="46"/>
                  </a:lnTo>
                  <a:lnTo>
                    <a:pt x="80" y="40"/>
                  </a:lnTo>
                  <a:lnTo>
                    <a:pt x="76" y="40"/>
                  </a:lnTo>
                  <a:lnTo>
                    <a:pt x="76" y="38"/>
                  </a:lnTo>
                  <a:lnTo>
                    <a:pt x="72" y="40"/>
                  </a:lnTo>
                  <a:lnTo>
                    <a:pt x="70" y="40"/>
                  </a:lnTo>
                  <a:lnTo>
                    <a:pt x="68" y="42"/>
                  </a:lnTo>
                  <a:lnTo>
                    <a:pt x="66" y="38"/>
                  </a:lnTo>
                  <a:lnTo>
                    <a:pt x="64" y="36"/>
                  </a:lnTo>
                  <a:lnTo>
                    <a:pt x="62" y="28"/>
                  </a:lnTo>
                  <a:lnTo>
                    <a:pt x="60" y="18"/>
                  </a:lnTo>
                  <a:lnTo>
                    <a:pt x="56" y="14"/>
                  </a:lnTo>
                  <a:lnTo>
                    <a:pt x="54" y="12"/>
                  </a:lnTo>
                  <a:lnTo>
                    <a:pt x="52" y="10"/>
                  </a:lnTo>
                  <a:lnTo>
                    <a:pt x="52" y="8"/>
                  </a:lnTo>
                  <a:lnTo>
                    <a:pt x="52" y="6"/>
                  </a:lnTo>
                  <a:lnTo>
                    <a:pt x="54" y="4"/>
                  </a:lnTo>
                  <a:lnTo>
                    <a:pt x="54" y="2"/>
                  </a:lnTo>
                  <a:lnTo>
                    <a:pt x="52" y="0"/>
                  </a:lnTo>
                  <a:lnTo>
                    <a:pt x="50" y="2"/>
                  </a:lnTo>
                  <a:lnTo>
                    <a:pt x="48" y="2"/>
                  </a:lnTo>
                  <a:lnTo>
                    <a:pt x="44" y="4"/>
                  </a:lnTo>
                  <a:lnTo>
                    <a:pt x="42" y="8"/>
                  </a:lnTo>
                  <a:lnTo>
                    <a:pt x="38" y="10"/>
                  </a:lnTo>
                  <a:lnTo>
                    <a:pt x="34" y="12"/>
                  </a:lnTo>
                  <a:lnTo>
                    <a:pt x="28" y="14"/>
                  </a:lnTo>
                  <a:lnTo>
                    <a:pt x="26" y="12"/>
                  </a:lnTo>
                  <a:lnTo>
                    <a:pt x="24" y="10"/>
                  </a:lnTo>
                  <a:lnTo>
                    <a:pt x="22" y="8"/>
                  </a:lnTo>
                  <a:lnTo>
                    <a:pt x="18" y="4"/>
                  </a:lnTo>
                  <a:lnTo>
                    <a:pt x="16" y="2"/>
                  </a:lnTo>
                  <a:lnTo>
                    <a:pt x="16" y="2"/>
                  </a:lnTo>
                  <a:lnTo>
                    <a:pt x="14" y="2"/>
                  </a:lnTo>
                  <a:lnTo>
                    <a:pt x="12" y="4"/>
                  </a:lnTo>
                  <a:lnTo>
                    <a:pt x="8" y="2"/>
                  </a:lnTo>
                  <a:lnTo>
                    <a:pt x="6" y="2"/>
                  </a:lnTo>
                  <a:lnTo>
                    <a:pt x="4" y="6"/>
                  </a:lnTo>
                  <a:lnTo>
                    <a:pt x="2" y="8"/>
                  </a:lnTo>
                  <a:lnTo>
                    <a:pt x="4" y="12"/>
                  </a:lnTo>
                  <a:lnTo>
                    <a:pt x="4" y="14"/>
                  </a:lnTo>
                  <a:lnTo>
                    <a:pt x="4" y="16"/>
                  </a:lnTo>
                  <a:lnTo>
                    <a:pt x="4" y="20"/>
                  </a:lnTo>
                  <a:lnTo>
                    <a:pt x="2" y="22"/>
                  </a:lnTo>
                  <a:lnTo>
                    <a:pt x="0" y="24"/>
                  </a:lnTo>
                  <a:lnTo>
                    <a:pt x="2" y="28"/>
                  </a:lnTo>
                  <a:lnTo>
                    <a:pt x="6" y="32"/>
                  </a:lnTo>
                  <a:lnTo>
                    <a:pt x="6" y="36"/>
                  </a:lnTo>
                  <a:lnTo>
                    <a:pt x="8" y="40"/>
                  </a:lnTo>
                  <a:lnTo>
                    <a:pt x="8" y="44"/>
                  </a:lnTo>
                  <a:lnTo>
                    <a:pt x="8" y="46"/>
                  </a:lnTo>
                  <a:lnTo>
                    <a:pt x="10" y="52"/>
                  </a:lnTo>
                  <a:lnTo>
                    <a:pt x="10" y="54"/>
                  </a:lnTo>
                  <a:lnTo>
                    <a:pt x="10" y="56"/>
                  </a:lnTo>
                  <a:lnTo>
                    <a:pt x="8" y="56"/>
                  </a:lnTo>
                  <a:lnTo>
                    <a:pt x="10" y="56"/>
                  </a:lnTo>
                  <a:lnTo>
                    <a:pt x="12" y="56"/>
                  </a:lnTo>
                  <a:lnTo>
                    <a:pt x="12" y="58"/>
                  </a:lnTo>
                  <a:lnTo>
                    <a:pt x="10" y="60"/>
                  </a:lnTo>
                  <a:lnTo>
                    <a:pt x="12" y="60"/>
                  </a:lnTo>
                  <a:lnTo>
                    <a:pt x="12" y="62"/>
                  </a:lnTo>
                  <a:lnTo>
                    <a:pt x="14" y="64"/>
                  </a:lnTo>
                  <a:lnTo>
                    <a:pt x="14" y="66"/>
                  </a:lnTo>
                  <a:lnTo>
                    <a:pt x="18" y="66"/>
                  </a:lnTo>
                  <a:lnTo>
                    <a:pt x="18" y="68"/>
                  </a:lnTo>
                  <a:lnTo>
                    <a:pt x="20" y="68"/>
                  </a:lnTo>
                  <a:lnTo>
                    <a:pt x="22" y="68"/>
                  </a:lnTo>
                  <a:lnTo>
                    <a:pt x="26" y="70"/>
                  </a:lnTo>
                  <a:lnTo>
                    <a:pt x="30" y="70"/>
                  </a:lnTo>
                  <a:lnTo>
                    <a:pt x="32" y="70"/>
                  </a:lnTo>
                  <a:lnTo>
                    <a:pt x="34" y="70"/>
                  </a:lnTo>
                  <a:lnTo>
                    <a:pt x="34" y="72"/>
                  </a:lnTo>
                  <a:lnTo>
                    <a:pt x="32" y="74"/>
                  </a:lnTo>
                  <a:lnTo>
                    <a:pt x="30" y="74"/>
                  </a:lnTo>
                  <a:lnTo>
                    <a:pt x="28" y="74"/>
                  </a:lnTo>
                  <a:lnTo>
                    <a:pt x="26" y="74"/>
                  </a:lnTo>
                  <a:lnTo>
                    <a:pt x="26" y="76"/>
                  </a:lnTo>
                  <a:lnTo>
                    <a:pt x="28" y="80"/>
                  </a:lnTo>
                  <a:lnTo>
                    <a:pt x="28" y="84"/>
                  </a:lnTo>
                  <a:lnTo>
                    <a:pt x="26" y="84"/>
                  </a:lnTo>
                  <a:lnTo>
                    <a:pt x="24" y="84"/>
                  </a:lnTo>
                  <a:lnTo>
                    <a:pt x="22" y="84"/>
                  </a:lnTo>
                  <a:lnTo>
                    <a:pt x="22" y="86"/>
                  </a:lnTo>
                  <a:lnTo>
                    <a:pt x="24" y="88"/>
                  </a:lnTo>
                  <a:lnTo>
                    <a:pt x="22" y="90"/>
                  </a:lnTo>
                  <a:lnTo>
                    <a:pt x="20" y="92"/>
                  </a:lnTo>
                  <a:lnTo>
                    <a:pt x="22" y="96"/>
                  </a:lnTo>
                  <a:lnTo>
                    <a:pt x="24" y="98"/>
                  </a:lnTo>
                  <a:lnTo>
                    <a:pt x="26" y="102"/>
                  </a:lnTo>
                  <a:lnTo>
                    <a:pt x="28" y="104"/>
                  </a:lnTo>
                  <a:lnTo>
                    <a:pt x="28" y="108"/>
                  </a:lnTo>
                  <a:lnTo>
                    <a:pt x="32" y="110"/>
                  </a:lnTo>
                  <a:lnTo>
                    <a:pt x="38" y="112"/>
                  </a:lnTo>
                  <a:lnTo>
                    <a:pt x="42" y="118"/>
                  </a:lnTo>
                  <a:lnTo>
                    <a:pt x="42" y="120"/>
                  </a:lnTo>
                  <a:lnTo>
                    <a:pt x="40" y="122"/>
                  </a:lnTo>
                  <a:lnTo>
                    <a:pt x="42" y="122"/>
                  </a:lnTo>
                  <a:lnTo>
                    <a:pt x="46" y="122"/>
                  </a:lnTo>
                  <a:lnTo>
                    <a:pt x="48" y="124"/>
                  </a:lnTo>
                  <a:lnTo>
                    <a:pt x="52" y="132"/>
                  </a:lnTo>
                  <a:lnTo>
                    <a:pt x="54" y="136"/>
                  </a:lnTo>
                  <a:lnTo>
                    <a:pt x="54" y="140"/>
                  </a:lnTo>
                  <a:lnTo>
                    <a:pt x="54" y="146"/>
                  </a:lnTo>
                  <a:lnTo>
                    <a:pt x="56" y="152"/>
                  </a:lnTo>
                  <a:lnTo>
                    <a:pt x="60" y="152"/>
                  </a:lnTo>
                  <a:lnTo>
                    <a:pt x="60" y="158"/>
                  </a:lnTo>
                  <a:lnTo>
                    <a:pt x="62" y="160"/>
                  </a:lnTo>
                  <a:lnTo>
                    <a:pt x="64" y="162"/>
                  </a:lnTo>
                  <a:lnTo>
                    <a:pt x="66" y="166"/>
                  </a:lnTo>
                  <a:lnTo>
                    <a:pt x="74" y="168"/>
                  </a:lnTo>
                  <a:lnTo>
                    <a:pt x="80" y="166"/>
                  </a:lnTo>
                  <a:lnTo>
                    <a:pt x="86" y="176"/>
                  </a:lnTo>
                  <a:lnTo>
                    <a:pt x="86" y="180"/>
                  </a:lnTo>
                  <a:lnTo>
                    <a:pt x="86" y="182"/>
                  </a:lnTo>
                  <a:lnTo>
                    <a:pt x="90" y="184"/>
                  </a:lnTo>
                  <a:lnTo>
                    <a:pt x="90" y="188"/>
                  </a:lnTo>
                  <a:lnTo>
                    <a:pt x="92" y="192"/>
                  </a:lnTo>
                  <a:lnTo>
                    <a:pt x="94" y="194"/>
                  </a:lnTo>
                  <a:lnTo>
                    <a:pt x="94" y="198"/>
                  </a:lnTo>
                  <a:lnTo>
                    <a:pt x="98" y="200"/>
                  </a:lnTo>
                  <a:lnTo>
                    <a:pt x="100" y="202"/>
                  </a:lnTo>
                  <a:lnTo>
                    <a:pt x="100" y="204"/>
                  </a:lnTo>
                  <a:lnTo>
                    <a:pt x="100" y="208"/>
                  </a:lnTo>
                  <a:lnTo>
                    <a:pt x="106" y="214"/>
                  </a:lnTo>
                  <a:lnTo>
                    <a:pt x="110" y="214"/>
                  </a:lnTo>
                  <a:lnTo>
                    <a:pt x="110" y="218"/>
                  </a:lnTo>
                  <a:lnTo>
                    <a:pt x="116" y="224"/>
                  </a:lnTo>
                  <a:lnTo>
                    <a:pt x="120" y="224"/>
                  </a:lnTo>
                  <a:lnTo>
                    <a:pt x="124" y="228"/>
                  </a:lnTo>
                  <a:lnTo>
                    <a:pt x="128" y="228"/>
                  </a:lnTo>
                  <a:lnTo>
                    <a:pt x="132" y="230"/>
                  </a:lnTo>
                  <a:lnTo>
                    <a:pt x="136" y="232"/>
                  </a:lnTo>
                  <a:lnTo>
                    <a:pt x="138" y="230"/>
                  </a:lnTo>
                  <a:lnTo>
                    <a:pt x="140" y="228"/>
                  </a:lnTo>
                  <a:lnTo>
                    <a:pt x="152" y="224"/>
                  </a:lnTo>
                  <a:lnTo>
                    <a:pt x="162" y="220"/>
                  </a:lnTo>
                  <a:lnTo>
                    <a:pt x="168" y="224"/>
                  </a:lnTo>
                  <a:lnTo>
                    <a:pt x="172" y="228"/>
                  </a:lnTo>
                  <a:lnTo>
                    <a:pt x="172" y="238"/>
                  </a:lnTo>
                  <a:lnTo>
                    <a:pt x="174" y="242"/>
                  </a:lnTo>
                  <a:lnTo>
                    <a:pt x="178" y="246"/>
                  </a:lnTo>
                  <a:lnTo>
                    <a:pt x="186" y="248"/>
                  </a:lnTo>
                  <a:lnTo>
                    <a:pt x="196" y="248"/>
                  </a:lnTo>
                  <a:lnTo>
                    <a:pt x="196" y="250"/>
                  </a:lnTo>
                  <a:lnTo>
                    <a:pt x="206" y="250"/>
                  </a:lnTo>
                  <a:lnTo>
                    <a:pt x="214" y="248"/>
                  </a:lnTo>
                  <a:lnTo>
                    <a:pt x="220" y="252"/>
                  </a:lnTo>
                  <a:lnTo>
                    <a:pt x="220" y="254"/>
                  </a:lnTo>
                  <a:lnTo>
                    <a:pt x="224" y="254"/>
                  </a:lnTo>
                  <a:lnTo>
                    <a:pt x="224" y="25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8" name="Freeform 321">
              <a:extLst>
                <a:ext uri="{FF2B5EF4-FFF2-40B4-BE49-F238E27FC236}">
                  <a16:creationId xmlns:a16="http://schemas.microsoft.com/office/drawing/2014/main" id="{11603631-3F02-4947-B7C0-16F5294A9CFA}"/>
                </a:ext>
              </a:extLst>
            </p:cNvPr>
            <p:cNvSpPr>
              <a:spLocks/>
            </p:cNvSpPr>
            <p:nvPr/>
          </p:nvSpPr>
          <p:spPr bwMode="auto">
            <a:xfrm>
              <a:off x="5113592" y="4793710"/>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59" name="Line 322">
              <a:extLst>
                <a:ext uri="{FF2B5EF4-FFF2-40B4-BE49-F238E27FC236}">
                  <a16:creationId xmlns:a16="http://schemas.microsoft.com/office/drawing/2014/main" id="{1EE88DA9-A9B2-499F-BD57-ECB9EB7D7463}"/>
                </a:ext>
              </a:extLst>
            </p:cNvPr>
            <p:cNvSpPr>
              <a:spLocks noChangeShapeType="1"/>
            </p:cNvSpPr>
            <p:nvPr/>
          </p:nvSpPr>
          <p:spPr bwMode="auto">
            <a:xfrm>
              <a:off x="5113592" y="4793710"/>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0" name="Freeform 323">
              <a:extLst>
                <a:ext uri="{FF2B5EF4-FFF2-40B4-BE49-F238E27FC236}">
                  <a16:creationId xmlns:a16="http://schemas.microsoft.com/office/drawing/2014/main" id="{2C03722F-4C7E-4B96-BE30-1D624F62FE05}"/>
                </a:ext>
              </a:extLst>
            </p:cNvPr>
            <p:cNvSpPr>
              <a:spLocks/>
            </p:cNvSpPr>
            <p:nvPr/>
          </p:nvSpPr>
          <p:spPr bwMode="auto">
            <a:xfrm>
              <a:off x="5113592" y="4793710"/>
              <a:ext cx="1295" cy="2590"/>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1" name="Line 324">
              <a:extLst>
                <a:ext uri="{FF2B5EF4-FFF2-40B4-BE49-F238E27FC236}">
                  <a16:creationId xmlns:a16="http://schemas.microsoft.com/office/drawing/2014/main" id="{245CC6EE-FF3A-4807-B063-63867AD03886}"/>
                </a:ext>
              </a:extLst>
            </p:cNvPr>
            <p:cNvSpPr>
              <a:spLocks noChangeShapeType="1"/>
            </p:cNvSpPr>
            <p:nvPr/>
          </p:nvSpPr>
          <p:spPr bwMode="auto">
            <a:xfrm>
              <a:off x="5113592" y="4793710"/>
              <a:ext cx="1295"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2" name="Freeform 325">
              <a:extLst>
                <a:ext uri="{FF2B5EF4-FFF2-40B4-BE49-F238E27FC236}">
                  <a16:creationId xmlns:a16="http://schemas.microsoft.com/office/drawing/2014/main" id="{4466965C-AE14-45C9-AB29-F6201B79C0D6}"/>
                </a:ext>
              </a:extLst>
            </p:cNvPr>
            <p:cNvSpPr>
              <a:spLocks/>
            </p:cNvSpPr>
            <p:nvPr/>
          </p:nvSpPr>
          <p:spPr bwMode="auto">
            <a:xfrm>
              <a:off x="4774353" y="4765224"/>
              <a:ext cx="2590" cy="5179"/>
            </a:xfrm>
            <a:custGeom>
              <a:avLst/>
              <a:gdLst/>
              <a:ahLst/>
              <a:cxnLst>
                <a:cxn ang="0">
                  <a:pos x="0" y="0"/>
                </a:cxn>
                <a:cxn ang="0">
                  <a:pos x="0" y="4"/>
                </a:cxn>
                <a:cxn ang="0">
                  <a:pos x="2" y="2"/>
                </a:cxn>
                <a:cxn ang="0">
                  <a:pos x="0" y="0"/>
                </a:cxn>
                <a:cxn ang="0">
                  <a:pos x="0" y="0"/>
                </a:cxn>
              </a:cxnLst>
              <a:rect l="0" t="0" r="r" b="b"/>
              <a:pathLst>
                <a:path w="2" h="4">
                  <a:moveTo>
                    <a:pt x="0" y="0"/>
                  </a:moveTo>
                  <a:lnTo>
                    <a:pt x="0" y="4"/>
                  </a:ln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3" name="Freeform 326">
              <a:extLst>
                <a:ext uri="{FF2B5EF4-FFF2-40B4-BE49-F238E27FC236}">
                  <a16:creationId xmlns:a16="http://schemas.microsoft.com/office/drawing/2014/main" id="{12C7719D-35EC-4E04-A400-584704E154A1}"/>
                </a:ext>
              </a:extLst>
            </p:cNvPr>
            <p:cNvSpPr>
              <a:spLocks/>
            </p:cNvSpPr>
            <p:nvPr/>
          </p:nvSpPr>
          <p:spPr bwMode="auto">
            <a:xfrm>
              <a:off x="4774353" y="4765224"/>
              <a:ext cx="2590" cy="5179"/>
            </a:xfrm>
            <a:custGeom>
              <a:avLst/>
              <a:gdLst/>
              <a:ahLst/>
              <a:cxnLst>
                <a:cxn ang="0">
                  <a:pos x="0" y="0"/>
                </a:cxn>
                <a:cxn ang="0">
                  <a:pos x="0" y="4"/>
                </a:cxn>
                <a:cxn ang="0">
                  <a:pos x="2" y="2"/>
                </a:cxn>
                <a:cxn ang="0">
                  <a:pos x="0" y="0"/>
                </a:cxn>
                <a:cxn ang="0">
                  <a:pos x="0" y="0"/>
                </a:cxn>
              </a:cxnLst>
              <a:rect l="0" t="0" r="r" b="b"/>
              <a:pathLst>
                <a:path w="2" h="4">
                  <a:moveTo>
                    <a:pt x="0" y="0"/>
                  </a:moveTo>
                  <a:lnTo>
                    <a:pt x="0" y="4"/>
                  </a:ln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4" name="Freeform 327">
              <a:extLst>
                <a:ext uri="{FF2B5EF4-FFF2-40B4-BE49-F238E27FC236}">
                  <a16:creationId xmlns:a16="http://schemas.microsoft.com/office/drawing/2014/main" id="{EA1C6449-F67A-4DC9-88C5-A1D1EC59AD04}"/>
                </a:ext>
              </a:extLst>
            </p:cNvPr>
            <p:cNvSpPr>
              <a:spLocks noEditPoints="1"/>
            </p:cNvSpPr>
            <p:nvPr/>
          </p:nvSpPr>
          <p:spPr bwMode="auto">
            <a:xfrm>
              <a:off x="4629334" y="4635743"/>
              <a:ext cx="758756" cy="354777"/>
            </a:xfrm>
            <a:custGeom>
              <a:avLst/>
              <a:gdLst/>
              <a:ahLst/>
              <a:cxnLst>
                <a:cxn ang="0">
                  <a:pos x="16" y="28"/>
                </a:cxn>
                <a:cxn ang="0">
                  <a:pos x="48" y="62"/>
                </a:cxn>
                <a:cxn ang="0">
                  <a:pos x="78" y="120"/>
                </a:cxn>
                <a:cxn ang="0">
                  <a:pos x="112" y="174"/>
                </a:cxn>
                <a:cxn ang="0">
                  <a:pos x="140" y="162"/>
                </a:cxn>
                <a:cxn ang="0">
                  <a:pos x="114" y="112"/>
                </a:cxn>
                <a:cxn ang="0">
                  <a:pos x="96" y="78"/>
                </a:cxn>
                <a:cxn ang="0">
                  <a:pos x="72" y="56"/>
                </a:cxn>
                <a:cxn ang="0">
                  <a:pos x="38" y="16"/>
                </a:cxn>
                <a:cxn ang="0">
                  <a:pos x="432" y="60"/>
                </a:cxn>
                <a:cxn ang="0">
                  <a:pos x="414" y="92"/>
                </a:cxn>
                <a:cxn ang="0">
                  <a:pos x="424" y="82"/>
                </a:cxn>
                <a:cxn ang="0">
                  <a:pos x="422" y="60"/>
                </a:cxn>
                <a:cxn ang="0">
                  <a:pos x="338" y="78"/>
                </a:cxn>
                <a:cxn ang="0">
                  <a:pos x="314" y="110"/>
                </a:cxn>
                <a:cxn ang="0">
                  <a:pos x="308" y="170"/>
                </a:cxn>
                <a:cxn ang="0">
                  <a:pos x="334" y="146"/>
                </a:cxn>
                <a:cxn ang="0">
                  <a:pos x="352" y="154"/>
                </a:cxn>
                <a:cxn ang="0">
                  <a:pos x="356" y="118"/>
                </a:cxn>
                <a:cxn ang="0">
                  <a:pos x="324" y="88"/>
                </a:cxn>
                <a:cxn ang="0">
                  <a:pos x="378" y="84"/>
                </a:cxn>
                <a:cxn ang="0">
                  <a:pos x="464" y="100"/>
                </a:cxn>
                <a:cxn ang="0">
                  <a:pos x="148" y="142"/>
                </a:cxn>
                <a:cxn ang="0">
                  <a:pos x="430" y="150"/>
                </a:cxn>
                <a:cxn ang="0">
                  <a:pos x="426" y="142"/>
                </a:cxn>
                <a:cxn ang="0">
                  <a:pos x="408" y="144"/>
                </a:cxn>
                <a:cxn ang="0">
                  <a:pos x="358" y="184"/>
                </a:cxn>
                <a:cxn ang="0">
                  <a:pos x="130" y="198"/>
                </a:cxn>
                <a:cxn ang="0">
                  <a:pos x="206" y="222"/>
                </a:cxn>
                <a:cxn ang="0">
                  <a:pos x="252" y="224"/>
                </a:cxn>
                <a:cxn ang="0">
                  <a:pos x="202" y="188"/>
                </a:cxn>
                <a:cxn ang="0">
                  <a:pos x="502" y="192"/>
                </a:cxn>
                <a:cxn ang="0">
                  <a:pos x="506" y="190"/>
                </a:cxn>
                <a:cxn ang="0">
                  <a:pos x="262" y="224"/>
                </a:cxn>
                <a:cxn ang="0">
                  <a:pos x="268" y="236"/>
                </a:cxn>
                <a:cxn ang="0">
                  <a:pos x="284" y="236"/>
                </a:cxn>
                <a:cxn ang="0">
                  <a:pos x="290" y="230"/>
                </a:cxn>
                <a:cxn ang="0">
                  <a:pos x="356" y="240"/>
                </a:cxn>
                <a:cxn ang="0">
                  <a:pos x="402" y="236"/>
                </a:cxn>
                <a:cxn ang="0">
                  <a:pos x="358" y="266"/>
                </a:cxn>
                <a:cxn ang="0">
                  <a:pos x="388" y="254"/>
                </a:cxn>
                <a:cxn ang="0">
                  <a:pos x="310" y="252"/>
                </a:cxn>
                <a:cxn ang="0">
                  <a:pos x="186" y="60"/>
                </a:cxn>
                <a:cxn ang="0">
                  <a:pos x="182" y="110"/>
                </a:cxn>
                <a:cxn ang="0">
                  <a:pos x="214" y="140"/>
                </a:cxn>
                <a:cxn ang="0">
                  <a:pos x="248" y="146"/>
                </a:cxn>
                <a:cxn ang="0">
                  <a:pos x="288" y="112"/>
                </a:cxn>
                <a:cxn ang="0">
                  <a:pos x="294" y="68"/>
                </a:cxn>
                <a:cxn ang="0">
                  <a:pos x="286" y="30"/>
                </a:cxn>
                <a:cxn ang="0">
                  <a:pos x="234" y="74"/>
                </a:cxn>
                <a:cxn ang="0">
                  <a:pos x="470" y="112"/>
                </a:cxn>
                <a:cxn ang="0">
                  <a:pos x="480" y="130"/>
                </a:cxn>
                <a:cxn ang="0">
                  <a:pos x="484" y="154"/>
                </a:cxn>
                <a:cxn ang="0">
                  <a:pos x="518" y="168"/>
                </a:cxn>
                <a:cxn ang="0">
                  <a:pos x="554" y="200"/>
                </a:cxn>
                <a:cxn ang="0">
                  <a:pos x="560" y="226"/>
                </a:cxn>
                <a:cxn ang="0">
                  <a:pos x="586" y="198"/>
                </a:cxn>
                <a:cxn ang="0">
                  <a:pos x="540" y="124"/>
                </a:cxn>
                <a:cxn ang="0">
                  <a:pos x="500" y="130"/>
                </a:cxn>
                <a:cxn ang="0">
                  <a:pos x="478" y="106"/>
                </a:cxn>
              </a:cxnLst>
              <a:rect l="0" t="0" r="r" b="b"/>
              <a:pathLst>
                <a:path w="586" h="274">
                  <a:moveTo>
                    <a:pt x="18" y="6"/>
                  </a:moveTo>
                  <a:lnTo>
                    <a:pt x="18" y="6"/>
                  </a:lnTo>
                  <a:lnTo>
                    <a:pt x="14" y="2"/>
                  </a:lnTo>
                  <a:lnTo>
                    <a:pt x="12" y="0"/>
                  </a:lnTo>
                  <a:lnTo>
                    <a:pt x="6" y="0"/>
                  </a:lnTo>
                  <a:lnTo>
                    <a:pt x="0" y="0"/>
                  </a:lnTo>
                  <a:lnTo>
                    <a:pt x="0" y="8"/>
                  </a:lnTo>
                  <a:lnTo>
                    <a:pt x="2" y="8"/>
                  </a:lnTo>
                  <a:lnTo>
                    <a:pt x="6" y="16"/>
                  </a:lnTo>
                  <a:lnTo>
                    <a:pt x="8" y="20"/>
                  </a:lnTo>
                  <a:lnTo>
                    <a:pt x="10" y="22"/>
                  </a:lnTo>
                  <a:lnTo>
                    <a:pt x="14" y="24"/>
                  </a:lnTo>
                  <a:lnTo>
                    <a:pt x="16" y="28"/>
                  </a:lnTo>
                  <a:lnTo>
                    <a:pt x="18" y="32"/>
                  </a:lnTo>
                  <a:lnTo>
                    <a:pt x="20" y="32"/>
                  </a:lnTo>
                  <a:lnTo>
                    <a:pt x="22" y="34"/>
                  </a:lnTo>
                  <a:lnTo>
                    <a:pt x="24" y="38"/>
                  </a:lnTo>
                  <a:lnTo>
                    <a:pt x="30" y="44"/>
                  </a:lnTo>
                  <a:lnTo>
                    <a:pt x="30" y="48"/>
                  </a:lnTo>
                  <a:lnTo>
                    <a:pt x="34" y="50"/>
                  </a:lnTo>
                  <a:lnTo>
                    <a:pt x="34" y="54"/>
                  </a:lnTo>
                  <a:lnTo>
                    <a:pt x="34" y="58"/>
                  </a:lnTo>
                  <a:lnTo>
                    <a:pt x="40" y="58"/>
                  </a:lnTo>
                  <a:lnTo>
                    <a:pt x="42" y="60"/>
                  </a:lnTo>
                  <a:lnTo>
                    <a:pt x="46" y="62"/>
                  </a:lnTo>
                  <a:lnTo>
                    <a:pt x="48" y="62"/>
                  </a:lnTo>
                  <a:lnTo>
                    <a:pt x="50" y="64"/>
                  </a:lnTo>
                  <a:lnTo>
                    <a:pt x="50" y="68"/>
                  </a:lnTo>
                  <a:lnTo>
                    <a:pt x="50" y="74"/>
                  </a:lnTo>
                  <a:lnTo>
                    <a:pt x="54" y="82"/>
                  </a:lnTo>
                  <a:lnTo>
                    <a:pt x="54" y="86"/>
                  </a:lnTo>
                  <a:lnTo>
                    <a:pt x="56" y="88"/>
                  </a:lnTo>
                  <a:lnTo>
                    <a:pt x="58" y="90"/>
                  </a:lnTo>
                  <a:lnTo>
                    <a:pt x="62" y="98"/>
                  </a:lnTo>
                  <a:lnTo>
                    <a:pt x="66" y="100"/>
                  </a:lnTo>
                  <a:lnTo>
                    <a:pt x="70" y="104"/>
                  </a:lnTo>
                  <a:lnTo>
                    <a:pt x="74" y="114"/>
                  </a:lnTo>
                  <a:lnTo>
                    <a:pt x="76" y="118"/>
                  </a:lnTo>
                  <a:lnTo>
                    <a:pt x="78" y="120"/>
                  </a:lnTo>
                  <a:lnTo>
                    <a:pt x="80" y="120"/>
                  </a:lnTo>
                  <a:lnTo>
                    <a:pt x="80" y="124"/>
                  </a:lnTo>
                  <a:lnTo>
                    <a:pt x="80" y="128"/>
                  </a:lnTo>
                  <a:lnTo>
                    <a:pt x="82" y="130"/>
                  </a:lnTo>
                  <a:lnTo>
                    <a:pt x="84" y="138"/>
                  </a:lnTo>
                  <a:lnTo>
                    <a:pt x="88" y="144"/>
                  </a:lnTo>
                  <a:lnTo>
                    <a:pt x="90" y="146"/>
                  </a:lnTo>
                  <a:lnTo>
                    <a:pt x="92" y="152"/>
                  </a:lnTo>
                  <a:lnTo>
                    <a:pt x="94" y="160"/>
                  </a:lnTo>
                  <a:lnTo>
                    <a:pt x="98" y="166"/>
                  </a:lnTo>
                  <a:lnTo>
                    <a:pt x="98" y="168"/>
                  </a:lnTo>
                  <a:lnTo>
                    <a:pt x="108" y="172"/>
                  </a:lnTo>
                  <a:lnTo>
                    <a:pt x="112" y="174"/>
                  </a:lnTo>
                  <a:lnTo>
                    <a:pt x="120" y="180"/>
                  </a:lnTo>
                  <a:lnTo>
                    <a:pt x="126" y="182"/>
                  </a:lnTo>
                  <a:lnTo>
                    <a:pt x="126" y="178"/>
                  </a:lnTo>
                  <a:lnTo>
                    <a:pt x="124" y="176"/>
                  </a:lnTo>
                  <a:lnTo>
                    <a:pt x="126" y="176"/>
                  </a:lnTo>
                  <a:lnTo>
                    <a:pt x="130" y="178"/>
                  </a:lnTo>
                  <a:lnTo>
                    <a:pt x="132" y="178"/>
                  </a:lnTo>
                  <a:lnTo>
                    <a:pt x="134" y="178"/>
                  </a:lnTo>
                  <a:lnTo>
                    <a:pt x="134" y="176"/>
                  </a:lnTo>
                  <a:lnTo>
                    <a:pt x="136" y="176"/>
                  </a:lnTo>
                  <a:lnTo>
                    <a:pt x="140" y="176"/>
                  </a:lnTo>
                  <a:lnTo>
                    <a:pt x="140" y="174"/>
                  </a:lnTo>
                  <a:lnTo>
                    <a:pt x="140" y="162"/>
                  </a:lnTo>
                  <a:lnTo>
                    <a:pt x="142" y="144"/>
                  </a:lnTo>
                  <a:lnTo>
                    <a:pt x="140" y="142"/>
                  </a:lnTo>
                  <a:lnTo>
                    <a:pt x="136" y="132"/>
                  </a:lnTo>
                  <a:lnTo>
                    <a:pt x="130" y="132"/>
                  </a:lnTo>
                  <a:lnTo>
                    <a:pt x="126" y="130"/>
                  </a:lnTo>
                  <a:lnTo>
                    <a:pt x="128" y="128"/>
                  </a:lnTo>
                  <a:lnTo>
                    <a:pt x="128" y="124"/>
                  </a:lnTo>
                  <a:lnTo>
                    <a:pt x="122" y="122"/>
                  </a:lnTo>
                  <a:lnTo>
                    <a:pt x="124" y="112"/>
                  </a:lnTo>
                  <a:lnTo>
                    <a:pt x="118" y="112"/>
                  </a:lnTo>
                  <a:lnTo>
                    <a:pt x="118" y="110"/>
                  </a:lnTo>
                  <a:lnTo>
                    <a:pt x="116" y="110"/>
                  </a:lnTo>
                  <a:lnTo>
                    <a:pt x="114" y="112"/>
                  </a:lnTo>
                  <a:lnTo>
                    <a:pt x="108" y="110"/>
                  </a:lnTo>
                  <a:lnTo>
                    <a:pt x="108" y="102"/>
                  </a:lnTo>
                  <a:lnTo>
                    <a:pt x="114" y="98"/>
                  </a:lnTo>
                  <a:lnTo>
                    <a:pt x="114" y="94"/>
                  </a:lnTo>
                  <a:lnTo>
                    <a:pt x="108" y="86"/>
                  </a:lnTo>
                  <a:lnTo>
                    <a:pt x="108" y="82"/>
                  </a:lnTo>
                  <a:lnTo>
                    <a:pt x="106" y="80"/>
                  </a:lnTo>
                  <a:lnTo>
                    <a:pt x="102" y="80"/>
                  </a:lnTo>
                  <a:lnTo>
                    <a:pt x="104" y="74"/>
                  </a:lnTo>
                  <a:lnTo>
                    <a:pt x="102" y="74"/>
                  </a:lnTo>
                  <a:lnTo>
                    <a:pt x="100" y="80"/>
                  </a:lnTo>
                  <a:lnTo>
                    <a:pt x="96" y="80"/>
                  </a:lnTo>
                  <a:lnTo>
                    <a:pt x="96" y="78"/>
                  </a:lnTo>
                  <a:lnTo>
                    <a:pt x="92" y="78"/>
                  </a:lnTo>
                  <a:lnTo>
                    <a:pt x="92" y="76"/>
                  </a:lnTo>
                  <a:lnTo>
                    <a:pt x="92" y="74"/>
                  </a:lnTo>
                  <a:lnTo>
                    <a:pt x="90" y="70"/>
                  </a:lnTo>
                  <a:lnTo>
                    <a:pt x="86" y="66"/>
                  </a:lnTo>
                  <a:lnTo>
                    <a:pt x="84" y="64"/>
                  </a:lnTo>
                  <a:lnTo>
                    <a:pt x="82" y="62"/>
                  </a:lnTo>
                  <a:lnTo>
                    <a:pt x="80" y="58"/>
                  </a:lnTo>
                  <a:lnTo>
                    <a:pt x="78" y="58"/>
                  </a:lnTo>
                  <a:lnTo>
                    <a:pt x="78" y="60"/>
                  </a:lnTo>
                  <a:lnTo>
                    <a:pt x="76" y="60"/>
                  </a:lnTo>
                  <a:lnTo>
                    <a:pt x="74" y="58"/>
                  </a:lnTo>
                  <a:lnTo>
                    <a:pt x="72" y="56"/>
                  </a:lnTo>
                  <a:lnTo>
                    <a:pt x="70" y="52"/>
                  </a:lnTo>
                  <a:lnTo>
                    <a:pt x="70" y="48"/>
                  </a:lnTo>
                  <a:lnTo>
                    <a:pt x="70" y="44"/>
                  </a:lnTo>
                  <a:lnTo>
                    <a:pt x="64" y="44"/>
                  </a:lnTo>
                  <a:lnTo>
                    <a:pt x="64" y="38"/>
                  </a:lnTo>
                  <a:lnTo>
                    <a:pt x="58" y="34"/>
                  </a:lnTo>
                  <a:lnTo>
                    <a:pt x="52" y="30"/>
                  </a:lnTo>
                  <a:lnTo>
                    <a:pt x="50" y="28"/>
                  </a:lnTo>
                  <a:lnTo>
                    <a:pt x="50" y="24"/>
                  </a:lnTo>
                  <a:lnTo>
                    <a:pt x="46" y="22"/>
                  </a:lnTo>
                  <a:lnTo>
                    <a:pt x="44" y="20"/>
                  </a:lnTo>
                  <a:lnTo>
                    <a:pt x="42" y="16"/>
                  </a:lnTo>
                  <a:lnTo>
                    <a:pt x="38" y="16"/>
                  </a:lnTo>
                  <a:lnTo>
                    <a:pt x="38" y="12"/>
                  </a:lnTo>
                  <a:lnTo>
                    <a:pt x="32" y="6"/>
                  </a:lnTo>
                  <a:lnTo>
                    <a:pt x="28" y="4"/>
                  </a:lnTo>
                  <a:lnTo>
                    <a:pt x="24" y="4"/>
                  </a:lnTo>
                  <a:lnTo>
                    <a:pt x="20" y="6"/>
                  </a:lnTo>
                  <a:lnTo>
                    <a:pt x="18" y="6"/>
                  </a:lnTo>
                  <a:lnTo>
                    <a:pt x="18" y="6"/>
                  </a:lnTo>
                  <a:close/>
                  <a:moveTo>
                    <a:pt x="426" y="50"/>
                  </a:moveTo>
                  <a:lnTo>
                    <a:pt x="426" y="50"/>
                  </a:lnTo>
                  <a:lnTo>
                    <a:pt x="428" y="62"/>
                  </a:lnTo>
                  <a:lnTo>
                    <a:pt x="432" y="62"/>
                  </a:lnTo>
                  <a:lnTo>
                    <a:pt x="434" y="60"/>
                  </a:lnTo>
                  <a:lnTo>
                    <a:pt x="432" y="60"/>
                  </a:lnTo>
                  <a:lnTo>
                    <a:pt x="432" y="54"/>
                  </a:lnTo>
                  <a:lnTo>
                    <a:pt x="426" y="50"/>
                  </a:lnTo>
                  <a:lnTo>
                    <a:pt x="426" y="50"/>
                  </a:lnTo>
                  <a:close/>
                  <a:moveTo>
                    <a:pt x="420" y="56"/>
                  </a:moveTo>
                  <a:lnTo>
                    <a:pt x="420" y="56"/>
                  </a:lnTo>
                  <a:lnTo>
                    <a:pt x="414" y="64"/>
                  </a:lnTo>
                  <a:lnTo>
                    <a:pt x="412" y="76"/>
                  </a:lnTo>
                  <a:lnTo>
                    <a:pt x="418" y="80"/>
                  </a:lnTo>
                  <a:lnTo>
                    <a:pt x="416" y="82"/>
                  </a:lnTo>
                  <a:lnTo>
                    <a:pt x="416" y="84"/>
                  </a:lnTo>
                  <a:lnTo>
                    <a:pt x="416" y="88"/>
                  </a:lnTo>
                  <a:lnTo>
                    <a:pt x="416" y="90"/>
                  </a:lnTo>
                  <a:lnTo>
                    <a:pt x="414" y="92"/>
                  </a:lnTo>
                  <a:lnTo>
                    <a:pt x="416" y="96"/>
                  </a:lnTo>
                  <a:lnTo>
                    <a:pt x="420" y="100"/>
                  </a:lnTo>
                  <a:lnTo>
                    <a:pt x="424" y="104"/>
                  </a:lnTo>
                  <a:lnTo>
                    <a:pt x="424" y="102"/>
                  </a:lnTo>
                  <a:lnTo>
                    <a:pt x="422" y="100"/>
                  </a:lnTo>
                  <a:lnTo>
                    <a:pt x="418" y="96"/>
                  </a:lnTo>
                  <a:lnTo>
                    <a:pt x="418" y="88"/>
                  </a:lnTo>
                  <a:lnTo>
                    <a:pt x="422" y="86"/>
                  </a:lnTo>
                  <a:lnTo>
                    <a:pt x="426" y="86"/>
                  </a:lnTo>
                  <a:lnTo>
                    <a:pt x="428" y="90"/>
                  </a:lnTo>
                  <a:lnTo>
                    <a:pt x="432" y="90"/>
                  </a:lnTo>
                  <a:lnTo>
                    <a:pt x="430" y="82"/>
                  </a:lnTo>
                  <a:lnTo>
                    <a:pt x="424" y="82"/>
                  </a:lnTo>
                  <a:lnTo>
                    <a:pt x="432" y="76"/>
                  </a:lnTo>
                  <a:lnTo>
                    <a:pt x="432" y="74"/>
                  </a:lnTo>
                  <a:lnTo>
                    <a:pt x="428" y="72"/>
                  </a:lnTo>
                  <a:lnTo>
                    <a:pt x="428" y="70"/>
                  </a:lnTo>
                  <a:lnTo>
                    <a:pt x="424" y="74"/>
                  </a:lnTo>
                  <a:lnTo>
                    <a:pt x="424" y="78"/>
                  </a:lnTo>
                  <a:lnTo>
                    <a:pt x="422" y="78"/>
                  </a:lnTo>
                  <a:lnTo>
                    <a:pt x="422" y="70"/>
                  </a:lnTo>
                  <a:lnTo>
                    <a:pt x="422" y="66"/>
                  </a:lnTo>
                  <a:lnTo>
                    <a:pt x="422" y="64"/>
                  </a:lnTo>
                  <a:lnTo>
                    <a:pt x="422" y="62"/>
                  </a:lnTo>
                  <a:lnTo>
                    <a:pt x="424" y="62"/>
                  </a:lnTo>
                  <a:lnTo>
                    <a:pt x="422" y="60"/>
                  </a:lnTo>
                  <a:lnTo>
                    <a:pt x="422" y="58"/>
                  </a:lnTo>
                  <a:lnTo>
                    <a:pt x="420" y="56"/>
                  </a:lnTo>
                  <a:lnTo>
                    <a:pt x="420" y="56"/>
                  </a:lnTo>
                  <a:close/>
                  <a:moveTo>
                    <a:pt x="380" y="68"/>
                  </a:moveTo>
                  <a:lnTo>
                    <a:pt x="380" y="68"/>
                  </a:lnTo>
                  <a:lnTo>
                    <a:pt x="378" y="72"/>
                  </a:lnTo>
                  <a:lnTo>
                    <a:pt x="376" y="72"/>
                  </a:lnTo>
                  <a:lnTo>
                    <a:pt x="376" y="76"/>
                  </a:lnTo>
                  <a:lnTo>
                    <a:pt x="368" y="80"/>
                  </a:lnTo>
                  <a:lnTo>
                    <a:pt x="354" y="80"/>
                  </a:lnTo>
                  <a:lnTo>
                    <a:pt x="340" y="80"/>
                  </a:lnTo>
                  <a:lnTo>
                    <a:pt x="340" y="78"/>
                  </a:lnTo>
                  <a:lnTo>
                    <a:pt x="338" y="78"/>
                  </a:lnTo>
                  <a:lnTo>
                    <a:pt x="336" y="78"/>
                  </a:lnTo>
                  <a:lnTo>
                    <a:pt x="336" y="74"/>
                  </a:lnTo>
                  <a:lnTo>
                    <a:pt x="332" y="74"/>
                  </a:lnTo>
                  <a:lnTo>
                    <a:pt x="328" y="74"/>
                  </a:lnTo>
                  <a:lnTo>
                    <a:pt x="322" y="78"/>
                  </a:lnTo>
                  <a:lnTo>
                    <a:pt x="322" y="80"/>
                  </a:lnTo>
                  <a:lnTo>
                    <a:pt x="320" y="80"/>
                  </a:lnTo>
                  <a:lnTo>
                    <a:pt x="320" y="78"/>
                  </a:lnTo>
                  <a:lnTo>
                    <a:pt x="316" y="84"/>
                  </a:lnTo>
                  <a:lnTo>
                    <a:pt x="316" y="86"/>
                  </a:lnTo>
                  <a:lnTo>
                    <a:pt x="316" y="90"/>
                  </a:lnTo>
                  <a:lnTo>
                    <a:pt x="316" y="102"/>
                  </a:lnTo>
                  <a:lnTo>
                    <a:pt x="314" y="110"/>
                  </a:lnTo>
                  <a:lnTo>
                    <a:pt x="312" y="110"/>
                  </a:lnTo>
                  <a:lnTo>
                    <a:pt x="310" y="118"/>
                  </a:lnTo>
                  <a:lnTo>
                    <a:pt x="310" y="126"/>
                  </a:lnTo>
                  <a:lnTo>
                    <a:pt x="308" y="134"/>
                  </a:lnTo>
                  <a:lnTo>
                    <a:pt x="306" y="136"/>
                  </a:lnTo>
                  <a:lnTo>
                    <a:pt x="304" y="144"/>
                  </a:lnTo>
                  <a:lnTo>
                    <a:pt x="306" y="152"/>
                  </a:lnTo>
                  <a:lnTo>
                    <a:pt x="312" y="152"/>
                  </a:lnTo>
                  <a:lnTo>
                    <a:pt x="314" y="154"/>
                  </a:lnTo>
                  <a:lnTo>
                    <a:pt x="312" y="158"/>
                  </a:lnTo>
                  <a:lnTo>
                    <a:pt x="314" y="162"/>
                  </a:lnTo>
                  <a:lnTo>
                    <a:pt x="312" y="166"/>
                  </a:lnTo>
                  <a:lnTo>
                    <a:pt x="308" y="170"/>
                  </a:lnTo>
                  <a:lnTo>
                    <a:pt x="308" y="176"/>
                  </a:lnTo>
                  <a:lnTo>
                    <a:pt x="308" y="182"/>
                  </a:lnTo>
                  <a:lnTo>
                    <a:pt x="324" y="180"/>
                  </a:lnTo>
                  <a:lnTo>
                    <a:pt x="324" y="176"/>
                  </a:lnTo>
                  <a:lnTo>
                    <a:pt x="322" y="176"/>
                  </a:lnTo>
                  <a:lnTo>
                    <a:pt x="324" y="174"/>
                  </a:lnTo>
                  <a:lnTo>
                    <a:pt x="324" y="172"/>
                  </a:lnTo>
                  <a:lnTo>
                    <a:pt x="324" y="170"/>
                  </a:lnTo>
                  <a:lnTo>
                    <a:pt x="322" y="162"/>
                  </a:lnTo>
                  <a:lnTo>
                    <a:pt x="326" y="158"/>
                  </a:lnTo>
                  <a:lnTo>
                    <a:pt x="326" y="152"/>
                  </a:lnTo>
                  <a:lnTo>
                    <a:pt x="324" y="148"/>
                  </a:lnTo>
                  <a:lnTo>
                    <a:pt x="334" y="146"/>
                  </a:lnTo>
                  <a:lnTo>
                    <a:pt x="336" y="162"/>
                  </a:lnTo>
                  <a:lnTo>
                    <a:pt x="338" y="168"/>
                  </a:lnTo>
                  <a:lnTo>
                    <a:pt x="338" y="176"/>
                  </a:lnTo>
                  <a:lnTo>
                    <a:pt x="348" y="176"/>
                  </a:lnTo>
                  <a:lnTo>
                    <a:pt x="348" y="176"/>
                  </a:lnTo>
                  <a:lnTo>
                    <a:pt x="348" y="174"/>
                  </a:lnTo>
                  <a:lnTo>
                    <a:pt x="348" y="170"/>
                  </a:lnTo>
                  <a:lnTo>
                    <a:pt x="352" y="168"/>
                  </a:lnTo>
                  <a:lnTo>
                    <a:pt x="358" y="168"/>
                  </a:lnTo>
                  <a:lnTo>
                    <a:pt x="360" y="164"/>
                  </a:lnTo>
                  <a:lnTo>
                    <a:pt x="358" y="164"/>
                  </a:lnTo>
                  <a:lnTo>
                    <a:pt x="354" y="158"/>
                  </a:lnTo>
                  <a:lnTo>
                    <a:pt x="352" y="154"/>
                  </a:lnTo>
                  <a:lnTo>
                    <a:pt x="352" y="148"/>
                  </a:lnTo>
                  <a:lnTo>
                    <a:pt x="350" y="148"/>
                  </a:lnTo>
                  <a:lnTo>
                    <a:pt x="350" y="146"/>
                  </a:lnTo>
                  <a:lnTo>
                    <a:pt x="346" y="144"/>
                  </a:lnTo>
                  <a:lnTo>
                    <a:pt x="344" y="144"/>
                  </a:lnTo>
                  <a:lnTo>
                    <a:pt x="344" y="138"/>
                  </a:lnTo>
                  <a:lnTo>
                    <a:pt x="342" y="134"/>
                  </a:lnTo>
                  <a:lnTo>
                    <a:pt x="332" y="130"/>
                  </a:lnTo>
                  <a:lnTo>
                    <a:pt x="336" y="128"/>
                  </a:lnTo>
                  <a:lnTo>
                    <a:pt x="342" y="128"/>
                  </a:lnTo>
                  <a:lnTo>
                    <a:pt x="348" y="124"/>
                  </a:lnTo>
                  <a:lnTo>
                    <a:pt x="352" y="120"/>
                  </a:lnTo>
                  <a:lnTo>
                    <a:pt x="356" y="118"/>
                  </a:lnTo>
                  <a:lnTo>
                    <a:pt x="362" y="116"/>
                  </a:lnTo>
                  <a:lnTo>
                    <a:pt x="362" y="110"/>
                  </a:lnTo>
                  <a:lnTo>
                    <a:pt x="350" y="110"/>
                  </a:lnTo>
                  <a:lnTo>
                    <a:pt x="338" y="110"/>
                  </a:lnTo>
                  <a:lnTo>
                    <a:pt x="336" y="114"/>
                  </a:lnTo>
                  <a:lnTo>
                    <a:pt x="334" y="114"/>
                  </a:lnTo>
                  <a:lnTo>
                    <a:pt x="332" y="116"/>
                  </a:lnTo>
                  <a:lnTo>
                    <a:pt x="330" y="110"/>
                  </a:lnTo>
                  <a:lnTo>
                    <a:pt x="324" y="110"/>
                  </a:lnTo>
                  <a:lnTo>
                    <a:pt x="322" y="106"/>
                  </a:lnTo>
                  <a:lnTo>
                    <a:pt x="322" y="100"/>
                  </a:lnTo>
                  <a:lnTo>
                    <a:pt x="324" y="96"/>
                  </a:lnTo>
                  <a:lnTo>
                    <a:pt x="324" y="88"/>
                  </a:lnTo>
                  <a:lnTo>
                    <a:pt x="328" y="88"/>
                  </a:lnTo>
                  <a:lnTo>
                    <a:pt x="336" y="86"/>
                  </a:lnTo>
                  <a:lnTo>
                    <a:pt x="338" y="88"/>
                  </a:lnTo>
                  <a:lnTo>
                    <a:pt x="342" y="88"/>
                  </a:lnTo>
                  <a:lnTo>
                    <a:pt x="348" y="88"/>
                  </a:lnTo>
                  <a:lnTo>
                    <a:pt x="356" y="88"/>
                  </a:lnTo>
                  <a:lnTo>
                    <a:pt x="362" y="90"/>
                  </a:lnTo>
                  <a:lnTo>
                    <a:pt x="368" y="92"/>
                  </a:lnTo>
                  <a:lnTo>
                    <a:pt x="372" y="90"/>
                  </a:lnTo>
                  <a:lnTo>
                    <a:pt x="372" y="88"/>
                  </a:lnTo>
                  <a:lnTo>
                    <a:pt x="374" y="88"/>
                  </a:lnTo>
                  <a:lnTo>
                    <a:pt x="376" y="88"/>
                  </a:lnTo>
                  <a:lnTo>
                    <a:pt x="378" y="84"/>
                  </a:lnTo>
                  <a:lnTo>
                    <a:pt x="378" y="80"/>
                  </a:lnTo>
                  <a:lnTo>
                    <a:pt x="382" y="78"/>
                  </a:lnTo>
                  <a:lnTo>
                    <a:pt x="384" y="76"/>
                  </a:lnTo>
                  <a:lnTo>
                    <a:pt x="384" y="70"/>
                  </a:lnTo>
                  <a:lnTo>
                    <a:pt x="382" y="68"/>
                  </a:lnTo>
                  <a:lnTo>
                    <a:pt x="380" y="68"/>
                  </a:lnTo>
                  <a:lnTo>
                    <a:pt x="380" y="68"/>
                  </a:lnTo>
                  <a:close/>
                  <a:moveTo>
                    <a:pt x="454" y="96"/>
                  </a:moveTo>
                  <a:lnTo>
                    <a:pt x="452" y="98"/>
                  </a:lnTo>
                  <a:lnTo>
                    <a:pt x="448" y="100"/>
                  </a:lnTo>
                  <a:lnTo>
                    <a:pt x="450" y="102"/>
                  </a:lnTo>
                  <a:lnTo>
                    <a:pt x="462" y="102"/>
                  </a:lnTo>
                  <a:lnTo>
                    <a:pt x="464" y="100"/>
                  </a:lnTo>
                  <a:lnTo>
                    <a:pt x="454" y="96"/>
                  </a:lnTo>
                  <a:lnTo>
                    <a:pt x="454" y="96"/>
                  </a:lnTo>
                  <a:close/>
                  <a:moveTo>
                    <a:pt x="138" y="120"/>
                  </a:moveTo>
                  <a:lnTo>
                    <a:pt x="138" y="120"/>
                  </a:lnTo>
                  <a:lnTo>
                    <a:pt x="136" y="124"/>
                  </a:lnTo>
                  <a:lnTo>
                    <a:pt x="134" y="128"/>
                  </a:lnTo>
                  <a:lnTo>
                    <a:pt x="140" y="130"/>
                  </a:lnTo>
                  <a:lnTo>
                    <a:pt x="140" y="132"/>
                  </a:lnTo>
                  <a:lnTo>
                    <a:pt x="140" y="136"/>
                  </a:lnTo>
                  <a:lnTo>
                    <a:pt x="142" y="138"/>
                  </a:lnTo>
                  <a:lnTo>
                    <a:pt x="144" y="140"/>
                  </a:lnTo>
                  <a:lnTo>
                    <a:pt x="146" y="144"/>
                  </a:lnTo>
                  <a:lnTo>
                    <a:pt x="148" y="142"/>
                  </a:lnTo>
                  <a:lnTo>
                    <a:pt x="146" y="132"/>
                  </a:lnTo>
                  <a:lnTo>
                    <a:pt x="142" y="126"/>
                  </a:lnTo>
                  <a:lnTo>
                    <a:pt x="142" y="122"/>
                  </a:lnTo>
                  <a:lnTo>
                    <a:pt x="138" y="120"/>
                  </a:lnTo>
                  <a:lnTo>
                    <a:pt x="138" y="120"/>
                  </a:lnTo>
                  <a:close/>
                  <a:moveTo>
                    <a:pt x="426" y="142"/>
                  </a:moveTo>
                  <a:lnTo>
                    <a:pt x="426" y="142"/>
                  </a:lnTo>
                  <a:lnTo>
                    <a:pt x="426" y="144"/>
                  </a:lnTo>
                  <a:lnTo>
                    <a:pt x="422" y="144"/>
                  </a:lnTo>
                  <a:lnTo>
                    <a:pt x="422" y="148"/>
                  </a:lnTo>
                  <a:lnTo>
                    <a:pt x="426" y="148"/>
                  </a:lnTo>
                  <a:lnTo>
                    <a:pt x="428" y="150"/>
                  </a:lnTo>
                  <a:lnTo>
                    <a:pt x="430" y="150"/>
                  </a:lnTo>
                  <a:lnTo>
                    <a:pt x="432" y="148"/>
                  </a:lnTo>
                  <a:lnTo>
                    <a:pt x="434" y="148"/>
                  </a:lnTo>
                  <a:lnTo>
                    <a:pt x="434" y="148"/>
                  </a:lnTo>
                  <a:lnTo>
                    <a:pt x="440" y="150"/>
                  </a:lnTo>
                  <a:lnTo>
                    <a:pt x="442" y="148"/>
                  </a:lnTo>
                  <a:lnTo>
                    <a:pt x="448" y="150"/>
                  </a:lnTo>
                  <a:lnTo>
                    <a:pt x="454" y="152"/>
                  </a:lnTo>
                  <a:lnTo>
                    <a:pt x="456" y="148"/>
                  </a:lnTo>
                  <a:lnTo>
                    <a:pt x="454" y="146"/>
                  </a:lnTo>
                  <a:lnTo>
                    <a:pt x="444" y="144"/>
                  </a:lnTo>
                  <a:lnTo>
                    <a:pt x="438" y="144"/>
                  </a:lnTo>
                  <a:lnTo>
                    <a:pt x="434" y="142"/>
                  </a:lnTo>
                  <a:lnTo>
                    <a:pt x="426" y="142"/>
                  </a:lnTo>
                  <a:lnTo>
                    <a:pt x="426" y="142"/>
                  </a:lnTo>
                  <a:close/>
                  <a:moveTo>
                    <a:pt x="408" y="144"/>
                  </a:moveTo>
                  <a:lnTo>
                    <a:pt x="408" y="144"/>
                  </a:lnTo>
                  <a:lnTo>
                    <a:pt x="394" y="146"/>
                  </a:lnTo>
                  <a:lnTo>
                    <a:pt x="394" y="148"/>
                  </a:lnTo>
                  <a:lnTo>
                    <a:pt x="400" y="150"/>
                  </a:lnTo>
                  <a:lnTo>
                    <a:pt x="402" y="154"/>
                  </a:lnTo>
                  <a:lnTo>
                    <a:pt x="408" y="154"/>
                  </a:lnTo>
                  <a:lnTo>
                    <a:pt x="414" y="152"/>
                  </a:lnTo>
                  <a:lnTo>
                    <a:pt x="414" y="148"/>
                  </a:lnTo>
                  <a:lnTo>
                    <a:pt x="410" y="148"/>
                  </a:lnTo>
                  <a:lnTo>
                    <a:pt x="410" y="144"/>
                  </a:lnTo>
                  <a:lnTo>
                    <a:pt x="408" y="144"/>
                  </a:lnTo>
                  <a:lnTo>
                    <a:pt x="408" y="144"/>
                  </a:lnTo>
                  <a:close/>
                  <a:moveTo>
                    <a:pt x="362" y="168"/>
                  </a:moveTo>
                  <a:lnTo>
                    <a:pt x="362" y="168"/>
                  </a:lnTo>
                  <a:lnTo>
                    <a:pt x="360" y="170"/>
                  </a:lnTo>
                  <a:lnTo>
                    <a:pt x="360" y="176"/>
                  </a:lnTo>
                  <a:lnTo>
                    <a:pt x="358" y="176"/>
                  </a:lnTo>
                  <a:lnTo>
                    <a:pt x="358" y="176"/>
                  </a:lnTo>
                  <a:lnTo>
                    <a:pt x="356" y="174"/>
                  </a:lnTo>
                  <a:lnTo>
                    <a:pt x="354" y="174"/>
                  </a:lnTo>
                  <a:lnTo>
                    <a:pt x="352" y="176"/>
                  </a:lnTo>
                  <a:lnTo>
                    <a:pt x="352" y="178"/>
                  </a:lnTo>
                  <a:lnTo>
                    <a:pt x="356" y="180"/>
                  </a:lnTo>
                  <a:lnTo>
                    <a:pt x="358" y="184"/>
                  </a:lnTo>
                  <a:lnTo>
                    <a:pt x="362" y="184"/>
                  </a:lnTo>
                  <a:lnTo>
                    <a:pt x="366" y="180"/>
                  </a:lnTo>
                  <a:lnTo>
                    <a:pt x="362" y="176"/>
                  </a:lnTo>
                  <a:lnTo>
                    <a:pt x="362" y="174"/>
                  </a:lnTo>
                  <a:lnTo>
                    <a:pt x="364" y="172"/>
                  </a:lnTo>
                  <a:lnTo>
                    <a:pt x="364" y="170"/>
                  </a:lnTo>
                  <a:lnTo>
                    <a:pt x="362" y="168"/>
                  </a:lnTo>
                  <a:lnTo>
                    <a:pt x="362" y="168"/>
                  </a:lnTo>
                  <a:close/>
                  <a:moveTo>
                    <a:pt x="152" y="182"/>
                  </a:moveTo>
                  <a:lnTo>
                    <a:pt x="150" y="184"/>
                  </a:lnTo>
                  <a:lnTo>
                    <a:pt x="136" y="182"/>
                  </a:lnTo>
                  <a:lnTo>
                    <a:pt x="134" y="192"/>
                  </a:lnTo>
                  <a:lnTo>
                    <a:pt x="130" y="198"/>
                  </a:lnTo>
                  <a:lnTo>
                    <a:pt x="130" y="200"/>
                  </a:lnTo>
                  <a:lnTo>
                    <a:pt x="142" y="200"/>
                  </a:lnTo>
                  <a:lnTo>
                    <a:pt x="142" y="202"/>
                  </a:lnTo>
                  <a:lnTo>
                    <a:pt x="142" y="204"/>
                  </a:lnTo>
                  <a:lnTo>
                    <a:pt x="142" y="208"/>
                  </a:lnTo>
                  <a:lnTo>
                    <a:pt x="150" y="208"/>
                  </a:lnTo>
                  <a:lnTo>
                    <a:pt x="158" y="210"/>
                  </a:lnTo>
                  <a:lnTo>
                    <a:pt x="162" y="214"/>
                  </a:lnTo>
                  <a:lnTo>
                    <a:pt x="182" y="214"/>
                  </a:lnTo>
                  <a:lnTo>
                    <a:pt x="184" y="212"/>
                  </a:lnTo>
                  <a:lnTo>
                    <a:pt x="188" y="214"/>
                  </a:lnTo>
                  <a:lnTo>
                    <a:pt x="202" y="218"/>
                  </a:lnTo>
                  <a:lnTo>
                    <a:pt x="206" y="222"/>
                  </a:lnTo>
                  <a:lnTo>
                    <a:pt x="210" y="222"/>
                  </a:lnTo>
                  <a:lnTo>
                    <a:pt x="216" y="220"/>
                  </a:lnTo>
                  <a:lnTo>
                    <a:pt x="220" y="224"/>
                  </a:lnTo>
                  <a:lnTo>
                    <a:pt x="224" y="224"/>
                  </a:lnTo>
                  <a:lnTo>
                    <a:pt x="228" y="224"/>
                  </a:lnTo>
                  <a:lnTo>
                    <a:pt x="230" y="224"/>
                  </a:lnTo>
                  <a:lnTo>
                    <a:pt x="234" y="222"/>
                  </a:lnTo>
                  <a:lnTo>
                    <a:pt x="238" y="226"/>
                  </a:lnTo>
                  <a:lnTo>
                    <a:pt x="238" y="228"/>
                  </a:lnTo>
                  <a:lnTo>
                    <a:pt x="244" y="230"/>
                  </a:lnTo>
                  <a:lnTo>
                    <a:pt x="250" y="230"/>
                  </a:lnTo>
                  <a:lnTo>
                    <a:pt x="254" y="232"/>
                  </a:lnTo>
                  <a:lnTo>
                    <a:pt x="252" y="224"/>
                  </a:lnTo>
                  <a:lnTo>
                    <a:pt x="248" y="222"/>
                  </a:lnTo>
                  <a:lnTo>
                    <a:pt x="250" y="214"/>
                  </a:lnTo>
                  <a:lnTo>
                    <a:pt x="240" y="210"/>
                  </a:lnTo>
                  <a:lnTo>
                    <a:pt x="228" y="210"/>
                  </a:lnTo>
                  <a:lnTo>
                    <a:pt x="228" y="202"/>
                  </a:lnTo>
                  <a:lnTo>
                    <a:pt x="226" y="200"/>
                  </a:lnTo>
                  <a:lnTo>
                    <a:pt x="226" y="194"/>
                  </a:lnTo>
                  <a:lnTo>
                    <a:pt x="218" y="196"/>
                  </a:lnTo>
                  <a:lnTo>
                    <a:pt x="218" y="194"/>
                  </a:lnTo>
                  <a:lnTo>
                    <a:pt x="214" y="194"/>
                  </a:lnTo>
                  <a:lnTo>
                    <a:pt x="210" y="190"/>
                  </a:lnTo>
                  <a:lnTo>
                    <a:pt x="206" y="190"/>
                  </a:lnTo>
                  <a:lnTo>
                    <a:pt x="202" y="188"/>
                  </a:lnTo>
                  <a:lnTo>
                    <a:pt x="200" y="194"/>
                  </a:lnTo>
                  <a:lnTo>
                    <a:pt x="186" y="194"/>
                  </a:lnTo>
                  <a:lnTo>
                    <a:pt x="182" y="192"/>
                  </a:lnTo>
                  <a:lnTo>
                    <a:pt x="174" y="190"/>
                  </a:lnTo>
                  <a:lnTo>
                    <a:pt x="170" y="184"/>
                  </a:lnTo>
                  <a:lnTo>
                    <a:pt x="160" y="184"/>
                  </a:lnTo>
                  <a:lnTo>
                    <a:pt x="160" y="182"/>
                  </a:lnTo>
                  <a:lnTo>
                    <a:pt x="152" y="182"/>
                  </a:lnTo>
                  <a:lnTo>
                    <a:pt x="152" y="182"/>
                  </a:lnTo>
                  <a:close/>
                  <a:moveTo>
                    <a:pt x="500" y="188"/>
                  </a:moveTo>
                  <a:lnTo>
                    <a:pt x="500" y="188"/>
                  </a:lnTo>
                  <a:lnTo>
                    <a:pt x="500" y="190"/>
                  </a:lnTo>
                  <a:lnTo>
                    <a:pt x="502" y="192"/>
                  </a:lnTo>
                  <a:lnTo>
                    <a:pt x="502" y="194"/>
                  </a:lnTo>
                  <a:lnTo>
                    <a:pt x="502" y="202"/>
                  </a:lnTo>
                  <a:lnTo>
                    <a:pt x="498" y="204"/>
                  </a:lnTo>
                  <a:lnTo>
                    <a:pt x="500" y="208"/>
                  </a:lnTo>
                  <a:lnTo>
                    <a:pt x="500" y="210"/>
                  </a:lnTo>
                  <a:lnTo>
                    <a:pt x="502" y="212"/>
                  </a:lnTo>
                  <a:lnTo>
                    <a:pt x="504" y="204"/>
                  </a:lnTo>
                  <a:lnTo>
                    <a:pt x="508" y="202"/>
                  </a:lnTo>
                  <a:lnTo>
                    <a:pt x="508" y="198"/>
                  </a:lnTo>
                  <a:lnTo>
                    <a:pt x="506" y="198"/>
                  </a:lnTo>
                  <a:lnTo>
                    <a:pt x="508" y="196"/>
                  </a:lnTo>
                  <a:lnTo>
                    <a:pt x="508" y="192"/>
                  </a:lnTo>
                  <a:lnTo>
                    <a:pt x="506" y="190"/>
                  </a:lnTo>
                  <a:lnTo>
                    <a:pt x="504" y="188"/>
                  </a:lnTo>
                  <a:lnTo>
                    <a:pt x="500" y="188"/>
                  </a:lnTo>
                  <a:lnTo>
                    <a:pt x="500" y="188"/>
                  </a:lnTo>
                  <a:close/>
                  <a:moveTo>
                    <a:pt x="254" y="222"/>
                  </a:moveTo>
                  <a:lnTo>
                    <a:pt x="254" y="222"/>
                  </a:lnTo>
                  <a:lnTo>
                    <a:pt x="254" y="228"/>
                  </a:lnTo>
                  <a:lnTo>
                    <a:pt x="256" y="228"/>
                  </a:lnTo>
                  <a:lnTo>
                    <a:pt x="258" y="232"/>
                  </a:lnTo>
                  <a:lnTo>
                    <a:pt x="258" y="234"/>
                  </a:lnTo>
                  <a:lnTo>
                    <a:pt x="258" y="232"/>
                  </a:lnTo>
                  <a:lnTo>
                    <a:pt x="262" y="228"/>
                  </a:lnTo>
                  <a:lnTo>
                    <a:pt x="262" y="226"/>
                  </a:lnTo>
                  <a:lnTo>
                    <a:pt x="262" y="224"/>
                  </a:lnTo>
                  <a:lnTo>
                    <a:pt x="258" y="224"/>
                  </a:lnTo>
                  <a:lnTo>
                    <a:pt x="254" y="222"/>
                  </a:lnTo>
                  <a:lnTo>
                    <a:pt x="254" y="222"/>
                  </a:lnTo>
                  <a:close/>
                  <a:moveTo>
                    <a:pt x="394" y="226"/>
                  </a:moveTo>
                  <a:lnTo>
                    <a:pt x="394" y="226"/>
                  </a:lnTo>
                  <a:lnTo>
                    <a:pt x="392" y="230"/>
                  </a:lnTo>
                  <a:lnTo>
                    <a:pt x="406" y="230"/>
                  </a:lnTo>
                  <a:lnTo>
                    <a:pt x="404" y="226"/>
                  </a:lnTo>
                  <a:lnTo>
                    <a:pt x="394" y="226"/>
                  </a:lnTo>
                  <a:lnTo>
                    <a:pt x="394" y="226"/>
                  </a:lnTo>
                  <a:close/>
                  <a:moveTo>
                    <a:pt x="272" y="230"/>
                  </a:moveTo>
                  <a:lnTo>
                    <a:pt x="272" y="230"/>
                  </a:lnTo>
                  <a:lnTo>
                    <a:pt x="268" y="236"/>
                  </a:lnTo>
                  <a:lnTo>
                    <a:pt x="276" y="236"/>
                  </a:lnTo>
                  <a:lnTo>
                    <a:pt x="276" y="230"/>
                  </a:lnTo>
                  <a:lnTo>
                    <a:pt x="272" y="230"/>
                  </a:lnTo>
                  <a:lnTo>
                    <a:pt x="272" y="230"/>
                  </a:lnTo>
                  <a:close/>
                  <a:moveTo>
                    <a:pt x="290" y="230"/>
                  </a:moveTo>
                  <a:lnTo>
                    <a:pt x="290" y="230"/>
                  </a:lnTo>
                  <a:lnTo>
                    <a:pt x="290" y="234"/>
                  </a:lnTo>
                  <a:lnTo>
                    <a:pt x="294" y="234"/>
                  </a:lnTo>
                  <a:lnTo>
                    <a:pt x="292" y="234"/>
                  </a:lnTo>
                  <a:lnTo>
                    <a:pt x="294" y="236"/>
                  </a:lnTo>
                  <a:lnTo>
                    <a:pt x="292" y="238"/>
                  </a:lnTo>
                  <a:lnTo>
                    <a:pt x="288" y="238"/>
                  </a:lnTo>
                  <a:lnTo>
                    <a:pt x="284" y="236"/>
                  </a:lnTo>
                  <a:lnTo>
                    <a:pt x="282" y="234"/>
                  </a:lnTo>
                  <a:lnTo>
                    <a:pt x="280" y="234"/>
                  </a:lnTo>
                  <a:lnTo>
                    <a:pt x="276" y="244"/>
                  </a:lnTo>
                  <a:lnTo>
                    <a:pt x="284" y="242"/>
                  </a:lnTo>
                  <a:lnTo>
                    <a:pt x="284" y="244"/>
                  </a:lnTo>
                  <a:lnTo>
                    <a:pt x="288" y="244"/>
                  </a:lnTo>
                  <a:lnTo>
                    <a:pt x="290" y="242"/>
                  </a:lnTo>
                  <a:lnTo>
                    <a:pt x="300" y="240"/>
                  </a:lnTo>
                  <a:lnTo>
                    <a:pt x="308" y="240"/>
                  </a:lnTo>
                  <a:lnTo>
                    <a:pt x="306" y="234"/>
                  </a:lnTo>
                  <a:lnTo>
                    <a:pt x="298" y="232"/>
                  </a:lnTo>
                  <a:lnTo>
                    <a:pt x="290" y="230"/>
                  </a:lnTo>
                  <a:lnTo>
                    <a:pt x="290" y="230"/>
                  </a:lnTo>
                  <a:close/>
                  <a:moveTo>
                    <a:pt x="320" y="232"/>
                  </a:moveTo>
                  <a:lnTo>
                    <a:pt x="320" y="232"/>
                  </a:lnTo>
                  <a:lnTo>
                    <a:pt x="316" y="234"/>
                  </a:lnTo>
                  <a:lnTo>
                    <a:pt x="316" y="236"/>
                  </a:lnTo>
                  <a:lnTo>
                    <a:pt x="318" y="238"/>
                  </a:lnTo>
                  <a:lnTo>
                    <a:pt x="326" y="240"/>
                  </a:lnTo>
                  <a:lnTo>
                    <a:pt x="336" y="240"/>
                  </a:lnTo>
                  <a:lnTo>
                    <a:pt x="336" y="242"/>
                  </a:lnTo>
                  <a:lnTo>
                    <a:pt x="340" y="242"/>
                  </a:lnTo>
                  <a:lnTo>
                    <a:pt x="346" y="240"/>
                  </a:lnTo>
                  <a:lnTo>
                    <a:pt x="350" y="238"/>
                  </a:lnTo>
                  <a:lnTo>
                    <a:pt x="354" y="238"/>
                  </a:lnTo>
                  <a:lnTo>
                    <a:pt x="356" y="240"/>
                  </a:lnTo>
                  <a:lnTo>
                    <a:pt x="358" y="236"/>
                  </a:lnTo>
                  <a:lnTo>
                    <a:pt x="356" y="234"/>
                  </a:lnTo>
                  <a:lnTo>
                    <a:pt x="352" y="234"/>
                  </a:lnTo>
                  <a:lnTo>
                    <a:pt x="348" y="234"/>
                  </a:lnTo>
                  <a:lnTo>
                    <a:pt x="344" y="236"/>
                  </a:lnTo>
                  <a:lnTo>
                    <a:pt x="340" y="232"/>
                  </a:lnTo>
                  <a:lnTo>
                    <a:pt x="336" y="232"/>
                  </a:lnTo>
                  <a:lnTo>
                    <a:pt x="332" y="234"/>
                  </a:lnTo>
                  <a:lnTo>
                    <a:pt x="326" y="232"/>
                  </a:lnTo>
                  <a:lnTo>
                    <a:pt x="320" y="232"/>
                  </a:lnTo>
                  <a:lnTo>
                    <a:pt x="320" y="232"/>
                  </a:lnTo>
                  <a:close/>
                  <a:moveTo>
                    <a:pt x="406" y="234"/>
                  </a:moveTo>
                  <a:lnTo>
                    <a:pt x="402" y="236"/>
                  </a:lnTo>
                  <a:lnTo>
                    <a:pt x="396" y="236"/>
                  </a:lnTo>
                  <a:lnTo>
                    <a:pt x="394" y="240"/>
                  </a:lnTo>
                  <a:lnTo>
                    <a:pt x="386" y="240"/>
                  </a:lnTo>
                  <a:lnTo>
                    <a:pt x="384" y="240"/>
                  </a:lnTo>
                  <a:lnTo>
                    <a:pt x="380" y="240"/>
                  </a:lnTo>
                  <a:lnTo>
                    <a:pt x="380" y="242"/>
                  </a:lnTo>
                  <a:lnTo>
                    <a:pt x="380" y="246"/>
                  </a:lnTo>
                  <a:lnTo>
                    <a:pt x="378" y="246"/>
                  </a:lnTo>
                  <a:lnTo>
                    <a:pt x="374" y="248"/>
                  </a:lnTo>
                  <a:lnTo>
                    <a:pt x="374" y="252"/>
                  </a:lnTo>
                  <a:lnTo>
                    <a:pt x="362" y="258"/>
                  </a:lnTo>
                  <a:lnTo>
                    <a:pt x="364" y="264"/>
                  </a:lnTo>
                  <a:lnTo>
                    <a:pt x="358" y="266"/>
                  </a:lnTo>
                  <a:lnTo>
                    <a:pt x="352" y="268"/>
                  </a:lnTo>
                  <a:lnTo>
                    <a:pt x="350" y="270"/>
                  </a:lnTo>
                  <a:lnTo>
                    <a:pt x="350" y="272"/>
                  </a:lnTo>
                  <a:lnTo>
                    <a:pt x="352" y="274"/>
                  </a:lnTo>
                  <a:lnTo>
                    <a:pt x="358" y="274"/>
                  </a:lnTo>
                  <a:lnTo>
                    <a:pt x="362" y="272"/>
                  </a:lnTo>
                  <a:lnTo>
                    <a:pt x="362" y="270"/>
                  </a:lnTo>
                  <a:lnTo>
                    <a:pt x="368" y="264"/>
                  </a:lnTo>
                  <a:lnTo>
                    <a:pt x="374" y="264"/>
                  </a:lnTo>
                  <a:lnTo>
                    <a:pt x="378" y="262"/>
                  </a:lnTo>
                  <a:lnTo>
                    <a:pt x="382" y="258"/>
                  </a:lnTo>
                  <a:lnTo>
                    <a:pt x="384" y="254"/>
                  </a:lnTo>
                  <a:lnTo>
                    <a:pt x="388" y="254"/>
                  </a:lnTo>
                  <a:lnTo>
                    <a:pt x="388" y="252"/>
                  </a:lnTo>
                  <a:lnTo>
                    <a:pt x="388" y="250"/>
                  </a:lnTo>
                  <a:lnTo>
                    <a:pt x="392" y="250"/>
                  </a:lnTo>
                  <a:lnTo>
                    <a:pt x="394" y="248"/>
                  </a:lnTo>
                  <a:lnTo>
                    <a:pt x="396" y="244"/>
                  </a:lnTo>
                  <a:lnTo>
                    <a:pt x="400" y="244"/>
                  </a:lnTo>
                  <a:lnTo>
                    <a:pt x="404" y="242"/>
                  </a:lnTo>
                  <a:lnTo>
                    <a:pt x="406" y="240"/>
                  </a:lnTo>
                  <a:lnTo>
                    <a:pt x="410" y="236"/>
                  </a:lnTo>
                  <a:lnTo>
                    <a:pt x="410" y="234"/>
                  </a:lnTo>
                  <a:lnTo>
                    <a:pt x="406" y="234"/>
                  </a:lnTo>
                  <a:lnTo>
                    <a:pt x="406" y="234"/>
                  </a:lnTo>
                  <a:close/>
                  <a:moveTo>
                    <a:pt x="310" y="252"/>
                  </a:moveTo>
                  <a:lnTo>
                    <a:pt x="308" y="258"/>
                  </a:lnTo>
                  <a:lnTo>
                    <a:pt x="318" y="262"/>
                  </a:lnTo>
                  <a:lnTo>
                    <a:pt x="322" y="264"/>
                  </a:lnTo>
                  <a:lnTo>
                    <a:pt x="328" y="266"/>
                  </a:lnTo>
                  <a:lnTo>
                    <a:pt x="328" y="262"/>
                  </a:lnTo>
                  <a:lnTo>
                    <a:pt x="328" y="260"/>
                  </a:lnTo>
                  <a:lnTo>
                    <a:pt x="326" y="258"/>
                  </a:lnTo>
                  <a:lnTo>
                    <a:pt x="310" y="252"/>
                  </a:lnTo>
                  <a:lnTo>
                    <a:pt x="310" y="252"/>
                  </a:lnTo>
                  <a:close/>
                  <a:moveTo>
                    <a:pt x="190" y="62"/>
                  </a:moveTo>
                  <a:lnTo>
                    <a:pt x="190" y="62"/>
                  </a:lnTo>
                  <a:lnTo>
                    <a:pt x="190" y="60"/>
                  </a:lnTo>
                  <a:lnTo>
                    <a:pt x="186" y="60"/>
                  </a:lnTo>
                  <a:lnTo>
                    <a:pt x="186" y="64"/>
                  </a:lnTo>
                  <a:lnTo>
                    <a:pt x="182" y="66"/>
                  </a:lnTo>
                  <a:lnTo>
                    <a:pt x="180" y="70"/>
                  </a:lnTo>
                  <a:lnTo>
                    <a:pt x="178" y="74"/>
                  </a:lnTo>
                  <a:lnTo>
                    <a:pt x="176" y="76"/>
                  </a:lnTo>
                  <a:lnTo>
                    <a:pt x="176" y="90"/>
                  </a:lnTo>
                  <a:lnTo>
                    <a:pt x="180" y="92"/>
                  </a:lnTo>
                  <a:lnTo>
                    <a:pt x="182" y="96"/>
                  </a:lnTo>
                  <a:lnTo>
                    <a:pt x="180" y="98"/>
                  </a:lnTo>
                  <a:lnTo>
                    <a:pt x="180" y="102"/>
                  </a:lnTo>
                  <a:lnTo>
                    <a:pt x="184" y="104"/>
                  </a:lnTo>
                  <a:lnTo>
                    <a:pt x="182" y="108"/>
                  </a:lnTo>
                  <a:lnTo>
                    <a:pt x="182" y="110"/>
                  </a:lnTo>
                  <a:lnTo>
                    <a:pt x="186" y="110"/>
                  </a:lnTo>
                  <a:lnTo>
                    <a:pt x="184" y="116"/>
                  </a:lnTo>
                  <a:lnTo>
                    <a:pt x="186" y="116"/>
                  </a:lnTo>
                  <a:lnTo>
                    <a:pt x="190" y="114"/>
                  </a:lnTo>
                  <a:lnTo>
                    <a:pt x="192" y="114"/>
                  </a:lnTo>
                  <a:lnTo>
                    <a:pt x="196" y="130"/>
                  </a:lnTo>
                  <a:lnTo>
                    <a:pt x="198" y="134"/>
                  </a:lnTo>
                  <a:lnTo>
                    <a:pt x="200" y="142"/>
                  </a:lnTo>
                  <a:lnTo>
                    <a:pt x="202" y="142"/>
                  </a:lnTo>
                  <a:lnTo>
                    <a:pt x="208" y="144"/>
                  </a:lnTo>
                  <a:lnTo>
                    <a:pt x="210" y="142"/>
                  </a:lnTo>
                  <a:lnTo>
                    <a:pt x="210" y="140"/>
                  </a:lnTo>
                  <a:lnTo>
                    <a:pt x="214" y="140"/>
                  </a:lnTo>
                  <a:lnTo>
                    <a:pt x="214" y="142"/>
                  </a:lnTo>
                  <a:lnTo>
                    <a:pt x="218" y="142"/>
                  </a:lnTo>
                  <a:lnTo>
                    <a:pt x="218" y="148"/>
                  </a:lnTo>
                  <a:lnTo>
                    <a:pt x="220" y="148"/>
                  </a:lnTo>
                  <a:lnTo>
                    <a:pt x="222" y="148"/>
                  </a:lnTo>
                  <a:lnTo>
                    <a:pt x="232" y="148"/>
                  </a:lnTo>
                  <a:lnTo>
                    <a:pt x="234" y="144"/>
                  </a:lnTo>
                  <a:lnTo>
                    <a:pt x="236" y="144"/>
                  </a:lnTo>
                  <a:lnTo>
                    <a:pt x="240" y="148"/>
                  </a:lnTo>
                  <a:lnTo>
                    <a:pt x="242" y="148"/>
                  </a:lnTo>
                  <a:lnTo>
                    <a:pt x="244" y="148"/>
                  </a:lnTo>
                  <a:lnTo>
                    <a:pt x="246" y="146"/>
                  </a:lnTo>
                  <a:lnTo>
                    <a:pt x="248" y="146"/>
                  </a:lnTo>
                  <a:lnTo>
                    <a:pt x="250" y="148"/>
                  </a:lnTo>
                  <a:lnTo>
                    <a:pt x="254" y="150"/>
                  </a:lnTo>
                  <a:lnTo>
                    <a:pt x="256" y="150"/>
                  </a:lnTo>
                  <a:lnTo>
                    <a:pt x="256" y="152"/>
                  </a:lnTo>
                  <a:lnTo>
                    <a:pt x="258" y="152"/>
                  </a:lnTo>
                  <a:lnTo>
                    <a:pt x="260" y="150"/>
                  </a:lnTo>
                  <a:lnTo>
                    <a:pt x="264" y="148"/>
                  </a:lnTo>
                  <a:lnTo>
                    <a:pt x="270" y="146"/>
                  </a:lnTo>
                  <a:lnTo>
                    <a:pt x="276" y="136"/>
                  </a:lnTo>
                  <a:lnTo>
                    <a:pt x="280" y="132"/>
                  </a:lnTo>
                  <a:lnTo>
                    <a:pt x="284" y="130"/>
                  </a:lnTo>
                  <a:lnTo>
                    <a:pt x="280" y="122"/>
                  </a:lnTo>
                  <a:lnTo>
                    <a:pt x="288" y="112"/>
                  </a:lnTo>
                  <a:lnTo>
                    <a:pt x="288" y="108"/>
                  </a:lnTo>
                  <a:lnTo>
                    <a:pt x="286" y="108"/>
                  </a:lnTo>
                  <a:lnTo>
                    <a:pt x="286" y="106"/>
                  </a:lnTo>
                  <a:lnTo>
                    <a:pt x="286" y="104"/>
                  </a:lnTo>
                  <a:lnTo>
                    <a:pt x="288" y="104"/>
                  </a:lnTo>
                  <a:lnTo>
                    <a:pt x="290" y="100"/>
                  </a:lnTo>
                  <a:lnTo>
                    <a:pt x="290" y="96"/>
                  </a:lnTo>
                  <a:lnTo>
                    <a:pt x="290" y="84"/>
                  </a:lnTo>
                  <a:lnTo>
                    <a:pt x="296" y="80"/>
                  </a:lnTo>
                  <a:lnTo>
                    <a:pt x="306" y="78"/>
                  </a:lnTo>
                  <a:lnTo>
                    <a:pt x="304" y="74"/>
                  </a:lnTo>
                  <a:lnTo>
                    <a:pt x="296" y="70"/>
                  </a:lnTo>
                  <a:lnTo>
                    <a:pt x="294" y="68"/>
                  </a:lnTo>
                  <a:lnTo>
                    <a:pt x="292" y="66"/>
                  </a:lnTo>
                  <a:lnTo>
                    <a:pt x="292" y="62"/>
                  </a:lnTo>
                  <a:lnTo>
                    <a:pt x="294" y="60"/>
                  </a:lnTo>
                  <a:lnTo>
                    <a:pt x="294" y="56"/>
                  </a:lnTo>
                  <a:lnTo>
                    <a:pt x="292" y="52"/>
                  </a:lnTo>
                  <a:lnTo>
                    <a:pt x="286" y="44"/>
                  </a:lnTo>
                  <a:lnTo>
                    <a:pt x="286" y="40"/>
                  </a:lnTo>
                  <a:lnTo>
                    <a:pt x="288" y="38"/>
                  </a:lnTo>
                  <a:lnTo>
                    <a:pt x="290" y="38"/>
                  </a:lnTo>
                  <a:lnTo>
                    <a:pt x="290" y="36"/>
                  </a:lnTo>
                  <a:lnTo>
                    <a:pt x="290" y="34"/>
                  </a:lnTo>
                  <a:lnTo>
                    <a:pt x="286" y="32"/>
                  </a:lnTo>
                  <a:lnTo>
                    <a:pt x="286" y="30"/>
                  </a:lnTo>
                  <a:lnTo>
                    <a:pt x="276" y="32"/>
                  </a:lnTo>
                  <a:lnTo>
                    <a:pt x="268" y="30"/>
                  </a:lnTo>
                  <a:lnTo>
                    <a:pt x="266" y="34"/>
                  </a:lnTo>
                  <a:lnTo>
                    <a:pt x="264" y="44"/>
                  </a:lnTo>
                  <a:lnTo>
                    <a:pt x="260" y="48"/>
                  </a:lnTo>
                  <a:lnTo>
                    <a:pt x="258" y="52"/>
                  </a:lnTo>
                  <a:lnTo>
                    <a:pt x="256" y="56"/>
                  </a:lnTo>
                  <a:lnTo>
                    <a:pt x="252" y="58"/>
                  </a:lnTo>
                  <a:lnTo>
                    <a:pt x="252" y="62"/>
                  </a:lnTo>
                  <a:lnTo>
                    <a:pt x="250" y="68"/>
                  </a:lnTo>
                  <a:lnTo>
                    <a:pt x="248" y="70"/>
                  </a:lnTo>
                  <a:lnTo>
                    <a:pt x="242" y="74"/>
                  </a:lnTo>
                  <a:lnTo>
                    <a:pt x="234" y="74"/>
                  </a:lnTo>
                  <a:lnTo>
                    <a:pt x="230" y="72"/>
                  </a:lnTo>
                  <a:lnTo>
                    <a:pt x="222" y="74"/>
                  </a:lnTo>
                  <a:lnTo>
                    <a:pt x="220" y="76"/>
                  </a:lnTo>
                  <a:lnTo>
                    <a:pt x="212" y="78"/>
                  </a:lnTo>
                  <a:lnTo>
                    <a:pt x="206" y="80"/>
                  </a:lnTo>
                  <a:lnTo>
                    <a:pt x="202" y="78"/>
                  </a:lnTo>
                  <a:lnTo>
                    <a:pt x="198" y="76"/>
                  </a:lnTo>
                  <a:lnTo>
                    <a:pt x="192" y="74"/>
                  </a:lnTo>
                  <a:lnTo>
                    <a:pt x="190" y="68"/>
                  </a:lnTo>
                  <a:lnTo>
                    <a:pt x="190" y="62"/>
                  </a:lnTo>
                  <a:lnTo>
                    <a:pt x="190" y="62"/>
                  </a:lnTo>
                  <a:close/>
                  <a:moveTo>
                    <a:pt x="470" y="112"/>
                  </a:moveTo>
                  <a:lnTo>
                    <a:pt x="470" y="112"/>
                  </a:lnTo>
                  <a:lnTo>
                    <a:pt x="462" y="112"/>
                  </a:lnTo>
                  <a:lnTo>
                    <a:pt x="462" y="118"/>
                  </a:lnTo>
                  <a:lnTo>
                    <a:pt x="460" y="118"/>
                  </a:lnTo>
                  <a:lnTo>
                    <a:pt x="460" y="120"/>
                  </a:lnTo>
                  <a:lnTo>
                    <a:pt x="462" y="122"/>
                  </a:lnTo>
                  <a:lnTo>
                    <a:pt x="466" y="122"/>
                  </a:lnTo>
                  <a:lnTo>
                    <a:pt x="470" y="122"/>
                  </a:lnTo>
                  <a:lnTo>
                    <a:pt x="474" y="124"/>
                  </a:lnTo>
                  <a:lnTo>
                    <a:pt x="474" y="126"/>
                  </a:lnTo>
                  <a:lnTo>
                    <a:pt x="474" y="130"/>
                  </a:lnTo>
                  <a:lnTo>
                    <a:pt x="472" y="130"/>
                  </a:lnTo>
                  <a:lnTo>
                    <a:pt x="476" y="130"/>
                  </a:lnTo>
                  <a:lnTo>
                    <a:pt x="480" y="130"/>
                  </a:lnTo>
                  <a:lnTo>
                    <a:pt x="488" y="130"/>
                  </a:lnTo>
                  <a:lnTo>
                    <a:pt x="496" y="132"/>
                  </a:lnTo>
                  <a:lnTo>
                    <a:pt x="496" y="134"/>
                  </a:lnTo>
                  <a:lnTo>
                    <a:pt x="488" y="136"/>
                  </a:lnTo>
                  <a:lnTo>
                    <a:pt x="486" y="138"/>
                  </a:lnTo>
                  <a:lnTo>
                    <a:pt x="478" y="138"/>
                  </a:lnTo>
                  <a:lnTo>
                    <a:pt x="470" y="138"/>
                  </a:lnTo>
                  <a:lnTo>
                    <a:pt x="472" y="142"/>
                  </a:lnTo>
                  <a:lnTo>
                    <a:pt x="478" y="140"/>
                  </a:lnTo>
                  <a:lnTo>
                    <a:pt x="480" y="146"/>
                  </a:lnTo>
                  <a:lnTo>
                    <a:pt x="484" y="148"/>
                  </a:lnTo>
                  <a:lnTo>
                    <a:pt x="484" y="150"/>
                  </a:lnTo>
                  <a:lnTo>
                    <a:pt x="484" y="154"/>
                  </a:lnTo>
                  <a:lnTo>
                    <a:pt x="486" y="156"/>
                  </a:lnTo>
                  <a:lnTo>
                    <a:pt x="488" y="156"/>
                  </a:lnTo>
                  <a:lnTo>
                    <a:pt x="492" y="148"/>
                  </a:lnTo>
                  <a:lnTo>
                    <a:pt x="494" y="148"/>
                  </a:lnTo>
                  <a:lnTo>
                    <a:pt x="494" y="150"/>
                  </a:lnTo>
                  <a:lnTo>
                    <a:pt x="498" y="154"/>
                  </a:lnTo>
                  <a:lnTo>
                    <a:pt x="504" y="156"/>
                  </a:lnTo>
                  <a:lnTo>
                    <a:pt x="504" y="160"/>
                  </a:lnTo>
                  <a:lnTo>
                    <a:pt x="506" y="164"/>
                  </a:lnTo>
                  <a:lnTo>
                    <a:pt x="508" y="166"/>
                  </a:lnTo>
                  <a:lnTo>
                    <a:pt x="512" y="166"/>
                  </a:lnTo>
                  <a:lnTo>
                    <a:pt x="516" y="166"/>
                  </a:lnTo>
                  <a:lnTo>
                    <a:pt x="518" y="168"/>
                  </a:lnTo>
                  <a:lnTo>
                    <a:pt x="520" y="166"/>
                  </a:lnTo>
                  <a:lnTo>
                    <a:pt x="524" y="166"/>
                  </a:lnTo>
                  <a:lnTo>
                    <a:pt x="524" y="168"/>
                  </a:lnTo>
                  <a:lnTo>
                    <a:pt x="530" y="172"/>
                  </a:lnTo>
                  <a:lnTo>
                    <a:pt x="534" y="176"/>
                  </a:lnTo>
                  <a:lnTo>
                    <a:pt x="542" y="176"/>
                  </a:lnTo>
                  <a:lnTo>
                    <a:pt x="546" y="178"/>
                  </a:lnTo>
                  <a:lnTo>
                    <a:pt x="548" y="178"/>
                  </a:lnTo>
                  <a:lnTo>
                    <a:pt x="552" y="180"/>
                  </a:lnTo>
                  <a:lnTo>
                    <a:pt x="556" y="186"/>
                  </a:lnTo>
                  <a:lnTo>
                    <a:pt x="556" y="198"/>
                  </a:lnTo>
                  <a:lnTo>
                    <a:pt x="554" y="198"/>
                  </a:lnTo>
                  <a:lnTo>
                    <a:pt x="554" y="200"/>
                  </a:lnTo>
                  <a:lnTo>
                    <a:pt x="556" y="202"/>
                  </a:lnTo>
                  <a:lnTo>
                    <a:pt x="556" y="206"/>
                  </a:lnTo>
                  <a:lnTo>
                    <a:pt x="556" y="208"/>
                  </a:lnTo>
                  <a:lnTo>
                    <a:pt x="560" y="212"/>
                  </a:lnTo>
                  <a:lnTo>
                    <a:pt x="560" y="218"/>
                  </a:lnTo>
                  <a:lnTo>
                    <a:pt x="560" y="224"/>
                  </a:lnTo>
                  <a:lnTo>
                    <a:pt x="556" y="220"/>
                  </a:lnTo>
                  <a:lnTo>
                    <a:pt x="556" y="222"/>
                  </a:lnTo>
                  <a:lnTo>
                    <a:pt x="552" y="222"/>
                  </a:lnTo>
                  <a:lnTo>
                    <a:pt x="544" y="232"/>
                  </a:lnTo>
                  <a:lnTo>
                    <a:pt x="558" y="230"/>
                  </a:lnTo>
                  <a:lnTo>
                    <a:pt x="558" y="226"/>
                  </a:lnTo>
                  <a:lnTo>
                    <a:pt x="560" y="226"/>
                  </a:lnTo>
                  <a:lnTo>
                    <a:pt x="560" y="228"/>
                  </a:lnTo>
                  <a:lnTo>
                    <a:pt x="564" y="228"/>
                  </a:lnTo>
                  <a:lnTo>
                    <a:pt x="566" y="228"/>
                  </a:lnTo>
                  <a:lnTo>
                    <a:pt x="572" y="228"/>
                  </a:lnTo>
                  <a:lnTo>
                    <a:pt x="576" y="232"/>
                  </a:lnTo>
                  <a:lnTo>
                    <a:pt x="580" y="234"/>
                  </a:lnTo>
                  <a:lnTo>
                    <a:pt x="580" y="238"/>
                  </a:lnTo>
                  <a:lnTo>
                    <a:pt x="582" y="238"/>
                  </a:lnTo>
                  <a:lnTo>
                    <a:pt x="584" y="242"/>
                  </a:lnTo>
                  <a:lnTo>
                    <a:pt x="586" y="242"/>
                  </a:lnTo>
                  <a:lnTo>
                    <a:pt x="586" y="210"/>
                  </a:lnTo>
                  <a:lnTo>
                    <a:pt x="584" y="204"/>
                  </a:lnTo>
                  <a:lnTo>
                    <a:pt x="586" y="198"/>
                  </a:lnTo>
                  <a:lnTo>
                    <a:pt x="586" y="140"/>
                  </a:lnTo>
                  <a:lnTo>
                    <a:pt x="584" y="140"/>
                  </a:lnTo>
                  <a:lnTo>
                    <a:pt x="582" y="136"/>
                  </a:lnTo>
                  <a:lnTo>
                    <a:pt x="580" y="134"/>
                  </a:lnTo>
                  <a:lnTo>
                    <a:pt x="578" y="134"/>
                  </a:lnTo>
                  <a:lnTo>
                    <a:pt x="574" y="136"/>
                  </a:lnTo>
                  <a:lnTo>
                    <a:pt x="566" y="134"/>
                  </a:lnTo>
                  <a:lnTo>
                    <a:pt x="560" y="132"/>
                  </a:lnTo>
                  <a:lnTo>
                    <a:pt x="554" y="126"/>
                  </a:lnTo>
                  <a:lnTo>
                    <a:pt x="548" y="122"/>
                  </a:lnTo>
                  <a:lnTo>
                    <a:pt x="544" y="122"/>
                  </a:lnTo>
                  <a:lnTo>
                    <a:pt x="544" y="124"/>
                  </a:lnTo>
                  <a:lnTo>
                    <a:pt x="540" y="124"/>
                  </a:lnTo>
                  <a:lnTo>
                    <a:pt x="534" y="132"/>
                  </a:lnTo>
                  <a:lnTo>
                    <a:pt x="528" y="134"/>
                  </a:lnTo>
                  <a:lnTo>
                    <a:pt x="524" y="140"/>
                  </a:lnTo>
                  <a:lnTo>
                    <a:pt x="522" y="146"/>
                  </a:lnTo>
                  <a:lnTo>
                    <a:pt x="514" y="150"/>
                  </a:lnTo>
                  <a:lnTo>
                    <a:pt x="512" y="148"/>
                  </a:lnTo>
                  <a:lnTo>
                    <a:pt x="510" y="144"/>
                  </a:lnTo>
                  <a:lnTo>
                    <a:pt x="506" y="144"/>
                  </a:lnTo>
                  <a:lnTo>
                    <a:pt x="506" y="138"/>
                  </a:lnTo>
                  <a:lnTo>
                    <a:pt x="504" y="136"/>
                  </a:lnTo>
                  <a:lnTo>
                    <a:pt x="504" y="138"/>
                  </a:lnTo>
                  <a:lnTo>
                    <a:pt x="502" y="140"/>
                  </a:lnTo>
                  <a:lnTo>
                    <a:pt x="500" y="130"/>
                  </a:lnTo>
                  <a:lnTo>
                    <a:pt x="500" y="126"/>
                  </a:lnTo>
                  <a:lnTo>
                    <a:pt x="500" y="120"/>
                  </a:lnTo>
                  <a:lnTo>
                    <a:pt x="500" y="118"/>
                  </a:lnTo>
                  <a:lnTo>
                    <a:pt x="502" y="116"/>
                  </a:lnTo>
                  <a:lnTo>
                    <a:pt x="500" y="112"/>
                  </a:lnTo>
                  <a:lnTo>
                    <a:pt x="496" y="108"/>
                  </a:lnTo>
                  <a:lnTo>
                    <a:pt x="494" y="108"/>
                  </a:lnTo>
                  <a:lnTo>
                    <a:pt x="494" y="110"/>
                  </a:lnTo>
                  <a:lnTo>
                    <a:pt x="492" y="108"/>
                  </a:lnTo>
                  <a:lnTo>
                    <a:pt x="490" y="108"/>
                  </a:lnTo>
                  <a:lnTo>
                    <a:pt x="488" y="110"/>
                  </a:lnTo>
                  <a:lnTo>
                    <a:pt x="484" y="108"/>
                  </a:lnTo>
                  <a:lnTo>
                    <a:pt x="478" y="106"/>
                  </a:lnTo>
                  <a:lnTo>
                    <a:pt x="474" y="106"/>
                  </a:lnTo>
                  <a:lnTo>
                    <a:pt x="472" y="108"/>
                  </a:lnTo>
                  <a:lnTo>
                    <a:pt x="470" y="112"/>
                  </a:lnTo>
                  <a:lnTo>
                    <a:pt x="470" y="1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5" name="Freeform 328">
              <a:extLst>
                <a:ext uri="{FF2B5EF4-FFF2-40B4-BE49-F238E27FC236}">
                  <a16:creationId xmlns:a16="http://schemas.microsoft.com/office/drawing/2014/main" id="{77C0470C-0083-456E-8AD5-53AED4C87727}"/>
                </a:ext>
              </a:extLst>
            </p:cNvPr>
            <p:cNvSpPr>
              <a:spLocks/>
            </p:cNvSpPr>
            <p:nvPr/>
          </p:nvSpPr>
          <p:spPr bwMode="auto">
            <a:xfrm>
              <a:off x="5209407" y="4760045"/>
              <a:ext cx="20717" cy="7769"/>
            </a:xfrm>
            <a:custGeom>
              <a:avLst/>
              <a:gdLst/>
              <a:ahLst/>
              <a:cxnLst>
                <a:cxn ang="0">
                  <a:pos x="6" y="0"/>
                </a:cxn>
                <a:cxn ang="0">
                  <a:pos x="4" y="2"/>
                </a:cxn>
                <a:cxn ang="0">
                  <a:pos x="0" y="4"/>
                </a:cxn>
                <a:cxn ang="0">
                  <a:pos x="2" y="6"/>
                </a:cxn>
                <a:cxn ang="0">
                  <a:pos x="14" y="6"/>
                </a:cxn>
                <a:cxn ang="0">
                  <a:pos x="16" y="4"/>
                </a:cxn>
                <a:cxn ang="0">
                  <a:pos x="6" y="0"/>
                </a:cxn>
              </a:cxnLst>
              <a:rect l="0" t="0" r="r" b="b"/>
              <a:pathLst>
                <a:path w="16" h="6">
                  <a:moveTo>
                    <a:pt x="6" y="0"/>
                  </a:moveTo>
                  <a:lnTo>
                    <a:pt x="4" y="2"/>
                  </a:lnTo>
                  <a:lnTo>
                    <a:pt x="0" y="4"/>
                  </a:lnTo>
                  <a:lnTo>
                    <a:pt x="2" y="6"/>
                  </a:lnTo>
                  <a:lnTo>
                    <a:pt x="14" y="6"/>
                  </a:lnTo>
                  <a:lnTo>
                    <a:pt x="16" y="4"/>
                  </a:lnTo>
                  <a:lnTo>
                    <a:pt x="6"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6" name="Freeform 329">
              <a:extLst>
                <a:ext uri="{FF2B5EF4-FFF2-40B4-BE49-F238E27FC236}">
                  <a16:creationId xmlns:a16="http://schemas.microsoft.com/office/drawing/2014/main" id="{D6DC3480-4470-4106-AF0A-9923D3274DF6}"/>
                </a:ext>
              </a:extLst>
            </p:cNvPr>
            <p:cNvSpPr>
              <a:spLocks/>
            </p:cNvSpPr>
            <p:nvPr/>
          </p:nvSpPr>
          <p:spPr bwMode="auto">
            <a:xfrm>
              <a:off x="5209407" y="4760045"/>
              <a:ext cx="20717" cy="7769"/>
            </a:xfrm>
            <a:custGeom>
              <a:avLst/>
              <a:gdLst/>
              <a:ahLst/>
              <a:cxnLst>
                <a:cxn ang="0">
                  <a:pos x="6" y="0"/>
                </a:cxn>
                <a:cxn ang="0">
                  <a:pos x="4" y="2"/>
                </a:cxn>
                <a:cxn ang="0">
                  <a:pos x="0" y="4"/>
                </a:cxn>
                <a:cxn ang="0">
                  <a:pos x="2" y="6"/>
                </a:cxn>
                <a:cxn ang="0">
                  <a:pos x="14" y="6"/>
                </a:cxn>
                <a:cxn ang="0">
                  <a:pos x="16" y="4"/>
                </a:cxn>
                <a:cxn ang="0">
                  <a:pos x="6" y="0"/>
                </a:cxn>
              </a:cxnLst>
              <a:rect l="0" t="0" r="r" b="b"/>
              <a:pathLst>
                <a:path w="16" h="6">
                  <a:moveTo>
                    <a:pt x="6" y="0"/>
                  </a:moveTo>
                  <a:lnTo>
                    <a:pt x="4" y="2"/>
                  </a:lnTo>
                  <a:lnTo>
                    <a:pt x="0" y="4"/>
                  </a:lnTo>
                  <a:lnTo>
                    <a:pt x="2" y="6"/>
                  </a:lnTo>
                  <a:lnTo>
                    <a:pt x="14" y="6"/>
                  </a:lnTo>
                  <a:lnTo>
                    <a:pt x="16" y="4"/>
                  </a:lnTo>
                  <a:lnTo>
                    <a:pt x="6"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7" name="Freeform 330">
              <a:extLst>
                <a:ext uri="{FF2B5EF4-FFF2-40B4-BE49-F238E27FC236}">
                  <a16:creationId xmlns:a16="http://schemas.microsoft.com/office/drawing/2014/main" id="{61572D1B-C018-4E47-BAEF-7F48934DD0BC}"/>
                </a:ext>
              </a:extLst>
            </p:cNvPr>
            <p:cNvSpPr>
              <a:spLocks/>
            </p:cNvSpPr>
            <p:nvPr/>
          </p:nvSpPr>
          <p:spPr bwMode="auto">
            <a:xfrm>
              <a:off x="4802838" y="4791120"/>
              <a:ext cx="18127" cy="31075"/>
            </a:xfrm>
            <a:custGeom>
              <a:avLst/>
              <a:gdLst/>
              <a:ahLst/>
              <a:cxnLst>
                <a:cxn ang="0">
                  <a:pos x="4" y="0"/>
                </a:cxn>
                <a:cxn ang="0">
                  <a:pos x="4" y="0"/>
                </a:cxn>
                <a:cxn ang="0">
                  <a:pos x="2" y="4"/>
                </a:cxn>
                <a:cxn ang="0">
                  <a:pos x="0" y="8"/>
                </a:cxn>
                <a:cxn ang="0">
                  <a:pos x="6" y="10"/>
                </a:cxn>
                <a:cxn ang="0">
                  <a:pos x="6" y="12"/>
                </a:cxn>
                <a:cxn ang="0">
                  <a:pos x="6" y="16"/>
                </a:cxn>
                <a:cxn ang="0">
                  <a:pos x="8" y="18"/>
                </a:cxn>
                <a:cxn ang="0">
                  <a:pos x="10" y="20"/>
                </a:cxn>
                <a:cxn ang="0">
                  <a:pos x="12" y="24"/>
                </a:cxn>
                <a:cxn ang="0">
                  <a:pos x="14" y="22"/>
                </a:cxn>
                <a:cxn ang="0">
                  <a:pos x="12" y="12"/>
                </a:cxn>
                <a:cxn ang="0">
                  <a:pos x="8" y="6"/>
                </a:cxn>
                <a:cxn ang="0">
                  <a:pos x="8" y="2"/>
                </a:cxn>
                <a:cxn ang="0">
                  <a:pos x="4" y="0"/>
                </a:cxn>
              </a:cxnLst>
              <a:rect l="0" t="0" r="r" b="b"/>
              <a:pathLst>
                <a:path w="14" h="24">
                  <a:moveTo>
                    <a:pt x="4" y="0"/>
                  </a:moveTo>
                  <a:lnTo>
                    <a:pt x="4" y="0"/>
                  </a:lnTo>
                  <a:lnTo>
                    <a:pt x="2" y="4"/>
                  </a:lnTo>
                  <a:lnTo>
                    <a:pt x="0" y="8"/>
                  </a:lnTo>
                  <a:lnTo>
                    <a:pt x="6" y="10"/>
                  </a:lnTo>
                  <a:lnTo>
                    <a:pt x="6" y="12"/>
                  </a:lnTo>
                  <a:lnTo>
                    <a:pt x="6" y="16"/>
                  </a:lnTo>
                  <a:lnTo>
                    <a:pt x="8" y="18"/>
                  </a:lnTo>
                  <a:lnTo>
                    <a:pt x="10" y="20"/>
                  </a:lnTo>
                  <a:lnTo>
                    <a:pt x="12" y="24"/>
                  </a:lnTo>
                  <a:lnTo>
                    <a:pt x="14" y="22"/>
                  </a:lnTo>
                  <a:lnTo>
                    <a:pt x="12" y="12"/>
                  </a:lnTo>
                  <a:lnTo>
                    <a:pt x="8" y="6"/>
                  </a:lnTo>
                  <a:lnTo>
                    <a:pt x="8" y="2"/>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8" name="Freeform 331">
              <a:extLst>
                <a:ext uri="{FF2B5EF4-FFF2-40B4-BE49-F238E27FC236}">
                  <a16:creationId xmlns:a16="http://schemas.microsoft.com/office/drawing/2014/main" id="{47CD3918-2C55-4227-B0D6-5B89F05DA55F}"/>
                </a:ext>
              </a:extLst>
            </p:cNvPr>
            <p:cNvSpPr>
              <a:spLocks/>
            </p:cNvSpPr>
            <p:nvPr/>
          </p:nvSpPr>
          <p:spPr bwMode="auto">
            <a:xfrm>
              <a:off x="4802838" y="4791120"/>
              <a:ext cx="18127" cy="31075"/>
            </a:xfrm>
            <a:custGeom>
              <a:avLst/>
              <a:gdLst/>
              <a:ahLst/>
              <a:cxnLst>
                <a:cxn ang="0">
                  <a:pos x="4" y="0"/>
                </a:cxn>
                <a:cxn ang="0">
                  <a:pos x="4" y="0"/>
                </a:cxn>
                <a:cxn ang="0">
                  <a:pos x="2" y="4"/>
                </a:cxn>
                <a:cxn ang="0">
                  <a:pos x="0" y="8"/>
                </a:cxn>
                <a:cxn ang="0">
                  <a:pos x="6" y="10"/>
                </a:cxn>
                <a:cxn ang="0">
                  <a:pos x="6" y="12"/>
                </a:cxn>
                <a:cxn ang="0">
                  <a:pos x="6" y="16"/>
                </a:cxn>
                <a:cxn ang="0">
                  <a:pos x="8" y="18"/>
                </a:cxn>
                <a:cxn ang="0">
                  <a:pos x="10" y="20"/>
                </a:cxn>
                <a:cxn ang="0">
                  <a:pos x="12" y="24"/>
                </a:cxn>
                <a:cxn ang="0">
                  <a:pos x="14" y="22"/>
                </a:cxn>
                <a:cxn ang="0">
                  <a:pos x="12" y="12"/>
                </a:cxn>
                <a:cxn ang="0">
                  <a:pos x="8" y="6"/>
                </a:cxn>
                <a:cxn ang="0">
                  <a:pos x="8" y="2"/>
                </a:cxn>
                <a:cxn ang="0">
                  <a:pos x="4" y="0"/>
                </a:cxn>
              </a:cxnLst>
              <a:rect l="0" t="0" r="r" b="b"/>
              <a:pathLst>
                <a:path w="14" h="24">
                  <a:moveTo>
                    <a:pt x="4" y="0"/>
                  </a:moveTo>
                  <a:lnTo>
                    <a:pt x="4" y="0"/>
                  </a:lnTo>
                  <a:lnTo>
                    <a:pt x="2" y="4"/>
                  </a:lnTo>
                  <a:lnTo>
                    <a:pt x="0" y="8"/>
                  </a:lnTo>
                  <a:lnTo>
                    <a:pt x="6" y="10"/>
                  </a:lnTo>
                  <a:lnTo>
                    <a:pt x="6" y="12"/>
                  </a:lnTo>
                  <a:lnTo>
                    <a:pt x="6" y="16"/>
                  </a:lnTo>
                  <a:lnTo>
                    <a:pt x="8" y="18"/>
                  </a:lnTo>
                  <a:lnTo>
                    <a:pt x="10" y="20"/>
                  </a:lnTo>
                  <a:lnTo>
                    <a:pt x="12" y="24"/>
                  </a:lnTo>
                  <a:lnTo>
                    <a:pt x="14" y="22"/>
                  </a:lnTo>
                  <a:lnTo>
                    <a:pt x="12" y="12"/>
                  </a:lnTo>
                  <a:lnTo>
                    <a:pt x="8" y="6"/>
                  </a:lnTo>
                  <a:lnTo>
                    <a:pt x="8" y="2"/>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69" name="Freeform 332">
              <a:extLst>
                <a:ext uri="{FF2B5EF4-FFF2-40B4-BE49-F238E27FC236}">
                  <a16:creationId xmlns:a16="http://schemas.microsoft.com/office/drawing/2014/main" id="{AF3243A2-8ADF-4764-9DB7-6130DB50970A}"/>
                </a:ext>
              </a:extLst>
            </p:cNvPr>
            <p:cNvSpPr>
              <a:spLocks/>
            </p:cNvSpPr>
            <p:nvPr/>
          </p:nvSpPr>
          <p:spPr bwMode="auto">
            <a:xfrm>
              <a:off x="5085106" y="4853271"/>
              <a:ext cx="18127" cy="20717"/>
            </a:xfrm>
            <a:custGeom>
              <a:avLst/>
              <a:gdLst/>
              <a:ahLst/>
              <a:cxnLst>
                <a:cxn ang="0">
                  <a:pos x="10" y="0"/>
                </a:cxn>
                <a:cxn ang="0">
                  <a:pos x="10" y="0"/>
                </a:cxn>
                <a:cxn ang="0">
                  <a:pos x="8" y="2"/>
                </a:cxn>
                <a:cxn ang="0">
                  <a:pos x="8" y="8"/>
                </a:cxn>
                <a:cxn ang="0">
                  <a:pos x="6" y="8"/>
                </a:cxn>
                <a:cxn ang="0">
                  <a:pos x="6" y="8"/>
                </a:cxn>
                <a:cxn ang="0">
                  <a:pos x="4" y="6"/>
                </a:cxn>
                <a:cxn ang="0">
                  <a:pos x="2" y="6"/>
                </a:cxn>
                <a:cxn ang="0">
                  <a:pos x="0" y="8"/>
                </a:cxn>
                <a:cxn ang="0">
                  <a:pos x="0" y="10"/>
                </a:cxn>
                <a:cxn ang="0">
                  <a:pos x="4" y="12"/>
                </a:cxn>
                <a:cxn ang="0">
                  <a:pos x="6" y="16"/>
                </a:cxn>
                <a:cxn ang="0">
                  <a:pos x="10" y="16"/>
                </a:cxn>
                <a:cxn ang="0">
                  <a:pos x="14" y="12"/>
                </a:cxn>
                <a:cxn ang="0">
                  <a:pos x="10" y="8"/>
                </a:cxn>
                <a:cxn ang="0">
                  <a:pos x="10" y="6"/>
                </a:cxn>
                <a:cxn ang="0">
                  <a:pos x="12" y="4"/>
                </a:cxn>
                <a:cxn ang="0">
                  <a:pos x="12" y="2"/>
                </a:cxn>
                <a:cxn ang="0">
                  <a:pos x="10" y="0"/>
                </a:cxn>
              </a:cxnLst>
              <a:rect l="0" t="0" r="r" b="b"/>
              <a:pathLst>
                <a:path w="14" h="16">
                  <a:moveTo>
                    <a:pt x="10" y="0"/>
                  </a:moveTo>
                  <a:lnTo>
                    <a:pt x="10" y="0"/>
                  </a:lnTo>
                  <a:lnTo>
                    <a:pt x="8" y="2"/>
                  </a:lnTo>
                  <a:lnTo>
                    <a:pt x="8" y="8"/>
                  </a:lnTo>
                  <a:lnTo>
                    <a:pt x="6" y="8"/>
                  </a:lnTo>
                  <a:lnTo>
                    <a:pt x="6" y="8"/>
                  </a:lnTo>
                  <a:lnTo>
                    <a:pt x="4" y="6"/>
                  </a:lnTo>
                  <a:lnTo>
                    <a:pt x="2" y="6"/>
                  </a:lnTo>
                  <a:lnTo>
                    <a:pt x="0" y="8"/>
                  </a:lnTo>
                  <a:lnTo>
                    <a:pt x="0" y="10"/>
                  </a:lnTo>
                  <a:lnTo>
                    <a:pt x="4" y="12"/>
                  </a:lnTo>
                  <a:lnTo>
                    <a:pt x="6" y="16"/>
                  </a:lnTo>
                  <a:lnTo>
                    <a:pt x="10" y="16"/>
                  </a:lnTo>
                  <a:lnTo>
                    <a:pt x="14" y="12"/>
                  </a:lnTo>
                  <a:lnTo>
                    <a:pt x="10" y="8"/>
                  </a:lnTo>
                  <a:lnTo>
                    <a:pt x="10" y="6"/>
                  </a:lnTo>
                  <a:lnTo>
                    <a:pt x="12" y="4"/>
                  </a:lnTo>
                  <a:lnTo>
                    <a:pt x="12" y="2"/>
                  </a:lnTo>
                  <a:lnTo>
                    <a:pt x="1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0" name="Freeform 333">
              <a:extLst>
                <a:ext uri="{FF2B5EF4-FFF2-40B4-BE49-F238E27FC236}">
                  <a16:creationId xmlns:a16="http://schemas.microsoft.com/office/drawing/2014/main" id="{02AFC5FF-FE1A-4648-B6FE-62FAD66D9DC5}"/>
                </a:ext>
              </a:extLst>
            </p:cNvPr>
            <p:cNvSpPr>
              <a:spLocks/>
            </p:cNvSpPr>
            <p:nvPr/>
          </p:nvSpPr>
          <p:spPr bwMode="auto">
            <a:xfrm>
              <a:off x="5085106" y="4853271"/>
              <a:ext cx="18127" cy="20717"/>
            </a:xfrm>
            <a:custGeom>
              <a:avLst/>
              <a:gdLst/>
              <a:ahLst/>
              <a:cxnLst>
                <a:cxn ang="0">
                  <a:pos x="10" y="0"/>
                </a:cxn>
                <a:cxn ang="0">
                  <a:pos x="10" y="0"/>
                </a:cxn>
                <a:cxn ang="0">
                  <a:pos x="8" y="2"/>
                </a:cxn>
                <a:cxn ang="0">
                  <a:pos x="8" y="8"/>
                </a:cxn>
                <a:cxn ang="0">
                  <a:pos x="6" y="8"/>
                </a:cxn>
                <a:cxn ang="0">
                  <a:pos x="6" y="8"/>
                </a:cxn>
                <a:cxn ang="0">
                  <a:pos x="4" y="6"/>
                </a:cxn>
                <a:cxn ang="0">
                  <a:pos x="2" y="6"/>
                </a:cxn>
                <a:cxn ang="0">
                  <a:pos x="0" y="8"/>
                </a:cxn>
                <a:cxn ang="0">
                  <a:pos x="0" y="10"/>
                </a:cxn>
                <a:cxn ang="0">
                  <a:pos x="4" y="12"/>
                </a:cxn>
                <a:cxn ang="0">
                  <a:pos x="6" y="16"/>
                </a:cxn>
                <a:cxn ang="0">
                  <a:pos x="10" y="16"/>
                </a:cxn>
                <a:cxn ang="0">
                  <a:pos x="14" y="12"/>
                </a:cxn>
                <a:cxn ang="0">
                  <a:pos x="10" y="8"/>
                </a:cxn>
                <a:cxn ang="0">
                  <a:pos x="10" y="6"/>
                </a:cxn>
                <a:cxn ang="0">
                  <a:pos x="12" y="4"/>
                </a:cxn>
                <a:cxn ang="0">
                  <a:pos x="12" y="2"/>
                </a:cxn>
                <a:cxn ang="0">
                  <a:pos x="10" y="0"/>
                </a:cxn>
              </a:cxnLst>
              <a:rect l="0" t="0" r="r" b="b"/>
              <a:pathLst>
                <a:path w="14" h="16">
                  <a:moveTo>
                    <a:pt x="10" y="0"/>
                  </a:moveTo>
                  <a:lnTo>
                    <a:pt x="10" y="0"/>
                  </a:lnTo>
                  <a:lnTo>
                    <a:pt x="8" y="2"/>
                  </a:lnTo>
                  <a:lnTo>
                    <a:pt x="8" y="8"/>
                  </a:lnTo>
                  <a:lnTo>
                    <a:pt x="6" y="8"/>
                  </a:lnTo>
                  <a:lnTo>
                    <a:pt x="6" y="8"/>
                  </a:lnTo>
                  <a:lnTo>
                    <a:pt x="4" y="6"/>
                  </a:lnTo>
                  <a:lnTo>
                    <a:pt x="2" y="6"/>
                  </a:lnTo>
                  <a:lnTo>
                    <a:pt x="0" y="8"/>
                  </a:lnTo>
                  <a:lnTo>
                    <a:pt x="0" y="10"/>
                  </a:lnTo>
                  <a:lnTo>
                    <a:pt x="4" y="12"/>
                  </a:lnTo>
                  <a:lnTo>
                    <a:pt x="6" y="16"/>
                  </a:lnTo>
                  <a:lnTo>
                    <a:pt x="10" y="16"/>
                  </a:lnTo>
                  <a:lnTo>
                    <a:pt x="14" y="12"/>
                  </a:lnTo>
                  <a:lnTo>
                    <a:pt x="10" y="8"/>
                  </a:lnTo>
                  <a:lnTo>
                    <a:pt x="10" y="6"/>
                  </a:lnTo>
                  <a:lnTo>
                    <a:pt x="12" y="4"/>
                  </a:lnTo>
                  <a:lnTo>
                    <a:pt x="12" y="2"/>
                  </a:lnTo>
                  <a:lnTo>
                    <a:pt x="1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1" name="Freeform 334">
              <a:extLst>
                <a:ext uri="{FF2B5EF4-FFF2-40B4-BE49-F238E27FC236}">
                  <a16:creationId xmlns:a16="http://schemas.microsoft.com/office/drawing/2014/main" id="{C1546EC9-110E-4363-904F-FB8FDA6BF30C}"/>
                </a:ext>
              </a:extLst>
            </p:cNvPr>
            <p:cNvSpPr>
              <a:spLocks/>
            </p:cNvSpPr>
            <p:nvPr/>
          </p:nvSpPr>
          <p:spPr bwMode="auto">
            <a:xfrm>
              <a:off x="5274147" y="4879167"/>
              <a:ext cx="12948" cy="31075"/>
            </a:xfrm>
            <a:custGeom>
              <a:avLst/>
              <a:gdLst/>
              <a:ahLst/>
              <a:cxnLst>
                <a:cxn ang="0">
                  <a:pos x="2" y="0"/>
                </a:cxn>
                <a:cxn ang="0">
                  <a:pos x="2" y="0"/>
                </a:cxn>
                <a:cxn ang="0">
                  <a:pos x="2" y="2"/>
                </a:cxn>
                <a:cxn ang="0">
                  <a:pos x="4" y="4"/>
                </a:cxn>
                <a:cxn ang="0">
                  <a:pos x="4" y="6"/>
                </a:cxn>
                <a:cxn ang="0">
                  <a:pos x="4" y="14"/>
                </a:cxn>
                <a:cxn ang="0">
                  <a:pos x="0" y="16"/>
                </a:cxn>
                <a:cxn ang="0">
                  <a:pos x="2" y="20"/>
                </a:cxn>
                <a:cxn ang="0">
                  <a:pos x="2" y="22"/>
                </a:cxn>
                <a:cxn ang="0">
                  <a:pos x="4" y="24"/>
                </a:cxn>
                <a:cxn ang="0">
                  <a:pos x="6" y="16"/>
                </a:cxn>
                <a:cxn ang="0">
                  <a:pos x="10" y="14"/>
                </a:cxn>
                <a:cxn ang="0">
                  <a:pos x="10" y="10"/>
                </a:cxn>
                <a:cxn ang="0">
                  <a:pos x="8" y="10"/>
                </a:cxn>
                <a:cxn ang="0">
                  <a:pos x="10" y="8"/>
                </a:cxn>
                <a:cxn ang="0">
                  <a:pos x="10" y="4"/>
                </a:cxn>
                <a:cxn ang="0">
                  <a:pos x="8" y="2"/>
                </a:cxn>
                <a:cxn ang="0">
                  <a:pos x="6" y="0"/>
                </a:cxn>
                <a:cxn ang="0">
                  <a:pos x="2" y="0"/>
                </a:cxn>
              </a:cxnLst>
              <a:rect l="0" t="0" r="r" b="b"/>
              <a:pathLst>
                <a:path w="10" h="24">
                  <a:moveTo>
                    <a:pt x="2" y="0"/>
                  </a:moveTo>
                  <a:lnTo>
                    <a:pt x="2" y="0"/>
                  </a:lnTo>
                  <a:lnTo>
                    <a:pt x="2" y="2"/>
                  </a:lnTo>
                  <a:lnTo>
                    <a:pt x="4" y="4"/>
                  </a:lnTo>
                  <a:lnTo>
                    <a:pt x="4" y="6"/>
                  </a:lnTo>
                  <a:lnTo>
                    <a:pt x="4" y="14"/>
                  </a:lnTo>
                  <a:lnTo>
                    <a:pt x="0" y="16"/>
                  </a:lnTo>
                  <a:lnTo>
                    <a:pt x="2" y="20"/>
                  </a:lnTo>
                  <a:lnTo>
                    <a:pt x="2" y="22"/>
                  </a:lnTo>
                  <a:lnTo>
                    <a:pt x="4" y="24"/>
                  </a:lnTo>
                  <a:lnTo>
                    <a:pt x="6" y="16"/>
                  </a:lnTo>
                  <a:lnTo>
                    <a:pt x="10" y="14"/>
                  </a:lnTo>
                  <a:lnTo>
                    <a:pt x="10" y="10"/>
                  </a:lnTo>
                  <a:lnTo>
                    <a:pt x="8" y="10"/>
                  </a:lnTo>
                  <a:lnTo>
                    <a:pt x="10" y="8"/>
                  </a:lnTo>
                  <a:lnTo>
                    <a:pt x="10" y="4"/>
                  </a:lnTo>
                  <a:lnTo>
                    <a:pt x="8" y="2"/>
                  </a:lnTo>
                  <a:lnTo>
                    <a:pt x="6"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2" name="Freeform 335">
              <a:extLst>
                <a:ext uri="{FF2B5EF4-FFF2-40B4-BE49-F238E27FC236}">
                  <a16:creationId xmlns:a16="http://schemas.microsoft.com/office/drawing/2014/main" id="{7D175EE4-9DB5-47F8-A6E0-C8255F2FCE08}"/>
                </a:ext>
              </a:extLst>
            </p:cNvPr>
            <p:cNvSpPr>
              <a:spLocks/>
            </p:cNvSpPr>
            <p:nvPr/>
          </p:nvSpPr>
          <p:spPr bwMode="auto">
            <a:xfrm>
              <a:off x="5274147" y="4879167"/>
              <a:ext cx="12948" cy="31075"/>
            </a:xfrm>
            <a:custGeom>
              <a:avLst/>
              <a:gdLst/>
              <a:ahLst/>
              <a:cxnLst>
                <a:cxn ang="0">
                  <a:pos x="2" y="0"/>
                </a:cxn>
                <a:cxn ang="0">
                  <a:pos x="2" y="0"/>
                </a:cxn>
                <a:cxn ang="0">
                  <a:pos x="2" y="2"/>
                </a:cxn>
                <a:cxn ang="0">
                  <a:pos x="4" y="4"/>
                </a:cxn>
                <a:cxn ang="0">
                  <a:pos x="4" y="6"/>
                </a:cxn>
                <a:cxn ang="0">
                  <a:pos x="4" y="14"/>
                </a:cxn>
                <a:cxn ang="0">
                  <a:pos x="0" y="16"/>
                </a:cxn>
                <a:cxn ang="0">
                  <a:pos x="2" y="20"/>
                </a:cxn>
                <a:cxn ang="0">
                  <a:pos x="2" y="22"/>
                </a:cxn>
                <a:cxn ang="0">
                  <a:pos x="4" y="24"/>
                </a:cxn>
                <a:cxn ang="0">
                  <a:pos x="6" y="16"/>
                </a:cxn>
                <a:cxn ang="0">
                  <a:pos x="10" y="14"/>
                </a:cxn>
                <a:cxn ang="0">
                  <a:pos x="10" y="10"/>
                </a:cxn>
                <a:cxn ang="0">
                  <a:pos x="8" y="10"/>
                </a:cxn>
                <a:cxn ang="0">
                  <a:pos x="10" y="8"/>
                </a:cxn>
                <a:cxn ang="0">
                  <a:pos x="10" y="4"/>
                </a:cxn>
                <a:cxn ang="0">
                  <a:pos x="8" y="2"/>
                </a:cxn>
                <a:cxn ang="0">
                  <a:pos x="6" y="0"/>
                </a:cxn>
                <a:cxn ang="0">
                  <a:pos x="2" y="0"/>
                </a:cxn>
              </a:cxnLst>
              <a:rect l="0" t="0" r="r" b="b"/>
              <a:pathLst>
                <a:path w="10" h="24">
                  <a:moveTo>
                    <a:pt x="2" y="0"/>
                  </a:moveTo>
                  <a:lnTo>
                    <a:pt x="2" y="0"/>
                  </a:lnTo>
                  <a:lnTo>
                    <a:pt x="2" y="2"/>
                  </a:lnTo>
                  <a:lnTo>
                    <a:pt x="4" y="4"/>
                  </a:lnTo>
                  <a:lnTo>
                    <a:pt x="4" y="6"/>
                  </a:lnTo>
                  <a:lnTo>
                    <a:pt x="4" y="14"/>
                  </a:lnTo>
                  <a:lnTo>
                    <a:pt x="0" y="16"/>
                  </a:lnTo>
                  <a:lnTo>
                    <a:pt x="2" y="20"/>
                  </a:lnTo>
                  <a:lnTo>
                    <a:pt x="2" y="22"/>
                  </a:lnTo>
                  <a:lnTo>
                    <a:pt x="4" y="24"/>
                  </a:lnTo>
                  <a:lnTo>
                    <a:pt x="6" y="16"/>
                  </a:lnTo>
                  <a:lnTo>
                    <a:pt x="10" y="14"/>
                  </a:lnTo>
                  <a:lnTo>
                    <a:pt x="10" y="10"/>
                  </a:lnTo>
                  <a:lnTo>
                    <a:pt x="8" y="10"/>
                  </a:lnTo>
                  <a:lnTo>
                    <a:pt x="10" y="8"/>
                  </a:lnTo>
                  <a:lnTo>
                    <a:pt x="10" y="4"/>
                  </a:lnTo>
                  <a:lnTo>
                    <a:pt x="8" y="2"/>
                  </a:lnTo>
                  <a:lnTo>
                    <a:pt x="6"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3" name="Freeform 336">
              <a:extLst>
                <a:ext uri="{FF2B5EF4-FFF2-40B4-BE49-F238E27FC236}">
                  <a16:creationId xmlns:a16="http://schemas.microsoft.com/office/drawing/2014/main" id="{F0D18967-5E79-4327-B155-74D5A35CC3D3}"/>
                </a:ext>
              </a:extLst>
            </p:cNvPr>
            <p:cNvSpPr>
              <a:spLocks/>
            </p:cNvSpPr>
            <p:nvPr/>
          </p:nvSpPr>
          <p:spPr bwMode="auto">
            <a:xfrm>
              <a:off x="4958215" y="4923190"/>
              <a:ext cx="10358" cy="15538"/>
            </a:xfrm>
            <a:custGeom>
              <a:avLst/>
              <a:gdLst/>
              <a:ahLst/>
              <a:cxnLst>
                <a:cxn ang="0">
                  <a:pos x="0" y="0"/>
                </a:cxn>
                <a:cxn ang="0">
                  <a:pos x="0" y="0"/>
                </a:cxn>
                <a:cxn ang="0">
                  <a:pos x="0" y="6"/>
                </a:cxn>
                <a:cxn ang="0">
                  <a:pos x="2" y="6"/>
                </a:cxn>
                <a:cxn ang="0">
                  <a:pos x="4" y="10"/>
                </a:cxn>
                <a:cxn ang="0">
                  <a:pos x="4" y="12"/>
                </a:cxn>
                <a:cxn ang="0">
                  <a:pos x="4" y="10"/>
                </a:cxn>
                <a:cxn ang="0">
                  <a:pos x="8" y="6"/>
                </a:cxn>
                <a:cxn ang="0">
                  <a:pos x="8" y="4"/>
                </a:cxn>
                <a:cxn ang="0">
                  <a:pos x="8" y="2"/>
                </a:cxn>
                <a:cxn ang="0">
                  <a:pos x="4" y="2"/>
                </a:cxn>
                <a:cxn ang="0">
                  <a:pos x="0" y="0"/>
                </a:cxn>
              </a:cxnLst>
              <a:rect l="0" t="0" r="r" b="b"/>
              <a:pathLst>
                <a:path w="8" h="12">
                  <a:moveTo>
                    <a:pt x="0" y="0"/>
                  </a:moveTo>
                  <a:lnTo>
                    <a:pt x="0" y="0"/>
                  </a:lnTo>
                  <a:lnTo>
                    <a:pt x="0" y="6"/>
                  </a:lnTo>
                  <a:lnTo>
                    <a:pt x="2" y="6"/>
                  </a:lnTo>
                  <a:lnTo>
                    <a:pt x="4" y="10"/>
                  </a:lnTo>
                  <a:lnTo>
                    <a:pt x="4" y="12"/>
                  </a:lnTo>
                  <a:lnTo>
                    <a:pt x="4" y="10"/>
                  </a:lnTo>
                  <a:lnTo>
                    <a:pt x="8" y="6"/>
                  </a:lnTo>
                  <a:lnTo>
                    <a:pt x="8" y="4"/>
                  </a:lnTo>
                  <a:lnTo>
                    <a:pt x="8" y="2"/>
                  </a:lnTo>
                  <a:lnTo>
                    <a:pt x="4"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4" name="Freeform 337">
              <a:extLst>
                <a:ext uri="{FF2B5EF4-FFF2-40B4-BE49-F238E27FC236}">
                  <a16:creationId xmlns:a16="http://schemas.microsoft.com/office/drawing/2014/main" id="{1BA0DBDD-A4E4-4C4E-B381-8383E0DD9772}"/>
                </a:ext>
              </a:extLst>
            </p:cNvPr>
            <p:cNvSpPr>
              <a:spLocks/>
            </p:cNvSpPr>
            <p:nvPr/>
          </p:nvSpPr>
          <p:spPr bwMode="auto">
            <a:xfrm>
              <a:off x="4958215" y="4923190"/>
              <a:ext cx="10358" cy="15538"/>
            </a:xfrm>
            <a:custGeom>
              <a:avLst/>
              <a:gdLst/>
              <a:ahLst/>
              <a:cxnLst>
                <a:cxn ang="0">
                  <a:pos x="0" y="0"/>
                </a:cxn>
                <a:cxn ang="0">
                  <a:pos x="0" y="0"/>
                </a:cxn>
                <a:cxn ang="0">
                  <a:pos x="0" y="6"/>
                </a:cxn>
                <a:cxn ang="0">
                  <a:pos x="2" y="6"/>
                </a:cxn>
                <a:cxn ang="0">
                  <a:pos x="4" y="10"/>
                </a:cxn>
                <a:cxn ang="0">
                  <a:pos x="4" y="12"/>
                </a:cxn>
                <a:cxn ang="0">
                  <a:pos x="4" y="10"/>
                </a:cxn>
                <a:cxn ang="0">
                  <a:pos x="8" y="6"/>
                </a:cxn>
                <a:cxn ang="0">
                  <a:pos x="8" y="4"/>
                </a:cxn>
                <a:cxn ang="0">
                  <a:pos x="8" y="2"/>
                </a:cxn>
                <a:cxn ang="0">
                  <a:pos x="4" y="2"/>
                </a:cxn>
                <a:cxn ang="0">
                  <a:pos x="0" y="0"/>
                </a:cxn>
              </a:cxnLst>
              <a:rect l="0" t="0" r="r" b="b"/>
              <a:pathLst>
                <a:path w="8" h="12">
                  <a:moveTo>
                    <a:pt x="0" y="0"/>
                  </a:moveTo>
                  <a:lnTo>
                    <a:pt x="0" y="0"/>
                  </a:lnTo>
                  <a:lnTo>
                    <a:pt x="0" y="6"/>
                  </a:lnTo>
                  <a:lnTo>
                    <a:pt x="2" y="6"/>
                  </a:lnTo>
                  <a:lnTo>
                    <a:pt x="4" y="10"/>
                  </a:lnTo>
                  <a:lnTo>
                    <a:pt x="4" y="12"/>
                  </a:lnTo>
                  <a:lnTo>
                    <a:pt x="4" y="10"/>
                  </a:lnTo>
                  <a:lnTo>
                    <a:pt x="8" y="6"/>
                  </a:lnTo>
                  <a:lnTo>
                    <a:pt x="8" y="4"/>
                  </a:lnTo>
                  <a:lnTo>
                    <a:pt x="8" y="2"/>
                  </a:lnTo>
                  <a:lnTo>
                    <a:pt x="4" y="2"/>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5" name="Freeform 338">
              <a:extLst>
                <a:ext uri="{FF2B5EF4-FFF2-40B4-BE49-F238E27FC236}">
                  <a16:creationId xmlns:a16="http://schemas.microsoft.com/office/drawing/2014/main" id="{E93F8B73-B63D-455D-BC00-81666CFB89B2}"/>
                </a:ext>
              </a:extLst>
            </p:cNvPr>
            <p:cNvSpPr>
              <a:spLocks/>
            </p:cNvSpPr>
            <p:nvPr/>
          </p:nvSpPr>
          <p:spPr bwMode="auto">
            <a:xfrm>
              <a:off x="4976342" y="4933549"/>
              <a:ext cx="10358" cy="7769"/>
            </a:xfrm>
            <a:custGeom>
              <a:avLst/>
              <a:gdLst/>
              <a:ahLst/>
              <a:cxnLst>
                <a:cxn ang="0">
                  <a:pos x="4" y="0"/>
                </a:cxn>
                <a:cxn ang="0">
                  <a:pos x="4" y="0"/>
                </a:cxn>
                <a:cxn ang="0">
                  <a:pos x="0" y="6"/>
                </a:cxn>
                <a:cxn ang="0">
                  <a:pos x="8" y="6"/>
                </a:cxn>
                <a:cxn ang="0">
                  <a:pos x="8" y="0"/>
                </a:cxn>
                <a:cxn ang="0">
                  <a:pos x="4" y="0"/>
                </a:cxn>
              </a:cxnLst>
              <a:rect l="0" t="0" r="r" b="b"/>
              <a:pathLst>
                <a:path w="8" h="6">
                  <a:moveTo>
                    <a:pt x="4" y="0"/>
                  </a:moveTo>
                  <a:lnTo>
                    <a:pt x="4" y="0"/>
                  </a:lnTo>
                  <a:lnTo>
                    <a:pt x="0" y="6"/>
                  </a:lnTo>
                  <a:lnTo>
                    <a:pt x="8" y="6"/>
                  </a:lnTo>
                  <a:lnTo>
                    <a:pt x="8" y="0"/>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6" name="Freeform 339">
              <a:extLst>
                <a:ext uri="{FF2B5EF4-FFF2-40B4-BE49-F238E27FC236}">
                  <a16:creationId xmlns:a16="http://schemas.microsoft.com/office/drawing/2014/main" id="{AD00526E-00AD-458B-8334-090B14686789}"/>
                </a:ext>
              </a:extLst>
            </p:cNvPr>
            <p:cNvSpPr>
              <a:spLocks/>
            </p:cNvSpPr>
            <p:nvPr/>
          </p:nvSpPr>
          <p:spPr bwMode="auto">
            <a:xfrm>
              <a:off x="4976342" y="4933549"/>
              <a:ext cx="10358" cy="7769"/>
            </a:xfrm>
            <a:custGeom>
              <a:avLst/>
              <a:gdLst/>
              <a:ahLst/>
              <a:cxnLst>
                <a:cxn ang="0">
                  <a:pos x="4" y="0"/>
                </a:cxn>
                <a:cxn ang="0">
                  <a:pos x="4" y="0"/>
                </a:cxn>
                <a:cxn ang="0">
                  <a:pos x="0" y="6"/>
                </a:cxn>
                <a:cxn ang="0">
                  <a:pos x="8" y="6"/>
                </a:cxn>
                <a:cxn ang="0">
                  <a:pos x="8" y="0"/>
                </a:cxn>
                <a:cxn ang="0">
                  <a:pos x="4" y="0"/>
                </a:cxn>
              </a:cxnLst>
              <a:rect l="0" t="0" r="r" b="b"/>
              <a:pathLst>
                <a:path w="8" h="6">
                  <a:moveTo>
                    <a:pt x="4" y="0"/>
                  </a:moveTo>
                  <a:lnTo>
                    <a:pt x="4" y="0"/>
                  </a:lnTo>
                  <a:lnTo>
                    <a:pt x="0" y="6"/>
                  </a:lnTo>
                  <a:lnTo>
                    <a:pt x="8" y="6"/>
                  </a:lnTo>
                  <a:lnTo>
                    <a:pt x="8" y="0"/>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7" name="Freeform 340">
              <a:extLst>
                <a:ext uri="{FF2B5EF4-FFF2-40B4-BE49-F238E27FC236}">
                  <a16:creationId xmlns:a16="http://schemas.microsoft.com/office/drawing/2014/main" id="{D5C03979-997C-4AB2-ABD6-E6097420AE20}"/>
                </a:ext>
              </a:extLst>
            </p:cNvPr>
            <p:cNvSpPr>
              <a:spLocks/>
            </p:cNvSpPr>
            <p:nvPr/>
          </p:nvSpPr>
          <p:spPr bwMode="auto">
            <a:xfrm>
              <a:off x="3311223" y="3685356"/>
              <a:ext cx="119122" cy="80278"/>
            </a:xfrm>
            <a:custGeom>
              <a:avLst/>
              <a:gdLst/>
              <a:ahLst/>
              <a:cxnLst>
                <a:cxn ang="0">
                  <a:pos x="40" y="62"/>
                </a:cxn>
                <a:cxn ang="0">
                  <a:pos x="34" y="62"/>
                </a:cxn>
                <a:cxn ang="0">
                  <a:pos x="26" y="58"/>
                </a:cxn>
                <a:cxn ang="0">
                  <a:pos x="14" y="50"/>
                </a:cxn>
                <a:cxn ang="0">
                  <a:pos x="8" y="40"/>
                </a:cxn>
                <a:cxn ang="0">
                  <a:pos x="2" y="34"/>
                </a:cxn>
                <a:cxn ang="0">
                  <a:pos x="0" y="26"/>
                </a:cxn>
                <a:cxn ang="0">
                  <a:pos x="0" y="22"/>
                </a:cxn>
                <a:cxn ang="0">
                  <a:pos x="4" y="20"/>
                </a:cxn>
                <a:cxn ang="0">
                  <a:pos x="6" y="16"/>
                </a:cxn>
                <a:cxn ang="0">
                  <a:pos x="6" y="8"/>
                </a:cxn>
                <a:cxn ang="0">
                  <a:pos x="10" y="6"/>
                </a:cxn>
                <a:cxn ang="0">
                  <a:pos x="20" y="10"/>
                </a:cxn>
                <a:cxn ang="0">
                  <a:pos x="32" y="12"/>
                </a:cxn>
                <a:cxn ang="0">
                  <a:pos x="38" y="8"/>
                </a:cxn>
                <a:cxn ang="0">
                  <a:pos x="50" y="4"/>
                </a:cxn>
                <a:cxn ang="0">
                  <a:pos x="52" y="6"/>
                </a:cxn>
                <a:cxn ang="0">
                  <a:pos x="56" y="8"/>
                </a:cxn>
                <a:cxn ang="0">
                  <a:pos x="60" y="6"/>
                </a:cxn>
                <a:cxn ang="0">
                  <a:pos x="70" y="2"/>
                </a:cxn>
                <a:cxn ang="0">
                  <a:pos x="82" y="0"/>
                </a:cxn>
                <a:cxn ang="0">
                  <a:pos x="86" y="2"/>
                </a:cxn>
                <a:cxn ang="0">
                  <a:pos x="92" y="4"/>
                </a:cxn>
                <a:cxn ang="0">
                  <a:pos x="88" y="20"/>
                </a:cxn>
                <a:cxn ang="0">
                  <a:pos x="80" y="28"/>
                </a:cxn>
                <a:cxn ang="0">
                  <a:pos x="78" y="42"/>
                </a:cxn>
                <a:cxn ang="0">
                  <a:pos x="72" y="52"/>
                </a:cxn>
                <a:cxn ang="0">
                  <a:pos x="66" y="56"/>
                </a:cxn>
                <a:cxn ang="0">
                  <a:pos x="56" y="56"/>
                </a:cxn>
                <a:cxn ang="0">
                  <a:pos x="48" y="58"/>
                </a:cxn>
                <a:cxn ang="0">
                  <a:pos x="42" y="62"/>
                </a:cxn>
                <a:cxn ang="0">
                  <a:pos x="40" y="62"/>
                </a:cxn>
              </a:cxnLst>
              <a:rect l="0" t="0" r="r" b="b"/>
              <a:pathLst>
                <a:path w="92" h="62">
                  <a:moveTo>
                    <a:pt x="40" y="62"/>
                  </a:moveTo>
                  <a:lnTo>
                    <a:pt x="40" y="62"/>
                  </a:lnTo>
                  <a:lnTo>
                    <a:pt x="36" y="62"/>
                  </a:lnTo>
                  <a:lnTo>
                    <a:pt x="34" y="62"/>
                  </a:lnTo>
                  <a:lnTo>
                    <a:pt x="30" y="60"/>
                  </a:lnTo>
                  <a:lnTo>
                    <a:pt x="26" y="58"/>
                  </a:lnTo>
                  <a:lnTo>
                    <a:pt x="20" y="56"/>
                  </a:lnTo>
                  <a:lnTo>
                    <a:pt x="14" y="50"/>
                  </a:lnTo>
                  <a:lnTo>
                    <a:pt x="10" y="44"/>
                  </a:lnTo>
                  <a:lnTo>
                    <a:pt x="8" y="40"/>
                  </a:lnTo>
                  <a:lnTo>
                    <a:pt x="6" y="38"/>
                  </a:lnTo>
                  <a:lnTo>
                    <a:pt x="2" y="34"/>
                  </a:lnTo>
                  <a:lnTo>
                    <a:pt x="2" y="30"/>
                  </a:lnTo>
                  <a:lnTo>
                    <a:pt x="0" y="26"/>
                  </a:lnTo>
                  <a:lnTo>
                    <a:pt x="0" y="24"/>
                  </a:lnTo>
                  <a:lnTo>
                    <a:pt x="0" y="22"/>
                  </a:lnTo>
                  <a:lnTo>
                    <a:pt x="2" y="20"/>
                  </a:lnTo>
                  <a:lnTo>
                    <a:pt x="4" y="20"/>
                  </a:lnTo>
                  <a:lnTo>
                    <a:pt x="6" y="20"/>
                  </a:lnTo>
                  <a:lnTo>
                    <a:pt x="6" y="16"/>
                  </a:lnTo>
                  <a:lnTo>
                    <a:pt x="8" y="12"/>
                  </a:lnTo>
                  <a:lnTo>
                    <a:pt x="6" y="8"/>
                  </a:lnTo>
                  <a:lnTo>
                    <a:pt x="8" y="6"/>
                  </a:lnTo>
                  <a:lnTo>
                    <a:pt x="10" y="6"/>
                  </a:lnTo>
                  <a:lnTo>
                    <a:pt x="14" y="8"/>
                  </a:lnTo>
                  <a:lnTo>
                    <a:pt x="20" y="10"/>
                  </a:lnTo>
                  <a:lnTo>
                    <a:pt x="24" y="10"/>
                  </a:lnTo>
                  <a:lnTo>
                    <a:pt x="32" y="12"/>
                  </a:lnTo>
                  <a:lnTo>
                    <a:pt x="38" y="12"/>
                  </a:lnTo>
                  <a:lnTo>
                    <a:pt x="38" y="8"/>
                  </a:lnTo>
                  <a:lnTo>
                    <a:pt x="44" y="6"/>
                  </a:lnTo>
                  <a:lnTo>
                    <a:pt x="50" y="4"/>
                  </a:lnTo>
                  <a:lnTo>
                    <a:pt x="52" y="4"/>
                  </a:lnTo>
                  <a:lnTo>
                    <a:pt x="52" y="6"/>
                  </a:lnTo>
                  <a:lnTo>
                    <a:pt x="54" y="6"/>
                  </a:lnTo>
                  <a:lnTo>
                    <a:pt x="56" y="8"/>
                  </a:lnTo>
                  <a:lnTo>
                    <a:pt x="58" y="6"/>
                  </a:lnTo>
                  <a:lnTo>
                    <a:pt x="60" y="6"/>
                  </a:lnTo>
                  <a:lnTo>
                    <a:pt x="64" y="2"/>
                  </a:lnTo>
                  <a:lnTo>
                    <a:pt x="70" y="2"/>
                  </a:lnTo>
                  <a:lnTo>
                    <a:pt x="76" y="2"/>
                  </a:lnTo>
                  <a:lnTo>
                    <a:pt x="82" y="0"/>
                  </a:lnTo>
                  <a:lnTo>
                    <a:pt x="84" y="0"/>
                  </a:lnTo>
                  <a:lnTo>
                    <a:pt x="86" y="2"/>
                  </a:lnTo>
                  <a:lnTo>
                    <a:pt x="90" y="4"/>
                  </a:lnTo>
                  <a:lnTo>
                    <a:pt x="92" y="4"/>
                  </a:lnTo>
                  <a:lnTo>
                    <a:pt x="90" y="16"/>
                  </a:lnTo>
                  <a:lnTo>
                    <a:pt x="88" y="20"/>
                  </a:lnTo>
                  <a:lnTo>
                    <a:pt x="82" y="24"/>
                  </a:lnTo>
                  <a:lnTo>
                    <a:pt x="80" y="28"/>
                  </a:lnTo>
                  <a:lnTo>
                    <a:pt x="78" y="34"/>
                  </a:lnTo>
                  <a:lnTo>
                    <a:pt x="78" y="42"/>
                  </a:lnTo>
                  <a:lnTo>
                    <a:pt x="76" y="48"/>
                  </a:lnTo>
                  <a:lnTo>
                    <a:pt x="72" y="52"/>
                  </a:lnTo>
                  <a:lnTo>
                    <a:pt x="70" y="54"/>
                  </a:lnTo>
                  <a:lnTo>
                    <a:pt x="66" y="56"/>
                  </a:lnTo>
                  <a:lnTo>
                    <a:pt x="64" y="56"/>
                  </a:lnTo>
                  <a:lnTo>
                    <a:pt x="56" y="56"/>
                  </a:lnTo>
                  <a:lnTo>
                    <a:pt x="50" y="56"/>
                  </a:lnTo>
                  <a:lnTo>
                    <a:pt x="48" y="58"/>
                  </a:lnTo>
                  <a:lnTo>
                    <a:pt x="44" y="62"/>
                  </a:lnTo>
                  <a:lnTo>
                    <a:pt x="42" y="62"/>
                  </a:lnTo>
                  <a:lnTo>
                    <a:pt x="40" y="62"/>
                  </a:lnTo>
                  <a:lnTo>
                    <a:pt x="40" y="6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8" name="Freeform 341">
              <a:extLst>
                <a:ext uri="{FF2B5EF4-FFF2-40B4-BE49-F238E27FC236}">
                  <a16:creationId xmlns:a16="http://schemas.microsoft.com/office/drawing/2014/main" id="{ABDCEEF1-0154-4B7E-BF9F-3F214F9A62AF}"/>
                </a:ext>
              </a:extLst>
            </p:cNvPr>
            <p:cNvSpPr>
              <a:spLocks/>
            </p:cNvSpPr>
            <p:nvPr/>
          </p:nvSpPr>
          <p:spPr bwMode="auto">
            <a:xfrm>
              <a:off x="4953036" y="4283556"/>
              <a:ext cx="7769" cy="5179"/>
            </a:xfrm>
            <a:custGeom>
              <a:avLst/>
              <a:gdLst/>
              <a:ahLst/>
              <a:cxnLst>
                <a:cxn ang="0">
                  <a:pos x="6" y="2"/>
                </a:cxn>
                <a:cxn ang="0">
                  <a:pos x="6" y="2"/>
                </a:cxn>
                <a:cxn ang="0">
                  <a:pos x="2" y="4"/>
                </a:cxn>
                <a:cxn ang="0">
                  <a:pos x="0" y="0"/>
                </a:cxn>
                <a:cxn ang="0">
                  <a:pos x="4" y="0"/>
                </a:cxn>
                <a:cxn ang="0">
                  <a:pos x="6" y="0"/>
                </a:cxn>
                <a:cxn ang="0">
                  <a:pos x="6" y="2"/>
                </a:cxn>
                <a:cxn ang="0">
                  <a:pos x="6" y="2"/>
                </a:cxn>
              </a:cxnLst>
              <a:rect l="0" t="0" r="r" b="b"/>
              <a:pathLst>
                <a:path w="6" h="4">
                  <a:moveTo>
                    <a:pt x="6" y="2"/>
                  </a:moveTo>
                  <a:lnTo>
                    <a:pt x="6" y="2"/>
                  </a:lnTo>
                  <a:lnTo>
                    <a:pt x="2" y="4"/>
                  </a:lnTo>
                  <a:lnTo>
                    <a:pt x="0" y="0"/>
                  </a:lnTo>
                  <a:lnTo>
                    <a:pt x="4" y="0"/>
                  </a:lnTo>
                  <a:lnTo>
                    <a:pt x="6" y="0"/>
                  </a:lnTo>
                  <a:lnTo>
                    <a:pt x="6" y="2"/>
                  </a:lnTo>
                  <a:lnTo>
                    <a:pt x="6"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79" name="Freeform 342">
              <a:extLst>
                <a:ext uri="{FF2B5EF4-FFF2-40B4-BE49-F238E27FC236}">
                  <a16:creationId xmlns:a16="http://schemas.microsoft.com/office/drawing/2014/main" id="{55DA8109-7953-419F-B6B6-0308AD98287E}"/>
                </a:ext>
              </a:extLst>
            </p:cNvPr>
            <p:cNvSpPr>
              <a:spLocks/>
            </p:cNvSpPr>
            <p:nvPr/>
          </p:nvSpPr>
          <p:spPr bwMode="auto">
            <a:xfrm>
              <a:off x="4953036" y="4283556"/>
              <a:ext cx="7769" cy="5179"/>
            </a:xfrm>
            <a:custGeom>
              <a:avLst/>
              <a:gdLst/>
              <a:ahLst/>
              <a:cxnLst>
                <a:cxn ang="0">
                  <a:pos x="6" y="2"/>
                </a:cxn>
                <a:cxn ang="0">
                  <a:pos x="6" y="2"/>
                </a:cxn>
                <a:cxn ang="0">
                  <a:pos x="2" y="4"/>
                </a:cxn>
                <a:cxn ang="0">
                  <a:pos x="0" y="0"/>
                </a:cxn>
                <a:cxn ang="0">
                  <a:pos x="4" y="0"/>
                </a:cxn>
                <a:cxn ang="0">
                  <a:pos x="6" y="0"/>
                </a:cxn>
                <a:cxn ang="0">
                  <a:pos x="6" y="2"/>
                </a:cxn>
                <a:cxn ang="0">
                  <a:pos x="6" y="2"/>
                </a:cxn>
              </a:cxnLst>
              <a:rect l="0" t="0" r="r" b="b"/>
              <a:pathLst>
                <a:path w="6" h="4">
                  <a:moveTo>
                    <a:pt x="6" y="2"/>
                  </a:moveTo>
                  <a:lnTo>
                    <a:pt x="6" y="2"/>
                  </a:lnTo>
                  <a:lnTo>
                    <a:pt x="2" y="4"/>
                  </a:lnTo>
                  <a:lnTo>
                    <a:pt x="0" y="0"/>
                  </a:lnTo>
                  <a:lnTo>
                    <a:pt x="4" y="0"/>
                  </a:lnTo>
                  <a:lnTo>
                    <a:pt x="6" y="0"/>
                  </a:lnTo>
                  <a:lnTo>
                    <a:pt x="6" y="2"/>
                  </a:lnTo>
                  <a:lnTo>
                    <a:pt x="6"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0" name="Freeform 343">
              <a:extLst>
                <a:ext uri="{FF2B5EF4-FFF2-40B4-BE49-F238E27FC236}">
                  <a16:creationId xmlns:a16="http://schemas.microsoft.com/office/drawing/2014/main" id="{F67A1C88-FB9A-4A4E-BA67-2B26009B1F4F}"/>
                </a:ext>
              </a:extLst>
            </p:cNvPr>
            <p:cNvSpPr>
              <a:spLocks/>
            </p:cNvSpPr>
            <p:nvPr/>
          </p:nvSpPr>
          <p:spPr bwMode="auto">
            <a:xfrm>
              <a:off x="1534750" y="4415626"/>
              <a:ext cx="103584" cy="64740"/>
            </a:xfrm>
            <a:custGeom>
              <a:avLst/>
              <a:gdLst/>
              <a:ahLst/>
              <a:cxnLst>
                <a:cxn ang="0">
                  <a:pos x="80" y="20"/>
                </a:cxn>
                <a:cxn ang="0">
                  <a:pos x="80" y="20"/>
                </a:cxn>
                <a:cxn ang="0">
                  <a:pos x="80" y="18"/>
                </a:cxn>
                <a:cxn ang="0">
                  <a:pos x="80" y="16"/>
                </a:cxn>
                <a:cxn ang="0">
                  <a:pos x="74" y="16"/>
                </a:cxn>
                <a:cxn ang="0">
                  <a:pos x="70" y="14"/>
                </a:cxn>
                <a:cxn ang="0">
                  <a:pos x="70" y="10"/>
                </a:cxn>
                <a:cxn ang="0">
                  <a:pos x="68" y="6"/>
                </a:cxn>
                <a:cxn ang="0">
                  <a:pos x="64" y="6"/>
                </a:cxn>
                <a:cxn ang="0">
                  <a:pos x="64" y="4"/>
                </a:cxn>
                <a:cxn ang="0">
                  <a:pos x="56" y="2"/>
                </a:cxn>
                <a:cxn ang="0">
                  <a:pos x="50" y="2"/>
                </a:cxn>
                <a:cxn ang="0">
                  <a:pos x="48" y="0"/>
                </a:cxn>
                <a:cxn ang="0">
                  <a:pos x="46" y="0"/>
                </a:cxn>
                <a:cxn ang="0">
                  <a:pos x="46" y="4"/>
                </a:cxn>
                <a:cxn ang="0">
                  <a:pos x="40" y="4"/>
                </a:cxn>
                <a:cxn ang="0">
                  <a:pos x="34" y="4"/>
                </a:cxn>
                <a:cxn ang="0">
                  <a:pos x="34" y="6"/>
                </a:cxn>
                <a:cxn ang="0">
                  <a:pos x="24" y="6"/>
                </a:cxn>
                <a:cxn ang="0">
                  <a:pos x="14" y="6"/>
                </a:cxn>
                <a:cxn ang="0">
                  <a:pos x="12" y="8"/>
                </a:cxn>
                <a:cxn ang="0">
                  <a:pos x="12" y="10"/>
                </a:cxn>
                <a:cxn ang="0">
                  <a:pos x="10" y="10"/>
                </a:cxn>
                <a:cxn ang="0">
                  <a:pos x="4" y="12"/>
                </a:cxn>
                <a:cxn ang="0">
                  <a:pos x="4" y="16"/>
                </a:cxn>
                <a:cxn ang="0">
                  <a:pos x="2" y="22"/>
                </a:cxn>
                <a:cxn ang="0">
                  <a:pos x="0" y="24"/>
                </a:cxn>
                <a:cxn ang="0">
                  <a:pos x="6" y="26"/>
                </a:cxn>
                <a:cxn ang="0">
                  <a:pos x="14" y="28"/>
                </a:cxn>
                <a:cxn ang="0">
                  <a:pos x="16" y="30"/>
                </a:cxn>
                <a:cxn ang="0">
                  <a:pos x="20" y="32"/>
                </a:cxn>
                <a:cxn ang="0">
                  <a:pos x="26" y="34"/>
                </a:cxn>
                <a:cxn ang="0">
                  <a:pos x="26" y="44"/>
                </a:cxn>
                <a:cxn ang="0">
                  <a:pos x="30" y="44"/>
                </a:cxn>
                <a:cxn ang="0">
                  <a:pos x="28" y="50"/>
                </a:cxn>
                <a:cxn ang="0">
                  <a:pos x="30" y="50"/>
                </a:cxn>
                <a:cxn ang="0">
                  <a:pos x="32" y="48"/>
                </a:cxn>
                <a:cxn ang="0">
                  <a:pos x="34" y="48"/>
                </a:cxn>
                <a:cxn ang="0">
                  <a:pos x="34" y="40"/>
                </a:cxn>
                <a:cxn ang="0">
                  <a:pos x="34" y="34"/>
                </a:cxn>
                <a:cxn ang="0">
                  <a:pos x="44" y="30"/>
                </a:cxn>
                <a:cxn ang="0">
                  <a:pos x="48" y="30"/>
                </a:cxn>
                <a:cxn ang="0">
                  <a:pos x="50" y="32"/>
                </a:cxn>
                <a:cxn ang="0">
                  <a:pos x="52" y="34"/>
                </a:cxn>
                <a:cxn ang="0">
                  <a:pos x="52" y="32"/>
                </a:cxn>
                <a:cxn ang="0">
                  <a:pos x="56" y="32"/>
                </a:cxn>
                <a:cxn ang="0">
                  <a:pos x="62" y="30"/>
                </a:cxn>
                <a:cxn ang="0">
                  <a:pos x="66" y="30"/>
                </a:cxn>
                <a:cxn ang="0">
                  <a:pos x="66" y="28"/>
                </a:cxn>
                <a:cxn ang="0">
                  <a:pos x="68" y="24"/>
                </a:cxn>
                <a:cxn ang="0">
                  <a:pos x="72" y="22"/>
                </a:cxn>
                <a:cxn ang="0">
                  <a:pos x="80" y="20"/>
                </a:cxn>
                <a:cxn ang="0">
                  <a:pos x="80" y="20"/>
                </a:cxn>
              </a:cxnLst>
              <a:rect l="0" t="0" r="r" b="b"/>
              <a:pathLst>
                <a:path w="80" h="50">
                  <a:moveTo>
                    <a:pt x="80" y="20"/>
                  </a:moveTo>
                  <a:lnTo>
                    <a:pt x="80" y="20"/>
                  </a:lnTo>
                  <a:lnTo>
                    <a:pt x="80" y="18"/>
                  </a:lnTo>
                  <a:lnTo>
                    <a:pt x="80" y="16"/>
                  </a:lnTo>
                  <a:lnTo>
                    <a:pt x="74" y="16"/>
                  </a:lnTo>
                  <a:lnTo>
                    <a:pt x="70" y="14"/>
                  </a:lnTo>
                  <a:lnTo>
                    <a:pt x="70" y="10"/>
                  </a:lnTo>
                  <a:lnTo>
                    <a:pt x="68" y="6"/>
                  </a:lnTo>
                  <a:lnTo>
                    <a:pt x="64" y="6"/>
                  </a:lnTo>
                  <a:lnTo>
                    <a:pt x="64" y="4"/>
                  </a:lnTo>
                  <a:lnTo>
                    <a:pt x="56" y="2"/>
                  </a:lnTo>
                  <a:lnTo>
                    <a:pt x="50" y="2"/>
                  </a:lnTo>
                  <a:lnTo>
                    <a:pt x="48" y="0"/>
                  </a:lnTo>
                  <a:lnTo>
                    <a:pt x="46" y="0"/>
                  </a:lnTo>
                  <a:lnTo>
                    <a:pt x="46" y="4"/>
                  </a:lnTo>
                  <a:lnTo>
                    <a:pt x="40" y="4"/>
                  </a:lnTo>
                  <a:lnTo>
                    <a:pt x="34" y="4"/>
                  </a:lnTo>
                  <a:lnTo>
                    <a:pt x="34" y="6"/>
                  </a:lnTo>
                  <a:lnTo>
                    <a:pt x="24" y="6"/>
                  </a:lnTo>
                  <a:lnTo>
                    <a:pt x="14" y="6"/>
                  </a:lnTo>
                  <a:lnTo>
                    <a:pt x="12" y="8"/>
                  </a:lnTo>
                  <a:lnTo>
                    <a:pt x="12" y="10"/>
                  </a:lnTo>
                  <a:lnTo>
                    <a:pt x="10" y="10"/>
                  </a:lnTo>
                  <a:lnTo>
                    <a:pt x="4" y="12"/>
                  </a:lnTo>
                  <a:lnTo>
                    <a:pt x="4" y="16"/>
                  </a:lnTo>
                  <a:lnTo>
                    <a:pt x="2" y="22"/>
                  </a:lnTo>
                  <a:lnTo>
                    <a:pt x="0" y="24"/>
                  </a:lnTo>
                  <a:lnTo>
                    <a:pt x="6" y="26"/>
                  </a:lnTo>
                  <a:lnTo>
                    <a:pt x="14" y="28"/>
                  </a:lnTo>
                  <a:lnTo>
                    <a:pt x="16" y="30"/>
                  </a:lnTo>
                  <a:lnTo>
                    <a:pt x="20" y="32"/>
                  </a:lnTo>
                  <a:lnTo>
                    <a:pt x="26" y="34"/>
                  </a:lnTo>
                  <a:lnTo>
                    <a:pt x="26" y="44"/>
                  </a:lnTo>
                  <a:lnTo>
                    <a:pt x="30" y="44"/>
                  </a:lnTo>
                  <a:lnTo>
                    <a:pt x="28" y="50"/>
                  </a:lnTo>
                  <a:lnTo>
                    <a:pt x="30" y="50"/>
                  </a:lnTo>
                  <a:lnTo>
                    <a:pt x="32" y="48"/>
                  </a:lnTo>
                  <a:lnTo>
                    <a:pt x="34" y="48"/>
                  </a:lnTo>
                  <a:lnTo>
                    <a:pt x="34" y="40"/>
                  </a:lnTo>
                  <a:lnTo>
                    <a:pt x="34" y="34"/>
                  </a:lnTo>
                  <a:lnTo>
                    <a:pt x="44" y="30"/>
                  </a:lnTo>
                  <a:lnTo>
                    <a:pt x="48" y="30"/>
                  </a:lnTo>
                  <a:lnTo>
                    <a:pt x="50" y="32"/>
                  </a:lnTo>
                  <a:lnTo>
                    <a:pt x="52" y="34"/>
                  </a:lnTo>
                  <a:lnTo>
                    <a:pt x="52" y="32"/>
                  </a:lnTo>
                  <a:lnTo>
                    <a:pt x="56" y="32"/>
                  </a:lnTo>
                  <a:lnTo>
                    <a:pt x="62" y="30"/>
                  </a:lnTo>
                  <a:lnTo>
                    <a:pt x="66" y="30"/>
                  </a:lnTo>
                  <a:lnTo>
                    <a:pt x="66" y="28"/>
                  </a:lnTo>
                  <a:lnTo>
                    <a:pt x="68" y="24"/>
                  </a:lnTo>
                  <a:lnTo>
                    <a:pt x="72" y="22"/>
                  </a:lnTo>
                  <a:lnTo>
                    <a:pt x="80" y="20"/>
                  </a:lnTo>
                  <a:lnTo>
                    <a:pt x="80" y="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1" name="Freeform 344">
              <a:extLst>
                <a:ext uri="{FF2B5EF4-FFF2-40B4-BE49-F238E27FC236}">
                  <a16:creationId xmlns:a16="http://schemas.microsoft.com/office/drawing/2014/main" id="{5B6C59B4-F8EF-4548-9E7C-58303A761F7A}"/>
                </a:ext>
              </a:extLst>
            </p:cNvPr>
            <p:cNvSpPr>
              <a:spLocks/>
            </p:cNvSpPr>
            <p:nvPr/>
          </p:nvSpPr>
          <p:spPr bwMode="auto">
            <a:xfrm>
              <a:off x="1788532" y="4332759"/>
              <a:ext cx="46613" cy="33665"/>
            </a:xfrm>
            <a:custGeom>
              <a:avLst/>
              <a:gdLst/>
              <a:ahLst/>
              <a:cxnLst>
                <a:cxn ang="0">
                  <a:pos x="36" y="26"/>
                </a:cxn>
                <a:cxn ang="0">
                  <a:pos x="36" y="26"/>
                </a:cxn>
                <a:cxn ang="0">
                  <a:pos x="36" y="22"/>
                </a:cxn>
                <a:cxn ang="0">
                  <a:pos x="36" y="18"/>
                </a:cxn>
                <a:cxn ang="0">
                  <a:pos x="36" y="16"/>
                </a:cxn>
                <a:cxn ang="0">
                  <a:pos x="36" y="12"/>
                </a:cxn>
                <a:cxn ang="0">
                  <a:pos x="36" y="2"/>
                </a:cxn>
                <a:cxn ang="0">
                  <a:pos x="32" y="2"/>
                </a:cxn>
                <a:cxn ang="0">
                  <a:pos x="30" y="2"/>
                </a:cxn>
                <a:cxn ang="0">
                  <a:pos x="26" y="0"/>
                </a:cxn>
                <a:cxn ang="0">
                  <a:pos x="20" y="0"/>
                </a:cxn>
                <a:cxn ang="0">
                  <a:pos x="26" y="4"/>
                </a:cxn>
                <a:cxn ang="0">
                  <a:pos x="26" y="6"/>
                </a:cxn>
                <a:cxn ang="0">
                  <a:pos x="26" y="12"/>
                </a:cxn>
                <a:cxn ang="0">
                  <a:pos x="30" y="16"/>
                </a:cxn>
                <a:cxn ang="0">
                  <a:pos x="30" y="20"/>
                </a:cxn>
                <a:cxn ang="0">
                  <a:pos x="28" y="22"/>
                </a:cxn>
                <a:cxn ang="0">
                  <a:pos x="26" y="22"/>
                </a:cxn>
                <a:cxn ang="0">
                  <a:pos x="16" y="18"/>
                </a:cxn>
                <a:cxn ang="0">
                  <a:pos x="12" y="20"/>
                </a:cxn>
                <a:cxn ang="0">
                  <a:pos x="10" y="20"/>
                </a:cxn>
                <a:cxn ang="0">
                  <a:pos x="8" y="18"/>
                </a:cxn>
                <a:cxn ang="0">
                  <a:pos x="4" y="16"/>
                </a:cxn>
                <a:cxn ang="0">
                  <a:pos x="0" y="18"/>
                </a:cxn>
                <a:cxn ang="0">
                  <a:pos x="0" y="22"/>
                </a:cxn>
                <a:cxn ang="0">
                  <a:pos x="6" y="26"/>
                </a:cxn>
                <a:cxn ang="0">
                  <a:pos x="10" y="26"/>
                </a:cxn>
                <a:cxn ang="0">
                  <a:pos x="14" y="24"/>
                </a:cxn>
                <a:cxn ang="0">
                  <a:pos x="36" y="26"/>
                </a:cxn>
                <a:cxn ang="0">
                  <a:pos x="36" y="26"/>
                </a:cxn>
              </a:cxnLst>
              <a:rect l="0" t="0" r="r" b="b"/>
              <a:pathLst>
                <a:path w="36" h="26">
                  <a:moveTo>
                    <a:pt x="36" y="26"/>
                  </a:moveTo>
                  <a:lnTo>
                    <a:pt x="36" y="26"/>
                  </a:lnTo>
                  <a:lnTo>
                    <a:pt x="36" y="22"/>
                  </a:lnTo>
                  <a:lnTo>
                    <a:pt x="36" y="18"/>
                  </a:lnTo>
                  <a:lnTo>
                    <a:pt x="36" y="16"/>
                  </a:lnTo>
                  <a:lnTo>
                    <a:pt x="36" y="12"/>
                  </a:lnTo>
                  <a:lnTo>
                    <a:pt x="36" y="2"/>
                  </a:lnTo>
                  <a:lnTo>
                    <a:pt x="32" y="2"/>
                  </a:lnTo>
                  <a:lnTo>
                    <a:pt x="30" y="2"/>
                  </a:lnTo>
                  <a:lnTo>
                    <a:pt x="26" y="0"/>
                  </a:lnTo>
                  <a:lnTo>
                    <a:pt x="20" y="0"/>
                  </a:lnTo>
                  <a:lnTo>
                    <a:pt x="26" y="4"/>
                  </a:lnTo>
                  <a:lnTo>
                    <a:pt x="26" y="6"/>
                  </a:lnTo>
                  <a:lnTo>
                    <a:pt x="26" y="12"/>
                  </a:lnTo>
                  <a:lnTo>
                    <a:pt x="30" y="16"/>
                  </a:lnTo>
                  <a:lnTo>
                    <a:pt x="30" y="20"/>
                  </a:lnTo>
                  <a:lnTo>
                    <a:pt x="28" y="22"/>
                  </a:lnTo>
                  <a:lnTo>
                    <a:pt x="26" y="22"/>
                  </a:lnTo>
                  <a:lnTo>
                    <a:pt x="16" y="18"/>
                  </a:lnTo>
                  <a:lnTo>
                    <a:pt x="12" y="20"/>
                  </a:lnTo>
                  <a:lnTo>
                    <a:pt x="10" y="20"/>
                  </a:lnTo>
                  <a:lnTo>
                    <a:pt x="8" y="18"/>
                  </a:lnTo>
                  <a:lnTo>
                    <a:pt x="4" y="16"/>
                  </a:lnTo>
                  <a:lnTo>
                    <a:pt x="0" y="18"/>
                  </a:lnTo>
                  <a:lnTo>
                    <a:pt x="0" y="22"/>
                  </a:lnTo>
                  <a:lnTo>
                    <a:pt x="6" y="26"/>
                  </a:lnTo>
                  <a:lnTo>
                    <a:pt x="10" y="26"/>
                  </a:lnTo>
                  <a:lnTo>
                    <a:pt x="14" y="24"/>
                  </a:lnTo>
                  <a:lnTo>
                    <a:pt x="36" y="26"/>
                  </a:lnTo>
                  <a:lnTo>
                    <a:pt x="36" y="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2" name="Freeform 345">
              <a:extLst>
                <a:ext uri="{FF2B5EF4-FFF2-40B4-BE49-F238E27FC236}">
                  <a16:creationId xmlns:a16="http://schemas.microsoft.com/office/drawing/2014/main" id="{CFB29086-5FDC-439E-AB2F-E3F28533E774}"/>
                </a:ext>
              </a:extLst>
            </p:cNvPr>
            <p:cNvSpPr>
              <a:spLocks/>
            </p:cNvSpPr>
            <p:nvPr/>
          </p:nvSpPr>
          <p:spPr bwMode="auto">
            <a:xfrm>
              <a:off x="1998291" y="4573593"/>
              <a:ext cx="80278" cy="163145"/>
            </a:xfrm>
            <a:custGeom>
              <a:avLst/>
              <a:gdLst/>
              <a:ahLst/>
              <a:cxnLst>
                <a:cxn ang="0">
                  <a:pos x="20" y="8"/>
                </a:cxn>
                <a:cxn ang="0">
                  <a:pos x="12" y="14"/>
                </a:cxn>
                <a:cxn ang="0">
                  <a:pos x="6" y="14"/>
                </a:cxn>
                <a:cxn ang="0">
                  <a:pos x="8" y="20"/>
                </a:cxn>
                <a:cxn ang="0">
                  <a:pos x="12" y="26"/>
                </a:cxn>
                <a:cxn ang="0">
                  <a:pos x="16" y="28"/>
                </a:cxn>
                <a:cxn ang="0">
                  <a:pos x="14" y="32"/>
                </a:cxn>
                <a:cxn ang="0">
                  <a:pos x="4" y="34"/>
                </a:cxn>
                <a:cxn ang="0">
                  <a:pos x="4" y="40"/>
                </a:cxn>
                <a:cxn ang="0">
                  <a:pos x="10" y="58"/>
                </a:cxn>
                <a:cxn ang="0">
                  <a:pos x="20" y="60"/>
                </a:cxn>
                <a:cxn ang="0">
                  <a:pos x="24" y="62"/>
                </a:cxn>
                <a:cxn ang="0">
                  <a:pos x="20" y="68"/>
                </a:cxn>
                <a:cxn ang="0">
                  <a:pos x="28" y="72"/>
                </a:cxn>
                <a:cxn ang="0">
                  <a:pos x="26" y="76"/>
                </a:cxn>
                <a:cxn ang="0">
                  <a:pos x="28" y="80"/>
                </a:cxn>
                <a:cxn ang="0">
                  <a:pos x="20" y="90"/>
                </a:cxn>
                <a:cxn ang="0">
                  <a:pos x="18" y="108"/>
                </a:cxn>
                <a:cxn ang="0">
                  <a:pos x="20" y="114"/>
                </a:cxn>
                <a:cxn ang="0">
                  <a:pos x="26" y="120"/>
                </a:cxn>
                <a:cxn ang="0">
                  <a:pos x="28" y="122"/>
                </a:cxn>
                <a:cxn ang="0">
                  <a:pos x="34" y="126"/>
                </a:cxn>
                <a:cxn ang="0">
                  <a:pos x="38" y="122"/>
                </a:cxn>
                <a:cxn ang="0">
                  <a:pos x="42" y="122"/>
                </a:cxn>
                <a:cxn ang="0">
                  <a:pos x="42" y="118"/>
                </a:cxn>
                <a:cxn ang="0">
                  <a:pos x="46" y="116"/>
                </a:cxn>
                <a:cxn ang="0">
                  <a:pos x="48" y="114"/>
                </a:cxn>
                <a:cxn ang="0">
                  <a:pos x="54" y="116"/>
                </a:cxn>
                <a:cxn ang="0">
                  <a:pos x="50" y="98"/>
                </a:cxn>
                <a:cxn ang="0">
                  <a:pos x="52" y="92"/>
                </a:cxn>
                <a:cxn ang="0">
                  <a:pos x="48" y="86"/>
                </a:cxn>
                <a:cxn ang="0">
                  <a:pos x="46" y="70"/>
                </a:cxn>
                <a:cxn ang="0">
                  <a:pos x="46" y="66"/>
                </a:cxn>
                <a:cxn ang="0">
                  <a:pos x="54" y="60"/>
                </a:cxn>
                <a:cxn ang="0">
                  <a:pos x="62" y="42"/>
                </a:cxn>
                <a:cxn ang="0">
                  <a:pos x="58" y="32"/>
                </a:cxn>
                <a:cxn ang="0">
                  <a:pos x="50" y="28"/>
                </a:cxn>
                <a:cxn ang="0">
                  <a:pos x="46" y="28"/>
                </a:cxn>
                <a:cxn ang="0">
                  <a:pos x="46" y="26"/>
                </a:cxn>
                <a:cxn ang="0">
                  <a:pos x="42" y="30"/>
                </a:cxn>
                <a:cxn ang="0">
                  <a:pos x="38" y="36"/>
                </a:cxn>
                <a:cxn ang="0">
                  <a:pos x="36" y="34"/>
                </a:cxn>
                <a:cxn ang="0">
                  <a:pos x="36" y="30"/>
                </a:cxn>
                <a:cxn ang="0">
                  <a:pos x="42" y="22"/>
                </a:cxn>
                <a:cxn ang="0">
                  <a:pos x="34" y="8"/>
                </a:cxn>
                <a:cxn ang="0">
                  <a:pos x="22" y="2"/>
                </a:cxn>
                <a:cxn ang="0">
                  <a:pos x="22" y="0"/>
                </a:cxn>
              </a:cxnLst>
              <a:rect l="0" t="0" r="r" b="b"/>
              <a:pathLst>
                <a:path w="62" h="126">
                  <a:moveTo>
                    <a:pt x="22" y="0"/>
                  </a:moveTo>
                  <a:lnTo>
                    <a:pt x="20" y="8"/>
                  </a:lnTo>
                  <a:lnTo>
                    <a:pt x="18" y="10"/>
                  </a:lnTo>
                  <a:lnTo>
                    <a:pt x="12" y="14"/>
                  </a:lnTo>
                  <a:lnTo>
                    <a:pt x="8" y="14"/>
                  </a:lnTo>
                  <a:lnTo>
                    <a:pt x="6" y="14"/>
                  </a:lnTo>
                  <a:lnTo>
                    <a:pt x="6" y="16"/>
                  </a:lnTo>
                  <a:lnTo>
                    <a:pt x="8" y="20"/>
                  </a:lnTo>
                  <a:lnTo>
                    <a:pt x="10" y="22"/>
                  </a:lnTo>
                  <a:lnTo>
                    <a:pt x="12" y="26"/>
                  </a:lnTo>
                  <a:lnTo>
                    <a:pt x="14" y="26"/>
                  </a:lnTo>
                  <a:lnTo>
                    <a:pt x="16" y="28"/>
                  </a:lnTo>
                  <a:lnTo>
                    <a:pt x="16" y="30"/>
                  </a:lnTo>
                  <a:lnTo>
                    <a:pt x="14" y="32"/>
                  </a:lnTo>
                  <a:lnTo>
                    <a:pt x="12" y="32"/>
                  </a:lnTo>
                  <a:lnTo>
                    <a:pt x="4" y="34"/>
                  </a:lnTo>
                  <a:lnTo>
                    <a:pt x="4" y="36"/>
                  </a:lnTo>
                  <a:lnTo>
                    <a:pt x="4" y="40"/>
                  </a:lnTo>
                  <a:lnTo>
                    <a:pt x="0" y="42"/>
                  </a:lnTo>
                  <a:lnTo>
                    <a:pt x="10" y="58"/>
                  </a:lnTo>
                  <a:lnTo>
                    <a:pt x="14" y="60"/>
                  </a:lnTo>
                  <a:lnTo>
                    <a:pt x="20" y="60"/>
                  </a:lnTo>
                  <a:lnTo>
                    <a:pt x="22" y="60"/>
                  </a:lnTo>
                  <a:lnTo>
                    <a:pt x="24" y="62"/>
                  </a:lnTo>
                  <a:lnTo>
                    <a:pt x="24" y="64"/>
                  </a:lnTo>
                  <a:lnTo>
                    <a:pt x="20" y="68"/>
                  </a:lnTo>
                  <a:lnTo>
                    <a:pt x="26" y="72"/>
                  </a:lnTo>
                  <a:lnTo>
                    <a:pt x="28" y="72"/>
                  </a:lnTo>
                  <a:lnTo>
                    <a:pt x="26" y="74"/>
                  </a:lnTo>
                  <a:lnTo>
                    <a:pt x="26" y="76"/>
                  </a:lnTo>
                  <a:lnTo>
                    <a:pt x="26" y="78"/>
                  </a:lnTo>
                  <a:lnTo>
                    <a:pt x="28" y="80"/>
                  </a:lnTo>
                  <a:lnTo>
                    <a:pt x="26" y="84"/>
                  </a:lnTo>
                  <a:lnTo>
                    <a:pt x="20" y="90"/>
                  </a:lnTo>
                  <a:lnTo>
                    <a:pt x="20" y="98"/>
                  </a:lnTo>
                  <a:lnTo>
                    <a:pt x="18" y="108"/>
                  </a:lnTo>
                  <a:lnTo>
                    <a:pt x="18" y="110"/>
                  </a:lnTo>
                  <a:lnTo>
                    <a:pt x="20" y="114"/>
                  </a:lnTo>
                  <a:lnTo>
                    <a:pt x="22" y="116"/>
                  </a:lnTo>
                  <a:lnTo>
                    <a:pt x="26" y="120"/>
                  </a:lnTo>
                  <a:lnTo>
                    <a:pt x="28" y="120"/>
                  </a:lnTo>
                  <a:lnTo>
                    <a:pt x="28" y="122"/>
                  </a:lnTo>
                  <a:lnTo>
                    <a:pt x="30" y="126"/>
                  </a:lnTo>
                  <a:lnTo>
                    <a:pt x="34" y="126"/>
                  </a:lnTo>
                  <a:lnTo>
                    <a:pt x="36" y="124"/>
                  </a:lnTo>
                  <a:lnTo>
                    <a:pt x="38" y="122"/>
                  </a:lnTo>
                  <a:lnTo>
                    <a:pt x="40" y="122"/>
                  </a:lnTo>
                  <a:lnTo>
                    <a:pt x="42" y="122"/>
                  </a:lnTo>
                  <a:lnTo>
                    <a:pt x="42" y="120"/>
                  </a:lnTo>
                  <a:lnTo>
                    <a:pt x="42" y="118"/>
                  </a:lnTo>
                  <a:lnTo>
                    <a:pt x="44" y="118"/>
                  </a:lnTo>
                  <a:lnTo>
                    <a:pt x="46" y="116"/>
                  </a:lnTo>
                  <a:lnTo>
                    <a:pt x="46" y="114"/>
                  </a:lnTo>
                  <a:lnTo>
                    <a:pt x="48" y="114"/>
                  </a:lnTo>
                  <a:lnTo>
                    <a:pt x="52" y="116"/>
                  </a:lnTo>
                  <a:lnTo>
                    <a:pt x="54" y="116"/>
                  </a:lnTo>
                  <a:lnTo>
                    <a:pt x="52" y="108"/>
                  </a:lnTo>
                  <a:lnTo>
                    <a:pt x="50" y="98"/>
                  </a:lnTo>
                  <a:lnTo>
                    <a:pt x="52" y="94"/>
                  </a:lnTo>
                  <a:lnTo>
                    <a:pt x="52" y="92"/>
                  </a:lnTo>
                  <a:lnTo>
                    <a:pt x="50" y="90"/>
                  </a:lnTo>
                  <a:lnTo>
                    <a:pt x="48" y="86"/>
                  </a:lnTo>
                  <a:lnTo>
                    <a:pt x="48" y="76"/>
                  </a:lnTo>
                  <a:lnTo>
                    <a:pt x="46" y="70"/>
                  </a:lnTo>
                  <a:lnTo>
                    <a:pt x="46" y="68"/>
                  </a:lnTo>
                  <a:lnTo>
                    <a:pt x="46" y="66"/>
                  </a:lnTo>
                  <a:lnTo>
                    <a:pt x="50" y="64"/>
                  </a:lnTo>
                  <a:lnTo>
                    <a:pt x="54" y="60"/>
                  </a:lnTo>
                  <a:lnTo>
                    <a:pt x="54" y="52"/>
                  </a:lnTo>
                  <a:lnTo>
                    <a:pt x="62" y="42"/>
                  </a:lnTo>
                  <a:lnTo>
                    <a:pt x="60" y="36"/>
                  </a:lnTo>
                  <a:lnTo>
                    <a:pt x="58" y="32"/>
                  </a:lnTo>
                  <a:lnTo>
                    <a:pt x="52" y="30"/>
                  </a:lnTo>
                  <a:lnTo>
                    <a:pt x="50" y="28"/>
                  </a:lnTo>
                  <a:lnTo>
                    <a:pt x="48" y="26"/>
                  </a:lnTo>
                  <a:lnTo>
                    <a:pt x="46" y="28"/>
                  </a:lnTo>
                  <a:lnTo>
                    <a:pt x="46" y="28"/>
                  </a:lnTo>
                  <a:lnTo>
                    <a:pt x="46" y="26"/>
                  </a:lnTo>
                  <a:lnTo>
                    <a:pt x="44" y="26"/>
                  </a:lnTo>
                  <a:lnTo>
                    <a:pt x="42" y="30"/>
                  </a:lnTo>
                  <a:lnTo>
                    <a:pt x="42" y="38"/>
                  </a:lnTo>
                  <a:lnTo>
                    <a:pt x="38" y="36"/>
                  </a:lnTo>
                  <a:lnTo>
                    <a:pt x="36" y="36"/>
                  </a:lnTo>
                  <a:lnTo>
                    <a:pt x="36" y="34"/>
                  </a:lnTo>
                  <a:lnTo>
                    <a:pt x="36" y="32"/>
                  </a:lnTo>
                  <a:lnTo>
                    <a:pt x="36" y="30"/>
                  </a:lnTo>
                  <a:lnTo>
                    <a:pt x="40" y="28"/>
                  </a:lnTo>
                  <a:lnTo>
                    <a:pt x="42" y="22"/>
                  </a:lnTo>
                  <a:lnTo>
                    <a:pt x="42" y="16"/>
                  </a:lnTo>
                  <a:lnTo>
                    <a:pt x="34" y="8"/>
                  </a:lnTo>
                  <a:lnTo>
                    <a:pt x="26" y="0"/>
                  </a:lnTo>
                  <a:lnTo>
                    <a:pt x="22" y="2"/>
                  </a:lnTo>
                  <a:lnTo>
                    <a:pt x="22" y="0"/>
                  </a:lnTo>
                  <a:lnTo>
                    <a:pt x="2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3" name="Freeform 346">
              <a:extLst>
                <a:ext uri="{FF2B5EF4-FFF2-40B4-BE49-F238E27FC236}">
                  <a16:creationId xmlns:a16="http://schemas.microsoft.com/office/drawing/2014/main" id="{F2B14468-4599-4C05-B535-301706B36D37}"/>
                </a:ext>
              </a:extLst>
            </p:cNvPr>
            <p:cNvSpPr>
              <a:spLocks/>
            </p:cNvSpPr>
            <p:nvPr/>
          </p:nvSpPr>
          <p:spPr bwMode="auto">
            <a:xfrm>
              <a:off x="1482958" y="4374193"/>
              <a:ext cx="69919" cy="88047"/>
            </a:xfrm>
            <a:custGeom>
              <a:avLst/>
              <a:gdLst/>
              <a:ahLst/>
              <a:cxnLst>
                <a:cxn ang="0">
                  <a:pos x="28" y="68"/>
                </a:cxn>
                <a:cxn ang="0">
                  <a:pos x="28" y="68"/>
                </a:cxn>
                <a:cxn ang="0">
                  <a:pos x="28" y="66"/>
                </a:cxn>
                <a:cxn ang="0">
                  <a:pos x="30" y="66"/>
                </a:cxn>
                <a:cxn ang="0">
                  <a:pos x="34" y="66"/>
                </a:cxn>
                <a:cxn ang="0">
                  <a:pos x="34" y="64"/>
                </a:cxn>
                <a:cxn ang="0">
                  <a:pos x="34" y="60"/>
                </a:cxn>
                <a:cxn ang="0">
                  <a:pos x="38" y="58"/>
                </a:cxn>
                <a:cxn ang="0">
                  <a:pos x="40" y="56"/>
                </a:cxn>
                <a:cxn ang="0">
                  <a:pos x="42" y="54"/>
                </a:cxn>
                <a:cxn ang="0">
                  <a:pos x="44" y="48"/>
                </a:cxn>
                <a:cxn ang="0">
                  <a:pos x="44" y="44"/>
                </a:cxn>
                <a:cxn ang="0">
                  <a:pos x="50" y="42"/>
                </a:cxn>
                <a:cxn ang="0">
                  <a:pos x="52" y="42"/>
                </a:cxn>
                <a:cxn ang="0">
                  <a:pos x="52" y="40"/>
                </a:cxn>
                <a:cxn ang="0">
                  <a:pos x="54" y="38"/>
                </a:cxn>
                <a:cxn ang="0">
                  <a:pos x="46" y="38"/>
                </a:cxn>
                <a:cxn ang="0">
                  <a:pos x="46" y="36"/>
                </a:cxn>
                <a:cxn ang="0">
                  <a:pos x="42" y="36"/>
                </a:cxn>
                <a:cxn ang="0">
                  <a:pos x="42" y="0"/>
                </a:cxn>
                <a:cxn ang="0">
                  <a:pos x="22" y="0"/>
                </a:cxn>
                <a:cxn ang="0">
                  <a:pos x="20" y="8"/>
                </a:cxn>
                <a:cxn ang="0">
                  <a:pos x="16" y="8"/>
                </a:cxn>
                <a:cxn ang="0">
                  <a:pos x="16" y="12"/>
                </a:cxn>
                <a:cxn ang="0">
                  <a:pos x="18" y="16"/>
                </a:cxn>
                <a:cxn ang="0">
                  <a:pos x="22" y="20"/>
                </a:cxn>
                <a:cxn ang="0">
                  <a:pos x="24" y="24"/>
                </a:cxn>
                <a:cxn ang="0">
                  <a:pos x="26" y="26"/>
                </a:cxn>
                <a:cxn ang="0">
                  <a:pos x="26" y="30"/>
                </a:cxn>
                <a:cxn ang="0">
                  <a:pos x="10" y="28"/>
                </a:cxn>
                <a:cxn ang="0">
                  <a:pos x="4" y="32"/>
                </a:cxn>
                <a:cxn ang="0">
                  <a:pos x="2" y="36"/>
                </a:cxn>
                <a:cxn ang="0">
                  <a:pos x="2" y="40"/>
                </a:cxn>
                <a:cxn ang="0">
                  <a:pos x="2" y="42"/>
                </a:cxn>
                <a:cxn ang="0">
                  <a:pos x="2" y="44"/>
                </a:cxn>
                <a:cxn ang="0">
                  <a:pos x="0" y="48"/>
                </a:cxn>
                <a:cxn ang="0">
                  <a:pos x="2" y="48"/>
                </a:cxn>
                <a:cxn ang="0">
                  <a:pos x="6" y="50"/>
                </a:cxn>
                <a:cxn ang="0">
                  <a:pos x="8" y="54"/>
                </a:cxn>
                <a:cxn ang="0">
                  <a:pos x="12" y="58"/>
                </a:cxn>
                <a:cxn ang="0">
                  <a:pos x="18" y="60"/>
                </a:cxn>
                <a:cxn ang="0">
                  <a:pos x="18" y="62"/>
                </a:cxn>
                <a:cxn ang="0">
                  <a:pos x="20" y="66"/>
                </a:cxn>
                <a:cxn ang="0">
                  <a:pos x="24" y="66"/>
                </a:cxn>
                <a:cxn ang="0">
                  <a:pos x="26" y="66"/>
                </a:cxn>
                <a:cxn ang="0">
                  <a:pos x="26" y="68"/>
                </a:cxn>
                <a:cxn ang="0">
                  <a:pos x="28" y="68"/>
                </a:cxn>
                <a:cxn ang="0">
                  <a:pos x="28" y="68"/>
                </a:cxn>
              </a:cxnLst>
              <a:rect l="0" t="0" r="r" b="b"/>
              <a:pathLst>
                <a:path w="54" h="68">
                  <a:moveTo>
                    <a:pt x="28" y="68"/>
                  </a:moveTo>
                  <a:lnTo>
                    <a:pt x="28" y="68"/>
                  </a:lnTo>
                  <a:lnTo>
                    <a:pt x="28" y="66"/>
                  </a:lnTo>
                  <a:lnTo>
                    <a:pt x="30" y="66"/>
                  </a:lnTo>
                  <a:lnTo>
                    <a:pt x="34" y="66"/>
                  </a:lnTo>
                  <a:lnTo>
                    <a:pt x="34" y="64"/>
                  </a:lnTo>
                  <a:lnTo>
                    <a:pt x="34" y="60"/>
                  </a:lnTo>
                  <a:lnTo>
                    <a:pt x="38" y="58"/>
                  </a:lnTo>
                  <a:lnTo>
                    <a:pt x="40" y="56"/>
                  </a:lnTo>
                  <a:lnTo>
                    <a:pt x="42" y="54"/>
                  </a:lnTo>
                  <a:lnTo>
                    <a:pt x="44" y="48"/>
                  </a:lnTo>
                  <a:lnTo>
                    <a:pt x="44" y="44"/>
                  </a:lnTo>
                  <a:lnTo>
                    <a:pt x="50" y="42"/>
                  </a:lnTo>
                  <a:lnTo>
                    <a:pt x="52" y="42"/>
                  </a:lnTo>
                  <a:lnTo>
                    <a:pt x="52" y="40"/>
                  </a:lnTo>
                  <a:lnTo>
                    <a:pt x="54" y="38"/>
                  </a:lnTo>
                  <a:lnTo>
                    <a:pt x="46" y="38"/>
                  </a:lnTo>
                  <a:lnTo>
                    <a:pt x="46" y="36"/>
                  </a:lnTo>
                  <a:lnTo>
                    <a:pt x="42" y="36"/>
                  </a:lnTo>
                  <a:lnTo>
                    <a:pt x="42" y="0"/>
                  </a:lnTo>
                  <a:lnTo>
                    <a:pt x="22" y="0"/>
                  </a:lnTo>
                  <a:lnTo>
                    <a:pt x="20" y="8"/>
                  </a:lnTo>
                  <a:lnTo>
                    <a:pt x="16" y="8"/>
                  </a:lnTo>
                  <a:lnTo>
                    <a:pt x="16" y="12"/>
                  </a:lnTo>
                  <a:lnTo>
                    <a:pt x="18" y="16"/>
                  </a:lnTo>
                  <a:lnTo>
                    <a:pt x="22" y="20"/>
                  </a:lnTo>
                  <a:lnTo>
                    <a:pt x="24" y="24"/>
                  </a:lnTo>
                  <a:lnTo>
                    <a:pt x="26" y="26"/>
                  </a:lnTo>
                  <a:lnTo>
                    <a:pt x="26" y="30"/>
                  </a:lnTo>
                  <a:lnTo>
                    <a:pt x="10" y="28"/>
                  </a:lnTo>
                  <a:lnTo>
                    <a:pt x="4" y="32"/>
                  </a:lnTo>
                  <a:lnTo>
                    <a:pt x="2" y="36"/>
                  </a:lnTo>
                  <a:lnTo>
                    <a:pt x="2" y="40"/>
                  </a:lnTo>
                  <a:lnTo>
                    <a:pt x="2" y="42"/>
                  </a:lnTo>
                  <a:lnTo>
                    <a:pt x="2" y="44"/>
                  </a:lnTo>
                  <a:lnTo>
                    <a:pt x="0" y="48"/>
                  </a:lnTo>
                  <a:lnTo>
                    <a:pt x="2" y="48"/>
                  </a:lnTo>
                  <a:lnTo>
                    <a:pt x="6" y="50"/>
                  </a:lnTo>
                  <a:lnTo>
                    <a:pt x="8" y="54"/>
                  </a:lnTo>
                  <a:lnTo>
                    <a:pt x="12" y="58"/>
                  </a:lnTo>
                  <a:lnTo>
                    <a:pt x="18" y="60"/>
                  </a:lnTo>
                  <a:lnTo>
                    <a:pt x="18" y="62"/>
                  </a:lnTo>
                  <a:lnTo>
                    <a:pt x="20" y="66"/>
                  </a:lnTo>
                  <a:lnTo>
                    <a:pt x="24" y="66"/>
                  </a:lnTo>
                  <a:lnTo>
                    <a:pt x="26" y="66"/>
                  </a:lnTo>
                  <a:lnTo>
                    <a:pt x="26" y="68"/>
                  </a:lnTo>
                  <a:lnTo>
                    <a:pt x="28" y="68"/>
                  </a:lnTo>
                  <a:lnTo>
                    <a:pt x="28"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4" name="Freeform 347">
              <a:extLst>
                <a:ext uri="{FF2B5EF4-FFF2-40B4-BE49-F238E27FC236}">
                  <a16:creationId xmlns:a16="http://schemas.microsoft.com/office/drawing/2014/main" id="{0A18BAB0-68CF-49B5-9D43-E32A2C30FE53}"/>
                </a:ext>
              </a:extLst>
            </p:cNvPr>
            <p:cNvSpPr>
              <a:spLocks noEditPoints="1"/>
            </p:cNvSpPr>
            <p:nvPr/>
          </p:nvSpPr>
          <p:spPr bwMode="auto">
            <a:xfrm>
              <a:off x="3375963" y="3853681"/>
              <a:ext cx="121712" cy="160556"/>
            </a:xfrm>
            <a:custGeom>
              <a:avLst/>
              <a:gdLst/>
              <a:ahLst/>
              <a:cxnLst>
                <a:cxn ang="0">
                  <a:pos x="4" y="42"/>
                </a:cxn>
                <a:cxn ang="0">
                  <a:pos x="10" y="50"/>
                </a:cxn>
                <a:cxn ang="0">
                  <a:pos x="12" y="58"/>
                </a:cxn>
                <a:cxn ang="0">
                  <a:pos x="26" y="64"/>
                </a:cxn>
                <a:cxn ang="0">
                  <a:pos x="32" y="70"/>
                </a:cxn>
                <a:cxn ang="0">
                  <a:pos x="22" y="64"/>
                </a:cxn>
                <a:cxn ang="0">
                  <a:pos x="18" y="76"/>
                </a:cxn>
                <a:cxn ang="0">
                  <a:pos x="22" y="84"/>
                </a:cxn>
                <a:cxn ang="0">
                  <a:pos x="32" y="84"/>
                </a:cxn>
                <a:cxn ang="0">
                  <a:pos x="34" y="80"/>
                </a:cxn>
                <a:cxn ang="0">
                  <a:pos x="44" y="80"/>
                </a:cxn>
                <a:cxn ang="0">
                  <a:pos x="40" y="72"/>
                </a:cxn>
                <a:cxn ang="0">
                  <a:pos x="52" y="66"/>
                </a:cxn>
                <a:cxn ang="0">
                  <a:pos x="42" y="56"/>
                </a:cxn>
                <a:cxn ang="0">
                  <a:pos x="44" y="58"/>
                </a:cxn>
                <a:cxn ang="0">
                  <a:pos x="56" y="64"/>
                </a:cxn>
                <a:cxn ang="0">
                  <a:pos x="60" y="68"/>
                </a:cxn>
                <a:cxn ang="0">
                  <a:pos x="48" y="56"/>
                </a:cxn>
                <a:cxn ang="0">
                  <a:pos x="38" y="52"/>
                </a:cxn>
                <a:cxn ang="0">
                  <a:pos x="36" y="42"/>
                </a:cxn>
                <a:cxn ang="0">
                  <a:pos x="42" y="42"/>
                </a:cxn>
                <a:cxn ang="0">
                  <a:pos x="36" y="30"/>
                </a:cxn>
                <a:cxn ang="0">
                  <a:pos x="34" y="24"/>
                </a:cxn>
                <a:cxn ang="0">
                  <a:pos x="44" y="30"/>
                </a:cxn>
                <a:cxn ang="0">
                  <a:pos x="46" y="26"/>
                </a:cxn>
                <a:cxn ang="0">
                  <a:pos x="52" y="24"/>
                </a:cxn>
                <a:cxn ang="0">
                  <a:pos x="54" y="22"/>
                </a:cxn>
                <a:cxn ang="0">
                  <a:pos x="50" y="14"/>
                </a:cxn>
                <a:cxn ang="0">
                  <a:pos x="78" y="14"/>
                </a:cxn>
                <a:cxn ang="0">
                  <a:pos x="82" y="16"/>
                </a:cxn>
                <a:cxn ang="0">
                  <a:pos x="86" y="8"/>
                </a:cxn>
                <a:cxn ang="0">
                  <a:pos x="92" y="10"/>
                </a:cxn>
                <a:cxn ang="0">
                  <a:pos x="92" y="4"/>
                </a:cxn>
                <a:cxn ang="0">
                  <a:pos x="82" y="2"/>
                </a:cxn>
                <a:cxn ang="0">
                  <a:pos x="82" y="6"/>
                </a:cxn>
                <a:cxn ang="0">
                  <a:pos x="72" y="4"/>
                </a:cxn>
                <a:cxn ang="0">
                  <a:pos x="62" y="0"/>
                </a:cxn>
                <a:cxn ang="0">
                  <a:pos x="56" y="8"/>
                </a:cxn>
                <a:cxn ang="0">
                  <a:pos x="44" y="6"/>
                </a:cxn>
                <a:cxn ang="0">
                  <a:pos x="40" y="12"/>
                </a:cxn>
                <a:cxn ang="0">
                  <a:pos x="32" y="14"/>
                </a:cxn>
                <a:cxn ang="0">
                  <a:pos x="28" y="18"/>
                </a:cxn>
                <a:cxn ang="0">
                  <a:pos x="12" y="20"/>
                </a:cxn>
                <a:cxn ang="0">
                  <a:pos x="8" y="32"/>
                </a:cxn>
                <a:cxn ang="0">
                  <a:pos x="2" y="34"/>
                </a:cxn>
                <a:cxn ang="0">
                  <a:pos x="48" y="112"/>
                </a:cxn>
                <a:cxn ang="0">
                  <a:pos x="54" y="120"/>
                </a:cxn>
                <a:cxn ang="0">
                  <a:pos x="64" y="124"/>
                </a:cxn>
                <a:cxn ang="0">
                  <a:pos x="74" y="122"/>
                </a:cxn>
                <a:cxn ang="0">
                  <a:pos x="82" y="120"/>
                </a:cxn>
                <a:cxn ang="0">
                  <a:pos x="76" y="114"/>
                </a:cxn>
                <a:cxn ang="0">
                  <a:pos x="64" y="116"/>
                </a:cxn>
                <a:cxn ang="0">
                  <a:pos x="48" y="112"/>
                </a:cxn>
                <a:cxn ang="0">
                  <a:pos x="40" y="54"/>
                </a:cxn>
                <a:cxn ang="0">
                  <a:pos x="38" y="52"/>
                </a:cxn>
                <a:cxn ang="0">
                  <a:pos x="78" y="46"/>
                </a:cxn>
                <a:cxn ang="0">
                  <a:pos x="84" y="50"/>
                </a:cxn>
                <a:cxn ang="0">
                  <a:pos x="80" y="44"/>
                </a:cxn>
                <a:cxn ang="0">
                  <a:pos x="0" y="34"/>
                </a:cxn>
                <a:cxn ang="0">
                  <a:pos x="0" y="34"/>
                </a:cxn>
              </a:cxnLst>
              <a:rect l="0" t="0" r="r" b="b"/>
              <a:pathLst>
                <a:path w="94" h="124">
                  <a:moveTo>
                    <a:pt x="2" y="34"/>
                  </a:moveTo>
                  <a:lnTo>
                    <a:pt x="2" y="34"/>
                  </a:lnTo>
                  <a:lnTo>
                    <a:pt x="4" y="42"/>
                  </a:lnTo>
                  <a:lnTo>
                    <a:pt x="8" y="44"/>
                  </a:lnTo>
                  <a:lnTo>
                    <a:pt x="8" y="46"/>
                  </a:lnTo>
                  <a:lnTo>
                    <a:pt x="10" y="50"/>
                  </a:lnTo>
                  <a:lnTo>
                    <a:pt x="16" y="50"/>
                  </a:lnTo>
                  <a:lnTo>
                    <a:pt x="12" y="52"/>
                  </a:lnTo>
                  <a:lnTo>
                    <a:pt x="12" y="58"/>
                  </a:lnTo>
                  <a:lnTo>
                    <a:pt x="14" y="62"/>
                  </a:lnTo>
                  <a:lnTo>
                    <a:pt x="20" y="62"/>
                  </a:lnTo>
                  <a:lnTo>
                    <a:pt x="26" y="64"/>
                  </a:lnTo>
                  <a:lnTo>
                    <a:pt x="36" y="68"/>
                  </a:lnTo>
                  <a:lnTo>
                    <a:pt x="36" y="70"/>
                  </a:lnTo>
                  <a:lnTo>
                    <a:pt x="32" y="70"/>
                  </a:lnTo>
                  <a:lnTo>
                    <a:pt x="30" y="68"/>
                  </a:lnTo>
                  <a:lnTo>
                    <a:pt x="28" y="66"/>
                  </a:lnTo>
                  <a:lnTo>
                    <a:pt x="22" y="64"/>
                  </a:lnTo>
                  <a:lnTo>
                    <a:pt x="20" y="66"/>
                  </a:lnTo>
                  <a:lnTo>
                    <a:pt x="14" y="70"/>
                  </a:lnTo>
                  <a:lnTo>
                    <a:pt x="18" y="76"/>
                  </a:lnTo>
                  <a:lnTo>
                    <a:pt x="18" y="82"/>
                  </a:lnTo>
                  <a:lnTo>
                    <a:pt x="20" y="84"/>
                  </a:lnTo>
                  <a:lnTo>
                    <a:pt x="22" y="84"/>
                  </a:lnTo>
                  <a:lnTo>
                    <a:pt x="22" y="82"/>
                  </a:lnTo>
                  <a:lnTo>
                    <a:pt x="26" y="84"/>
                  </a:lnTo>
                  <a:lnTo>
                    <a:pt x="32" y="84"/>
                  </a:lnTo>
                  <a:lnTo>
                    <a:pt x="36" y="84"/>
                  </a:lnTo>
                  <a:lnTo>
                    <a:pt x="36" y="82"/>
                  </a:lnTo>
                  <a:lnTo>
                    <a:pt x="34" y="80"/>
                  </a:lnTo>
                  <a:lnTo>
                    <a:pt x="34" y="80"/>
                  </a:lnTo>
                  <a:lnTo>
                    <a:pt x="40" y="80"/>
                  </a:lnTo>
                  <a:lnTo>
                    <a:pt x="44" y="80"/>
                  </a:lnTo>
                  <a:lnTo>
                    <a:pt x="46" y="78"/>
                  </a:lnTo>
                  <a:lnTo>
                    <a:pt x="40" y="74"/>
                  </a:lnTo>
                  <a:lnTo>
                    <a:pt x="40" y="72"/>
                  </a:lnTo>
                  <a:lnTo>
                    <a:pt x="46" y="72"/>
                  </a:lnTo>
                  <a:lnTo>
                    <a:pt x="52" y="76"/>
                  </a:lnTo>
                  <a:lnTo>
                    <a:pt x="52" y="66"/>
                  </a:lnTo>
                  <a:lnTo>
                    <a:pt x="46" y="64"/>
                  </a:lnTo>
                  <a:lnTo>
                    <a:pt x="42" y="60"/>
                  </a:lnTo>
                  <a:lnTo>
                    <a:pt x="42" y="56"/>
                  </a:lnTo>
                  <a:lnTo>
                    <a:pt x="40" y="56"/>
                  </a:lnTo>
                  <a:lnTo>
                    <a:pt x="42" y="54"/>
                  </a:lnTo>
                  <a:lnTo>
                    <a:pt x="44" y="58"/>
                  </a:lnTo>
                  <a:lnTo>
                    <a:pt x="48" y="62"/>
                  </a:lnTo>
                  <a:lnTo>
                    <a:pt x="50" y="64"/>
                  </a:lnTo>
                  <a:lnTo>
                    <a:pt x="56" y="64"/>
                  </a:lnTo>
                  <a:lnTo>
                    <a:pt x="58" y="66"/>
                  </a:lnTo>
                  <a:lnTo>
                    <a:pt x="60" y="70"/>
                  </a:lnTo>
                  <a:lnTo>
                    <a:pt x="60" y="68"/>
                  </a:lnTo>
                  <a:lnTo>
                    <a:pt x="60" y="66"/>
                  </a:lnTo>
                  <a:lnTo>
                    <a:pt x="56" y="58"/>
                  </a:lnTo>
                  <a:lnTo>
                    <a:pt x="48" y="56"/>
                  </a:lnTo>
                  <a:lnTo>
                    <a:pt x="48" y="52"/>
                  </a:lnTo>
                  <a:lnTo>
                    <a:pt x="44" y="50"/>
                  </a:lnTo>
                  <a:lnTo>
                    <a:pt x="38" y="52"/>
                  </a:lnTo>
                  <a:lnTo>
                    <a:pt x="40" y="50"/>
                  </a:lnTo>
                  <a:lnTo>
                    <a:pt x="38" y="46"/>
                  </a:lnTo>
                  <a:lnTo>
                    <a:pt x="36" y="42"/>
                  </a:lnTo>
                  <a:lnTo>
                    <a:pt x="40" y="46"/>
                  </a:lnTo>
                  <a:lnTo>
                    <a:pt x="44" y="46"/>
                  </a:lnTo>
                  <a:lnTo>
                    <a:pt x="42" y="42"/>
                  </a:lnTo>
                  <a:lnTo>
                    <a:pt x="38" y="38"/>
                  </a:lnTo>
                  <a:lnTo>
                    <a:pt x="38" y="34"/>
                  </a:lnTo>
                  <a:lnTo>
                    <a:pt x="36" y="30"/>
                  </a:lnTo>
                  <a:lnTo>
                    <a:pt x="34" y="30"/>
                  </a:lnTo>
                  <a:lnTo>
                    <a:pt x="32" y="28"/>
                  </a:lnTo>
                  <a:lnTo>
                    <a:pt x="34" y="24"/>
                  </a:lnTo>
                  <a:lnTo>
                    <a:pt x="38" y="20"/>
                  </a:lnTo>
                  <a:lnTo>
                    <a:pt x="40" y="24"/>
                  </a:lnTo>
                  <a:lnTo>
                    <a:pt x="44" y="30"/>
                  </a:lnTo>
                  <a:lnTo>
                    <a:pt x="48" y="30"/>
                  </a:lnTo>
                  <a:lnTo>
                    <a:pt x="44" y="26"/>
                  </a:lnTo>
                  <a:lnTo>
                    <a:pt x="46" y="26"/>
                  </a:lnTo>
                  <a:lnTo>
                    <a:pt x="46" y="24"/>
                  </a:lnTo>
                  <a:lnTo>
                    <a:pt x="52" y="26"/>
                  </a:lnTo>
                  <a:lnTo>
                    <a:pt x="52" y="24"/>
                  </a:lnTo>
                  <a:lnTo>
                    <a:pt x="52" y="24"/>
                  </a:lnTo>
                  <a:lnTo>
                    <a:pt x="56" y="24"/>
                  </a:lnTo>
                  <a:lnTo>
                    <a:pt x="54" y="22"/>
                  </a:lnTo>
                  <a:lnTo>
                    <a:pt x="50" y="18"/>
                  </a:lnTo>
                  <a:lnTo>
                    <a:pt x="50" y="16"/>
                  </a:lnTo>
                  <a:lnTo>
                    <a:pt x="50" y="14"/>
                  </a:lnTo>
                  <a:lnTo>
                    <a:pt x="58" y="14"/>
                  </a:lnTo>
                  <a:lnTo>
                    <a:pt x="64" y="16"/>
                  </a:lnTo>
                  <a:lnTo>
                    <a:pt x="78" y="14"/>
                  </a:lnTo>
                  <a:lnTo>
                    <a:pt x="78" y="16"/>
                  </a:lnTo>
                  <a:lnTo>
                    <a:pt x="80" y="18"/>
                  </a:lnTo>
                  <a:lnTo>
                    <a:pt x="82" y="16"/>
                  </a:lnTo>
                  <a:lnTo>
                    <a:pt x="84" y="14"/>
                  </a:lnTo>
                  <a:lnTo>
                    <a:pt x="84" y="10"/>
                  </a:lnTo>
                  <a:lnTo>
                    <a:pt x="86" y="8"/>
                  </a:lnTo>
                  <a:lnTo>
                    <a:pt x="86" y="10"/>
                  </a:lnTo>
                  <a:lnTo>
                    <a:pt x="90" y="10"/>
                  </a:lnTo>
                  <a:lnTo>
                    <a:pt x="92" y="10"/>
                  </a:lnTo>
                  <a:lnTo>
                    <a:pt x="94" y="8"/>
                  </a:lnTo>
                  <a:lnTo>
                    <a:pt x="94" y="6"/>
                  </a:lnTo>
                  <a:lnTo>
                    <a:pt x="92" y="4"/>
                  </a:lnTo>
                  <a:lnTo>
                    <a:pt x="88" y="0"/>
                  </a:lnTo>
                  <a:lnTo>
                    <a:pt x="84" y="0"/>
                  </a:lnTo>
                  <a:lnTo>
                    <a:pt x="82" y="2"/>
                  </a:lnTo>
                  <a:lnTo>
                    <a:pt x="82" y="4"/>
                  </a:lnTo>
                  <a:lnTo>
                    <a:pt x="84" y="6"/>
                  </a:lnTo>
                  <a:lnTo>
                    <a:pt x="82" y="6"/>
                  </a:lnTo>
                  <a:lnTo>
                    <a:pt x="78" y="6"/>
                  </a:lnTo>
                  <a:lnTo>
                    <a:pt x="72" y="6"/>
                  </a:lnTo>
                  <a:lnTo>
                    <a:pt x="72" y="4"/>
                  </a:lnTo>
                  <a:lnTo>
                    <a:pt x="70" y="2"/>
                  </a:lnTo>
                  <a:lnTo>
                    <a:pt x="68" y="2"/>
                  </a:lnTo>
                  <a:lnTo>
                    <a:pt x="62" y="0"/>
                  </a:lnTo>
                  <a:lnTo>
                    <a:pt x="60" y="2"/>
                  </a:lnTo>
                  <a:lnTo>
                    <a:pt x="58" y="4"/>
                  </a:lnTo>
                  <a:lnTo>
                    <a:pt x="56" y="8"/>
                  </a:lnTo>
                  <a:lnTo>
                    <a:pt x="54" y="8"/>
                  </a:lnTo>
                  <a:lnTo>
                    <a:pt x="48" y="6"/>
                  </a:lnTo>
                  <a:lnTo>
                    <a:pt x="44" y="6"/>
                  </a:lnTo>
                  <a:lnTo>
                    <a:pt x="42" y="10"/>
                  </a:lnTo>
                  <a:lnTo>
                    <a:pt x="42" y="12"/>
                  </a:lnTo>
                  <a:lnTo>
                    <a:pt x="40" y="12"/>
                  </a:lnTo>
                  <a:lnTo>
                    <a:pt x="36" y="12"/>
                  </a:lnTo>
                  <a:lnTo>
                    <a:pt x="34" y="14"/>
                  </a:lnTo>
                  <a:lnTo>
                    <a:pt x="32" y="14"/>
                  </a:lnTo>
                  <a:lnTo>
                    <a:pt x="32" y="16"/>
                  </a:lnTo>
                  <a:lnTo>
                    <a:pt x="30" y="16"/>
                  </a:lnTo>
                  <a:lnTo>
                    <a:pt x="28" y="18"/>
                  </a:lnTo>
                  <a:lnTo>
                    <a:pt x="26" y="20"/>
                  </a:lnTo>
                  <a:lnTo>
                    <a:pt x="24" y="20"/>
                  </a:lnTo>
                  <a:lnTo>
                    <a:pt x="12" y="20"/>
                  </a:lnTo>
                  <a:lnTo>
                    <a:pt x="12" y="24"/>
                  </a:lnTo>
                  <a:lnTo>
                    <a:pt x="10" y="30"/>
                  </a:lnTo>
                  <a:lnTo>
                    <a:pt x="8" y="32"/>
                  </a:lnTo>
                  <a:lnTo>
                    <a:pt x="8" y="34"/>
                  </a:lnTo>
                  <a:lnTo>
                    <a:pt x="6" y="34"/>
                  </a:lnTo>
                  <a:lnTo>
                    <a:pt x="2" y="34"/>
                  </a:lnTo>
                  <a:lnTo>
                    <a:pt x="2" y="34"/>
                  </a:lnTo>
                  <a:close/>
                  <a:moveTo>
                    <a:pt x="48" y="112"/>
                  </a:moveTo>
                  <a:lnTo>
                    <a:pt x="48" y="112"/>
                  </a:lnTo>
                  <a:lnTo>
                    <a:pt x="44" y="114"/>
                  </a:lnTo>
                  <a:lnTo>
                    <a:pt x="44" y="116"/>
                  </a:lnTo>
                  <a:lnTo>
                    <a:pt x="54" y="120"/>
                  </a:lnTo>
                  <a:lnTo>
                    <a:pt x="58" y="120"/>
                  </a:lnTo>
                  <a:lnTo>
                    <a:pt x="62" y="122"/>
                  </a:lnTo>
                  <a:lnTo>
                    <a:pt x="64" y="124"/>
                  </a:lnTo>
                  <a:lnTo>
                    <a:pt x="68" y="124"/>
                  </a:lnTo>
                  <a:lnTo>
                    <a:pt x="70" y="122"/>
                  </a:lnTo>
                  <a:lnTo>
                    <a:pt x="74" y="122"/>
                  </a:lnTo>
                  <a:lnTo>
                    <a:pt x="76" y="122"/>
                  </a:lnTo>
                  <a:lnTo>
                    <a:pt x="80" y="122"/>
                  </a:lnTo>
                  <a:lnTo>
                    <a:pt x="82" y="120"/>
                  </a:lnTo>
                  <a:lnTo>
                    <a:pt x="80" y="118"/>
                  </a:lnTo>
                  <a:lnTo>
                    <a:pt x="76" y="118"/>
                  </a:lnTo>
                  <a:lnTo>
                    <a:pt x="76" y="114"/>
                  </a:lnTo>
                  <a:lnTo>
                    <a:pt x="74" y="114"/>
                  </a:lnTo>
                  <a:lnTo>
                    <a:pt x="74" y="116"/>
                  </a:lnTo>
                  <a:lnTo>
                    <a:pt x="64" y="116"/>
                  </a:lnTo>
                  <a:lnTo>
                    <a:pt x="56" y="114"/>
                  </a:lnTo>
                  <a:lnTo>
                    <a:pt x="48" y="112"/>
                  </a:lnTo>
                  <a:lnTo>
                    <a:pt x="48" y="112"/>
                  </a:lnTo>
                  <a:close/>
                  <a:moveTo>
                    <a:pt x="38" y="52"/>
                  </a:moveTo>
                  <a:lnTo>
                    <a:pt x="38" y="52"/>
                  </a:lnTo>
                  <a:lnTo>
                    <a:pt x="40" y="54"/>
                  </a:lnTo>
                  <a:lnTo>
                    <a:pt x="36" y="52"/>
                  </a:lnTo>
                  <a:lnTo>
                    <a:pt x="38" y="52"/>
                  </a:lnTo>
                  <a:lnTo>
                    <a:pt x="38" y="52"/>
                  </a:lnTo>
                  <a:close/>
                  <a:moveTo>
                    <a:pt x="80" y="44"/>
                  </a:moveTo>
                  <a:lnTo>
                    <a:pt x="80" y="44"/>
                  </a:lnTo>
                  <a:lnTo>
                    <a:pt x="78" y="46"/>
                  </a:lnTo>
                  <a:lnTo>
                    <a:pt x="80" y="46"/>
                  </a:lnTo>
                  <a:lnTo>
                    <a:pt x="80" y="50"/>
                  </a:lnTo>
                  <a:lnTo>
                    <a:pt x="84" y="50"/>
                  </a:lnTo>
                  <a:lnTo>
                    <a:pt x="84" y="48"/>
                  </a:lnTo>
                  <a:lnTo>
                    <a:pt x="84" y="44"/>
                  </a:lnTo>
                  <a:lnTo>
                    <a:pt x="80" y="44"/>
                  </a:lnTo>
                  <a:lnTo>
                    <a:pt x="80" y="44"/>
                  </a:lnTo>
                  <a:close/>
                  <a:moveTo>
                    <a:pt x="0" y="34"/>
                  </a:moveTo>
                  <a:lnTo>
                    <a:pt x="0" y="34"/>
                  </a:lnTo>
                  <a:lnTo>
                    <a:pt x="0" y="38"/>
                  </a:lnTo>
                  <a:lnTo>
                    <a:pt x="2" y="38"/>
                  </a:lnTo>
                  <a:lnTo>
                    <a:pt x="0" y="34"/>
                  </a:lnTo>
                  <a:lnTo>
                    <a:pt x="0" y="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5" name="Freeform 348">
              <a:extLst>
                <a:ext uri="{FF2B5EF4-FFF2-40B4-BE49-F238E27FC236}">
                  <a16:creationId xmlns:a16="http://schemas.microsoft.com/office/drawing/2014/main" id="{6DB88DFF-5203-4878-91E5-60986F993C4F}"/>
                </a:ext>
              </a:extLst>
            </p:cNvPr>
            <p:cNvSpPr>
              <a:spLocks/>
            </p:cNvSpPr>
            <p:nvPr/>
          </p:nvSpPr>
          <p:spPr bwMode="auto">
            <a:xfrm>
              <a:off x="3422576" y="3921011"/>
              <a:ext cx="5179" cy="2590"/>
            </a:xfrm>
            <a:custGeom>
              <a:avLst/>
              <a:gdLst/>
              <a:ahLst/>
              <a:cxnLst>
                <a:cxn ang="0">
                  <a:pos x="2" y="0"/>
                </a:cxn>
                <a:cxn ang="0">
                  <a:pos x="2" y="0"/>
                </a:cxn>
                <a:cxn ang="0">
                  <a:pos x="4" y="2"/>
                </a:cxn>
                <a:cxn ang="0">
                  <a:pos x="0" y="0"/>
                </a:cxn>
                <a:cxn ang="0">
                  <a:pos x="2" y="0"/>
                </a:cxn>
              </a:cxnLst>
              <a:rect l="0" t="0" r="r" b="b"/>
              <a:pathLst>
                <a:path w="4" h="2">
                  <a:moveTo>
                    <a:pt x="2" y="0"/>
                  </a:moveTo>
                  <a:lnTo>
                    <a:pt x="2" y="0"/>
                  </a:lnTo>
                  <a:lnTo>
                    <a:pt x="4" y="2"/>
                  </a:lnTo>
                  <a:lnTo>
                    <a:pt x="0"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6" name="Freeform 349">
              <a:extLst>
                <a:ext uri="{FF2B5EF4-FFF2-40B4-BE49-F238E27FC236}">
                  <a16:creationId xmlns:a16="http://schemas.microsoft.com/office/drawing/2014/main" id="{C03FC98C-E0D5-4B5E-BE8C-E58EB943DDFF}"/>
                </a:ext>
              </a:extLst>
            </p:cNvPr>
            <p:cNvSpPr>
              <a:spLocks/>
            </p:cNvSpPr>
            <p:nvPr/>
          </p:nvSpPr>
          <p:spPr bwMode="auto">
            <a:xfrm>
              <a:off x="3422576" y="3921011"/>
              <a:ext cx="5179" cy="2590"/>
            </a:xfrm>
            <a:custGeom>
              <a:avLst/>
              <a:gdLst/>
              <a:ahLst/>
              <a:cxnLst>
                <a:cxn ang="0">
                  <a:pos x="2" y="0"/>
                </a:cxn>
                <a:cxn ang="0">
                  <a:pos x="2" y="0"/>
                </a:cxn>
                <a:cxn ang="0">
                  <a:pos x="4" y="2"/>
                </a:cxn>
                <a:cxn ang="0">
                  <a:pos x="0" y="0"/>
                </a:cxn>
                <a:cxn ang="0">
                  <a:pos x="2" y="0"/>
                </a:cxn>
              </a:cxnLst>
              <a:rect l="0" t="0" r="r" b="b"/>
              <a:pathLst>
                <a:path w="4" h="2">
                  <a:moveTo>
                    <a:pt x="2" y="0"/>
                  </a:moveTo>
                  <a:lnTo>
                    <a:pt x="2" y="0"/>
                  </a:lnTo>
                  <a:lnTo>
                    <a:pt x="4" y="2"/>
                  </a:lnTo>
                  <a:lnTo>
                    <a:pt x="0"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7" name="Freeform 350">
              <a:extLst>
                <a:ext uri="{FF2B5EF4-FFF2-40B4-BE49-F238E27FC236}">
                  <a16:creationId xmlns:a16="http://schemas.microsoft.com/office/drawing/2014/main" id="{EE0C8552-FD9C-49A3-9F74-70614BBABBD9}"/>
                </a:ext>
              </a:extLst>
            </p:cNvPr>
            <p:cNvSpPr>
              <a:spLocks/>
            </p:cNvSpPr>
            <p:nvPr/>
          </p:nvSpPr>
          <p:spPr bwMode="auto">
            <a:xfrm>
              <a:off x="3476958" y="3910652"/>
              <a:ext cx="7769" cy="7769"/>
            </a:xfrm>
            <a:custGeom>
              <a:avLst/>
              <a:gdLst/>
              <a:ahLst/>
              <a:cxnLst>
                <a:cxn ang="0">
                  <a:pos x="2" y="0"/>
                </a:cxn>
                <a:cxn ang="0">
                  <a:pos x="2" y="0"/>
                </a:cxn>
                <a:cxn ang="0">
                  <a:pos x="0" y="2"/>
                </a:cxn>
                <a:cxn ang="0">
                  <a:pos x="2" y="2"/>
                </a:cxn>
                <a:cxn ang="0">
                  <a:pos x="2" y="6"/>
                </a:cxn>
                <a:cxn ang="0">
                  <a:pos x="6" y="6"/>
                </a:cxn>
                <a:cxn ang="0">
                  <a:pos x="6" y="4"/>
                </a:cxn>
                <a:cxn ang="0">
                  <a:pos x="6" y="0"/>
                </a:cxn>
                <a:cxn ang="0">
                  <a:pos x="2" y="0"/>
                </a:cxn>
              </a:cxnLst>
              <a:rect l="0" t="0" r="r" b="b"/>
              <a:pathLst>
                <a:path w="6" h="6">
                  <a:moveTo>
                    <a:pt x="2" y="0"/>
                  </a:moveTo>
                  <a:lnTo>
                    <a:pt x="2" y="0"/>
                  </a:lnTo>
                  <a:lnTo>
                    <a:pt x="0" y="2"/>
                  </a:lnTo>
                  <a:lnTo>
                    <a:pt x="2" y="2"/>
                  </a:lnTo>
                  <a:lnTo>
                    <a:pt x="2" y="6"/>
                  </a:lnTo>
                  <a:lnTo>
                    <a:pt x="6" y="6"/>
                  </a:lnTo>
                  <a:lnTo>
                    <a:pt x="6" y="4"/>
                  </a:lnTo>
                  <a:lnTo>
                    <a:pt x="6"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8" name="Freeform 351">
              <a:extLst>
                <a:ext uri="{FF2B5EF4-FFF2-40B4-BE49-F238E27FC236}">
                  <a16:creationId xmlns:a16="http://schemas.microsoft.com/office/drawing/2014/main" id="{6E94E482-1E28-4D36-A66E-E9E285020DE2}"/>
                </a:ext>
              </a:extLst>
            </p:cNvPr>
            <p:cNvSpPr>
              <a:spLocks/>
            </p:cNvSpPr>
            <p:nvPr/>
          </p:nvSpPr>
          <p:spPr bwMode="auto">
            <a:xfrm>
              <a:off x="3476958" y="3910652"/>
              <a:ext cx="7769" cy="7769"/>
            </a:xfrm>
            <a:custGeom>
              <a:avLst/>
              <a:gdLst/>
              <a:ahLst/>
              <a:cxnLst>
                <a:cxn ang="0">
                  <a:pos x="2" y="0"/>
                </a:cxn>
                <a:cxn ang="0">
                  <a:pos x="2" y="0"/>
                </a:cxn>
                <a:cxn ang="0">
                  <a:pos x="0" y="2"/>
                </a:cxn>
                <a:cxn ang="0">
                  <a:pos x="2" y="2"/>
                </a:cxn>
                <a:cxn ang="0">
                  <a:pos x="2" y="6"/>
                </a:cxn>
                <a:cxn ang="0">
                  <a:pos x="6" y="6"/>
                </a:cxn>
                <a:cxn ang="0">
                  <a:pos x="6" y="4"/>
                </a:cxn>
                <a:cxn ang="0">
                  <a:pos x="6" y="0"/>
                </a:cxn>
                <a:cxn ang="0">
                  <a:pos x="2" y="0"/>
                </a:cxn>
              </a:cxnLst>
              <a:rect l="0" t="0" r="r" b="b"/>
              <a:pathLst>
                <a:path w="6" h="6">
                  <a:moveTo>
                    <a:pt x="2" y="0"/>
                  </a:moveTo>
                  <a:lnTo>
                    <a:pt x="2" y="0"/>
                  </a:lnTo>
                  <a:lnTo>
                    <a:pt x="0" y="2"/>
                  </a:lnTo>
                  <a:lnTo>
                    <a:pt x="2" y="2"/>
                  </a:lnTo>
                  <a:lnTo>
                    <a:pt x="2" y="6"/>
                  </a:lnTo>
                  <a:lnTo>
                    <a:pt x="6" y="6"/>
                  </a:lnTo>
                  <a:lnTo>
                    <a:pt x="6" y="4"/>
                  </a:lnTo>
                  <a:lnTo>
                    <a:pt x="6"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89" name="Freeform 352">
              <a:extLst>
                <a:ext uri="{FF2B5EF4-FFF2-40B4-BE49-F238E27FC236}">
                  <a16:creationId xmlns:a16="http://schemas.microsoft.com/office/drawing/2014/main" id="{62E69142-E33F-4700-96D1-57B52C37864F}"/>
                </a:ext>
              </a:extLst>
            </p:cNvPr>
            <p:cNvSpPr>
              <a:spLocks/>
            </p:cNvSpPr>
            <p:nvPr/>
          </p:nvSpPr>
          <p:spPr bwMode="auto">
            <a:xfrm>
              <a:off x="3375963" y="3897704"/>
              <a:ext cx="2590" cy="5179"/>
            </a:xfrm>
            <a:custGeom>
              <a:avLst/>
              <a:gdLst/>
              <a:ahLst/>
              <a:cxnLst>
                <a:cxn ang="0">
                  <a:pos x="0" y="0"/>
                </a:cxn>
                <a:cxn ang="0">
                  <a:pos x="0" y="0"/>
                </a:cxn>
                <a:cxn ang="0">
                  <a:pos x="0" y="4"/>
                </a:cxn>
                <a:cxn ang="0">
                  <a:pos x="2" y="4"/>
                </a:cxn>
                <a:cxn ang="0">
                  <a:pos x="0" y="0"/>
                </a:cxn>
              </a:cxnLst>
              <a:rect l="0" t="0" r="r" b="b"/>
              <a:pathLst>
                <a:path w="2" h="4">
                  <a:moveTo>
                    <a:pt x="0" y="0"/>
                  </a:moveTo>
                  <a:lnTo>
                    <a:pt x="0" y="0"/>
                  </a:lnTo>
                  <a:lnTo>
                    <a:pt x="0" y="4"/>
                  </a:lnTo>
                  <a:lnTo>
                    <a:pt x="2" y="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0" name="Freeform 353">
              <a:extLst>
                <a:ext uri="{FF2B5EF4-FFF2-40B4-BE49-F238E27FC236}">
                  <a16:creationId xmlns:a16="http://schemas.microsoft.com/office/drawing/2014/main" id="{14FA9478-B5FB-496C-A194-0D6B934516B6}"/>
                </a:ext>
              </a:extLst>
            </p:cNvPr>
            <p:cNvSpPr>
              <a:spLocks/>
            </p:cNvSpPr>
            <p:nvPr/>
          </p:nvSpPr>
          <p:spPr bwMode="auto">
            <a:xfrm>
              <a:off x="3375963" y="3897704"/>
              <a:ext cx="2590" cy="5179"/>
            </a:xfrm>
            <a:custGeom>
              <a:avLst/>
              <a:gdLst/>
              <a:ahLst/>
              <a:cxnLst>
                <a:cxn ang="0">
                  <a:pos x="0" y="0"/>
                </a:cxn>
                <a:cxn ang="0">
                  <a:pos x="0" y="0"/>
                </a:cxn>
                <a:cxn ang="0">
                  <a:pos x="0" y="4"/>
                </a:cxn>
                <a:cxn ang="0">
                  <a:pos x="2" y="4"/>
                </a:cxn>
                <a:cxn ang="0">
                  <a:pos x="0" y="0"/>
                </a:cxn>
              </a:cxnLst>
              <a:rect l="0" t="0" r="r" b="b"/>
              <a:pathLst>
                <a:path w="2" h="4">
                  <a:moveTo>
                    <a:pt x="0" y="0"/>
                  </a:moveTo>
                  <a:lnTo>
                    <a:pt x="0" y="0"/>
                  </a:lnTo>
                  <a:lnTo>
                    <a:pt x="0" y="4"/>
                  </a:lnTo>
                  <a:lnTo>
                    <a:pt x="2" y="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1" name="Freeform 354">
              <a:extLst>
                <a:ext uri="{FF2B5EF4-FFF2-40B4-BE49-F238E27FC236}">
                  <a16:creationId xmlns:a16="http://schemas.microsoft.com/office/drawing/2014/main" id="{993422B1-5E9D-4E3F-A97E-A0B5250E731C}"/>
                </a:ext>
              </a:extLst>
            </p:cNvPr>
            <p:cNvSpPr>
              <a:spLocks/>
            </p:cNvSpPr>
            <p:nvPr/>
          </p:nvSpPr>
          <p:spPr bwMode="auto">
            <a:xfrm>
              <a:off x="2117413" y="4620206"/>
              <a:ext cx="51792" cy="98405"/>
            </a:xfrm>
            <a:custGeom>
              <a:avLst/>
              <a:gdLst/>
              <a:ahLst/>
              <a:cxnLst>
                <a:cxn ang="0">
                  <a:pos x="6" y="2"/>
                </a:cxn>
                <a:cxn ang="0">
                  <a:pos x="6" y="2"/>
                </a:cxn>
                <a:cxn ang="0">
                  <a:pos x="6" y="4"/>
                </a:cxn>
                <a:cxn ang="0">
                  <a:pos x="6" y="10"/>
                </a:cxn>
                <a:cxn ang="0">
                  <a:pos x="0" y="20"/>
                </a:cxn>
                <a:cxn ang="0">
                  <a:pos x="0" y="38"/>
                </a:cxn>
                <a:cxn ang="0">
                  <a:pos x="2" y="42"/>
                </a:cxn>
                <a:cxn ang="0">
                  <a:pos x="4" y="46"/>
                </a:cxn>
                <a:cxn ang="0">
                  <a:pos x="8" y="50"/>
                </a:cxn>
                <a:cxn ang="0">
                  <a:pos x="8" y="54"/>
                </a:cxn>
                <a:cxn ang="0">
                  <a:pos x="4" y="58"/>
                </a:cxn>
                <a:cxn ang="0">
                  <a:pos x="0" y="68"/>
                </a:cxn>
                <a:cxn ang="0">
                  <a:pos x="0" y="72"/>
                </a:cxn>
                <a:cxn ang="0">
                  <a:pos x="4" y="76"/>
                </a:cxn>
                <a:cxn ang="0">
                  <a:pos x="6" y="76"/>
                </a:cxn>
                <a:cxn ang="0">
                  <a:pos x="8" y="76"/>
                </a:cxn>
                <a:cxn ang="0">
                  <a:pos x="12" y="74"/>
                </a:cxn>
                <a:cxn ang="0">
                  <a:pos x="18" y="72"/>
                </a:cxn>
                <a:cxn ang="0">
                  <a:pos x="24" y="76"/>
                </a:cxn>
                <a:cxn ang="0">
                  <a:pos x="26" y="72"/>
                </a:cxn>
                <a:cxn ang="0">
                  <a:pos x="30" y="64"/>
                </a:cxn>
                <a:cxn ang="0">
                  <a:pos x="32" y="52"/>
                </a:cxn>
                <a:cxn ang="0">
                  <a:pos x="36" y="44"/>
                </a:cxn>
                <a:cxn ang="0">
                  <a:pos x="40" y="32"/>
                </a:cxn>
                <a:cxn ang="0">
                  <a:pos x="40" y="28"/>
                </a:cxn>
                <a:cxn ang="0">
                  <a:pos x="38" y="26"/>
                </a:cxn>
                <a:cxn ang="0">
                  <a:pos x="36" y="26"/>
                </a:cxn>
                <a:cxn ang="0">
                  <a:pos x="32" y="20"/>
                </a:cxn>
                <a:cxn ang="0">
                  <a:pos x="30" y="20"/>
                </a:cxn>
                <a:cxn ang="0">
                  <a:pos x="28" y="16"/>
                </a:cxn>
                <a:cxn ang="0">
                  <a:pos x="26" y="10"/>
                </a:cxn>
                <a:cxn ang="0">
                  <a:pos x="16" y="4"/>
                </a:cxn>
                <a:cxn ang="0">
                  <a:pos x="12" y="6"/>
                </a:cxn>
                <a:cxn ang="0">
                  <a:pos x="8" y="6"/>
                </a:cxn>
                <a:cxn ang="0">
                  <a:pos x="8" y="4"/>
                </a:cxn>
                <a:cxn ang="0">
                  <a:pos x="6" y="0"/>
                </a:cxn>
                <a:cxn ang="0">
                  <a:pos x="6" y="2"/>
                </a:cxn>
                <a:cxn ang="0">
                  <a:pos x="6" y="2"/>
                </a:cxn>
              </a:cxnLst>
              <a:rect l="0" t="0" r="r" b="b"/>
              <a:pathLst>
                <a:path w="40" h="76">
                  <a:moveTo>
                    <a:pt x="6" y="2"/>
                  </a:moveTo>
                  <a:lnTo>
                    <a:pt x="6" y="2"/>
                  </a:lnTo>
                  <a:lnTo>
                    <a:pt x="6" y="4"/>
                  </a:lnTo>
                  <a:lnTo>
                    <a:pt x="6" y="10"/>
                  </a:lnTo>
                  <a:lnTo>
                    <a:pt x="0" y="20"/>
                  </a:lnTo>
                  <a:lnTo>
                    <a:pt x="0" y="38"/>
                  </a:lnTo>
                  <a:lnTo>
                    <a:pt x="2" y="42"/>
                  </a:lnTo>
                  <a:lnTo>
                    <a:pt x="4" y="46"/>
                  </a:lnTo>
                  <a:lnTo>
                    <a:pt x="8" y="50"/>
                  </a:lnTo>
                  <a:lnTo>
                    <a:pt x="8" y="54"/>
                  </a:lnTo>
                  <a:lnTo>
                    <a:pt x="4" y="58"/>
                  </a:lnTo>
                  <a:lnTo>
                    <a:pt x="0" y="68"/>
                  </a:lnTo>
                  <a:lnTo>
                    <a:pt x="0" y="72"/>
                  </a:lnTo>
                  <a:lnTo>
                    <a:pt x="4" y="76"/>
                  </a:lnTo>
                  <a:lnTo>
                    <a:pt x="6" y="76"/>
                  </a:lnTo>
                  <a:lnTo>
                    <a:pt x="8" y="76"/>
                  </a:lnTo>
                  <a:lnTo>
                    <a:pt x="12" y="74"/>
                  </a:lnTo>
                  <a:lnTo>
                    <a:pt x="18" y="72"/>
                  </a:lnTo>
                  <a:lnTo>
                    <a:pt x="24" y="76"/>
                  </a:lnTo>
                  <a:lnTo>
                    <a:pt x="26" y="72"/>
                  </a:lnTo>
                  <a:lnTo>
                    <a:pt x="30" y="64"/>
                  </a:lnTo>
                  <a:lnTo>
                    <a:pt x="32" y="52"/>
                  </a:lnTo>
                  <a:lnTo>
                    <a:pt x="36" y="44"/>
                  </a:lnTo>
                  <a:lnTo>
                    <a:pt x="40" y="32"/>
                  </a:lnTo>
                  <a:lnTo>
                    <a:pt x="40" y="28"/>
                  </a:lnTo>
                  <a:lnTo>
                    <a:pt x="38" y="26"/>
                  </a:lnTo>
                  <a:lnTo>
                    <a:pt x="36" y="26"/>
                  </a:lnTo>
                  <a:lnTo>
                    <a:pt x="32" y="20"/>
                  </a:lnTo>
                  <a:lnTo>
                    <a:pt x="30" y="20"/>
                  </a:lnTo>
                  <a:lnTo>
                    <a:pt x="28" y="16"/>
                  </a:lnTo>
                  <a:lnTo>
                    <a:pt x="26" y="10"/>
                  </a:lnTo>
                  <a:lnTo>
                    <a:pt x="16" y="4"/>
                  </a:lnTo>
                  <a:lnTo>
                    <a:pt x="12" y="6"/>
                  </a:lnTo>
                  <a:lnTo>
                    <a:pt x="8" y="6"/>
                  </a:lnTo>
                  <a:lnTo>
                    <a:pt x="8" y="4"/>
                  </a:lnTo>
                  <a:lnTo>
                    <a:pt x="6" y="0"/>
                  </a:lnTo>
                  <a:lnTo>
                    <a:pt x="6" y="2"/>
                  </a:lnTo>
                  <a:lnTo>
                    <a:pt x="6"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2" name="Freeform 355">
              <a:extLst>
                <a:ext uri="{FF2B5EF4-FFF2-40B4-BE49-F238E27FC236}">
                  <a16:creationId xmlns:a16="http://schemas.microsoft.com/office/drawing/2014/main" id="{BF62B829-5B8E-4A8F-9514-72F5C4C7F724}"/>
                </a:ext>
              </a:extLst>
            </p:cNvPr>
            <p:cNvSpPr>
              <a:spLocks/>
            </p:cNvSpPr>
            <p:nvPr/>
          </p:nvSpPr>
          <p:spPr bwMode="auto">
            <a:xfrm>
              <a:off x="3176563" y="3820016"/>
              <a:ext cx="20717" cy="41434"/>
            </a:xfrm>
            <a:custGeom>
              <a:avLst/>
              <a:gdLst/>
              <a:ahLst/>
              <a:cxnLst>
                <a:cxn ang="0">
                  <a:pos x="12" y="0"/>
                </a:cxn>
                <a:cxn ang="0">
                  <a:pos x="12" y="0"/>
                </a:cxn>
                <a:cxn ang="0">
                  <a:pos x="10" y="4"/>
                </a:cxn>
                <a:cxn ang="0">
                  <a:pos x="8" y="8"/>
                </a:cxn>
                <a:cxn ang="0">
                  <a:pos x="4" y="8"/>
                </a:cxn>
                <a:cxn ang="0">
                  <a:pos x="0" y="10"/>
                </a:cxn>
                <a:cxn ang="0">
                  <a:pos x="0" y="16"/>
                </a:cxn>
                <a:cxn ang="0">
                  <a:pos x="2" y="22"/>
                </a:cxn>
                <a:cxn ang="0">
                  <a:pos x="0" y="22"/>
                </a:cxn>
                <a:cxn ang="0">
                  <a:pos x="0" y="24"/>
                </a:cxn>
                <a:cxn ang="0">
                  <a:pos x="2" y="26"/>
                </a:cxn>
                <a:cxn ang="0">
                  <a:pos x="6" y="28"/>
                </a:cxn>
                <a:cxn ang="0">
                  <a:pos x="12" y="32"/>
                </a:cxn>
                <a:cxn ang="0">
                  <a:pos x="16" y="16"/>
                </a:cxn>
                <a:cxn ang="0">
                  <a:pos x="16" y="10"/>
                </a:cxn>
                <a:cxn ang="0">
                  <a:pos x="14" y="2"/>
                </a:cxn>
                <a:cxn ang="0">
                  <a:pos x="12" y="0"/>
                </a:cxn>
              </a:cxnLst>
              <a:rect l="0" t="0" r="r" b="b"/>
              <a:pathLst>
                <a:path w="16" h="32">
                  <a:moveTo>
                    <a:pt x="12" y="0"/>
                  </a:moveTo>
                  <a:lnTo>
                    <a:pt x="12" y="0"/>
                  </a:lnTo>
                  <a:lnTo>
                    <a:pt x="10" y="4"/>
                  </a:lnTo>
                  <a:lnTo>
                    <a:pt x="8" y="8"/>
                  </a:lnTo>
                  <a:lnTo>
                    <a:pt x="4" y="8"/>
                  </a:lnTo>
                  <a:lnTo>
                    <a:pt x="0" y="10"/>
                  </a:lnTo>
                  <a:lnTo>
                    <a:pt x="0" y="16"/>
                  </a:lnTo>
                  <a:lnTo>
                    <a:pt x="2" y="22"/>
                  </a:lnTo>
                  <a:lnTo>
                    <a:pt x="0" y="22"/>
                  </a:lnTo>
                  <a:lnTo>
                    <a:pt x="0" y="24"/>
                  </a:lnTo>
                  <a:lnTo>
                    <a:pt x="2" y="26"/>
                  </a:lnTo>
                  <a:lnTo>
                    <a:pt x="6" y="28"/>
                  </a:lnTo>
                  <a:lnTo>
                    <a:pt x="12" y="32"/>
                  </a:lnTo>
                  <a:lnTo>
                    <a:pt x="16" y="16"/>
                  </a:lnTo>
                  <a:lnTo>
                    <a:pt x="16" y="10"/>
                  </a:lnTo>
                  <a:lnTo>
                    <a:pt x="14" y="2"/>
                  </a:lnTo>
                  <a:lnTo>
                    <a:pt x="1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3" name="Freeform 356">
              <a:extLst>
                <a:ext uri="{FF2B5EF4-FFF2-40B4-BE49-F238E27FC236}">
                  <a16:creationId xmlns:a16="http://schemas.microsoft.com/office/drawing/2014/main" id="{13AB3457-BBA2-4D3A-8DC7-834DC45C8F9C}"/>
                </a:ext>
              </a:extLst>
            </p:cNvPr>
            <p:cNvSpPr>
              <a:spLocks/>
            </p:cNvSpPr>
            <p:nvPr/>
          </p:nvSpPr>
          <p:spPr bwMode="auto">
            <a:xfrm>
              <a:off x="3176563" y="3820016"/>
              <a:ext cx="20717" cy="41434"/>
            </a:xfrm>
            <a:custGeom>
              <a:avLst/>
              <a:gdLst/>
              <a:ahLst/>
              <a:cxnLst>
                <a:cxn ang="0">
                  <a:pos x="12" y="0"/>
                </a:cxn>
                <a:cxn ang="0">
                  <a:pos x="12" y="0"/>
                </a:cxn>
                <a:cxn ang="0">
                  <a:pos x="10" y="4"/>
                </a:cxn>
                <a:cxn ang="0">
                  <a:pos x="8" y="8"/>
                </a:cxn>
                <a:cxn ang="0">
                  <a:pos x="4" y="8"/>
                </a:cxn>
                <a:cxn ang="0">
                  <a:pos x="0" y="10"/>
                </a:cxn>
                <a:cxn ang="0">
                  <a:pos x="0" y="16"/>
                </a:cxn>
                <a:cxn ang="0">
                  <a:pos x="2" y="22"/>
                </a:cxn>
                <a:cxn ang="0">
                  <a:pos x="0" y="22"/>
                </a:cxn>
                <a:cxn ang="0">
                  <a:pos x="0" y="24"/>
                </a:cxn>
                <a:cxn ang="0">
                  <a:pos x="2" y="26"/>
                </a:cxn>
                <a:cxn ang="0">
                  <a:pos x="6" y="28"/>
                </a:cxn>
                <a:cxn ang="0">
                  <a:pos x="12" y="32"/>
                </a:cxn>
                <a:cxn ang="0">
                  <a:pos x="16" y="16"/>
                </a:cxn>
                <a:cxn ang="0">
                  <a:pos x="16" y="10"/>
                </a:cxn>
                <a:cxn ang="0">
                  <a:pos x="14" y="2"/>
                </a:cxn>
                <a:cxn ang="0">
                  <a:pos x="12" y="0"/>
                </a:cxn>
              </a:cxnLst>
              <a:rect l="0" t="0" r="r" b="b"/>
              <a:pathLst>
                <a:path w="16" h="32">
                  <a:moveTo>
                    <a:pt x="12" y="0"/>
                  </a:moveTo>
                  <a:lnTo>
                    <a:pt x="12" y="0"/>
                  </a:lnTo>
                  <a:lnTo>
                    <a:pt x="10" y="4"/>
                  </a:lnTo>
                  <a:lnTo>
                    <a:pt x="8" y="8"/>
                  </a:lnTo>
                  <a:lnTo>
                    <a:pt x="4" y="8"/>
                  </a:lnTo>
                  <a:lnTo>
                    <a:pt x="0" y="10"/>
                  </a:lnTo>
                  <a:lnTo>
                    <a:pt x="0" y="16"/>
                  </a:lnTo>
                  <a:lnTo>
                    <a:pt x="2" y="22"/>
                  </a:lnTo>
                  <a:lnTo>
                    <a:pt x="0" y="22"/>
                  </a:lnTo>
                  <a:lnTo>
                    <a:pt x="0" y="24"/>
                  </a:lnTo>
                  <a:lnTo>
                    <a:pt x="2" y="26"/>
                  </a:lnTo>
                  <a:lnTo>
                    <a:pt x="6" y="28"/>
                  </a:lnTo>
                  <a:lnTo>
                    <a:pt x="12" y="32"/>
                  </a:lnTo>
                  <a:lnTo>
                    <a:pt x="16" y="16"/>
                  </a:lnTo>
                  <a:lnTo>
                    <a:pt x="16" y="10"/>
                  </a:lnTo>
                  <a:lnTo>
                    <a:pt x="14" y="2"/>
                  </a:lnTo>
                  <a:lnTo>
                    <a:pt x="1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4" name="Freeform 357">
              <a:extLst>
                <a:ext uri="{FF2B5EF4-FFF2-40B4-BE49-F238E27FC236}">
                  <a16:creationId xmlns:a16="http://schemas.microsoft.com/office/drawing/2014/main" id="{FCCFD059-EEAD-4B73-AA7F-953350F38774}"/>
                </a:ext>
              </a:extLst>
            </p:cNvPr>
            <p:cNvSpPr>
              <a:spLocks/>
            </p:cNvSpPr>
            <p:nvPr/>
          </p:nvSpPr>
          <p:spPr bwMode="auto">
            <a:xfrm>
              <a:off x="5846451" y="5220995"/>
              <a:ext cx="2590" cy="2590"/>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5" name="Line 358">
              <a:extLst>
                <a:ext uri="{FF2B5EF4-FFF2-40B4-BE49-F238E27FC236}">
                  <a16:creationId xmlns:a16="http://schemas.microsoft.com/office/drawing/2014/main" id="{91406C70-A241-498F-8844-4431837AA95E}"/>
                </a:ext>
              </a:extLst>
            </p:cNvPr>
            <p:cNvSpPr>
              <a:spLocks noChangeShapeType="1"/>
            </p:cNvSpPr>
            <p:nvPr/>
          </p:nvSpPr>
          <p:spPr bwMode="auto">
            <a:xfrm>
              <a:off x="5846451" y="5220995"/>
              <a:ext cx="2590"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6" name="Freeform 359">
              <a:extLst>
                <a:ext uri="{FF2B5EF4-FFF2-40B4-BE49-F238E27FC236}">
                  <a16:creationId xmlns:a16="http://schemas.microsoft.com/office/drawing/2014/main" id="{F482D210-FE98-4AB3-9C67-57A89066EA12}"/>
                </a:ext>
              </a:extLst>
            </p:cNvPr>
            <p:cNvSpPr>
              <a:spLocks/>
            </p:cNvSpPr>
            <p:nvPr/>
          </p:nvSpPr>
          <p:spPr bwMode="auto">
            <a:xfrm>
              <a:off x="5846451" y="5220995"/>
              <a:ext cx="2590" cy="2590"/>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7" name="Line 360">
              <a:extLst>
                <a:ext uri="{FF2B5EF4-FFF2-40B4-BE49-F238E27FC236}">
                  <a16:creationId xmlns:a16="http://schemas.microsoft.com/office/drawing/2014/main" id="{BE90D9EA-EA41-4598-BF3A-5217DAFC3033}"/>
                </a:ext>
              </a:extLst>
            </p:cNvPr>
            <p:cNvSpPr>
              <a:spLocks noChangeShapeType="1"/>
            </p:cNvSpPr>
            <p:nvPr/>
          </p:nvSpPr>
          <p:spPr bwMode="auto">
            <a:xfrm>
              <a:off x="5846451" y="5220995"/>
              <a:ext cx="2590" cy="2590"/>
            </a:xfrm>
            <a:prstGeom prst="line">
              <a:avLst/>
            </a:pr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8" name="Freeform 361">
              <a:extLst>
                <a:ext uri="{FF2B5EF4-FFF2-40B4-BE49-F238E27FC236}">
                  <a16:creationId xmlns:a16="http://schemas.microsoft.com/office/drawing/2014/main" id="{D1DD9F35-1C7C-468F-A73E-EE4C4179E2AF}"/>
                </a:ext>
              </a:extLst>
            </p:cNvPr>
            <p:cNvSpPr>
              <a:spLocks noEditPoints="1"/>
            </p:cNvSpPr>
            <p:nvPr/>
          </p:nvSpPr>
          <p:spPr bwMode="auto">
            <a:xfrm>
              <a:off x="2003470" y="5894294"/>
              <a:ext cx="62151" cy="28486"/>
            </a:xfrm>
            <a:custGeom>
              <a:avLst/>
              <a:gdLst/>
              <a:ahLst/>
              <a:cxnLst>
                <a:cxn ang="0">
                  <a:pos x="48" y="8"/>
                </a:cxn>
                <a:cxn ang="0">
                  <a:pos x="46" y="10"/>
                </a:cxn>
                <a:cxn ang="0">
                  <a:pos x="42" y="10"/>
                </a:cxn>
                <a:cxn ang="0">
                  <a:pos x="40" y="8"/>
                </a:cxn>
                <a:cxn ang="0">
                  <a:pos x="40" y="10"/>
                </a:cxn>
                <a:cxn ang="0">
                  <a:pos x="34" y="14"/>
                </a:cxn>
                <a:cxn ang="0">
                  <a:pos x="30" y="12"/>
                </a:cxn>
                <a:cxn ang="0">
                  <a:pos x="32" y="18"/>
                </a:cxn>
                <a:cxn ang="0">
                  <a:pos x="28" y="18"/>
                </a:cxn>
                <a:cxn ang="0">
                  <a:pos x="24" y="18"/>
                </a:cxn>
                <a:cxn ang="0">
                  <a:pos x="22" y="18"/>
                </a:cxn>
                <a:cxn ang="0">
                  <a:pos x="22" y="20"/>
                </a:cxn>
                <a:cxn ang="0">
                  <a:pos x="22" y="22"/>
                </a:cxn>
                <a:cxn ang="0">
                  <a:pos x="18" y="20"/>
                </a:cxn>
                <a:cxn ang="0">
                  <a:pos x="16" y="18"/>
                </a:cxn>
                <a:cxn ang="0">
                  <a:pos x="18" y="18"/>
                </a:cxn>
                <a:cxn ang="0">
                  <a:pos x="18" y="16"/>
                </a:cxn>
                <a:cxn ang="0">
                  <a:pos x="20" y="12"/>
                </a:cxn>
                <a:cxn ang="0">
                  <a:pos x="24" y="8"/>
                </a:cxn>
                <a:cxn ang="0">
                  <a:pos x="26" y="8"/>
                </a:cxn>
                <a:cxn ang="0">
                  <a:pos x="26" y="6"/>
                </a:cxn>
                <a:cxn ang="0">
                  <a:pos x="26" y="4"/>
                </a:cxn>
                <a:cxn ang="0">
                  <a:pos x="32" y="0"/>
                </a:cxn>
                <a:cxn ang="0">
                  <a:pos x="36" y="0"/>
                </a:cxn>
                <a:cxn ang="0">
                  <a:pos x="36" y="2"/>
                </a:cxn>
                <a:cxn ang="0">
                  <a:pos x="34" y="4"/>
                </a:cxn>
                <a:cxn ang="0">
                  <a:pos x="36" y="6"/>
                </a:cxn>
                <a:cxn ang="0">
                  <a:pos x="40" y="4"/>
                </a:cxn>
                <a:cxn ang="0">
                  <a:pos x="40" y="2"/>
                </a:cxn>
                <a:cxn ang="0">
                  <a:pos x="42" y="2"/>
                </a:cxn>
                <a:cxn ang="0">
                  <a:pos x="42" y="6"/>
                </a:cxn>
                <a:cxn ang="0">
                  <a:pos x="48" y="8"/>
                </a:cxn>
                <a:cxn ang="0">
                  <a:pos x="48" y="8"/>
                </a:cxn>
                <a:cxn ang="0">
                  <a:pos x="20" y="6"/>
                </a:cxn>
                <a:cxn ang="0">
                  <a:pos x="24" y="2"/>
                </a:cxn>
                <a:cxn ang="0">
                  <a:pos x="14" y="2"/>
                </a:cxn>
                <a:cxn ang="0">
                  <a:pos x="6" y="0"/>
                </a:cxn>
                <a:cxn ang="0">
                  <a:pos x="6" y="4"/>
                </a:cxn>
                <a:cxn ang="0">
                  <a:pos x="6" y="6"/>
                </a:cxn>
                <a:cxn ang="0">
                  <a:pos x="4" y="6"/>
                </a:cxn>
                <a:cxn ang="0">
                  <a:pos x="8" y="6"/>
                </a:cxn>
                <a:cxn ang="0">
                  <a:pos x="8" y="10"/>
                </a:cxn>
                <a:cxn ang="0">
                  <a:pos x="2" y="14"/>
                </a:cxn>
                <a:cxn ang="0">
                  <a:pos x="0" y="16"/>
                </a:cxn>
                <a:cxn ang="0">
                  <a:pos x="2" y="20"/>
                </a:cxn>
                <a:cxn ang="0">
                  <a:pos x="6" y="18"/>
                </a:cxn>
                <a:cxn ang="0">
                  <a:pos x="6" y="16"/>
                </a:cxn>
                <a:cxn ang="0">
                  <a:pos x="6" y="14"/>
                </a:cxn>
                <a:cxn ang="0">
                  <a:pos x="10" y="14"/>
                </a:cxn>
                <a:cxn ang="0">
                  <a:pos x="14" y="14"/>
                </a:cxn>
                <a:cxn ang="0">
                  <a:pos x="18" y="6"/>
                </a:cxn>
                <a:cxn ang="0">
                  <a:pos x="20" y="6"/>
                </a:cxn>
                <a:cxn ang="0">
                  <a:pos x="20" y="6"/>
                </a:cxn>
              </a:cxnLst>
              <a:rect l="0" t="0" r="r" b="b"/>
              <a:pathLst>
                <a:path w="48" h="22">
                  <a:moveTo>
                    <a:pt x="48" y="8"/>
                  </a:moveTo>
                  <a:lnTo>
                    <a:pt x="46" y="10"/>
                  </a:lnTo>
                  <a:lnTo>
                    <a:pt x="42" y="10"/>
                  </a:lnTo>
                  <a:lnTo>
                    <a:pt x="40" y="8"/>
                  </a:lnTo>
                  <a:lnTo>
                    <a:pt x="40" y="10"/>
                  </a:lnTo>
                  <a:lnTo>
                    <a:pt x="34" y="14"/>
                  </a:lnTo>
                  <a:lnTo>
                    <a:pt x="30" y="12"/>
                  </a:lnTo>
                  <a:lnTo>
                    <a:pt x="32" y="18"/>
                  </a:lnTo>
                  <a:lnTo>
                    <a:pt x="28" y="18"/>
                  </a:lnTo>
                  <a:lnTo>
                    <a:pt x="24" y="18"/>
                  </a:lnTo>
                  <a:lnTo>
                    <a:pt x="22" y="18"/>
                  </a:lnTo>
                  <a:lnTo>
                    <a:pt x="22" y="20"/>
                  </a:lnTo>
                  <a:lnTo>
                    <a:pt x="22" y="22"/>
                  </a:lnTo>
                  <a:lnTo>
                    <a:pt x="18" y="20"/>
                  </a:lnTo>
                  <a:lnTo>
                    <a:pt x="16" y="18"/>
                  </a:lnTo>
                  <a:lnTo>
                    <a:pt x="18" y="18"/>
                  </a:lnTo>
                  <a:lnTo>
                    <a:pt x="18" y="16"/>
                  </a:lnTo>
                  <a:lnTo>
                    <a:pt x="20" y="12"/>
                  </a:lnTo>
                  <a:lnTo>
                    <a:pt x="24" y="8"/>
                  </a:lnTo>
                  <a:lnTo>
                    <a:pt x="26" y="8"/>
                  </a:lnTo>
                  <a:lnTo>
                    <a:pt x="26" y="6"/>
                  </a:lnTo>
                  <a:lnTo>
                    <a:pt x="26" y="4"/>
                  </a:lnTo>
                  <a:lnTo>
                    <a:pt x="32" y="0"/>
                  </a:lnTo>
                  <a:lnTo>
                    <a:pt x="36" y="0"/>
                  </a:lnTo>
                  <a:lnTo>
                    <a:pt x="36" y="2"/>
                  </a:lnTo>
                  <a:lnTo>
                    <a:pt x="34" y="4"/>
                  </a:lnTo>
                  <a:lnTo>
                    <a:pt x="36" y="6"/>
                  </a:lnTo>
                  <a:lnTo>
                    <a:pt x="40" y="4"/>
                  </a:lnTo>
                  <a:lnTo>
                    <a:pt x="40" y="2"/>
                  </a:lnTo>
                  <a:lnTo>
                    <a:pt x="42" y="2"/>
                  </a:lnTo>
                  <a:lnTo>
                    <a:pt x="42" y="6"/>
                  </a:lnTo>
                  <a:lnTo>
                    <a:pt x="48" y="8"/>
                  </a:lnTo>
                  <a:lnTo>
                    <a:pt x="48" y="8"/>
                  </a:lnTo>
                  <a:close/>
                  <a:moveTo>
                    <a:pt x="20" y="6"/>
                  </a:moveTo>
                  <a:lnTo>
                    <a:pt x="24" y="2"/>
                  </a:lnTo>
                  <a:lnTo>
                    <a:pt x="14" y="2"/>
                  </a:lnTo>
                  <a:lnTo>
                    <a:pt x="6" y="0"/>
                  </a:lnTo>
                  <a:lnTo>
                    <a:pt x="6" y="4"/>
                  </a:lnTo>
                  <a:lnTo>
                    <a:pt x="6" y="6"/>
                  </a:lnTo>
                  <a:lnTo>
                    <a:pt x="4" y="6"/>
                  </a:lnTo>
                  <a:lnTo>
                    <a:pt x="8" y="6"/>
                  </a:lnTo>
                  <a:lnTo>
                    <a:pt x="8" y="10"/>
                  </a:lnTo>
                  <a:lnTo>
                    <a:pt x="2" y="14"/>
                  </a:lnTo>
                  <a:lnTo>
                    <a:pt x="0" y="16"/>
                  </a:lnTo>
                  <a:lnTo>
                    <a:pt x="2" y="20"/>
                  </a:lnTo>
                  <a:lnTo>
                    <a:pt x="6" y="18"/>
                  </a:lnTo>
                  <a:lnTo>
                    <a:pt x="6" y="16"/>
                  </a:lnTo>
                  <a:lnTo>
                    <a:pt x="6" y="14"/>
                  </a:lnTo>
                  <a:lnTo>
                    <a:pt x="10" y="14"/>
                  </a:lnTo>
                  <a:lnTo>
                    <a:pt x="14" y="14"/>
                  </a:lnTo>
                  <a:lnTo>
                    <a:pt x="18" y="6"/>
                  </a:lnTo>
                  <a:lnTo>
                    <a:pt x="20" y="6"/>
                  </a:lnTo>
                  <a:lnTo>
                    <a:pt x="20"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999" name="Freeform 362">
              <a:extLst>
                <a:ext uri="{FF2B5EF4-FFF2-40B4-BE49-F238E27FC236}">
                  <a16:creationId xmlns:a16="http://schemas.microsoft.com/office/drawing/2014/main" id="{E0C203C9-89E8-4234-B2BB-C20E4C7F4613}"/>
                </a:ext>
              </a:extLst>
            </p:cNvPr>
            <p:cNvSpPr>
              <a:spLocks/>
            </p:cNvSpPr>
            <p:nvPr/>
          </p:nvSpPr>
          <p:spPr bwMode="auto">
            <a:xfrm>
              <a:off x="3658231" y="4514032"/>
              <a:ext cx="10358" cy="12948"/>
            </a:xfrm>
            <a:custGeom>
              <a:avLst/>
              <a:gdLst/>
              <a:ahLst/>
              <a:cxnLst>
                <a:cxn ang="0">
                  <a:pos x="6" y="0"/>
                </a:cxn>
                <a:cxn ang="0">
                  <a:pos x="6" y="0"/>
                </a:cxn>
                <a:cxn ang="0">
                  <a:pos x="8" y="2"/>
                </a:cxn>
                <a:cxn ang="0">
                  <a:pos x="8" y="6"/>
                </a:cxn>
                <a:cxn ang="0">
                  <a:pos x="4" y="10"/>
                </a:cxn>
                <a:cxn ang="0">
                  <a:pos x="0" y="6"/>
                </a:cxn>
                <a:cxn ang="0">
                  <a:pos x="0" y="2"/>
                </a:cxn>
                <a:cxn ang="0">
                  <a:pos x="0" y="0"/>
                </a:cxn>
                <a:cxn ang="0">
                  <a:pos x="6" y="0"/>
                </a:cxn>
                <a:cxn ang="0">
                  <a:pos x="6" y="0"/>
                </a:cxn>
              </a:cxnLst>
              <a:rect l="0" t="0" r="r" b="b"/>
              <a:pathLst>
                <a:path w="8" h="10">
                  <a:moveTo>
                    <a:pt x="6" y="0"/>
                  </a:moveTo>
                  <a:lnTo>
                    <a:pt x="6" y="0"/>
                  </a:lnTo>
                  <a:lnTo>
                    <a:pt x="8" y="2"/>
                  </a:lnTo>
                  <a:lnTo>
                    <a:pt x="8" y="6"/>
                  </a:lnTo>
                  <a:lnTo>
                    <a:pt x="4" y="10"/>
                  </a:lnTo>
                  <a:lnTo>
                    <a:pt x="0" y="6"/>
                  </a:lnTo>
                  <a:lnTo>
                    <a:pt x="0" y="2"/>
                  </a:lnTo>
                  <a:lnTo>
                    <a:pt x="0" y="0"/>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0" name="Freeform 363">
              <a:extLst>
                <a:ext uri="{FF2B5EF4-FFF2-40B4-BE49-F238E27FC236}">
                  <a16:creationId xmlns:a16="http://schemas.microsoft.com/office/drawing/2014/main" id="{991969E8-50ED-4A19-85FB-74EA1510DFF2}"/>
                </a:ext>
              </a:extLst>
            </p:cNvPr>
            <p:cNvSpPr>
              <a:spLocks/>
            </p:cNvSpPr>
            <p:nvPr/>
          </p:nvSpPr>
          <p:spPr bwMode="auto">
            <a:xfrm>
              <a:off x="3658231" y="4514032"/>
              <a:ext cx="10358" cy="12948"/>
            </a:xfrm>
            <a:custGeom>
              <a:avLst/>
              <a:gdLst/>
              <a:ahLst/>
              <a:cxnLst>
                <a:cxn ang="0">
                  <a:pos x="6" y="0"/>
                </a:cxn>
                <a:cxn ang="0">
                  <a:pos x="6" y="0"/>
                </a:cxn>
                <a:cxn ang="0">
                  <a:pos x="8" y="2"/>
                </a:cxn>
                <a:cxn ang="0">
                  <a:pos x="8" y="6"/>
                </a:cxn>
                <a:cxn ang="0">
                  <a:pos x="4" y="10"/>
                </a:cxn>
                <a:cxn ang="0">
                  <a:pos x="0" y="6"/>
                </a:cxn>
                <a:cxn ang="0">
                  <a:pos x="0" y="2"/>
                </a:cxn>
                <a:cxn ang="0">
                  <a:pos x="0" y="0"/>
                </a:cxn>
                <a:cxn ang="0">
                  <a:pos x="6" y="0"/>
                </a:cxn>
                <a:cxn ang="0">
                  <a:pos x="6" y="0"/>
                </a:cxn>
              </a:cxnLst>
              <a:rect l="0" t="0" r="r" b="b"/>
              <a:pathLst>
                <a:path w="8" h="10">
                  <a:moveTo>
                    <a:pt x="6" y="0"/>
                  </a:moveTo>
                  <a:lnTo>
                    <a:pt x="6" y="0"/>
                  </a:lnTo>
                  <a:lnTo>
                    <a:pt x="8" y="2"/>
                  </a:lnTo>
                  <a:lnTo>
                    <a:pt x="8" y="6"/>
                  </a:lnTo>
                  <a:lnTo>
                    <a:pt x="4" y="10"/>
                  </a:lnTo>
                  <a:lnTo>
                    <a:pt x="0" y="6"/>
                  </a:lnTo>
                  <a:lnTo>
                    <a:pt x="0" y="2"/>
                  </a:lnTo>
                  <a:lnTo>
                    <a:pt x="0" y="0"/>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1" name="Freeform 364">
              <a:extLst>
                <a:ext uri="{FF2B5EF4-FFF2-40B4-BE49-F238E27FC236}">
                  <a16:creationId xmlns:a16="http://schemas.microsoft.com/office/drawing/2014/main" id="{0190938A-FE12-4F91-AEF8-41311A49440D}"/>
                </a:ext>
              </a:extLst>
            </p:cNvPr>
            <p:cNvSpPr>
              <a:spLocks/>
            </p:cNvSpPr>
            <p:nvPr/>
          </p:nvSpPr>
          <p:spPr bwMode="auto">
            <a:xfrm>
              <a:off x="1519213" y="4446702"/>
              <a:ext cx="49203" cy="31075"/>
            </a:xfrm>
            <a:custGeom>
              <a:avLst/>
              <a:gdLst/>
              <a:ahLst/>
              <a:cxnLst>
                <a:cxn ang="0">
                  <a:pos x="0" y="12"/>
                </a:cxn>
                <a:cxn ang="0">
                  <a:pos x="0" y="12"/>
                </a:cxn>
                <a:cxn ang="0">
                  <a:pos x="4" y="14"/>
                </a:cxn>
                <a:cxn ang="0">
                  <a:pos x="8" y="16"/>
                </a:cxn>
                <a:cxn ang="0">
                  <a:pos x="8" y="18"/>
                </a:cxn>
                <a:cxn ang="0">
                  <a:pos x="8" y="20"/>
                </a:cxn>
                <a:cxn ang="0">
                  <a:pos x="14" y="20"/>
                </a:cxn>
                <a:cxn ang="0">
                  <a:pos x="18" y="20"/>
                </a:cxn>
                <a:cxn ang="0">
                  <a:pos x="26" y="20"/>
                </a:cxn>
                <a:cxn ang="0">
                  <a:pos x="34" y="24"/>
                </a:cxn>
                <a:cxn ang="0">
                  <a:pos x="36" y="20"/>
                </a:cxn>
                <a:cxn ang="0">
                  <a:pos x="38" y="20"/>
                </a:cxn>
                <a:cxn ang="0">
                  <a:pos x="38" y="10"/>
                </a:cxn>
                <a:cxn ang="0">
                  <a:pos x="32" y="8"/>
                </a:cxn>
                <a:cxn ang="0">
                  <a:pos x="28" y="6"/>
                </a:cxn>
                <a:cxn ang="0">
                  <a:pos x="26" y="4"/>
                </a:cxn>
                <a:cxn ang="0">
                  <a:pos x="18" y="2"/>
                </a:cxn>
                <a:cxn ang="0">
                  <a:pos x="12" y="0"/>
                </a:cxn>
                <a:cxn ang="0">
                  <a:pos x="10" y="2"/>
                </a:cxn>
                <a:cxn ang="0">
                  <a:pos x="6" y="4"/>
                </a:cxn>
                <a:cxn ang="0">
                  <a:pos x="6" y="8"/>
                </a:cxn>
                <a:cxn ang="0">
                  <a:pos x="6" y="10"/>
                </a:cxn>
                <a:cxn ang="0">
                  <a:pos x="2" y="10"/>
                </a:cxn>
                <a:cxn ang="0">
                  <a:pos x="0" y="10"/>
                </a:cxn>
                <a:cxn ang="0">
                  <a:pos x="0" y="12"/>
                </a:cxn>
                <a:cxn ang="0">
                  <a:pos x="0" y="12"/>
                </a:cxn>
              </a:cxnLst>
              <a:rect l="0" t="0" r="r" b="b"/>
              <a:pathLst>
                <a:path w="38" h="24">
                  <a:moveTo>
                    <a:pt x="0" y="12"/>
                  </a:moveTo>
                  <a:lnTo>
                    <a:pt x="0" y="12"/>
                  </a:lnTo>
                  <a:lnTo>
                    <a:pt x="4" y="14"/>
                  </a:lnTo>
                  <a:lnTo>
                    <a:pt x="8" y="16"/>
                  </a:lnTo>
                  <a:lnTo>
                    <a:pt x="8" y="18"/>
                  </a:lnTo>
                  <a:lnTo>
                    <a:pt x="8" y="20"/>
                  </a:lnTo>
                  <a:lnTo>
                    <a:pt x="14" y="20"/>
                  </a:lnTo>
                  <a:lnTo>
                    <a:pt x="18" y="20"/>
                  </a:lnTo>
                  <a:lnTo>
                    <a:pt x="26" y="20"/>
                  </a:lnTo>
                  <a:lnTo>
                    <a:pt x="34" y="24"/>
                  </a:lnTo>
                  <a:lnTo>
                    <a:pt x="36" y="20"/>
                  </a:lnTo>
                  <a:lnTo>
                    <a:pt x="38" y="20"/>
                  </a:lnTo>
                  <a:lnTo>
                    <a:pt x="38" y="10"/>
                  </a:lnTo>
                  <a:lnTo>
                    <a:pt x="32" y="8"/>
                  </a:lnTo>
                  <a:lnTo>
                    <a:pt x="28" y="6"/>
                  </a:lnTo>
                  <a:lnTo>
                    <a:pt x="26" y="4"/>
                  </a:lnTo>
                  <a:lnTo>
                    <a:pt x="18" y="2"/>
                  </a:lnTo>
                  <a:lnTo>
                    <a:pt x="12" y="0"/>
                  </a:lnTo>
                  <a:lnTo>
                    <a:pt x="10" y="2"/>
                  </a:lnTo>
                  <a:lnTo>
                    <a:pt x="6" y="4"/>
                  </a:lnTo>
                  <a:lnTo>
                    <a:pt x="6" y="8"/>
                  </a:lnTo>
                  <a:lnTo>
                    <a:pt x="6" y="10"/>
                  </a:lnTo>
                  <a:lnTo>
                    <a:pt x="2" y="10"/>
                  </a:lnTo>
                  <a:lnTo>
                    <a:pt x="0" y="10"/>
                  </a:lnTo>
                  <a:lnTo>
                    <a:pt x="0" y="12"/>
                  </a:lnTo>
                  <a:lnTo>
                    <a:pt x="0"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2" name="Freeform 365">
              <a:extLst>
                <a:ext uri="{FF2B5EF4-FFF2-40B4-BE49-F238E27FC236}">
                  <a16:creationId xmlns:a16="http://schemas.microsoft.com/office/drawing/2014/main" id="{9E2AA310-B981-4DDE-AC6C-D96FFA634D90}"/>
                </a:ext>
              </a:extLst>
            </p:cNvPr>
            <p:cNvSpPr>
              <a:spLocks/>
            </p:cNvSpPr>
            <p:nvPr/>
          </p:nvSpPr>
          <p:spPr bwMode="auto">
            <a:xfrm>
              <a:off x="1674589" y="4723790"/>
              <a:ext cx="90636" cy="137249"/>
            </a:xfrm>
            <a:custGeom>
              <a:avLst/>
              <a:gdLst/>
              <a:ahLst/>
              <a:cxnLst>
                <a:cxn ang="0">
                  <a:pos x="24" y="0"/>
                </a:cxn>
                <a:cxn ang="0">
                  <a:pos x="12" y="10"/>
                </a:cxn>
                <a:cxn ang="0">
                  <a:pos x="14" y="20"/>
                </a:cxn>
                <a:cxn ang="0">
                  <a:pos x="8" y="28"/>
                </a:cxn>
                <a:cxn ang="0">
                  <a:pos x="10" y="40"/>
                </a:cxn>
                <a:cxn ang="0">
                  <a:pos x="6" y="42"/>
                </a:cxn>
                <a:cxn ang="0">
                  <a:pos x="4" y="44"/>
                </a:cxn>
                <a:cxn ang="0">
                  <a:pos x="4" y="50"/>
                </a:cxn>
                <a:cxn ang="0">
                  <a:pos x="4" y="52"/>
                </a:cxn>
                <a:cxn ang="0">
                  <a:pos x="2" y="54"/>
                </a:cxn>
                <a:cxn ang="0">
                  <a:pos x="4" y="60"/>
                </a:cxn>
                <a:cxn ang="0">
                  <a:pos x="4" y="64"/>
                </a:cxn>
                <a:cxn ang="0">
                  <a:pos x="6" y="70"/>
                </a:cxn>
                <a:cxn ang="0">
                  <a:pos x="12" y="70"/>
                </a:cxn>
                <a:cxn ang="0">
                  <a:pos x="14" y="68"/>
                </a:cxn>
                <a:cxn ang="0">
                  <a:pos x="16" y="72"/>
                </a:cxn>
                <a:cxn ang="0">
                  <a:pos x="10" y="74"/>
                </a:cxn>
                <a:cxn ang="0">
                  <a:pos x="12" y="76"/>
                </a:cxn>
                <a:cxn ang="0">
                  <a:pos x="4" y="86"/>
                </a:cxn>
                <a:cxn ang="0">
                  <a:pos x="8" y="92"/>
                </a:cxn>
                <a:cxn ang="0">
                  <a:pos x="4" y="98"/>
                </a:cxn>
                <a:cxn ang="0">
                  <a:pos x="12" y="100"/>
                </a:cxn>
                <a:cxn ang="0">
                  <a:pos x="14" y="100"/>
                </a:cxn>
                <a:cxn ang="0">
                  <a:pos x="18" y="106"/>
                </a:cxn>
                <a:cxn ang="0">
                  <a:pos x="24" y="106"/>
                </a:cxn>
                <a:cxn ang="0">
                  <a:pos x="28" y="102"/>
                </a:cxn>
                <a:cxn ang="0">
                  <a:pos x="36" y="86"/>
                </a:cxn>
                <a:cxn ang="0">
                  <a:pos x="48" y="74"/>
                </a:cxn>
                <a:cxn ang="0">
                  <a:pos x="66" y="62"/>
                </a:cxn>
                <a:cxn ang="0">
                  <a:pos x="68" y="52"/>
                </a:cxn>
                <a:cxn ang="0">
                  <a:pos x="70" y="50"/>
                </a:cxn>
                <a:cxn ang="0">
                  <a:pos x="70" y="34"/>
                </a:cxn>
                <a:cxn ang="0">
                  <a:pos x="70" y="28"/>
                </a:cxn>
                <a:cxn ang="0">
                  <a:pos x="60" y="22"/>
                </a:cxn>
                <a:cxn ang="0">
                  <a:pos x="58" y="22"/>
                </a:cxn>
                <a:cxn ang="0">
                  <a:pos x="44" y="20"/>
                </a:cxn>
                <a:cxn ang="0">
                  <a:pos x="40" y="16"/>
                </a:cxn>
                <a:cxn ang="0">
                  <a:pos x="38" y="10"/>
                </a:cxn>
                <a:cxn ang="0">
                  <a:pos x="26" y="2"/>
                </a:cxn>
                <a:cxn ang="0">
                  <a:pos x="24" y="0"/>
                </a:cxn>
              </a:cxnLst>
              <a:rect l="0" t="0" r="r" b="b"/>
              <a:pathLst>
                <a:path w="70" h="106">
                  <a:moveTo>
                    <a:pt x="24" y="0"/>
                  </a:moveTo>
                  <a:lnTo>
                    <a:pt x="24" y="0"/>
                  </a:lnTo>
                  <a:lnTo>
                    <a:pt x="12" y="8"/>
                  </a:lnTo>
                  <a:lnTo>
                    <a:pt x="12" y="10"/>
                  </a:lnTo>
                  <a:lnTo>
                    <a:pt x="12" y="12"/>
                  </a:lnTo>
                  <a:lnTo>
                    <a:pt x="14" y="20"/>
                  </a:lnTo>
                  <a:lnTo>
                    <a:pt x="10" y="24"/>
                  </a:lnTo>
                  <a:lnTo>
                    <a:pt x="8" y="28"/>
                  </a:lnTo>
                  <a:lnTo>
                    <a:pt x="8" y="34"/>
                  </a:lnTo>
                  <a:lnTo>
                    <a:pt x="10" y="40"/>
                  </a:lnTo>
                  <a:lnTo>
                    <a:pt x="6" y="40"/>
                  </a:lnTo>
                  <a:lnTo>
                    <a:pt x="6" y="42"/>
                  </a:lnTo>
                  <a:lnTo>
                    <a:pt x="4" y="44"/>
                  </a:lnTo>
                  <a:lnTo>
                    <a:pt x="4" y="44"/>
                  </a:lnTo>
                  <a:lnTo>
                    <a:pt x="4" y="48"/>
                  </a:lnTo>
                  <a:lnTo>
                    <a:pt x="4" y="50"/>
                  </a:lnTo>
                  <a:lnTo>
                    <a:pt x="4" y="52"/>
                  </a:lnTo>
                  <a:lnTo>
                    <a:pt x="4" y="52"/>
                  </a:lnTo>
                  <a:lnTo>
                    <a:pt x="4" y="52"/>
                  </a:lnTo>
                  <a:lnTo>
                    <a:pt x="2" y="54"/>
                  </a:lnTo>
                  <a:lnTo>
                    <a:pt x="4" y="60"/>
                  </a:lnTo>
                  <a:lnTo>
                    <a:pt x="4" y="60"/>
                  </a:lnTo>
                  <a:lnTo>
                    <a:pt x="4" y="64"/>
                  </a:lnTo>
                  <a:lnTo>
                    <a:pt x="4" y="64"/>
                  </a:lnTo>
                  <a:lnTo>
                    <a:pt x="0" y="68"/>
                  </a:lnTo>
                  <a:lnTo>
                    <a:pt x="6" y="70"/>
                  </a:lnTo>
                  <a:lnTo>
                    <a:pt x="8" y="72"/>
                  </a:lnTo>
                  <a:lnTo>
                    <a:pt x="12" y="70"/>
                  </a:lnTo>
                  <a:lnTo>
                    <a:pt x="14" y="70"/>
                  </a:lnTo>
                  <a:lnTo>
                    <a:pt x="14" y="68"/>
                  </a:lnTo>
                  <a:lnTo>
                    <a:pt x="16" y="68"/>
                  </a:lnTo>
                  <a:lnTo>
                    <a:pt x="16" y="72"/>
                  </a:lnTo>
                  <a:lnTo>
                    <a:pt x="12" y="72"/>
                  </a:lnTo>
                  <a:lnTo>
                    <a:pt x="10" y="74"/>
                  </a:lnTo>
                  <a:lnTo>
                    <a:pt x="10" y="76"/>
                  </a:lnTo>
                  <a:lnTo>
                    <a:pt x="12" y="76"/>
                  </a:lnTo>
                  <a:lnTo>
                    <a:pt x="12" y="78"/>
                  </a:lnTo>
                  <a:lnTo>
                    <a:pt x="4" y="86"/>
                  </a:lnTo>
                  <a:lnTo>
                    <a:pt x="6" y="90"/>
                  </a:lnTo>
                  <a:lnTo>
                    <a:pt x="8" y="92"/>
                  </a:lnTo>
                  <a:lnTo>
                    <a:pt x="4" y="96"/>
                  </a:lnTo>
                  <a:lnTo>
                    <a:pt x="4" y="98"/>
                  </a:lnTo>
                  <a:lnTo>
                    <a:pt x="8" y="102"/>
                  </a:lnTo>
                  <a:lnTo>
                    <a:pt x="12" y="100"/>
                  </a:lnTo>
                  <a:lnTo>
                    <a:pt x="12" y="98"/>
                  </a:lnTo>
                  <a:lnTo>
                    <a:pt x="14" y="100"/>
                  </a:lnTo>
                  <a:lnTo>
                    <a:pt x="16" y="106"/>
                  </a:lnTo>
                  <a:lnTo>
                    <a:pt x="18" y="106"/>
                  </a:lnTo>
                  <a:lnTo>
                    <a:pt x="20" y="106"/>
                  </a:lnTo>
                  <a:lnTo>
                    <a:pt x="24" y="106"/>
                  </a:lnTo>
                  <a:lnTo>
                    <a:pt x="26" y="104"/>
                  </a:lnTo>
                  <a:lnTo>
                    <a:pt x="28" y="102"/>
                  </a:lnTo>
                  <a:lnTo>
                    <a:pt x="32" y="92"/>
                  </a:lnTo>
                  <a:lnTo>
                    <a:pt x="36" y="86"/>
                  </a:lnTo>
                  <a:lnTo>
                    <a:pt x="42" y="78"/>
                  </a:lnTo>
                  <a:lnTo>
                    <a:pt x="48" y="74"/>
                  </a:lnTo>
                  <a:lnTo>
                    <a:pt x="60" y="68"/>
                  </a:lnTo>
                  <a:lnTo>
                    <a:pt x="66" y="62"/>
                  </a:lnTo>
                  <a:lnTo>
                    <a:pt x="68" y="56"/>
                  </a:lnTo>
                  <a:lnTo>
                    <a:pt x="68" y="52"/>
                  </a:lnTo>
                  <a:lnTo>
                    <a:pt x="70" y="52"/>
                  </a:lnTo>
                  <a:lnTo>
                    <a:pt x="70" y="50"/>
                  </a:lnTo>
                  <a:lnTo>
                    <a:pt x="70" y="44"/>
                  </a:lnTo>
                  <a:lnTo>
                    <a:pt x="70" y="34"/>
                  </a:lnTo>
                  <a:lnTo>
                    <a:pt x="66" y="32"/>
                  </a:lnTo>
                  <a:lnTo>
                    <a:pt x="70" y="28"/>
                  </a:lnTo>
                  <a:lnTo>
                    <a:pt x="66" y="26"/>
                  </a:lnTo>
                  <a:lnTo>
                    <a:pt x="60" y="22"/>
                  </a:lnTo>
                  <a:lnTo>
                    <a:pt x="60" y="20"/>
                  </a:lnTo>
                  <a:lnTo>
                    <a:pt x="58" y="22"/>
                  </a:lnTo>
                  <a:lnTo>
                    <a:pt x="58" y="24"/>
                  </a:lnTo>
                  <a:lnTo>
                    <a:pt x="44" y="20"/>
                  </a:lnTo>
                  <a:lnTo>
                    <a:pt x="42" y="20"/>
                  </a:lnTo>
                  <a:lnTo>
                    <a:pt x="40" y="16"/>
                  </a:lnTo>
                  <a:lnTo>
                    <a:pt x="40" y="12"/>
                  </a:lnTo>
                  <a:lnTo>
                    <a:pt x="38" y="10"/>
                  </a:lnTo>
                  <a:lnTo>
                    <a:pt x="30" y="6"/>
                  </a:lnTo>
                  <a:lnTo>
                    <a:pt x="26" y="2"/>
                  </a:lnTo>
                  <a:lnTo>
                    <a:pt x="26" y="0"/>
                  </a:lnTo>
                  <a:lnTo>
                    <a:pt x="24" y="0"/>
                  </a:lnTo>
                  <a:lnTo>
                    <a:pt x="2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3" name="Freeform 366">
              <a:extLst>
                <a:ext uri="{FF2B5EF4-FFF2-40B4-BE49-F238E27FC236}">
                  <a16:creationId xmlns:a16="http://schemas.microsoft.com/office/drawing/2014/main" id="{AE9127C3-B0D1-4E1D-940B-F0D3663E9A21}"/>
                </a:ext>
              </a:extLst>
            </p:cNvPr>
            <p:cNvSpPr>
              <a:spLocks/>
            </p:cNvSpPr>
            <p:nvPr/>
          </p:nvSpPr>
          <p:spPr bwMode="auto">
            <a:xfrm>
              <a:off x="1835145" y="4332759"/>
              <a:ext cx="59561" cy="41434"/>
            </a:xfrm>
            <a:custGeom>
              <a:avLst/>
              <a:gdLst/>
              <a:ahLst/>
              <a:cxnLst>
                <a:cxn ang="0">
                  <a:pos x="2" y="26"/>
                </a:cxn>
                <a:cxn ang="0">
                  <a:pos x="2" y="26"/>
                </a:cxn>
                <a:cxn ang="0">
                  <a:pos x="4" y="32"/>
                </a:cxn>
                <a:cxn ang="0">
                  <a:pos x="6" y="32"/>
                </a:cxn>
                <a:cxn ang="0">
                  <a:pos x="10" y="26"/>
                </a:cxn>
                <a:cxn ang="0">
                  <a:pos x="8" y="20"/>
                </a:cxn>
                <a:cxn ang="0">
                  <a:pos x="16" y="22"/>
                </a:cxn>
                <a:cxn ang="0">
                  <a:pos x="18" y="26"/>
                </a:cxn>
                <a:cxn ang="0">
                  <a:pos x="22" y="26"/>
                </a:cxn>
                <a:cxn ang="0">
                  <a:pos x="26" y="24"/>
                </a:cxn>
                <a:cxn ang="0">
                  <a:pos x="26" y="20"/>
                </a:cxn>
                <a:cxn ang="0">
                  <a:pos x="32" y="20"/>
                </a:cxn>
                <a:cxn ang="0">
                  <a:pos x="40" y="22"/>
                </a:cxn>
                <a:cxn ang="0">
                  <a:pos x="44" y="22"/>
                </a:cxn>
                <a:cxn ang="0">
                  <a:pos x="46" y="20"/>
                </a:cxn>
                <a:cxn ang="0">
                  <a:pos x="46" y="18"/>
                </a:cxn>
                <a:cxn ang="0">
                  <a:pos x="44" y="14"/>
                </a:cxn>
                <a:cxn ang="0">
                  <a:pos x="40" y="12"/>
                </a:cxn>
                <a:cxn ang="0">
                  <a:pos x="36" y="10"/>
                </a:cxn>
                <a:cxn ang="0">
                  <a:pos x="34" y="10"/>
                </a:cxn>
                <a:cxn ang="0">
                  <a:pos x="26" y="8"/>
                </a:cxn>
                <a:cxn ang="0">
                  <a:pos x="24" y="6"/>
                </a:cxn>
                <a:cxn ang="0">
                  <a:pos x="20" y="2"/>
                </a:cxn>
                <a:cxn ang="0">
                  <a:pos x="16" y="2"/>
                </a:cxn>
                <a:cxn ang="0">
                  <a:pos x="14" y="0"/>
                </a:cxn>
                <a:cxn ang="0">
                  <a:pos x="4" y="0"/>
                </a:cxn>
                <a:cxn ang="0">
                  <a:pos x="2" y="2"/>
                </a:cxn>
                <a:cxn ang="0">
                  <a:pos x="0" y="2"/>
                </a:cxn>
                <a:cxn ang="0">
                  <a:pos x="2" y="12"/>
                </a:cxn>
                <a:cxn ang="0">
                  <a:pos x="0" y="16"/>
                </a:cxn>
                <a:cxn ang="0">
                  <a:pos x="0" y="18"/>
                </a:cxn>
                <a:cxn ang="0">
                  <a:pos x="2" y="22"/>
                </a:cxn>
                <a:cxn ang="0">
                  <a:pos x="2" y="26"/>
                </a:cxn>
                <a:cxn ang="0">
                  <a:pos x="2" y="26"/>
                </a:cxn>
              </a:cxnLst>
              <a:rect l="0" t="0" r="r" b="b"/>
              <a:pathLst>
                <a:path w="46" h="32">
                  <a:moveTo>
                    <a:pt x="2" y="26"/>
                  </a:moveTo>
                  <a:lnTo>
                    <a:pt x="2" y="26"/>
                  </a:lnTo>
                  <a:lnTo>
                    <a:pt x="4" y="32"/>
                  </a:lnTo>
                  <a:lnTo>
                    <a:pt x="6" y="32"/>
                  </a:lnTo>
                  <a:lnTo>
                    <a:pt x="10" y="26"/>
                  </a:lnTo>
                  <a:lnTo>
                    <a:pt x="8" y="20"/>
                  </a:lnTo>
                  <a:lnTo>
                    <a:pt x="16" y="22"/>
                  </a:lnTo>
                  <a:lnTo>
                    <a:pt x="18" y="26"/>
                  </a:lnTo>
                  <a:lnTo>
                    <a:pt x="22" y="26"/>
                  </a:lnTo>
                  <a:lnTo>
                    <a:pt x="26" y="24"/>
                  </a:lnTo>
                  <a:lnTo>
                    <a:pt x="26" y="20"/>
                  </a:lnTo>
                  <a:lnTo>
                    <a:pt x="32" y="20"/>
                  </a:lnTo>
                  <a:lnTo>
                    <a:pt x="40" y="22"/>
                  </a:lnTo>
                  <a:lnTo>
                    <a:pt x="44" y="22"/>
                  </a:lnTo>
                  <a:lnTo>
                    <a:pt x="46" y="20"/>
                  </a:lnTo>
                  <a:lnTo>
                    <a:pt x="46" y="18"/>
                  </a:lnTo>
                  <a:lnTo>
                    <a:pt x="44" y="14"/>
                  </a:lnTo>
                  <a:lnTo>
                    <a:pt x="40" y="12"/>
                  </a:lnTo>
                  <a:lnTo>
                    <a:pt x="36" y="10"/>
                  </a:lnTo>
                  <a:lnTo>
                    <a:pt x="34" y="10"/>
                  </a:lnTo>
                  <a:lnTo>
                    <a:pt x="26" y="8"/>
                  </a:lnTo>
                  <a:lnTo>
                    <a:pt x="24" y="6"/>
                  </a:lnTo>
                  <a:lnTo>
                    <a:pt x="20" y="2"/>
                  </a:lnTo>
                  <a:lnTo>
                    <a:pt x="16" y="2"/>
                  </a:lnTo>
                  <a:lnTo>
                    <a:pt x="14" y="0"/>
                  </a:lnTo>
                  <a:lnTo>
                    <a:pt x="4" y="0"/>
                  </a:lnTo>
                  <a:lnTo>
                    <a:pt x="2" y="2"/>
                  </a:lnTo>
                  <a:lnTo>
                    <a:pt x="0" y="2"/>
                  </a:lnTo>
                  <a:lnTo>
                    <a:pt x="2" y="12"/>
                  </a:lnTo>
                  <a:lnTo>
                    <a:pt x="0" y="16"/>
                  </a:lnTo>
                  <a:lnTo>
                    <a:pt x="0" y="18"/>
                  </a:lnTo>
                  <a:lnTo>
                    <a:pt x="2" y="22"/>
                  </a:lnTo>
                  <a:lnTo>
                    <a:pt x="2" y="26"/>
                  </a:lnTo>
                  <a:lnTo>
                    <a:pt x="2" y="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4" name="Freeform 367">
              <a:extLst>
                <a:ext uri="{FF2B5EF4-FFF2-40B4-BE49-F238E27FC236}">
                  <a16:creationId xmlns:a16="http://schemas.microsoft.com/office/drawing/2014/main" id="{173D8429-E750-4E94-9863-9E78A08623A9}"/>
                </a:ext>
              </a:extLst>
            </p:cNvPr>
            <p:cNvSpPr>
              <a:spLocks/>
            </p:cNvSpPr>
            <p:nvPr/>
          </p:nvSpPr>
          <p:spPr bwMode="auto">
            <a:xfrm>
              <a:off x="3733329" y="4485546"/>
              <a:ext cx="33665" cy="44023"/>
            </a:xfrm>
            <a:custGeom>
              <a:avLst/>
              <a:gdLst/>
              <a:ahLst/>
              <a:cxnLst>
                <a:cxn ang="0">
                  <a:pos x="24" y="26"/>
                </a:cxn>
                <a:cxn ang="0">
                  <a:pos x="24" y="26"/>
                </a:cxn>
                <a:cxn ang="0">
                  <a:pos x="22" y="22"/>
                </a:cxn>
                <a:cxn ang="0">
                  <a:pos x="20" y="22"/>
                </a:cxn>
                <a:cxn ang="0">
                  <a:pos x="20" y="20"/>
                </a:cxn>
                <a:cxn ang="0">
                  <a:pos x="26" y="14"/>
                </a:cxn>
                <a:cxn ang="0">
                  <a:pos x="26" y="8"/>
                </a:cxn>
                <a:cxn ang="0">
                  <a:pos x="26" y="4"/>
                </a:cxn>
                <a:cxn ang="0">
                  <a:pos x="22" y="0"/>
                </a:cxn>
                <a:cxn ang="0">
                  <a:pos x="16" y="6"/>
                </a:cxn>
                <a:cxn ang="0">
                  <a:pos x="12" y="2"/>
                </a:cxn>
                <a:cxn ang="0">
                  <a:pos x="10" y="4"/>
                </a:cxn>
                <a:cxn ang="0">
                  <a:pos x="6" y="10"/>
                </a:cxn>
                <a:cxn ang="0">
                  <a:pos x="4" y="14"/>
                </a:cxn>
                <a:cxn ang="0">
                  <a:pos x="4" y="18"/>
                </a:cxn>
                <a:cxn ang="0">
                  <a:pos x="2" y="22"/>
                </a:cxn>
                <a:cxn ang="0">
                  <a:pos x="2" y="24"/>
                </a:cxn>
                <a:cxn ang="0">
                  <a:pos x="0" y="28"/>
                </a:cxn>
                <a:cxn ang="0">
                  <a:pos x="0" y="30"/>
                </a:cxn>
                <a:cxn ang="0">
                  <a:pos x="4" y="34"/>
                </a:cxn>
                <a:cxn ang="0">
                  <a:pos x="8" y="34"/>
                </a:cxn>
                <a:cxn ang="0">
                  <a:pos x="12" y="32"/>
                </a:cxn>
                <a:cxn ang="0">
                  <a:pos x="18" y="34"/>
                </a:cxn>
                <a:cxn ang="0">
                  <a:pos x="24" y="26"/>
                </a:cxn>
                <a:cxn ang="0">
                  <a:pos x="24" y="26"/>
                </a:cxn>
              </a:cxnLst>
              <a:rect l="0" t="0" r="r" b="b"/>
              <a:pathLst>
                <a:path w="26" h="34">
                  <a:moveTo>
                    <a:pt x="24" y="26"/>
                  </a:moveTo>
                  <a:lnTo>
                    <a:pt x="24" y="26"/>
                  </a:lnTo>
                  <a:lnTo>
                    <a:pt x="22" y="22"/>
                  </a:lnTo>
                  <a:lnTo>
                    <a:pt x="20" y="22"/>
                  </a:lnTo>
                  <a:lnTo>
                    <a:pt x="20" y="20"/>
                  </a:lnTo>
                  <a:lnTo>
                    <a:pt x="26" y="14"/>
                  </a:lnTo>
                  <a:lnTo>
                    <a:pt x="26" y="8"/>
                  </a:lnTo>
                  <a:lnTo>
                    <a:pt x="26" y="4"/>
                  </a:lnTo>
                  <a:lnTo>
                    <a:pt x="22" y="0"/>
                  </a:lnTo>
                  <a:lnTo>
                    <a:pt x="16" y="6"/>
                  </a:lnTo>
                  <a:lnTo>
                    <a:pt x="12" y="2"/>
                  </a:lnTo>
                  <a:lnTo>
                    <a:pt x="10" y="4"/>
                  </a:lnTo>
                  <a:lnTo>
                    <a:pt x="6" y="10"/>
                  </a:lnTo>
                  <a:lnTo>
                    <a:pt x="4" y="14"/>
                  </a:lnTo>
                  <a:lnTo>
                    <a:pt x="4" y="18"/>
                  </a:lnTo>
                  <a:lnTo>
                    <a:pt x="2" y="22"/>
                  </a:lnTo>
                  <a:lnTo>
                    <a:pt x="2" y="24"/>
                  </a:lnTo>
                  <a:lnTo>
                    <a:pt x="0" y="28"/>
                  </a:lnTo>
                  <a:lnTo>
                    <a:pt x="0" y="30"/>
                  </a:lnTo>
                  <a:lnTo>
                    <a:pt x="4" y="34"/>
                  </a:lnTo>
                  <a:lnTo>
                    <a:pt x="8" y="34"/>
                  </a:lnTo>
                  <a:lnTo>
                    <a:pt x="12" y="32"/>
                  </a:lnTo>
                  <a:lnTo>
                    <a:pt x="18" y="34"/>
                  </a:lnTo>
                  <a:lnTo>
                    <a:pt x="24" y="26"/>
                  </a:lnTo>
                  <a:lnTo>
                    <a:pt x="24" y="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5" name="Freeform 368">
              <a:extLst>
                <a:ext uri="{FF2B5EF4-FFF2-40B4-BE49-F238E27FC236}">
                  <a16:creationId xmlns:a16="http://schemas.microsoft.com/office/drawing/2014/main" id="{7A10F760-B061-4398-BB59-08B4F5BD4F22}"/>
                </a:ext>
              </a:extLst>
            </p:cNvPr>
            <p:cNvSpPr>
              <a:spLocks/>
            </p:cNvSpPr>
            <p:nvPr/>
          </p:nvSpPr>
          <p:spPr bwMode="auto">
            <a:xfrm>
              <a:off x="3733329" y="4485546"/>
              <a:ext cx="33665" cy="44023"/>
            </a:xfrm>
            <a:custGeom>
              <a:avLst/>
              <a:gdLst/>
              <a:ahLst/>
              <a:cxnLst>
                <a:cxn ang="0">
                  <a:pos x="24" y="26"/>
                </a:cxn>
                <a:cxn ang="0">
                  <a:pos x="24" y="26"/>
                </a:cxn>
                <a:cxn ang="0">
                  <a:pos x="22" y="22"/>
                </a:cxn>
                <a:cxn ang="0">
                  <a:pos x="20" y="22"/>
                </a:cxn>
                <a:cxn ang="0">
                  <a:pos x="20" y="20"/>
                </a:cxn>
                <a:cxn ang="0">
                  <a:pos x="26" y="14"/>
                </a:cxn>
                <a:cxn ang="0">
                  <a:pos x="26" y="8"/>
                </a:cxn>
                <a:cxn ang="0">
                  <a:pos x="26" y="4"/>
                </a:cxn>
                <a:cxn ang="0">
                  <a:pos x="22" y="0"/>
                </a:cxn>
                <a:cxn ang="0">
                  <a:pos x="16" y="6"/>
                </a:cxn>
                <a:cxn ang="0">
                  <a:pos x="12" y="2"/>
                </a:cxn>
                <a:cxn ang="0">
                  <a:pos x="10" y="4"/>
                </a:cxn>
                <a:cxn ang="0">
                  <a:pos x="6" y="10"/>
                </a:cxn>
                <a:cxn ang="0">
                  <a:pos x="4" y="14"/>
                </a:cxn>
                <a:cxn ang="0">
                  <a:pos x="4" y="18"/>
                </a:cxn>
                <a:cxn ang="0">
                  <a:pos x="2" y="22"/>
                </a:cxn>
                <a:cxn ang="0">
                  <a:pos x="2" y="24"/>
                </a:cxn>
                <a:cxn ang="0">
                  <a:pos x="0" y="28"/>
                </a:cxn>
                <a:cxn ang="0">
                  <a:pos x="0" y="30"/>
                </a:cxn>
                <a:cxn ang="0">
                  <a:pos x="4" y="34"/>
                </a:cxn>
                <a:cxn ang="0">
                  <a:pos x="8" y="34"/>
                </a:cxn>
                <a:cxn ang="0">
                  <a:pos x="12" y="32"/>
                </a:cxn>
                <a:cxn ang="0">
                  <a:pos x="18" y="34"/>
                </a:cxn>
                <a:cxn ang="0">
                  <a:pos x="24" y="26"/>
                </a:cxn>
                <a:cxn ang="0">
                  <a:pos x="24" y="26"/>
                </a:cxn>
              </a:cxnLst>
              <a:rect l="0" t="0" r="r" b="b"/>
              <a:pathLst>
                <a:path w="26" h="34">
                  <a:moveTo>
                    <a:pt x="24" y="26"/>
                  </a:moveTo>
                  <a:lnTo>
                    <a:pt x="24" y="26"/>
                  </a:lnTo>
                  <a:lnTo>
                    <a:pt x="22" y="22"/>
                  </a:lnTo>
                  <a:lnTo>
                    <a:pt x="20" y="22"/>
                  </a:lnTo>
                  <a:lnTo>
                    <a:pt x="20" y="20"/>
                  </a:lnTo>
                  <a:lnTo>
                    <a:pt x="26" y="14"/>
                  </a:lnTo>
                  <a:lnTo>
                    <a:pt x="26" y="8"/>
                  </a:lnTo>
                  <a:lnTo>
                    <a:pt x="26" y="4"/>
                  </a:lnTo>
                  <a:lnTo>
                    <a:pt x="22" y="0"/>
                  </a:lnTo>
                  <a:lnTo>
                    <a:pt x="16" y="6"/>
                  </a:lnTo>
                  <a:lnTo>
                    <a:pt x="12" y="2"/>
                  </a:lnTo>
                  <a:lnTo>
                    <a:pt x="10" y="4"/>
                  </a:lnTo>
                  <a:lnTo>
                    <a:pt x="6" y="10"/>
                  </a:lnTo>
                  <a:lnTo>
                    <a:pt x="4" y="14"/>
                  </a:lnTo>
                  <a:lnTo>
                    <a:pt x="4" y="18"/>
                  </a:lnTo>
                  <a:lnTo>
                    <a:pt x="2" y="22"/>
                  </a:lnTo>
                  <a:lnTo>
                    <a:pt x="2" y="24"/>
                  </a:lnTo>
                  <a:lnTo>
                    <a:pt x="0" y="28"/>
                  </a:lnTo>
                  <a:lnTo>
                    <a:pt x="0" y="30"/>
                  </a:lnTo>
                  <a:lnTo>
                    <a:pt x="4" y="34"/>
                  </a:lnTo>
                  <a:lnTo>
                    <a:pt x="8" y="34"/>
                  </a:lnTo>
                  <a:lnTo>
                    <a:pt x="12" y="32"/>
                  </a:lnTo>
                  <a:lnTo>
                    <a:pt x="18" y="34"/>
                  </a:lnTo>
                  <a:lnTo>
                    <a:pt x="24" y="26"/>
                  </a:lnTo>
                  <a:lnTo>
                    <a:pt x="24" y="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6" name="Freeform 369">
              <a:extLst>
                <a:ext uri="{FF2B5EF4-FFF2-40B4-BE49-F238E27FC236}">
                  <a16:creationId xmlns:a16="http://schemas.microsoft.com/office/drawing/2014/main" id="{2A72C664-5DE3-41E6-A57A-383721B5EE46}"/>
                </a:ext>
              </a:extLst>
            </p:cNvPr>
            <p:cNvSpPr>
              <a:spLocks noEditPoints="1"/>
            </p:cNvSpPr>
            <p:nvPr/>
          </p:nvSpPr>
          <p:spPr bwMode="auto">
            <a:xfrm>
              <a:off x="3580542" y="3993520"/>
              <a:ext cx="38844" cy="25896"/>
            </a:xfrm>
            <a:custGeom>
              <a:avLst/>
              <a:gdLst/>
              <a:ahLst/>
              <a:cxnLst>
                <a:cxn ang="0">
                  <a:pos x="24" y="12"/>
                </a:cxn>
                <a:cxn ang="0">
                  <a:pos x="24" y="12"/>
                </a:cxn>
                <a:cxn ang="0">
                  <a:pos x="22" y="6"/>
                </a:cxn>
                <a:cxn ang="0">
                  <a:pos x="26" y="6"/>
                </a:cxn>
                <a:cxn ang="0">
                  <a:pos x="28" y="2"/>
                </a:cxn>
                <a:cxn ang="0">
                  <a:pos x="30" y="0"/>
                </a:cxn>
                <a:cxn ang="0">
                  <a:pos x="24" y="4"/>
                </a:cxn>
                <a:cxn ang="0">
                  <a:pos x="20" y="6"/>
                </a:cxn>
                <a:cxn ang="0">
                  <a:pos x="16" y="6"/>
                </a:cxn>
                <a:cxn ang="0">
                  <a:pos x="10" y="6"/>
                </a:cxn>
                <a:cxn ang="0">
                  <a:pos x="12" y="10"/>
                </a:cxn>
                <a:cxn ang="0">
                  <a:pos x="8" y="10"/>
                </a:cxn>
                <a:cxn ang="0">
                  <a:pos x="10" y="12"/>
                </a:cxn>
                <a:cxn ang="0">
                  <a:pos x="14" y="12"/>
                </a:cxn>
                <a:cxn ang="0">
                  <a:pos x="18" y="10"/>
                </a:cxn>
                <a:cxn ang="0">
                  <a:pos x="20" y="10"/>
                </a:cxn>
                <a:cxn ang="0">
                  <a:pos x="24" y="12"/>
                </a:cxn>
                <a:cxn ang="0">
                  <a:pos x="24" y="12"/>
                </a:cxn>
                <a:cxn ang="0">
                  <a:pos x="24" y="12"/>
                </a:cxn>
                <a:cxn ang="0">
                  <a:pos x="24" y="12"/>
                </a:cxn>
                <a:cxn ang="0">
                  <a:pos x="22" y="12"/>
                </a:cxn>
                <a:cxn ang="0">
                  <a:pos x="20" y="14"/>
                </a:cxn>
                <a:cxn ang="0">
                  <a:pos x="18" y="16"/>
                </a:cxn>
                <a:cxn ang="0">
                  <a:pos x="12" y="20"/>
                </a:cxn>
                <a:cxn ang="0">
                  <a:pos x="8" y="20"/>
                </a:cxn>
                <a:cxn ang="0">
                  <a:pos x="2" y="16"/>
                </a:cxn>
                <a:cxn ang="0">
                  <a:pos x="0" y="12"/>
                </a:cxn>
                <a:cxn ang="0">
                  <a:pos x="8" y="10"/>
                </a:cxn>
                <a:cxn ang="0">
                  <a:pos x="10" y="12"/>
                </a:cxn>
                <a:cxn ang="0">
                  <a:pos x="14" y="12"/>
                </a:cxn>
                <a:cxn ang="0">
                  <a:pos x="18" y="10"/>
                </a:cxn>
                <a:cxn ang="0">
                  <a:pos x="20" y="10"/>
                </a:cxn>
                <a:cxn ang="0">
                  <a:pos x="24" y="12"/>
                </a:cxn>
                <a:cxn ang="0">
                  <a:pos x="24" y="12"/>
                </a:cxn>
              </a:cxnLst>
              <a:rect l="0" t="0" r="r" b="b"/>
              <a:pathLst>
                <a:path w="30" h="20">
                  <a:moveTo>
                    <a:pt x="24" y="12"/>
                  </a:moveTo>
                  <a:lnTo>
                    <a:pt x="24" y="12"/>
                  </a:lnTo>
                  <a:lnTo>
                    <a:pt x="22" y="6"/>
                  </a:lnTo>
                  <a:lnTo>
                    <a:pt x="26" y="6"/>
                  </a:lnTo>
                  <a:lnTo>
                    <a:pt x="28" y="2"/>
                  </a:lnTo>
                  <a:lnTo>
                    <a:pt x="30" y="0"/>
                  </a:lnTo>
                  <a:lnTo>
                    <a:pt x="24" y="4"/>
                  </a:lnTo>
                  <a:lnTo>
                    <a:pt x="20" y="6"/>
                  </a:lnTo>
                  <a:lnTo>
                    <a:pt x="16" y="6"/>
                  </a:lnTo>
                  <a:lnTo>
                    <a:pt x="10" y="6"/>
                  </a:lnTo>
                  <a:lnTo>
                    <a:pt x="12" y="10"/>
                  </a:lnTo>
                  <a:lnTo>
                    <a:pt x="8" y="10"/>
                  </a:lnTo>
                  <a:lnTo>
                    <a:pt x="10" y="12"/>
                  </a:lnTo>
                  <a:lnTo>
                    <a:pt x="14" y="12"/>
                  </a:lnTo>
                  <a:lnTo>
                    <a:pt x="18" y="10"/>
                  </a:lnTo>
                  <a:lnTo>
                    <a:pt x="20" y="10"/>
                  </a:lnTo>
                  <a:lnTo>
                    <a:pt x="24" y="12"/>
                  </a:lnTo>
                  <a:lnTo>
                    <a:pt x="24" y="12"/>
                  </a:lnTo>
                  <a:close/>
                  <a:moveTo>
                    <a:pt x="24" y="12"/>
                  </a:moveTo>
                  <a:lnTo>
                    <a:pt x="24" y="12"/>
                  </a:lnTo>
                  <a:lnTo>
                    <a:pt x="22" y="12"/>
                  </a:lnTo>
                  <a:lnTo>
                    <a:pt x="20" y="14"/>
                  </a:lnTo>
                  <a:lnTo>
                    <a:pt x="18" y="16"/>
                  </a:lnTo>
                  <a:lnTo>
                    <a:pt x="12" y="20"/>
                  </a:lnTo>
                  <a:lnTo>
                    <a:pt x="8" y="20"/>
                  </a:lnTo>
                  <a:lnTo>
                    <a:pt x="2" y="16"/>
                  </a:lnTo>
                  <a:lnTo>
                    <a:pt x="0" y="12"/>
                  </a:lnTo>
                  <a:lnTo>
                    <a:pt x="8" y="10"/>
                  </a:lnTo>
                  <a:lnTo>
                    <a:pt x="10" y="12"/>
                  </a:lnTo>
                  <a:lnTo>
                    <a:pt x="14" y="12"/>
                  </a:lnTo>
                  <a:lnTo>
                    <a:pt x="18" y="10"/>
                  </a:lnTo>
                  <a:lnTo>
                    <a:pt x="20" y="10"/>
                  </a:lnTo>
                  <a:lnTo>
                    <a:pt x="24" y="12"/>
                  </a:lnTo>
                  <a:lnTo>
                    <a:pt x="24"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7" name="Freeform 370">
              <a:extLst>
                <a:ext uri="{FF2B5EF4-FFF2-40B4-BE49-F238E27FC236}">
                  <a16:creationId xmlns:a16="http://schemas.microsoft.com/office/drawing/2014/main" id="{7BEC29B2-02FD-49F5-A59C-1B52ABAA5D6E}"/>
                </a:ext>
              </a:extLst>
            </p:cNvPr>
            <p:cNvSpPr>
              <a:spLocks/>
            </p:cNvSpPr>
            <p:nvPr/>
          </p:nvSpPr>
          <p:spPr bwMode="auto">
            <a:xfrm>
              <a:off x="3590901" y="3993520"/>
              <a:ext cx="28486" cy="15538"/>
            </a:xfrm>
            <a:custGeom>
              <a:avLst/>
              <a:gdLst/>
              <a:ahLst/>
              <a:cxnLst>
                <a:cxn ang="0">
                  <a:pos x="16" y="12"/>
                </a:cxn>
                <a:cxn ang="0">
                  <a:pos x="16" y="12"/>
                </a:cxn>
                <a:cxn ang="0">
                  <a:pos x="14" y="6"/>
                </a:cxn>
                <a:cxn ang="0">
                  <a:pos x="18" y="6"/>
                </a:cxn>
                <a:cxn ang="0">
                  <a:pos x="20" y="2"/>
                </a:cxn>
                <a:cxn ang="0">
                  <a:pos x="22" y="0"/>
                </a:cxn>
                <a:cxn ang="0">
                  <a:pos x="16" y="4"/>
                </a:cxn>
                <a:cxn ang="0">
                  <a:pos x="12" y="6"/>
                </a:cxn>
                <a:cxn ang="0">
                  <a:pos x="8" y="6"/>
                </a:cxn>
                <a:cxn ang="0">
                  <a:pos x="2" y="6"/>
                </a:cxn>
                <a:cxn ang="0">
                  <a:pos x="4" y="10"/>
                </a:cxn>
                <a:cxn ang="0">
                  <a:pos x="0" y="10"/>
                </a:cxn>
                <a:cxn ang="0">
                  <a:pos x="2" y="12"/>
                </a:cxn>
                <a:cxn ang="0">
                  <a:pos x="6" y="12"/>
                </a:cxn>
                <a:cxn ang="0">
                  <a:pos x="10" y="10"/>
                </a:cxn>
                <a:cxn ang="0">
                  <a:pos x="12" y="10"/>
                </a:cxn>
                <a:cxn ang="0">
                  <a:pos x="16" y="12"/>
                </a:cxn>
                <a:cxn ang="0">
                  <a:pos x="16" y="12"/>
                </a:cxn>
              </a:cxnLst>
              <a:rect l="0" t="0" r="r" b="b"/>
              <a:pathLst>
                <a:path w="22" h="12">
                  <a:moveTo>
                    <a:pt x="16" y="12"/>
                  </a:moveTo>
                  <a:lnTo>
                    <a:pt x="16" y="12"/>
                  </a:lnTo>
                  <a:lnTo>
                    <a:pt x="14" y="6"/>
                  </a:lnTo>
                  <a:lnTo>
                    <a:pt x="18" y="6"/>
                  </a:lnTo>
                  <a:lnTo>
                    <a:pt x="20" y="2"/>
                  </a:lnTo>
                  <a:lnTo>
                    <a:pt x="22" y="0"/>
                  </a:lnTo>
                  <a:lnTo>
                    <a:pt x="16" y="4"/>
                  </a:lnTo>
                  <a:lnTo>
                    <a:pt x="12" y="6"/>
                  </a:lnTo>
                  <a:lnTo>
                    <a:pt x="8" y="6"/>
                  </a:lnTo>
                  <a:lnTo>
                    <a:pt x="2" y="6"/>
                  </a:lnTo>
                  <a:lnTo>
                    <a:pt x="4" y="10"/>
                  </a:lnTo>
                  <a:lnTo>
                    <a:pt x="0" y="10"/>
                  </a:lnTo>
                  <a:lnTo>
                    <a:pt x="2" y="12"/>
                  </a:lnTo>
                  <a:lnTo>
                    <a:pt x="6" y="12"/>
                  </a:lnTo>
                  <a:lnTo>
                    <a:pt x="10" y="10"/>
                  </a:lnTo>
                  <a:lnTo>
                    <a:pt x="12" y="10"/>
                  </a:lnTo>
                  <a:lnTo>
                    <a:pt x="16" y="12"/>
                  </a:lnTo>
                  <a:lnTo>
                    <a:pt x="16"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8" name="Freeform 371">
              <a:extLst>
                <a:ext uri="{FF2B5EF4-FFF2-40B4-BE49-F238E27FC236}">
                  <a16:creationId xmlns:a16="http://schemas.microsoft.com/office/drawing/2014/main" id="{E435DB04-50FB-4253-B8DA-9D52A689F125}"/>
                </a:ext>
              </a:extLst>
            </p:cNvPr>
            <p:cNvSpPr>
              <a:spLocks/>
            </p:cNvSpPr>
            <p:nvPr/>
          </p:nvSpPr>
          <p:spPr bwMode="auto">
            <a:xfrm>
              <a:off x="3580542" y="4006468"/>
              <a:ext cx="31075" cy="12948"/>
            </a:xfrm>
            <a:custGeom>
              <a:avLst/>
              <a:gdLst/>
              <a:ahLst/>
              <a:cxnLst>
                <a:cxn ang="0">
                  <a:pos x="24" y="2"/>
                </a:cxn>
                <a:cxn ang="0">
                  <a:pos x="24" y="2"/>
                </a:cxn>
                <a:cxn ang="0">
                  <a:pos x="22" y="2"/>
                </a:cxn>
                <a:cxn ang="0">
                  <a:pos x="20" y="4"/>
                </a:cxn>
                <a:cxn ang="0">
                  <a:pos x="18" y="6"/>
                </a:cxn>
                <a:cxn ang="0">
                  <a:pos x="12" y="10"/>
                </a:cxn>
                <a:cxn ang="0">
                  <a:pos x="8" y="10"/>
                </a:cxn>
                <a:cxn ang="0">
                  <a:pos x="2" y="6"/>
                </a:cxn>
                <a:cxn ang="0">
                  <a:pos x="0" y="2"/>
                </a:cxn>
                <a:cxn ang="0">
                  <a:pos x="8" y="0"/>
                </a:cxn>
                <a:cxn ang="0">
                  <a:pos x="10" y="2"/>
                </a:cxn>
                <a:cxn ang="0">
                  <a:pos x="14" y="2"/>
                </a:cxn>
                <a:cxn ang="0">
                  <a:pos x="18" y="0"/>
                </a:cxn>
                <a:cxn ang="0">
                  <a:pos x="20" y="0"/>
                </a:cxn>
                <a:cxn ang="0">
                  <a:pos x="24" y="2"/>
                </a:cxn>
              </a:cxnLst>
              <a:rect l="0" t="0" r="r" b="b"/>
              <a:pathLst>
                <a:path w="24" h="10">
                  <a:moveTo>
                    <a:pt x="24" y="2"/>
                  </a:moveTo>
                  <a:lnTo>
                    <a:pt x="24" y="2"/>
                  </a:lnTo>
                  <a:lnTo>
                    <a:pt x="22" y="2"/>
                  </a:lnTo>
                  <a:lnTo>
                    <a:pt x="20" y="4"/>
                  </a:lnTo>
                  <a:lnTo>
                    <a:pt x="18" y="6"/>
                  </a:lnTo>
                  <a:lnTo>
                    <a:pt x="12" y="10"/>
                  </a:lnTo>
                  <a:lnTo>
                    <a:pt x="8" y="10"/>
                  </a:lnTo>
                  <a:lnTo>
                    <a:pt x="2" y="6"/>
                  </a:lnTo>
                  <a:lnTo>
                    <a:pt x="0" y="2"/>
                  </a:lnTo>
                  <a:lnTo>
                    <a:pt x="8" y="0"/>
                  </a:lnTo>
                  <a:lnTo>
                    <a:pt x="10" y="2"/>
                  </a:lnTo>
                  <a:lnTo>
                    <a:pt x="14" y="2"/>
                  </a:lnTo>
                  <a:lnTo>
                    <a:pt x="18" y="0"/>
                  </a:lnTo>
                  <a:lnTo>
                    <a:pt x="20" y="0"/>
                  </a:lnTo>
                  <a:lnTo>
                    <a:pt x="24" y="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9" name="Freeform 372">
              <a:extLst>
                <a:ext uri="{FF2B5EF4-FFF2-40B4-BE49-F238E27FC236}">
                  <a16:creationId xmlns:a16="http://schemas.microsoft.com/office/drawing/2014/main" id="{B2B24055-DBC9-4DC8-93B0-6371E91E6766}"/>
                </a:ext>
              </a:extLst>
            </p:cNvPr>
            <p:cNvSpPr>
              <a:spLocks/>
            </p:cNvSpPr>
            <p:nvPr/>
          </p:nvSpPr>
          <p:spPr bwMode="auto">
            <a:xfrm>
              <a:off x="3580542" y="4006468"/>
              <a:ext cx="31075" cy="12948"/>
            </a:xfrm>
            <a:custGeom>
              <a:avLst/>
              <a:gdLst/>
              <a:ahLst/>
              <a:cxnLst>
                <a:cxn ang="0">
                  <a:pos x="24" y="2"/>
                </a:cxn>
                <a:cxn ang="0">
                  <a:pos x="24" y="2"/>
                </a:cxn>
                <a:cxn ang="0">
                  <a:pos x="22" y="2"/>
                </a:cxn>
                <a:cxn ang="0">
                  <a:pos x="20" y="4"/>
                </a:cxn>
                <a:cxn ang="0">
                  <a:pos x="18" y="6"/>
                </a:cxn>
                <a:cxn ang="0">
                  <a:pos x="12" y="10"/>
                </a:cxn>
                <a:cxn ang="0">
                  <a:pos x="8" y="10"/>
                </a:cxn>
                <a:cxn ang="0">
                  <a:pos x="2" y="6"/>
                </a:cxn>
                <a:cxn ang="0">
                  <a:pos x="0" y="2"/>
                </a:cxn>
                <a:cxn ang="0">
                  <a:pos x="8" y="0"/>
                </a:cxn>
                <a:cxn ang="0">
                  <a:pos x="10" y="2"/>
                </a:cxn>
                <a:cxn ang="0">
                  <a:pos x="14" y="2"/>
                </a:cxn>
                <a:cxn ang="0">
                  <a:pos x="18" y="0"/>
                </a:cxn>
                <a:cxn ang="0">
                  <a:pos x="20" y="0"/>
                </a:cxn>
                <a:cxn ang="0">
                  <a:pos x="24" y="2"/>
                </a:cxn>
              </a:cxnLst>
              <a:rect l="0" t="0" r="r" b="b"/>
              <a:pathLst>
                <a:path w="24" h="10">
                  <a:moveTo>
                    <a:pt x="24" y="2"/>
                  </a:moveTo>
                  <a:lnTo>
                    <a:pt x="24" y="2"/>
                  </a:lnTo>
                  <a:lnTo>
                    <a:pt x="22" y="2"/>
                  </a:lnTo>
                  <a:lnTo>
                    <a:pt x="20" y="4"/>
                  </a:lnTo>
                  <a:lnTo>
                    <a:pt x="18" y="6"/>
                  </a:lnTo>
                  <a:lnTo>
                    <a:pt x="12" y="10"/>
                  </a:lnTo>
                  <a:lnTo>
                    <a:pt x="8" y="10"/>
                  </a:lnTo>
                  <a:lnTo>
                    <a:pt x="2" y="6"/>
                  </a:lnTo>
                  <a:lnTo>
                    <a:pt x="0" y="2"/>
                  </a:lnTo>
                  <a:lnTo>
                    <a:pt x="8" y="0"/>
                  </a:lnTo>
                  <a:lnTo>
                    <a:pt x="10" y="2"/>
                  </a:lnTo>
                  <a:lnTo>
                    <a:pt x="14" y="2"/>
                  </a:lnTo>
                  <a:lnTo>
                    <a:pt x="18" y="0"/>
                  </a:lnTo>
                  <a:lnTo>
                    <a:pt x="20" y="0"/>
                  </a:lnTo>
                  <a:lnTo>
                    <a:pt x="24" y="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0" name="Freeform 373">
              <a:extLst>
                <a:ext uri="{FF2B5EF4-FFF2-40B4-BE49-F238E27FC236}">
                  <a16:creationId xmlns:a16="http://schemas.microsoft.com/office/drawing/2014/main" id="{7E415C08-A3F2-4B6E-9EDD-9FCAC1799ECF}"/>
                </a:ext>
              </a:extLst>
            </p:cNvPr>
            <p:cNvSpPr>
              <a:spLocks noEditPoints="1"/>
            </p:cNvSpPr>
            <p:nvPr/>
          </p:nvSpPr>
          <p:spPr bwMode="auto">
            <a:xfrm>
              <a:off x="1620208" y="4260250"/>
              <a:ext cx="170914" cy="72509"/>
            </a:xfrm>
            <a:custGeom>
              <a:avLst/>
              <a:gdLst/>
              <a:ahLst/>
              <a:cxnLst>
                <a:cxn ang="0">
                  <a:pos x="22" y="16"/>
                </a:cxn>
                <a:cxn ang="0">
                  <a:pos x="24" y="20"/>
                </a:cxn>
                <a:cxn ang="0">
                  <a:pos x="24" y="24"/>
                </a:cxn>
                <a:cxn ang="0">
                  <a:pos x="18" y="28"/>
                </a:cxn>
                <a:cxn ang="0">
                  <a:pos x="22" y="28"/>
                </a:cxn>
                <a:cxn ang="0">
                  <a:pos x="28" y="18"/>
                </a:cxn>
                <a:cxn ang="0">
                  <a:pos x="22" y="16"/>
                </a:cxn>
                <a:cxn ang="0">
                  <a:pos x="22" y="0"/>
                </a:cxn>
                <a:cxn ang="0">
                  <a:pos x="4" y="12"/>
                </a:cxn>
                <a:cxn ang="0">
                  <a:pos x="0" y="18"/>
                </a:cxn>
                <a:cxn ang="0">
                  <a:pos x="12" y="18"/>
                </a:cxn>
                <a:cxn ang="0">
                  <a:pos x="16" y="14"/>
                </a:cxn>
                <a:cxn ang="0">
                  <a:pos x="22" y="6"/>
                </a:cxn>
                <a:cxn ang="0">
                  <a:pos x="30" y="4"/>
                </a:cxn>
                <a:cxn ang="0">
                  <a:pos x="36" y="10"/>
                </a:cxn>
                <a:cxn ang="0">
                  <a:pos x="46" y="12"/>
                </a:cxn>
                <a:cxn ang="0">
                  <a:pos x="54" y="16"/>
                </a:cxn>
                <a:cxn ang="0">
                  <a:pos x="56" y="22"/>
                </a:cxn>
                <a:cxn ang="0">
                  <a:pos x="62" y="24"/>
                </a:cxn>
                <a:cxn ang="0">
                  <a:pos x="72" y="28"/>
                </a:cxn>
                <a:cxn ang="0">
                  <a:pos x="78" y="32"/>
                </a:cxn>
                <a:cxn ang="0">
                  <a:pos x="84" y="40"/>
                </a:cxn>
                <a:cxn ang="0">
                  <a:pos x="94" y="48"/>
                </a:cxn>
                <a:cxn ang="0">
                  <a:pos x="90" y="52"/>
                </a:cxn>
                <a:cxn ang="0">
                  <a:pos x="106" y="52"/>
                </a:cxn>
                <a:cxn ang="0">
                  <a:pos x="124" y="52"/>
                </a:cxn>
                <a:cxn ang="0">
                  <a:pos x="132" y="50"/>
                </a:cxn>
                <a:cxn ang="0">
                  <a:pos x="132" y="46"/>
                </a:cxn>
                <a:cxn ang="0">
                  <a:pos x="120" y="44"/>
                </a:cxn>
                <a:cxn ang="0">
                  <a:pos x="114" y="42"/>
                </a:cxn>
                <a:cxn ang="0">
                  <a:pos x="104" y="34"/>
                </a:cxn>
                <a:cxn ang="0">
                  <a:pos x="98" y="28"/>
                </a:cxn>
                <a:cxn ang="0">
                  <a:pos x="94" y="28"/>
                </a:cxn>
                <a:cxn ang="0">
                  <a:pos x="92" y="22"/>
                </a:cxn>
                <a:cxn ang="0">
                  <a:pos x="88" y="22"/>
                </a:cxn>
                <a:cxn ang="0">
                  <a:pos x="84" y="18"/>
                </a:cxn>
                <a:cxn ang="0">
                  <a:pos x="76" y="16"/>
                </a:cxn>
                <a:cxn ang="0">
                  <a:pos x="68" y="12"/>
                </a:cxn>
                <a:cxn ang="0">
                  <a:pos x="64" y="4"/>
                </a:cxn>
                <a:cxn ang="0">
                  <a:pos x="40" y="2"/>
                </a:cxn>
                <a:cxn ang="0">
                  <a:pos x="38" y="4"/>
                </a:cxn>
                <a:cxn ang="0">
                  <a:pos x="36" y="0"/>
                </a:cxn>
                <a:cxn ang="0">
                  <a:pos x="22" y="0"/>
                </a:cxn>
              </a:cxnLst>
              <a:rect l="0" t="0" r="r" b="b"/>
              <a:pathLst>
                <a:path w="132" h="56">
                  <a:moveTo>
                    <a:pt x="22" y="16"/>
                  </a:moveTo>
                  <a:lnTo>
                    <a:pt x="22" y="16"/>
                  </a:lnTo>
                  <a:lnTo>
                    <a:pt x="22" y="22"/>
                  </a:lnTo>
                  <a:lnTo>
                    <a:pt x="24" y="20"/>
                  </a:lnTo>
                  <a:lnTo>
                    <a:pt x="24" y="22"/>
                  </a:lnTo>
                  <a:lnTo>
                    <a:pt x="24" y="24"/>
                  </a:lnTo>
                  <a:lnTo>
                    <a:pt x="20" y="28"/>
                  </a:lnTo>
                  <a:lnTo>
                    <a:pt x="18" y="28"/>
                  </a:lnTo>
                  <a:lnTo>
                    <a:pt x="20" y="28"/>
                  </a:lnTo>
                  <a:lnTo>
                    <a:pt x="22" y="28"/>
                  </a:lnTo>
                  <a:lnTo>
                    <a:pt x="28" y="24"/>
                  </a:lnTo>
                  <a:lnTo>
                    <a:pt x="28" y="18"/>
                  </a:lnTo>
                  <a:lnTo>
                    <a:pt x="22" y="16"/>
                  </a:lnTo>
                  <a:lnTo>
                    <a:pt x="22" y="16"/>
                  </a:lnTo>
                  <a:close/>
                  <a:moveTo>
                    <a:pt x="22" y="0"/>
                  </a:moveTo>
                  <a:lnTo>
                    <a:pt x="22" y="0"/>
                  </a:lnTo>
                  <a:lnTo>
                    <a:pt x="12" y="4"/>
                  </a:lnTo>
                  <a:lnTo>
                    <a:pt x="4" y="12"/>
                  </a:lnTo>
                  <a:lnTo>
                    <a:pt x="4" y="16"/>
                  </a:lnTo>
                  <a:lnTo>
                    <a:pt x="0" y="18"/>
                  </a:lnTo>
                  <a:lnTo>
                    <a:pt x="6" y="20"/>
                  </a:lnTo>
                  <a:lnTo>
                    <a:pt x="12" y="18"/>
                  </a:lnTo>
                  <a:lnTo>
                    <a:pt x="12" y="14"/>
                  </a:lnTo>
                  <a:lnTo>
                    <a:pt x="16" y="14"/>
                  </a:lnTo>
                  <a:lnTo>
                    <a:pt x="18" y="10"/>
                  </a:lnTo>
                  <a:lnTo>
                    <a:pt x="22" y="6"/>
                  </a:lnTo>
                  <a:lnTo>
                    <a:pt x="26" y="6"/>
                  </a:lnTo>
                  <a:lnTo>
                    <a:pt x="30" y="4"/>
                  </a:lnTo>
                  <a:lnTo>
                    <a:pt x="36" y="6"/>
                  </a:lnTo>
                  <a:lnTo>
                    <a:pt x="36" y="10"/>
                  </a:lnTo>
                  <a:lnTo>
                    <a:pt x="40" y="12"/>
                  </a:lnTo>
                  <a:lnTo>
                    <a:pt x="46" y="12"/>
                  </a:lnTo>
                  <a:lnTo>
                    <a:pt x="50" y="16"/>
                  </a:lnTo>
                  <a:lnTo>
                    <a:pt x="54" y="16"/>
                  </a:lnTo>
                  <a:lnTo>
                    <a:pt x="54" y="18"/>
                  </a:lnTo>
                  <a:lnTo>
                    <a:pt x="56" y="22"/>
                  </a:lnTo>
                  <a:lnTo>
                    <a:pt x="58" y="22"/>
                  </a:lnTo>
                  <a:lnTo>
                    <a:pt x="62" y="24"/>
                  </a:lnTo>
                  <a:lnTo>
                    <a:pt x="64" y="28"/>
                  </a:lnTo>
                  <a:lnTo>
                    <a:pt x="72" y="28"/>
                  </a:lnTo>
                  <a:lnTo>
                    <a:pt x="78" y="26"/>
                  </a:lnTo>
                  <a:lnTo>
                    <a:pt x="78" y="32"/>
                  </a:lnTo>
                  <a:lnTo>
                    <a:pt x="80" y="36"/>
                  </a:lnTo>
                  <a:lnTo>
                    <a:pt x="84" y="40"/>
                  </a:lnTo>
                  <a:lnTo>
                    <a:pt x="94" y="44"/>
                  </a:lnTo>
                  <a:lnTo>
                    <a:pt x="94" y="48"/>
                  </a:lnTo>
                  <a:lnTo>
                    <a:pt x="92" y="50"/>
                  </a:lnTo>
                  <a:lnTo>
                    <a:pt x="90" y="52"/>
                  </a:lnTo>
                  <a:lnTo>
                    <a:pt x="90" y="56"/>
                  </a:lnTo>
                  <a:lnTo>
                    <a:pt x="106" y="52"/>
                  </a:lnTo>
                  <a:lnTo>
                    <a:pt x="122" y="50"/>
                  </a:lnTo>
                  <a:lnTo>
                    <a:pt x="124" y="52"/>
                  </a:lnTo>
                  <a:lnTo>
                    <a:pt x="126" y="52"/>
                  </a:lnTo>
                  <a:lnTo>
                    <a:pt x="132" y="50"/>
                  </a:lnTo>
                  <a:lnTo>
                    <a:pt x="132" y="48"/>
                  </a:lnTo>
                  <a:lnTo>
                    <a:pt x="132" y="46"/>
                  </a:lnTo>
                  <a:lnTo>
                    <a:pt x="126" y="42"/>
                  </a:lnTo>
                  <a:lnTo>
                    <a:pt x="120" y="44"/>
                  </a:lnTo>
                  <a:lnTo>
                    <a:pt x="116" y="44"/>
                  </a:lnTo>
                  <a:lnTo>
                    <a:pt x="114" y="42"/>
                  </a:lnTo>
                  <a:lnTo>
                    <a:pt x="116" y="34"/>
                  </a:lnTo>
                  <a:lnTo>
                    <a:pt x="104" y="34"/>
                  </a:lnTo>
                  <a:lnTo>
                    <a:pt x="102" y="32"/>
                  </a:lnTo>
                  <a:lnTo>
                    <a:pt x="98" y="28"/>
                  </a:lnTo>
                  <a:lnTo>
                    <a:pt x="96" y="28"/>
                  </a:lnTo>
                  <a:lnTo>
                    <a:pt x="94" y="28"/>
                  </a:lnTo>
                  <a:lnTo>
                    <a:pt x="94" y="24"/>
                  </a:lnTo>
                  <a:lnTo>
                    <a:pt x="92" y="22"/>
                  </a:lnTo>
                  <a:lnTo>
                    <a:pt x="90" y="20"/>
                  </a:lnTo>
                  <a:lnTo>
                    <a:pt x="88" y="22"/>
                  </a:lnTo>
                  <a:lnTo>
                    <a:pt x="88" y="18"/>
                  </a:lnTo>
                  <a:lnTo>
                    <a:pt x="84" y="18"/>
                  </a:lnTo>
                  <a:lnTo>
                    <a:pt x="82" y="16"/>
                  </a:lnTo>
                  <a:lnTo>
                    <a:pt x="76" y="16"/>
                  </a:lnTo>
                  <a:lnTo>
                    <a:pt x="70" y="14"/>
                  </a:lnTo>
                  <a:lnTo>
                    <a:pt x="68" y="12"/>
                  </a:lnTo>
                  <a:lnTo>
                    <a:pt x="66" y="10"/>
                  </a:lnTo>
                  <a:lnTo>
                    <a:pt x="64" y="4"/>
                  </a:lnTo>
                  <a:lnTo>
                    <a:pt x="52" y="4"/>
                  </a:lnTo>
                  <a:lnTo>
                    <a:pt x="40" y="2"/>
                  </a:lnTo>
                  <a:lnTo>
                    <a:pt x="40" y="4"/>
                  </a:lnTo>
                  <a:lnTo>
                    <a:pt x="38" y="4"/>
                  </a:lnTo>
                  <a:lnTo>
                    <a:pt x="36" y="4"/>
                  </a:lnTo>
                  <a:lnTo>
                    <a:pt x="36" y="0"/>
                  </a:lnTo>
                  <a:lnTo>
                    <a:pt x="30" y="0"/>
                  </a:lnTo>
                  <a:lnTo>
                    <a:pt x="22" y="0"/>
                  </a:lnTo>
                  <a:lnTo>
                    <a:pt x="2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1" name="Freeform 374">
              <a:extLst>
                <a:ext uri="{FF2B5EF4-FFF2-40B4-BE49-F238E27FC236}">
                  <a16:creationId xmlns:a16="http://schemas.microsoft.com/office/drawing/2014/main" id="{47D774B3-F008-4051-99D6-801B51D6B961}"/>
                </a:ext>
              </a:extLst>
            </p:cNvPr>
            <p:cNvSpPr>
              <a:spLocks/>
            </p:cNvSpPr>
            <p:nvPr/>
          </p:nvSpPr>
          <p:spPr bwMode="auto">
            <a:xfrm>
              <a:off x="1643514" y="4280967"/>
              <a:ext cx="12948" cy="15538"/>
            </a:xfrm>
            <a:custGeom>
              <a:avLst/>
              <a:gdLst/>
              <a:ahLst/>
              <a:cxnLst>
                <a:cxn ang="0">
                  <a:pos x="4" y="0"/>
                </a:cxn>
                <a:cxn ang="0">
                  <a:pos x="4" y="0"/>
                </a:cxn>
                <a:cxn ang="0">
                  <a:pos x="4" y="6"/>
                </a:cxn>
                <a:cxn ang="0">
                  <a:pos x="6" y="4"/>
                </a:cxn>
                <a:cxn ang="0">
                  <a:pos x="6" y="6"/>
                </a:cxn>
                <a:cxn ang="0">
                  <a:pos x="6" y="8"/>
                </a:cxn>
                <a:cxn ang="0">
                  <a:pos x="2" y="12"/>
                </a:cxn>
                <a:cxn ang="0">
                  <a:pos x="0" y="12"/>
                </a:cxn>
                <a:cxn ang="0">
                  <a:pos x="2" y="12"/>
                </a:cxn>
                <a:cxn ang="0">
                  <a:pos x="4" y="12"/>
                </a:cxn>
                <a:cxn ang="0">
                  <a:pos x="10" y="8"/>
                </a:cxn>
                <a:cxn ang="0">
                  <a:pos x="10" y="2"/>
                </a:cxn>
                <a:cxn ang="0">
                  <a:pos x="4" y="0"/>
                </a:cxn>
                <a:cxn ang="0">
                  <a:pos x="4" y="0"/>
                </a:cxn>
              </a:cxnLst>
              <a:rect l="0" t="0" r="r" b="b"/>
              <a:pathLst>
                <a:path w="10" h="12">
                  <a:moveTo>
                    <a:pt x="4" y="0"/>
                  </a:moveTo>
                  <a:lnTo>
                    <a:pt x="4" y="0"/>
                  </a:lnTo>
                  <a:lnTo>
                    <a:pt x="4" y="6"/>
                  </a:lnTo>
                  <a:lnTo>
                    <a:pt x="6" y="4"/>
                  </a:lnTo>
                  <a:lnTo>
                    <a:pt x="6" y="6"/>
                  </a:lnTo>
                  <a:lnTo>
                    <a:pt x="6" y="8"/>
                  </a:lnTo>
                  <a:lnTo>
                    <a:pt x="2" y="12"/>
                  </a:lnTo>
                  <a:lnTo>
                    <a:pt x="0" y="12"/>
                  </a:lnTo>
                  <a:lnTo>
                    <a:pt x="2" y="12"/>
                  </a:lnTo>
                  <a:lnTo>
                    <a:pt x="4" y="12"/>
                  </a:lnTo>
                  <a:lnTo>
                    <a:pt x="10" y="8"/>
                  </a:lnTo>
                  <a:lnTo>
                    <a:pt x="10" y="2"/>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2" name="Freeform 375">
              <a:extLst>
                <a:ext uri="{FF2B5EF4-FFF2-40B4-BE49-F238E27FC236}">
                  <a16:creationId xmlns:a16="http://schemas.microsoft.com/office/drawing/2014/main" id="{D07B3FE7-A771-43FE-A0A2-75FF9A39BC59}"/>
                </a:ext>
              </a:extLst>
            </p:cNvPr>
            <p:cNvSpPr>
              <a:spLocks/>
            </p:cNvSpPr>
            <p:nvPr/>
          </p:nvSpPr>
          <p:spPr bwMode="auto">
            <a:xfrm>
              <a:off x="3262020" y="3729380"/>
              <a:ext cx="100995" cy="108764"/>
            </a:xfrm>
            <a:custGeom>
              <a:avLst/>
              <a:gdLst/>
              <a:ahLst/>
              <a:cxnLst>
                <a:cxn ang="0">
                  <a:pos x="68" y="84"/>
                </a:cxn>
                <a:cxn ang="0">
                  <a:pos x="60" y="76"/>
                </a:cxn>
                <a:cxn ang="0">
                  <a:pos x="54" y="72"/>
                </a:cxn>
                <a:cxn ang="0">
                  <a:pos x="44" y="62"/>
                </a:cxn>
                <a:cxn ang="0">
                  <a:pos x="36" y="52"/>
                </a:cxn>
                <a:cxn ang="0">
                  <a:pos x="38" y="50"/>
                </a:cxn>
                <a:cxn ang="0">
                  <a:pos x="30" y="38"/>
                </a:cxn>
                <a:cxn ang="0">
                  <a:pos x="30" y="32"/>
                </a:cxn>
                <a:cxn ang="0">
                  <a:pos x="34" y="32"/>
                </a:cxn>
                <a:cxn ang="0">
                  <a:pos x="38" y="36"/>
                </a:cxn>
                <a:cxn ang="0">
                  <a:pos x="40" y="34"/>
                </a:cxn>
                <a:cxn ang="0">
                  <a:pos x="46" y="38"/>
                </a:cxn>
                <a:cxn ang="0">
                  <a:pos x="50" y="36"/>
                </a:cxn>
                <a:cxn ang="0">
                  <a:pos x="58" y="36"/>
                </a:cxn>
                <a:cxn ang="0">
                  <a:pos x="66" y="40"/>
                </a:cxn>
                <a:cxn ang="0">
                  <a:pos x="72" y="42"/>
                </a:cxn>
                <a:cxn ang="0">
                  <a:pos x="78" y="40"/>
                </a:cxn>
                <a:cxn ang="0">
                  <a:pos x="76" y="34"/>
                </a:cxn>
                <a:cxn ang="0">
                  <a:pos x="76" y="30"/>
                </a:cxn>
                <a:cxn ang="0">
                  <a:pos x="76" y="28"/>
                </a:cxn>
                <a:cxn ang="0">
                  <a:pos x="72" y="28"/>
                </a:cxn>
                <a:cxn ang="0">
                  <a:pos x="64" y="24"/>
                </a:cxn>
                <a:cxn ang="0">
                  <a:pos x="52" y="14"/>
                </a:cxn>
                <a:cxn ang="0">
                  <a:pos x="46" y="4"/>
                </a:cxn>
                <a:cxn ang="0">
                  <a:pos x="40" y="0"/>
                </a:cxn>
                <a:cxn ang="0">
                  <a:pos x="36" y="2"/>
                </a:cxn>
                <a:cxn ang="0">
                  <a:pos x="30" y="6"/>
                </a:cxn>
                <a:cxn ang="0">
                  <a:pos x="26" y="8"/>
                </a:cxn>
                <a:cxn ang="0">
                  <a:pos x="22" y="20"/>
                </a:cxn>
                <a:cxn ang="0">
                  <a:pos x="20" y="20"/>
                </a:cxn>
                <a:cxn ang="0">
                  <a:pos x="18" y="16"/>
                </a:cxn>
                <a:cxn ang="0">
                  <a:pos x="18" y="22"/>
                </a:cxn>
                <a:cxn ang="0">
                  <a:pos x="12" y="28"/>
                </a:cxn>
                <a:cxn ang="0">
                  <a:pos x="0" y="32"/>
                </a:cxn>
                <a:cxn ang="0">
                  <a:pos x="2" y="44"/>
                </a:cxn>
                <a:cxn ang="0">
                  <a:pos x="6" y="40"/>
                </a:cxn>
                <a:cxn ang="0">
                  <a:pos x="10" y="38"/>
                </a:cxn>
                <a:cxn ang="0">
                  <a:pos x="16" y="32"/>
                </a:cxn>
                <a:cxn ang="0">
                  <a:pos x="16" y="44"/>
                </a:cxn>
                <a:cxn ang="0">
                  <a:pos x="24" y="52"/>
                </a:cxn>
                <a:cxn ang="0">
                  <a:pos x="20" y="54"/>
                </a:cxn>
                <a:cxn ang="0">
                  <a:pos x="26" y="62"/>
                </a:cxn>
                <a:cxn ang="0">
                  <a:pos x="32" y="64"/>
                </a:cxn>
                <a:cxn ang="0">
                  <a:pos x="36" y="66"/>
                </a:cxn>
                <a:cxn ang="0">
                  <a:pos x="52" y="76"/>
                </a:cxn>
                <a:cxn ang="0">
                  <a:pos x="58" y="76"/>
                </a:cxn>
                <a:cxn ang="0">
                  <a:pos x="64" y="84"/>
                </a:cxn>
                <a:cxn ang="0">
                  <a:pos x="68" y="84"/>
                </a:cxn>
              </a:cxnLst>
              <a:rect l="0" t="0" r="r" b="b"/>
              <a:pathLst>
                <a:path w="78" h="84">
                  <a:moveTo>
                    <a:pt x="68" y="84"/>
                  </a:moveTo>
                  <a:lnTo>
                    <a:pt x="68" y="84"/>
                  </a:lnTo>
                  <a:lnTo>
                    <a:pt x="64" y="80"/>
                  </a:lnTo>
                  <a:lnTo>
                    <a:pt x="60" y="76"/>
                  </a:lnTo>
                  <a:lnTo>
                    <a:pt x="58" y="74"/>
                  </a:lnTo>
                  <a:lnTo>
                    <a:pt x="54" y="72"/>
                  </a:lnTo>
                  <a:lnTo>
                    <a:pt x="50" y="68"/>
                  </a:lnTo>
                  <a:lnTo>
                    <a:pt x="44" y="62"/>
                  </a:lnTo>
                  <a:lnTo>
                    <a:pt x="38" y="54"/>
                  </a:lnTo>
                  <a:lnTo>
                    <a:pt x="36" y="52"/>
                  </a:lnTo>
                  <a:lnTo>
                    <a:pt x="38" y="52"/>
                  </a:lnTo>
                  <a:lnTo>
                    <a:pt x="38" y="50"/>
                  </a:lnTo>
                  <a:lnTo>
                    <a:pt x="34" y="42"/>
                  </a:lnTo>
                  <a:lnTo>
                    <a:pt x="30" y="38"/>
                  </a:lnTo>
                  <a:lnTo>
                    <a:pt x="30" y="34"/>
                  </a:lnTo>
                  <a:lnTo>
                    <a:pt x="30" y="32"/>
                  </a:lnTo>
                  <a:lnTo>
                    <a:pt x="32" y="32"/>
                  </a:lnTo>
                  <a:lnTo>
                    <a:pt x="34" y="32"/>
                  </a:lnTo>
                  <a:lnTo>
                    <a:pt x="36" y="36"/>
                  </a:lnTo>
                  <a:lnTo>
                    <a:pt x="38" y="36"/>
                  </a:lnTo>
                  <a:lnTo>
                    <a:pt x="40" y="36"/>
                  </a:lnTo>
                  <a:lnTo>
                    <a:pt x="40" y="34"/>
                  </a:lnTo>
                  <a:lnTo>
                    <a:pt x="42" y="36"/>
                  </a:lnTo>
                  <a:lnTo>
                    <a:pt x="46" y="38"/>
                  </a:lnTo>
                  <a:lnTo>
                    <a:pt x="48" y="38"/>
                  </a:lnTo>
                  <a:lnTo>
                    <a:pt x="50" y="36"/>
                  </a:lnTo>
                  <a:lnTo>
                    <a:pt x="54" y="36"/>
                  </a:lnTo>
                  <a:lnTo>
                    <a:pt x="58" y="36"/>
                  </a:lnTo>
                  <a:lnTo>
                    <a:pt x="64" y="38"/>
                  </a:lnTo>
                  <a:lnTo>
                    <a:pt x="66" y="40"/>
                  </a:lnTo>
                  <a:lnTo>
                    <a:pt x="68" y="42"/>
                  </a:lnTo>
                  <a:lnTo>
                    <a:pt x="72" y="42"/>
                  </a:lnTo>
                  <a:lnTo>
                    <a:pt x="76" y="42"/>
                  </a:lnTo>
                  <a:lnTo>
                    <a:pt x="78" y="40"/>
                  </a:lnTo>
                  <a:lnTo>
                    <a:pt x="78" y="38"/>
                  </a:lnTo>
                  <a:lnTo>
                    <a:pt x="76" y="34"/>
                  </a:lnTo>
                  <a:lnTo>
                    <a:pt x="76" y="32"/>
                  </a:lnTo>
                  <a:lnTo>
                    <a:pt x="76" y="30"/>
                  </a:lnTo>
                  <a:lnTo>
                    <a:pt x="78" y="28"/>
                  </a:lnTo>
                  <a:lnTo>
                    <a:pt x="76" y="28"/>
                  </a:lnTo>
                  <a:lnTo>
                    <a:pt x="74" y="28"/>
                  </a:lnTo>
                  <a:lnTo>
                    <a:pt x="72" y="28"/>
                  </a:lnTo>
                  <a:lnTo>
                    <a:pt x="68" y="26"/>
                  </a:lnTo>
                  <a:lnTo>
                    <a:pt x="64" y="24"/>
                  </a:lnTo>
                  <a:lnTo>
                    <a:pt x="58" y="20"/>
                  </a:lnTo>
                  <a:lnTo>
                    <a:pt x="52" y="14"/>
                  </a:lnTo>
                  <a:lnTo>
                    <a:pt x="48" y="8"/>
                  </a:lnTo>
                  <a:lnTo>
                    <a:pt x="46" y="4"/>
                  </a:lnTo>
                  <a:lnTo>
                    <a:pt x="44" y="2"/>
                  </a:lnTo>
                  <a:lnTo>
                    <a:pt x="40" y="0"/>
                  </a:lnTo>
                  <a:lnTo>
                    <a:pt x="38" y="2"/>
                  </a:lnTo>
                  <a:lnTo>
                    <a:pt x="36" y="2"/>
                  </a:lnTo>
                  <a:lnTo>
                    <a:pt x="34" y="6"/>
                  </a:lnTo>
                  <a:lnTo>
                    <a:pt x="30" y="6"/>
                  </a:lnTo>
                  <a:lnTo>
                    <a:pt x="28" y="6"/>
                  </a:lnTo>
                  <a:lnTo>
                    <a:pt x="26" y="8"/>
                  </a:lnTo>
                  <a:lnTo>
                    <a:pt x="24" y="16"/>
                  </a:lnTo>
                  <a:lnTo>
                    <a:pt x="22" y="20"/>
                  </a:lnTo>
                  <a:lnTo>
                    <a:pt x="20" y="20"/>
                  </a:lnTo>
                  <a:lnTo>
                    <a:pt x="20" y="20"/>
                  </a:lnTo>
                  <a:lnTo>
                    <a:pt x="18" y="18"/>
                  </a:lnTo>
                  <a:lnTo>
                    <a:pt x="18" y="16"/>
                  </a:lnTo>
                  <a:lnTo>
                    <a:pt x="16" y="18"/>
                  </a:lnTo>
                  <a:lnTo>
                    <a:pt x="18" y="22"/>
                  </a:lnTo>
                  <a:lnTo>
                    <a:pt x="16" y="26"/>
                  </a:lnTo>
                  <a:lnTo>
                    <a:pt x="12" y="28"/>
                  </a:lnTo>
                  <a:lnTo>
                    <a:pt x="8" y="30"/>
                  </a:lnTo>
                  <a:lnTo>
                    <a:pt x="0" y="32"/>
                  </a:lnTo>
                  <a:lnTo>
                    <a:pt x="2" y="38"/>
                  </a:lnTo>
                  <a:lnTo>
                    <a:pt x="2" y="44"/>
                  </a:lnTo>
                  <a:lnTo>
                    <a:pt x="6" y="42"/>
                  </a:lnTo>
                  <a:lnTo>
                    <a:pt x="6" y="40"/>
                  </a:lnTo>
                  <a:lnTo>
                    <a:pt x="8" y="38"/>
                  </a:lnTo>
                  <a:lnTo>
                    <a:pt x="10" y="38"/>
                  </a:lnTo>
                  <a:lnTo>
                    <a:pt x="14" y="28"/>
                  </a:lnTo>
                  <a:lnTo>
                    <a:pt x="16" y="32"/>
                  </a:lnTo>
                  <a:lnTo>
                    <a:pt x="18" y="36"/>
                  </a:lnTo>
                  <a:lnTo>
                    <a:pt x="16" y="44"/>
                  </a:lnTo>
                  <a:lnTo>
                    <a:pt x="22" y="50"/>
                  </a:lnTo>
                  <a:lnTo>
                    <a:pt x="24" y="52"/>
                  </a:lnTo>
                  <a:lnTo>
                    <a:pt x="22" y="54"/>
                  </a:lnTo>
                  <a:lnTo>
                    <a:pt x="20" y="54"/>
                  </a:lnTo>
                  <a:lnTo>
                    <a:pt x="20" y="58"/>
                  </a:lnTo>
                  <a:lnTo>
                    <a:pt x="26" y="62"/>
                  </a:lnTo>
                  <a:lnTo>
                    <a:pt x="30" y="62"/>
                  </a:lnTo>
                  <a:lnTo>
                    <a:pt x="32" y="64"/>
                  </a:lnTo>
                  <a:lnTo>
                    <a:pt x="32" y="66"/>
                  </a:lnTo>
                  <a:lnTo>
                    <a:pt x="36" y="66"/>
                  </a:lnTo>
                  <a:lnTo>
                    <a:pt x="40" y="64"/>
                  </a:lnTo>
                  <a:lnTo>
                    <a:pt x="52" y="76"/>
                  </a:lnTo>
                  <a:lnTo>
                    <a:pt x="56" y="76"/>
                  </a:lnTo>
                  <a:lnTo>
                    <a:pt x="58" y="76"/>
                  </a:lnTo>
                  <a:lnTo>
                    <a:pt x="60" y="80"/>
                  </a:lnTo>
                  <a:lnTo>
                    <a:pt x="64" y="84"/>
                  </a:lnTo>
                  <a:lnTo>
                    <a:pt x="68" y="84"/>
                  </a:lnTo>
                  <a:lnTo>
                    <a:pt x="68" y="8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3" name="Freeform 376">
              <a:extLst>
                <a:ext uri="{FF2B5EF4-FFF2-40B4-BE49-F238E27FC236}">
                  <a16:creationId xmlns:a16="http://schemas.microsoft.com/office/drawing/2014/main" id="{A62BFD19-E1DC-4C26-B8C9-57583D4BADEE}"/>
                </a:ext>
              </a:extLst>
            </p:cNvPr>
            <p:cNvSpPr>
              <a:spLocks/>
            </p:cNvSpPr>
            <p:nvPr/>
          </p:nvSpPr>
          <p:spPr bwMode="auto">
            <a:xfrm>
              <a:off x="3220587" y="4671998"/>
              <a:ext cx="126891" cy="173504"/>
            </a:xfrm>
            <a:custGeom>
              <a:avLst/>
              <a:gdLst/>
              <a:ahLst/>
              <a:cxnLst>
                <a:cxn ang="0">
                  <a:pos x="12" y="132"/>
                </a:cxn>
                <a:cxn ang="0">
                  <a:pos x="18" y="130"/>
                </a:cxn>
                <a:cxn ang="0">
                  <a:pos x="24" y="128"/>
                </a:cxn>
                <a:cxn ang="0">
                  <a:pos x="30" y="130"/>
                </a:cxn>
                <a:cxn ang="0">
                  <a:pos x="38" y="130"/>
                </a:cxn>
                <a:cxn ang="0">
                  <a:pos x="40" y="122"/>
                </a:cxn>
                <a:cxn ang="0">
                  <a:pos x="48" y="122"/>
                </a:cxn>
                <a:cxn ang="0">
                  <a:pos x="54" y="134"/>
                </a:cxn>
                <a:cxn ang="0">
                  <a:pos x="68" y="122"/>
                </a:cxn>
                <a:cxn ang="0">
                  <a:pos x="74" y="106"/>
                </a:cxn>
                <a:cxn ang="0">
                  <a:pos x="76" y="92"/>
                </a:cxn>
                <a:cxn ang="0">
                  <a:pos x="82" y="78"/>
                </a:cxn>
                <a:cxn ang="0">
                  <a:pos x="84" y="66"/>
                </a:cxn>
                <a:cxn ang="0">
                  <a:pos x="90" y="46"/>
                </a:cxn>
                <a:cxn ang="0">
                  <a:pos x="90" y="28"/>
                </a:cxn>
                <a:cxn ang="0">
                  <a:pos x="96" y="16"/>
                </a:cxn>
                <a:cxn ang="0">
                  <a:pos x="88" y="4"/>
                </a:cxn>
                <a:cxn ang="0">
                  <a:pos x="78" y="4"/>
                </a:cxn>
                <a:cxn ang="0">
                  <a:pos x="74" y="12"/>
                </a:cxn>
                <a:cxn ang="0">
                  <a:pos x="68" y="20"/>
                </a:cxn>
                <a:cxn ang="0">
                  <a:pos x="56" y="24"/>
                </a:cxn>
                <a:cxn ang="0">
                  <a:pos x="48" y="20"/>
                </a:cxn>
                <a:cxn ang="0">
                  <a:pos x="32" y="28"/>
                </a:cxn>
                <a:cxn ang="0">
                  <a:pos x="34" y="34"/>
                </a:cxn>
                <a:cxn ang="0">
                  <a:pos x="48" y="34"/>
                </a:cxn>
                <a:cxn ang="0">
                  <a:pos x="42" y="44"/>
                </a:cxn>
                <a:cxn ang="0">
                  <a:pos x="38" y="56"/>
                </a:cxn>
                <a:cxn ang="0">
                  <a:pos x="40" y="60"/>
                </a:cxn>
                <a:cxn ang="0">
                  <a:pos x="42" y="72"/>
                </a:cxn>
                <a:cxn ang="0">
                  <a:pos x="44" y="80"/>
                </a:cxn>
                <a:cxn ang="0">
                  <a:pos x="46" y="86"/>
                </a:cxn>
                <a:cxn ang="0">
                  <a:pos x="44" y="100"/>
                </a:cxn>
                <a:cxn ang="0">
                  <a:pos x="38" y="92"/>
                </a:cxn>
                <a:cxn ang="0">
                  <a:pos x="26" y="94"/>
                </a:cxn>
                <a:cxn ang="0">
                  <a:pos x="20" y="90"/>
                </a:cxn>
                <a:cxn ang="0">
                  <a:pos x="14" y="94"/>
                </a:cxn>
                <a:cxn ang="0">
                  <a:pos x="14" y="100"/>
                </a:cxn>
                <a:cxn ang="0">
                  <a:pos x="12" y="106"/>
                </a:cxn>
                <a:cxn ang="0">
                  <a:pos x="14" y="118"/>
                </a:cxn>
                <a:cxn ang="0">
                  <a:pos x="4" y="114"/>
                </a:cxn>
                <a:cxn ang="0">
                  <a:pos x="0" y="124"/>
                </a:cxn>
                <a:cxn ang="0">
                  <a:pos x="6" y="130"/>
                </a:cxn>
                <a:cxn ang="0">
                  <a:pos x="12" y="134"/>
                </a:cxn>
              </a:cxnLst>
              <a:rect l="0" t="0" r="r" b="b"/>
              <a:pathLst>
                <a:path w="98" h="134">
                  <a:moveTo>
                    <a:pt x="12" y="134"/>
                  </a:moveTo>
                  <a:lnTo>
                    <a:pt x="12" y="134"/>
                  </a:lnTo>
                  <a:lnTo>
                    <a:pt x="12" y="132"/>
                  </a:lnTo>
                  <a:lnTo>
                    <a:pt x="16" y="132"/>
                  </a:lnTo>
                  <a:lnTo>
                    <a:pt x="20" y="132"/>
                  </a:lnTo>
                  <a:lnTo>
                    <a:pt x="18" y="130"/>
                  </a:lnTo>
                  <a:lnTo>
                    <a:pt x="20" y="128"/>
                  </a:lnTo>
                  <a:lnTo>
                    <a:pt x="22" y="128"/>
                  </a:lnTo>
                  <a:lnTo>
                    <a:pt x="24" y="128"/>
                  </a:lnTo>
                  <a:lnTo>
                    <a:pt x="26" y="130"/>
                  </a:lnTo>
                  <a:lnTo>
                    <a:pt x="28" y="130"/>
                  </a:lnTo>
                  <a:lnTo>
                    <a:pt x="30" y="130"/>
                  </a:lnTo>
                  <a:lnTo>
                    <a:pt x="32" y="128"/>
                  </a:lnTo>
                  <a:lnTo>
                    <a:pt x="34" y="128"/>
                  </a:lnTo>
                  <a:lnTo>
                    <a:pt x="38" y="130"/>
                  </a:lnTo>
                  <a:lnTo>
                    <a:pt x="40" y="128"/>
                  </a:lnTo>
                  <a:lnTo>
                    <a:pt x="40" y="126"/>
                  </a:lnTo>
                  <a:lnTo>
                    <a:pt x="40" y="122"/>
                  </a:lnTo>
                  <a:lnTo>
                    <a:pt x="44" y="124"/>
                  </a:lnTo>
                  <a:lnTo>
                    <a:pt x="48" y="124"/>
                  </a:lnTo>
                  <a:lnTo>
                    <a:pt x="48" y="122"/>
                  </a:lnTo>
                  <a:lnTo>
                    <a:pt x="48" y="132"/>
                  </a:lnTo>
                  <a:lnTo>
                    <a:pt x="50" y="134"/>
                  </a:lnTo>
                  <a:lnTo>
                    <a:pt x="54" y="134"/>
                  </a:lnTo>
                  <a:lnTo>
                    <a:pt x="62" y="132"/>
                  </a:lnTo>
                  <a:lnTo>
                    <a:pt x="68" y="126"/>
                  </a:lnTo>
                  <a:lnTo>
                    <a:pt x="68" y="122"/>
                  </a:lnTo>
                  <a:lnTo>
                    <a:pt x="72" y="116"/>
                  </a:lnTo>
                  <a:lnTo>
                    <a:pt x="72" y="110"/>
                  </a:lnTo>
                  <a:lnTo>
                    <a:pt x="74" y="106"/>
                  </a:lnTo>
                  <a:lnTo>
                    <a:pt x="74" y="102"/>
                  </a:lnTo>
                  <a:lnTo>
                    <a:pt x="74" y="96"/>
                  </a:lnTo>
                  <a:lnTo>
                    <a:pt x="76" y="92"/>
                  </a:lnTo>
                  <a:lnTo>
                    <a:pt x="78" y="86"/>
                  </a:lnTo>
                  <a:lnTo>
                    <a:pt x="78" y="80"/>
                  </a:lnTo>
                  <a:lnTo>
                    <a:pt x="82" y="78"/>
                  </a:lnTo>
                  <a:lnTo>
                    <a:pt x="82" y="78"/>
                  </a:lnTo>
                  <a:lnTo>
                    <a:pt x="84" y="72"/>
                  </a:lnTo>
                  <a:lnTo>
                    <a:pt x="84" y="66"/>
                  </a:lnTo>
                  <a:lnTo>
                    <a:pt x="88" y="60"/>
                  </a:lnTo>
                  <a:lnTo>
                    <a:pt x="90" y="54"/>
                  </a:lnTo>
                  <a:lnTo>
                    <a:pt x="90" y="46"/>
                  </a:lnTo>
                  <a:lnTo>
                    <a:pt x="90" y="40"/>
                  </a:lnTo>
                  <a:lnTo>
                    <a:pt x="90" y="34"/>
                  </a:lnTo>
                  <a:lnTo>
                    <a:pt x="90" y="28"/>
                  </a:lnTo>
                  <a:lnTo>
                    <a:pt x="92" y="24"/>
                  </a:lnTo>
                  <a:lnTo>
                    <a:pt x="92" y="20"/>
                  </a:lnTo>
                  <a:lnTo>
                    <a:pt x="96" y="16"/>
                  </a:lnTo>
                  <a:lnTo>
                    <a:pt x="98" y="10"/>
                  </a:lnTo>
                  <a:lnTo>
                    <a:pt x="98" y="0"/>
                  </a:lnTo>
                  <a:lnTo>
                    <a:pt x="88" y="4"/>
                  </a:lnTo>
                  <a:lnTo>
                    <a:pt x="86" y="4"/>
                  </a:lnTo>
                  <a:lnTo>
                    <a:pt x="82" y="2"/>
                  </a:lnTo>
                  <a:lnTo>
                    <a:pt x="78" y="4"/>
                  </a:lnTo>
                  <a:lnTo>
                    <a:pt x="78" y="8"/>
                  </a:lnTo>
                  <a:lnTo>
                    <a:pt x="76" y="10"/>
                  </a:lnTo>
                  <a:lnTo>
                    <a:pt x="74" y="12"/>
                  </a:lnTo>
                  <a:lnTo>
                    <a:pt x="72" y="12"/>
                  </a:lnTo>
                  <a:lnTo>
                    <a:pt x="70" y="14"/>
                  </a:lnTo>
                  <a:lnTo>
                    <a:pt x="68" y="20"/>
                  </a:lnTo>
                  <a:lnTo>
                    <a:pt x="70" y="26"/>
                  </a:lnTo>
                  <a:lnTo>
                    <a:pt x="64" y="24"/>
                  </a:lnTo>
                  <a:lnTo>
                    <a:pt x="56" y="24"/>
                  </a:lnTo>
                  <a:lnTo>
                    <a:pt x="52" y="24"/>
                  </a:lnTo>
                  <a:lnTo>
                    <a:pt x="50" y="22"/>
                  </a:lnTo>
                  <a:lnTo>
                    <a:pt x="48" y="20"/>
                  </a:lnTo>
                  <a:lnTo>
                    <a:pt x="42" y="20"/>
                  </a:lnTo>
                  <a:lnTo>
                    <a:pt x="32" y="20"/>
                  </a:lnTo>
                  <a:lnTo>
                    <a:pt x="32" y="28"/>
                  </a:lnTo>
                  <a:lnTo>
                    <a:pt x="32" y="32"/>
                  </a:lnTo>
                  <a:lnTo>
                    <a:pt x="32" y="34"/>
                  </a:lnTo>
                  <a:lnTo>
                    <a:pt x="34" y="34"/>
                  </a:lnTo>
                  <a:lnTo>
                    <a:pt x="38" y="32"/>
                  </a:lnTo>
                  <a:lnTo>
                    <a:pt x="42" y="32"/>
                  </a:lnTo>
                  <a:lnTo>
                    <a:pt x="48" y="34"/>
                  </a:lnTo>
                  <a:lnTo>
                    <a:pt x="48" y="44"/>
                  </a:lnTo>
                  <a:lnTo>
                    <a:pt x="46" y="44"/>
                  </a:lnTo>
                  <a:lnTo>
                    <a:pt x="42" y="44"/>
                  </a:lnTo>
                  <a:lnTo>
                    <a:pt x="38" y="46"/>
                  </a:lnTo>
                  <a:lnTo>
                    <a:pt x="36" y="50"/>
                  </a:lnTo>
                  <a:lnTo>
                    <a:pt x="38" y="56"/>
                  </a:lnTo>
                  <a:lnTo>
                    <a:pt x="36" y="56"/>
                  </a:lnTo>
                  <a:lnTo>
                    <a:pt x="36" y="58"/>
                  </a:lnTo>
                  <a:lnTo>
                    <a:pt x="40" y="60"/>
                  </a:lnTo>
                  <a:lnTo>
                    <a:pt x="42" y="64"/>
                  </a:lnTo>
                  <a:lnTo>
                    <a:pt x="42" y="68"/>
                  </a:lnTo>
                  <a:lnTo>
                    <a:pt x="42" y="72"/>
                  </a:lnTo>
                  <a:lnTo>
                    <a:pt x="42" y="76"/>
                  </a:lnTo>
                  <a:lnTo>
                    <a:pt x="44" y="78"/>
                  </a:lnTo>
                  <a:lnTo>
                    <a:pt x="44" y="80"/>
                  </a:lnTo>
                  <a:lnTo>
                    <a:pt x="42" y="82"/>
                  </a:lnTo>
                  <a:lnTo>
                    <a:pt x="42" y="84"/>
                  </a:lnTo>
                  <a:lnTo>
                    <a:pt x="46" y="86"/>
                  </a:lnTo>
                  <a:lnTo>
                    <a:pt x="46" y="92"/>
                  </a:lnTo>
                  <a:lnTo>
                    <a:pt x="44" y="98"/>
                  </a:lnTo>
                  <a:lnTo>
                    <a:pt x="44" y="100"/>
                  </a:lnTo>
                  <a:lnTo>
                    <a:pt x="42" y="98"/>
                  </a:lnTo>
                  <a:lnTo>
                    <a:pt x="38" y="94"/>
                  </a:lnTo>
                  <a:lnTo>
                    <a:pt x="38" y="92"/>
                  </a:lnTo>
                  <a:lnTo>
                    <a:pt x="36" y="92"/>
                  </a:lnTo>
                  <a:lnTo>
                    <a:pt x="30" y="92"/>
                  </a:lnTo>
                  <a:lnTo>
                    <a:pt x="26" y="94"/>
                  </a:lnTo>
                  <a:lnTo>
                    <a:pt x="26" y="92"/>
                  </a:lnTo>
                  <a:lnTo>
                    <a:pt x="22" y="90"/>
                  </a:lnTo>
                  <a:lnTo>
                    <a:pt x="20" y="90"/>
                  </a:lnTo>
                  <a:lnTo>
                    <a:pt x="22" y="94"/>
                  </a:lnTo>
                  <a:lnTo>
                    <a:pt x="20" y="94"/>
                  </a:lnTo>
                  <a:lnTo>
                    <a:pt x="14" y="94"/>
                  </a:lnTo>
                  <a:lnTo>
                    <a:pt x="12" y="94"/>
                  </a:lnTo>
                  <a:lnTo>
                    <a:pt x="12" y="98"/>
                  </a:lnTo>
                  <a:lnTo>
                    <a:pt x="14" y="100"/>
                  </a:lnTo>
                  <a:lnTo>
                    <a:pt x="12" y="102"/>
                  </a:lnTo>
                  <a:lnTo>
                    <a:pt x="12" y="104"/>
                  </a:lnTo>
                  <a:lnTo>
                    <a:pt x="12" y="106"/>
                  </a:lnTo>
                  <a:lnTo>
                    <a:pt x="14" y="112"/>
                  </a:lnTo>
                  <a:lnTo>
                    <a:pt x="16" y="116"/>
                  </a:lnTo>
                  <a:lnTo>
                    <a:pt x="14" y="118"/>
                  </a:lnTo>
                  <a:lnTo>
                    <a:pt x="12" y="118"/>
                  </a:lnTo>
                  <a:lnTo>
                    <a:pt x="8" y="116"/>
                  </a:lnTo>
                  <a:lnTo>
                    <a:pt x="4" y="114"/>
                  </a:lnTo>
                  <a:lnTo>
                    <a:pt x="2" y="116"/>
                  </a:lnTo>
                  <a:lnTo>
                    <a:pt x="0" y="120"/>
                  </a:lnTo>
                  <a:lnTo>
                    <a:pt x="0" y="124"/>
                  </a:lnTo>
                  <a:lnTo>
                    <a:pt x="2" y="126"/>
                  </a:lnTo>
                  <a:lnTo>
                    <a:pt x="6" y="128"/>
                  </a:lnTo>
                  <a:lnTo>
                    <a:pt x="6" y="130"/>
                  </a:lnTo>
                  <a:lnTo>
                    <a:pt x="8" y="130"/>
                  </a:lnTo>
                  <a:lnTo>
                    <a:pt x="8" y="134"/>
                  </a:lnTo>
                  <a:lnTo>
                    <a:pt x="12" y="134"/>
                  </a:lnTo>
                  <a:lnTo>
                    <a:pt x="12" y="1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4" name="Freeform 377">
              <a:extLst>
                <a:ext uri="{FF2B5EF4-FFF2-40B4-BE49-F238E27FC236}">
                  <a16:creationId xmlns:a16="http://schemas.microsoft.com/office/drawing/2014/main" id="{3A45C483-5A88-4153-A91D-89657385BE82}"/>
                </a:ext>
              </a:extLst>
            </p:cNvPr>
            <p:cNvSpPr>
              <a:spLocks/>
            </p:cNvSpPr>
            <p:nvPr/>
          </p:nvSpPr>
          <p:spPr bwMode="auto">
            <a:xfrm>
              <a:off x="1705665" y="4495904"/>
              <a:ext cx="214938" cy="347008"/>
            </a:xfrm>
            <a:custGeom>
              <a:avLst/>
              <a:gdLst/>
              <a:ahLst/>
              <a:cxnLst>
                <a:cxn ang="0">
                  <a:pos x="102" y="10"/>
                </a:cxn>
                <a:cxn ang="0">
                  <a:pos x="100" y="4"/>
                </a:cxn>
                <a:cxn ang="0">
                  <a:pos x="96" y="2"/>
                </a:cxn>
                <a:cxn ang="0">
                  <a:pos x="88" y="12"/>
                </a:cxn>
                <a:cxn ang="0">
                  <a:pos x="80" y="16"/>
                </a:cxn>
                <a:cxn ang="0">
                  <a:pos x="66" y="22"/>
                </a:cxn>
                <a:cxn ang="0">
                  <a:pos x="60" y="26"/>
                </a:cxn>
                <a:cxn ang="0">
                  <a:pos x="58" y="28"/>
                </a:cxn>
                <a:cxn ang="0">
                  <a:pos x="52" y="30"/>
                </a:cxn>
                <a:cxn ang="0">
                  <a:pos x="50" y="42"/>
                </a:cxn>
                <a:cxn ang="0">
                  <a:pos x="46" y="50"/>
                </a:cxn>
                <a:cxn ang="0">
                  <a:pos x="34" y="74"/>
                </a:cxn>
                <a:cxn ang="0">
                  <a:pos x="28" y="70"/>
                </a:cxn>
                <a:cxn ang="0">
                  <a:pos x="22" y="68"/>
                </a:cxn>
                <a:cxn ang="0">
                  <a:pos x="24" y="80"/>
                </a:cxn>
                <a:cxn ang="0">
                  <a:pos x="22" y="86"/>
                </a:cxn>
                <a:cxn ang="0">
                  <a:pos x="24" y="108"/>
                </a:cxn>
                <a:cxn ang="0">
                  <a:pos x="20" y="120"/>
                </a:cxn>
                <a:cxn ang="0">
                  <a:pos x="16" y="134"/>
                </a:cxn>
                <a:cxn ang="0">
                  <a:pos x="22" y="140"/>
                </a:cxn>
                <a:cxn ang="0">
                  <a:pos x="20" y="144"/>
                </a:cxn>
                <a:cxn ang="0">
                  <a:pos x="16" y="154"/>
                </a:cxn>
                <a:cxn ang="0">
                  <a:pos x="6" y="158"/>
                </a:cxn>
                <a:cxn ang="0">
                  <a:pos x="4" y="164"/>
                </a:cxn>
                <a:cxn ang="0">
                  <a:pos x="4" y="168"/>
                </a:cxn>
                <a:cxn ang="0">
                  <a:pos x="2" y="176"/>
                </a:cxn>
                <a:cxn ang="0">
                  <a:pos x="14" y="186"/>
                </a:cxn>
                <a:cxn ang="0">
                  <a:pos x="16" y="196"/>
                </a:cxn>
                <a:cxn ang="0">
                  <a:pos x="32" y="198"/>
                </a:cxn>
                <a:cxn ang="0">
                  <a:pos x="38" y="200"/>
                </a:cxn>
                <a:cxn ang="0">
                  <a:pos x="52" y="204"/>
                </a:cxn>
                <a:cxn ang="0">
                  <a:pos x="56" y="210"/>
                </a:cxn>
                <a:cxn ang="0">
                  <a:pos x="62" y="218"/>
                </a:cxn>
                <a:cxn ang="0">
                  <a:pos x="76" y="222"/>
                </a:cxn>
                <a:cxn ang="0">
                  <a:pos x="78" y="232"/>
                </a:cxn>
                <a:cxn ang="0">
                  <a:pos x="88" y="230"/>
                </a:cxn>
                <a:cxn ang="0">
                  <a:pos x="98" y="232"/>
                </a:cxn>
                <a:cxn ang="0">
                  <a:pos x="110" y="238"/>
                </a:cxn>
                <a:cxn ang="0">
                  <a:pos x="106" y="266"/>
                </a:cxn>
                <a:cxn ang="0">
                  <a:pos x="126" y="224"/>
                </a:cxn>
                <a:cxn ang="0">
                  <a:pos x="122" y="206"/>
                </a:cxn>
                <a:cxn ang="0">
                  <a:pos x="126" y="198"/>
                </a:cxn>
                <a:cxn ang="0">
                  <a:pos x="122" y="188"/>
                </a:cxn>
                <a:cxn ang="0">
                  <a:pos x="144" y="190"/>
                </a:cxn>
                <a:cxn ang="0">
                  <a:pos x="152" y="188"/>
                </a:cxn>
                <a:cxn ang="0">
                  <a:pos x="160" y="188"/>
                </a:cxn>
                <a:cxn ang="0">
                  <a:pos x="162" y="176"/>
                </a:cxn>
                <a:cxn ang="0">
                  <a:pos x="158" y="172"/>
                </a:cxn>
                <a:cxn ang="0">
                  <a:pos x="160" y="164"/>
                </a:cxn>
                <a:cxn ang="0">
                  <a:pos x="160" y="148"/>
                </a:cxn>
                <a:cxn ang="0">
                  <a:pos x="146" y="134"/>
                </a:cxn>
                <a:cxn ang="0">
                  <a:pos x="140" y="124"/>
                </a:cxn>
                <a:cxn ang="0">
                  <a:pos x="142" y="116"/>
                </a:cxn>
                <a:cxn ang="0">
                  <a:pos x="124" y="108"/>
                </a:cxn>
                <a:cxn ang="0">
                  <a:pos x="108" y="96"/>
                </a:cxn>
                <a:cxn ang="0">
                  <a:pos x="90" y="94"/>
                </a:cxn>
                <a:cxn ang="0">
                  <a:pos x="84" y="80"/>
                </a:cxn>
                <a:cxn ang="0">
                  <a:pos x="84" y="74"/>
                </a:cxn>
                <a:cxn ang="0">
                  <a:pos x="74" y="62"/>
                </a:cxn>
                <a:cxn ang="0">
                  <a:pos x="72" y="56"/>
                </a:cxn>
                <a:cxn ang="0">
                  <a:pos x="74" y="44"/>
                </a:cxn>
                <a:cxn ang="0">
                  <a:pos x="80" y="36"/>
                </a:cxn>
                <a:cxn ang="0">
                  <a:pos x="98" y="10"/>
                </a:cxn>
              </a:cxnLst>
              <a:rect l="0" t="0" r="r" b="b"/>
              <a:pathLst>
                <a:path w="166" h="268">
                  <a:moveTo>
                    <a:pt x="98" y="10"/>
                  </a:moveTo>
                  <a:lnTo>
                    <a:pt x="98" y="10"/>
                  </a:lnTo>
                  <a:lnTo>
                    <a:pt x="102" y="10"/>
                  </a:lnTo>
                  <a:lnTo>
                    <a:pt x="104" y="8"/>
                  </a:lnTo>
                  <a:lnTo>
                    <a:pt x="104" y="6"/>
                  </a:lnTo>
                  <a:lnTo>
                    <a:pt x="100" y="4"/>
                  </a:lnTo>
                  <a:lnTo>
                    <a:pt x="98" y="0"/>
                  </a:lnTo>
                  <a:lnTo>
                    <a:pt x="98" y="2"/>
                  </a:lnTo>
                  <a:lnTo>
                    <a:pt x="96" y="2"/>
                  </a:lnTo>
                  <a:lnTo>
                    <a:pt x="92" y="4"/>
                  </a:lnTo>
                  <a:lnTo>
                    <a:pt x="92" y="8"/>
                  </a:lnTo>
                  <a:lnTo>
                    <a:pt x="88" y="12"/>
                  </a:lnTo>
                  <a:lnTo>
                    <a:pt x="84" y="14"/>
                  </a:lnTo>
                  <a:lnTo>
                    <a:pt x="82" y="14"/>
                  </a:lnTo>
                  <a:lnTo>
                    <a:pt x="80" y="16"/>
                  </a:lnTo>
                  <a:lnTo>
                    <a:pt x="76" y="20"/>
                  </a:lnTo>
                  <a:lnTo>
                    <a:pt x="70" y="22"/>
                  </a:lnTo>
                  <a:lnTo>
                    <a:pt x="66" y="22"/>
                  </a:lnTo>
                  <a:lnTo>
                    <a:pt x="62" y="22"/>
                  </a:lnTo>
                  <a:lnTo>
                    <a:pt x="62" y="24"/>
                  </a:lnTo>
                  <a:lnTo>
                    <a:pt x="60" y="26"/>
                  </a:lnTo>
                  <a:lnTo>
                    <a:pt x="60" y="30"/>
                  </a:lnTo>
                  <a:lnTo>
                    <a:pt x="60" y="28"/>
                  </a:lnTo>
                  <a:lnTo>
                    <a:pt x="58" y="28"/>
                  </a:lnTo>
                  <a:lnTo>
                    <a:pt x="54" y="26"/>
                  </a:lnTo>
                  <a:lnTo>
                    <a:pt x="52" y="28"/>
                  </a:lnTo>
                  <a:lnTo>
                    <a:pt x="52" y="30"/>
                  </a:lnTo>
                  <a:lnTo>
                    <a:pt x="50" y="32"/>
                  </a:lnTo>
                  <a:lnTo>
                    <a:pt x="48" y="38"/>
                  </a:lnTo>
                  <a:lnTo>
                    <a:pt x="50" y="42"/>
                  </a:lnTo>
                  <a:lnTo>
                    <a:pt x="46" y="42"/>
                  </a:lnTo>
                  <a:lnTo>
                    <a:pt x="44" y="44"/>
                  </a:lnTo>
                  <a:lnTo>
                    <a:pt x="46" y="50"/>
                  </a:lnTo>
                  <a:lnTo>
                    <a:pt x="40" y="50"/>
                  </a:lnTo>
                  <a:lnTo>
                    <a:pt x="36" y="62"/>
                  </a:lnTo>
                  <a:lnTo>
                    <a:pt x="34" y="74"/>
                  </a:lnTo>
                  <a:lnTo>
                    <a:pt x="30" y="74"/>
                  </a:lnTo>
                  <a:lnTo>
                    <a:pt x="30" y="72"/>
                  </a:lnTo>
                  <a:lnTo>
                    <a:pt x="28" y="70"/>
                  </a:lnTo>
                  <a:lnTo>
                    <a:pt x="26" y="64"/>
                  </a:lnTo>
                  <a:lnTo>
                    <a:pt x="24" y="64"/>
                  </a:lnTo>
                  <a:lnTo>
                    <a:pt x="22" y="68"/>
                  </a:lnTo>
                  <a:lnTo>
                    <a:pt x="24" y="70"/>
                  </a:lnTo>
                  <a:lnTo>
                    <a:pt x="26" y="74"/>
                  </a:lnTo>
                  <a:lnTo>
                    <a:pt x="24" y="80"/>
                  </a:lnTo>
                  <a:lnTo>
                    <a:pt x="22" y="82"/>
                  </a:lnTo>
                  <a:lnTo>
                    <a:pt x="20" y="86"/>
                  </a:lnTo>
                  <a:lnTo>
                    <a:pt x="22" y="86"/>
                  </a:lnTo>
                  <a:lnTo>
                    <a:pt x="22" y="96"/>
                  </a:lnTo>
                  <a:lnTo>
                    <a:pt x="22" y="102"/>
                  </a:lnTo>
                  <a:lnTo>
                    <a:pt x="24" y="108"/>
                  </a:lnTo>
                  <a:lnTo>
                    <a:pt x="18" y="110"/>
                  </a:lnTo>
                  <a:lnTo>
                    <a:pt x="22" y="112"/>
                  </a:lnTo>
                  <a:lnTo>
                    <a:pt x="20" y="120"/>
                  </a:lnTo>
                  <a:lnTo>
                    <a:pt x="20" y="126"/>
                  </a:lnTo>
                  <a:lnTo>
                    <a:pt x="16" y="132"/>
                  </a:lnTo>
                  <a:lnTo>
                    <a:pt x="16" y="134"/>
                  </a:lnTo>
                  <a:lnTo>
                    <a:pt x="16" y="136"/>
                  </a:lnTo>
                  <a:lnTo>
                    <a:pt x="20" y="140"/>
                  </a:lnTo>
                  <a:lnTo>
                    <a:pt x="22" y="140"/>
                  </a:lnTo>
                  <a:lnTo>
                    <a:pt x="24" y="140"/>
                  </a:lnTo>
                  <a:lnTo>
                    <a:pt x="24" y="142"/>
                  </a:lnTo>
                  <a:lnTo>
                    <a:pt x="20" y="144"/>
                  </a:lnTo>
                  <a:lnTo>
                    <a:pt x="18" y="146"/>
                  </a:lnTo>
                  <a:lnTo>
                    <a:pt x="16" y="150"/>
                  </a:lnTo>
                  <a:lnTo>
                    <a:pt x="16" y="154"/>
                  </a:lnTo>
                  <a:lnTo>
                    <a:pt x="14" y="154"/>
                  </a:lnTo>
                  <a:lnTo>
                    <a:pt x="8" y="154"/>
                  </a:lnTo>
                  <a:lnTo>
                    <a:pt x="6" y="158"/>
                  </a:lnTo>
                  <a:lnTo>
                    <a:pt x="4" y="158"/>
                  </a:lnTo>
                  <a:lnTo>
                    <a:pt x="4" y="162"/>
                  </a:lnTo>
                  <a:lnTo>
                    <a:pt x="4" y="164"/>
                  </a:lnTo>
                  <a:lnTo>
                    <a:pt x="6" y="166"/>
                  </a:lnTo>
                  <a:lnTo>
                    <a:pt x="6" y="170"/>
                  </a:lnTo>
                  <a:lnTo>
                    <a:pt x="4" y="168"/>
                  </a:lnTo>
                  <a:lnTo>
                    <a:pt x="0" y="170"/>
                  </a:lnTo>
                  <a:lnTo>
                    <a:pt x="0" y="176"/>
                  </a:lnTo>
                  <a:lnTo>
                    <a:pt x="2" y="176"/>
                  </a:lnTo>
                  <a:lnTo>
                    <a:pt x="2" y="178"/>
                  </a:lnTo>
                  <a:lnTo>
                    <a:pt x="6" y="182"/>
                  </a:lnTo>
                  <a:lnTo>
                    <a:pt x="14" y="186"/>
                  </a:lnTo>
                  <a:lnTo>
                    <a:pt x="16" y="188"/>
                  </a:lnTo>
                  <a:lnTo>
                    <a:pt x="16" y="192"/>
                  </a:lnTo>
                  <a:lnTo>
                    <a:pt x="16" y="196"/>
                  </a:lnTo>
                  <a:lnTo>
                    <a:pt x="18" y="196"/>
                  </a:lnTo>
                  <a:lnTo>
                    <a:pt x="32" y="200"/>
                  </a:lnTo>
                  <a:lnTo>
                    <a:pt x="32" y="198"/>
                  </a:lnTo>
                  <a:lnTo>
                    <a:pt x="34" y="196"/>
                  </a:lnTo>
                  <a:lnTo>
                    <a:pt x="34" y="198"/>
                  </a:lnTo>
                  <a:lnTo>
                    <a:pt x="38" y="200"/>
                  </a:lnTo>
                  <a:lnTo>
                    <a:pt x="40" y="202"/>
                  </a:lnTo>
                  <a:lnTo>
                    <a:pt x="46" y="204"/>
                  </a:lnTo>
                  <a:lnTo>
                    <a:pt x="52" y="204"/>
                  </a:lnTo>
                  <a:lnTo>
                    <a:pt x="52" y="208"/>
                  </a:lnTo>
                  <a:lnTo>
                    <a:pt x="54" y="210"/>
                  </a:lnTo>
                  <a:lnTo>
                    <a:pt x="56" y="210"/>
                  </a:lnTo>
                  <a:lnTo>
                    <a:pt x="60" y="212"/>
                  </a:lnTo>
                  <a:lnTo>
                    <a:pt x="62" y="216"/>
                  </a:lnTo>
                  <a:lnTo>
                    <a:pt x="62" y="218"/>
                  </a:lnTo>
                  <a:lnTo>
                    <a:pt x="64" y="220"/>
                  </a:lnTo>
                  <a:lnTo>
                    <a:pt x="68" y="222"/>
                  </a:lnTo>
                  <a:lnTo>
                    <a:pt x="76" y="222"/>
                  </a:lnTo>
                  <a:lnTo>
                    <a:pt x="76" y="228"/>
                  </a:lnTo>
                  <a:lnTo>
                    <a:pt x="76" y="230"/>
                  </a:lnTo>
                  <a:lnTo>
                    <a:pt x="78" y="232"/>
                  </a:lnTo>
                  <a:lnTo>
                    <a:pt x="80" y="232"/>
                  </a:lnTo>
                  <a:lnTo>
                    <a:pt x="88" y="234"/>
                  </a:lnTo>
                  <a:lnTo>
                    <a:pt x="88" y="230"/>
                  </a:lnTo>
                  <a:lnTo>
                    <a:pt x="92" y="230"/>
                  </a:lnTo>
                  <a:lnTo>
                    <a:pt x="96" y="230"/>
                  </a:lnTo>
                  <a:lnTo>
                    <a:pt x="98" y="232"/>
                  </a:lnTo>
                  <a:lnTo>
                    <a:pt x="100" y="234"/>
                  </a:lnTo>
                  <a:lnTo>
                    <a:pt x="106" y="236"/>
                  </a:lnTo>
                  <a:lnTo>
                    <a:pt x="110" y="238"/>
                  </a:lnTo>
                  <a:lnTo>
                    <a:pt x="112" y="240"/>
                  </a:lnTo>
                  <a:lnTo>
                    <a:pt x="100" y="266"/>
                  </a:lnTo>
                  <a:lnTo>
                    <a:pt x="106" y="266"/>
                  </a:lnTo>
                  <a:lnTo>
                    <a:pt x="110" y="268"/>
                  </a:lnTo>
                  <a:lnTo>
                    <a:pt x="124" y="230"/>
                  </a:lnTo>
                  <a:lnTo>
                    <a:pt x="126" y="224"/>
                  </a:lnTo>
                  <a:lnTo>
                    <a:pt x="128" y="220"/>
                  </a:lnTo>
                  <a:lnTo>
                    <a:pt x="128" y="218"/>
                  </a:lnTo>
                  <a:lnTo>
                    <a:pt x="122" y="206"/>
                  </a:lnTo>
                  <a:lnTo>
                    <a:pt x="118" y="204"/>
                  </a:lnTo>
                  <a:lnTo>
                    <a:pt x="118" y="198"/>
                  </a:lnTo>
                  <a:lnTo>
                    <a:pt x="126" y="198"/>
                  </a:lnTo>
                  <a:lnTo>
                    <a:pt x="128" y="196"/>
                  </a:lnTo>
                  <a:lnTo>
                    <a:pt x="120" y="194"/>
                  </a:lnTo>
                  <a:lnTo>
                    <a:pt x="122" y="188"/>
                  </a:lnTo>
                  <a:lnTo>
                    <a:pt x="124" y="190"/>
                  </a:lnTo>
                  <a:lnTo>
                    <a:pt x="130" y="190"/>
                  </a:lnTo>
                  <a:lnTo>
                    <a:pt x="144" y="190"/>
                  </a:lnTo>
                  <a:lnTo>
                    <a:pt x="144" y="186"/>
                  </a:lnTo>
                  <a:lnTo>
                    <a:pt x="148" y="188"/>
                  </a:lnTo>
                  <a:lnTo>
                    <a:pt x="152" y="188"/>
                  </a:lnTo>
                  <a:lnTo>
                    <a:pt x="154" y="180"/>
                  </a:lnTo>
                  <a:lnTo>
                    <a:pt x="160" y="182"/>
                  </a:lnTo>
                  <a:lnTo>
                    <a:pt x="160" y="188"/>
                  </a:lnTo>
                  <a:lnTo>
                    <a:pt x="164" y="188"/>
                  </a:lnTo>
                  <a:lnTo>
                    <a:pt x="166" y="180"/>
                  </a:lnTo>
                  <a:lnTo>
                    <a:pt x="162" y="176"/>
                  </a:lnTo>
                  <a:lnTo>
                    <a:pt x="162" y="170"/>
                  </a:lnTo>
                  <a:lnTo>
                    <a:pt x="160" y="172"/>
                  </a:lnTo>
                  <a:lnTo>
                    <a:pt x="158" y="172"/>
                  </a:lnTo>
                  <a:lnTo>
                    <a:pt x="156" y="170"/>
                  </a:lnTo>
                  <a:lnTo>
                    <a:pt x="158" y="166"/>
                  </a:lnTo>
                  <a:lnTo>
                    <a:pt x="160" y="164"/>
                  </a:lnTo>
                  <a:lnTo>
                    <a:pt x="164" y="158"/>
                  </a:lnTo>
                  <a:lnTo>
                    <a:pt x="166" y="150"/>
                  </a:lnTo>
                  <a:lnTo>
                    <a:pt x="160" y="148"/>
                  </a:lnTo>
                  <a:lnTo>
                    <a:pt x="154" y="142"/>
                  </a:lnTo>
                  <a:lnTo>
                    <a:pt x="150" y="138"/>
                  </a:lnTo>
                  <a:lnTo>
                    <a:pt x="146" y="134"/>
                  </a:lnTo>
                  <a:lnTo>
                    <a:pt x="142" y="130"/>
                  </a:lnTo>
                  <a:lnTo>
                    <a:pt x="140" y="128"/>
                  </a:lnTo>
                  <a:lnTo>
                    <a:pt x="140" y="124"/>
                  </a:lnTo>
                  <a:lnTo>
                    <a:pt x="138" y="120"/>
                  </a:lnTo>
                  <a:lnTo>
                    <a:pt x="140" y="118"/>
                  </a:lnTo>
                  <a:lnTo>
                    <a:pt x="142" y="116"/>
                  </a:lnTo>
                  <a:lnTo>
                    <a:pt x="142" y="108"/>
                  </a:lnTo>
                  <a:lnTo>
                    <a:pt x="134" y="106"/>
                  </a:lnTo>
                  <a:lnTo>
                    <a:pt x="124" y="108"/>
                  </a:lnTo>
                  <a:lnTo>
                    <a:pt x="118" y="96"/>
                  </a:lnTo>
                  <a:lnTo>
                    <a:pt x="114" y="96"/>
                  </a:lnTo>
                  <a:lnTo>
                    <a:pt x="108" y="96"/>
                  </a:lnTo>
                  <a:lnTo>
                    <a:pt x="102" y="96"/>
                  </a:lnTo>
                  <a:lnTo>
                    <a:pt x="98" y="96"/>
                  </a:lnTo>
                  <a:lnTo>
                    <a:pt x="90" y="94"/>
                  </a:lnTo>
                  <a:lnTo>
                    <a:pt x="90" y="92"/>
                  </a:lnTo>
                  <a:lnTo>
                    <a:pt x="88" y="86"/>
                  </a:lnTo>
                  <a:lnTo>
                    <a:pt x="84" y="80"/>
                  </a:lnTo>
                  <a:lnTo>
                    <a:pt x="82" y="76"/>
                  </a:lnTo>
                  <a:lnTo>
                    <a:pt x="82" y="74"/>
                  </a:lnTo>
                  <a:lnTo>
                    <a:pt x="84" y="74"/>
                  </a:lnTo>
                  <a:lnTo>
                    <a:pt x="86" y="72"/>
                  </a:lnTo>
                  <a:lnTo>
                    <a:pt x="80" y="60"/>
                  </a:lnTo>
                  <a:lnTo>
                    <a:pt x="74" y="62"/>
                  </a:lnTo>
                  <a:lnTo>
                    <a:pt x="72" y="62"/>
                  </a:lnTo>
                  <a:lnTo>
                    <a:pt x="72" y="60"/>
                  </a:lnTo>
                  <a:lnTo>
                    <a:pt x="72" y="56"/>
                  </a:lnTo>
                  <a:lnTo>
                    <a:pt x="74" y="52"/>
                  </a:lnTo>
                  <a:lnTo>
                    <a:pt x="74" y="50"/>
                  </a:lnTo>
                  <a:lnTo>
                    <a:pt x="74" y="44"/>
                  </a:lnTo>
                  <a:lnTo>
                    <a:pt x="76" y="38"/>
                  </a:lnTo>
                  <a:lnTo>
                    <a:pt x="74" y="38"/>
                  </a:lnTo>
                  <a:lnTo>
                    <a:pt x="80" y="36"/>
                  </a:lnTo>
                  <a:lnTo>
                    <a:pt x="86" y="22"/>
                  </a:lnTo>
                  <a:lnTo>
                    <a:pt x="92" y="12"/>
                  </a:lnTo>
                  <a:lnTo>
                    <a:pt x="98" y="10"/>
                  </a:lnTo>
                  <a:lnTo>
                    <a:pt x="98"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5" name="Freeform 378">
              <a:extLst>
                <a:ext uri="{FF2B5EF4-FFF2-40B4-BE49-F238E27FC236}">
                  <a16:creationId xmlns:a16="http://schemas.microsoft.com/office/drawing/2014/main" id="{AF200FC6-289F-4AFE-8B19-9874C01B0CAA}"/>
                </a:ext>
              </a:extLst>
            </p:cNvPr>
            <p:cNvSpPr>
              <a:spLocks/>
            </p:cNvSpPr>
            <p:nvPr/>
          </p:nvSpPr>
          <p:spPr bwMode="auto">
            <a:xfrm>
              <a:off x="5048851" y="4089336"/>
              <a:ext cx="5179" cy="10358"/>
            </a:xfrm>
            <a:custGeom>
              <a:avLst/>
              <a:gdLst/>
              <a:ahLst/>
              <a:cxnLst>
                <a:cxn ang="0">
                  <a:pos x="2" y="0"/>
                </a:cxn>
                <a:cxn ang="0">
                  <a:pos x="4" y="0"/>
                </a:cxn>
                <a:cxn ang="0">
                  <a:pos x="4" y="4"/>
                </a:cxn>
                <a:cxn ang="0">
                  <a:pos x="4" y="8"/>
                </a:cxn>
                <a:cxn ang="0">
                  <a:pos x="2" y="8"/>
                </a:cxn>
                <a:cxn ang="0">
                  <a:pos x="0" y="8"/>
                </a:cxn>
                <a:cxn ang="0">
                  <a:pos x="0" y="6"/>
                </a:cxn>
                <a:cxn ang="0">
                  <a:pos x="0" y="6"/>
                </a:cxn>
                <a:cxn ang="0">
                  <a:pos x="0" y="2"/>
                </a:cxn>
                <a:cxn ang="0">
                  <a:pos x="2" y="0"/>
                </a:cxn>
                <a:cxn ang="0">
                  <a:pos x="2" y="0"/>
                </a:cxn>
              </a:cxnLst>
              <a:rect l="0" t="0" r="r" b="b"/>
              <a:pathLst>
                <a:path w="4" h="8">
                  <a:moveTo>
                    <a:pt x="2" y="0"/>
                  </a:moveTo>
                  <a:lnTo>
                    <a:pt x="4" y="0"/>
                  </a:lnTo>
                  <a:lnTo>
                    <a:pt x="4" y="4"/>
                  </a:lnTo>
                  <a:lnTo>
                    <a:pt x="4" y="8"/>
                  </a:lnTo>
                  <a:lnTo>
                    <a:pt x="2" y="8"/>
                  </a:lnTo>
                  <a:lnTo>
                    <a:pt x="0" y="8"/>
                  </a:lnTo>
                  <a:lnTo>
                    <a:pt x="0" y="6"/>
                  </a:lnTo>
                  <a:lnTo>
                    <a:pt x="0" y="6"/>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6" name="Freeform 379">
              <a:extLst>
                <a:ext uri="{FF2B5EF4-FFF2-40B4-BE49-F238E27FC236}">
                  <a16:creationId xmlns:a16="http://schemas.microsoft.com/office/drawing/2014/main" id="{4A7FD633-BD3F-4D1C-A911-6E400F456E70}"/>
                </a:ext>
              </a:extLst>
            </p:cNvPr>
            <p:cNvSpPr>
              <a:spLocks/>
            </p:cNvSpPr>
            <p:nvPr/>
          </p:nvSpPr>
          <p:spPr bwMode="auto">
            <a:xfrm>
              <a:off x="5048851" y="4089336"/>
              <a:ext cx="5179" cy="10358"/>
            </a:xfrm>
            <a:custGeom>
              <a:avLst/>
              <a:gdLst/>
              <a:ahLst/>
              <a:cxnLst>
                <a:cxn ang="0">
                  <a:pos x="2" y="0"/>
                </a:cxn>
                <a:cxn ang="0">
                  <a:pos x="4" y="0"/>
                </a:cxn>
                <a:cxn ang="0">
                  <a:pos x="4" y="4"/>
                </a:cxn>
                <a:cxn ang="0">
                  <a:pos x="4" y="8"/>
                </a:cxn>
                <a:cxn ang="0">
                  <a:pos x="2" y="8"/>
                </a:cxn>
                <a:cxn ang="0">
                  <a:pos x="0" y="8"/>
                </a:cxn>
                <a:cxn ang="0">
                  <a:pos x="0" y="6"/>
                </a:cxn>
                <a:cxn ang="0">
                  <a:pos x="0" y="6"/>
                </a:cxn>
                <a:cxn ang="0">
                  <a:pos x="0" y="2"/>
                </a:cxn>
                <a:cxn ang="0">
                  <a:pos x="2" y="0"/>
                </a:cxn>
                <a:cxn ang="0">
                  <a:pos x="2" y="0"/>
                </a:cxn>
              </a:cxnLst>
              <a:rect l="0" t="0" r="r" b="b"/>
              <a:pathLst>
                <a:path w="4" h="8">
                  <a:moveTo>
                    <a:pt x="2" y="0"/>
                  </a:moveTo>
                  <a:lnTo>
                    <a:pt x="4" y="0"/>
                  </a:lnTo>
                  <a:lnTo>
                    <a:pt x="4" y="4"/>
                  </a:lnTo>
                  <a:lnTo>
                    <a:pt x="4" y="8"/>
                  </a:lnTo>
                  <a:lnTo>
                    <a:pt x="2" y="8"/>
                  </a:lnTo>
                  <a:lnTo>
                    <a:pt x="0" y="8"/>
                  </a:lnTo>
                  <a:lnTo>
                    <a:pt x="0" y="6"/>
                  </a:lnTo>
                  <a:lnTo>
                    <a:pt x="0" y="6"/>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7" name="Freeform 380">
              <a:extLst>
                <a:ext uri="{FF2B5EF4-FFF2-40B4-BE49-F238E27FC236}">
                  <a16:creationId xmlns:a16="http://schemas.microsoft.com/office/drawing/2014/main" id="{F8272430-8460-4C32-9A17-A4FEAAC63400}"/>
                </a:ext>
              </a:extLst>
            </p:cNvPr>
            <p:cNvSpPr>
              <a:spLocks/>
            </p:cNvSpPr>
            <p:nvPr/>
          </p:nvSpPr>
          <p:spPr bwMode="auto">
            <a:xfrm>
              <a:off x="4854631" y="4343117"/>
              <a:ext cx="44023" cy="41434"/>
            </a:xfrm>
            <a:custGeom>
              <a:avLst/>
              <a:gdLst/>
              <a:ahLst/>
              <a:cxnLst>
                <a:cxn ang="0">
                  <a:pos x="30" y="0"/>
                </a:cxn>
                <a:cxn ang="0">
                  <a:pos x="30" y="0"/>
                </a:cxn>
                <a:cxn ang="0">
                  <a:pos x="22" y="2"/>
                </a:cxn>
                <a:cxn ang="0">
                  <a:pos x="16" y="2"/>
                </a:cxn>
                <a:cxn ang="0">
                  <a:pos x="12" y="2"/>
                </a:cxn>
                <a:cxn ang="0">
                  <a:pos x="10" y="4"/>
                </a:cxn>
                <a:cxn ang="0">
                  <a:pos x="10" y="6"/>
                </a:cxn>
                <a:cxn ang="0">
                  <a:pos x="10" y="8"/>
                </a:cxn>
                <a:cxn ang="0">
                  <a:pos x="8" y="8"/>
                </a:cxn>
                <a:cxn ang="0">
                  <a:pos x="6" y="8"/>
                </a:cxn>
                <a:cxn ang="0">
                  <a:pos x="0" y="12"/>
                </a:cxn>
                <a:cxn ang="0">
                  <a:pos x="0" y="20"/>
                </a:cxn>
                <a:cxn ang="0">
                  <a:pos x="2" y="26"/>
                </a:cxn>
                <a:cxn ang="0">
                  <a:pos x="4" y="26"/>
                </a:cxn>
                <a:cxn ang="0">
                  <a:pos x="8" y="28"/>
                </a:cxn>
                <a:cxn ang="0">
                  <a:pos x="12" y="32"/>
                </a:cxn>
                <a:cxn ang="0">
                  <a:pos x="22" y="28"/>
                </a:cxn>
                <a:cxn ang="0">
                  <a:pos x="22" y="24"/>
                </a:cxn>
                <a:cxn ang="0">
                  <a:pos x="26" y="24"/>
                </a:cxn>
                <a:cxn ang="0">
                  <a:pos x="28" y="22"/>
                </a:cxn>
                <a:cxn ang="0">
                  <a:pos x="28" y="20"/>
                </a:cxn>
                <a:cxn ang="0">
                  <a:pos x="28" y="16"/>
                </a:cxn>
                <a:cxn ang="0">
                  <a:pos x="30" y="14"/>
                </a:cxn>
                <a:cxn ang="0">
                  <a:pos x="32" y="8"/>
                </a:cxn>
                <a:cxn ang="0">
                  <a:pos x="34" y="6"/>
                </a:cxn>
                <a:cxn ang="0">
                  <a:pos x="34" y="4"/>
                </a:cxn>
                <a:cxn ang="0">
                  <a:pos x="34" y="2"/>
                </a:cxn>
                <a:cxn ang="0">
                  <a:pos x="30" y="0"/>
                </a:cxn>
                <a:cxn ang="0">
                  <a:pos x="30" y="0"/>
                </a:cxn>
              </a:cxnLst>
              <a:rect l="0" t="0" r="r" b="b"/>
              <a:pathLst>
                <a:path w="34" h="32">
                  <a:moveTo>
                    <a:pt x="30" y="0"/>
                  </a:moveTo>
                  <a:lnTo>
                    <a:pt x="30" y="0"/>
                  </a:lnTo>
                  <a:lnTo>
                    <a:pt x="22" y="2"/>
                  </a:lnTo>
                  <a:lnTo>
                    <a:pt x="16" y="2"/>
                  </a:lnTo>
                  <a:lnTo>
                    <a:pt x="12" y="2"/>
                  </a:lnTo>
                  <a:lnTo>
                    <a:pt x="10" y="4"/>
                  </a:lnTo>
                  <a:lnTo>
                    <a:pt x="10" y="6"/>
                  </a:lnTo>
                  <a:lnTo>
                    <a:pt x="10" y="8"/>
                  </a:lnTo>
                  <a:lnTo>
                    <a:pt x="8" y="8"/>
                  </a:lnTo>
                  <a:lnTo>
                    <a:pt x="6" y="8"/>
                  </a:lnTo>
                  <a:lnTo>
                    <a:pt x="0" y="12"/>
                  </a:lnTo>
                  <a:lnTo>
                    <a:pt x="0" y="20"/>
                  </a:lnTo>
                  <a:lnTo>
                    <a:pt x="2" y="26"/>
                  </a:lnTo>
                  <a:lnTo>
                    <a:pt x="4" y="26"/>
                  </a:lnTo>
                  <a:lnTo>
                    <a:pt x="8" y="28"/>
                  </a:lnTo>
                  <a:lnTo>
                    <a:pt x="12" y="32"/>
                  </a:lnTo>
                  <a:lnTo>
                    <a:pt x="22" y="28"/>
                  </a:lnTo>
                  <a:lnTo>
                    <a:pt x="22" y="24"/>
                  </a:lnTo>
                  <a:lnTo>
                    <a:pt x="26" y="24"/>
                  </a:lnTo>
                  <a:lnTo>
                    <a:pt x="28" y="22"/>
                  </a:lnTo>
                  <a:lnTo>
                    <a:pt x="28" y="20"/>
                  </a:lnTo>
                  <a:lnTo>
                    <a:pt x="28" y="16"/>
                  </a:lnTo>
                  <a:lnTo>
                    <a:pt x="30" y="14"/>
                  </a:lnTo>
                  <a:lnTo>
                    <a:pt x="32" y="8"/>
                  </a:lnTo>
                  <a:lnTo>
                    <a:pt x="34" y="6"/>
                  </a:lnTo>
                  <a:lnTo>
                    <a:pt x="34" y="4"/>
                  </a:lnTo>
                  <a:lnTo>
                    <a:pt x="34" y="2"/>
                  </a:lnTo>
                  <a:lnTo>
                    <a:pt x="30" y="0"/>
                  </a:lnTo>
                  <a:lnTo>
                    <a:pt x="3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8" name="Freeform 381">
              <a:extLst>
                <a:ext uri="{FF2B5EF4-FFF2-40B4-BE49-F238E27FC236}">
                  <a16:creationId xmlns:a16="http://schemas.microsoft.com/office/drawing/2014/main" id="{FF9CEB16-38C2-485F-8078-C4E69F84FD8B}"/>
                </a:ext>
              </a:extLst>
            </p:cNvPr>
            <p:cNvSpPr>
              <a:spLocks/>
            </p:cNvSpPr>
            <p:nvPr/>
          </p:nvSpPr>
          <p:spPr bwMode="auto">
            <a:xfrm>
              <a:off x="4854631" y="4340528"/>
              <a:ext cx="44023" cy="44023"/>
            </a:xfrm>
            <a:custGeom>
              <a:avLst/>
              <a:gdLst/>
              <a:ahLst/>
              <a:cxnLst>
                <a:cxn ang="0">
                  <a:pos x="30" y="0"/>
                </a:cxn>
                <a:cxn ang="0">
                  <a:pos x="30" y="0"/>
                </a:cxn>
                <a:cxn ang="0">
                  <a:pos x="22" y="2"/>
                </a:cxn>
                <a:cxn ang="0">
                  <a:pos x="16" y="4"/>
                </a:cxn>
                <a:cxn ang="0">
                  <a:pos x="12" y="4"/>
                </a:cxn>
                <a:cxn ang="0">
                  <a:pos x="8" y="6"/>
                </a:cxn>
                <a:cxn ang="0">
                  <a:pos x="8" y="8"/>
                </a:cxn>
                <a:cxn ang="0">
                  <a:pos x="8" y="10"/>
                </a:cxn>
                <a:cxn ang="0">
                  <a:pos x="6" y="10"/>
                </a:cxn>
                <a:cxn ang="0">
                  <a:pos x="6" y="10"/>
                </a:cxn>
                <a:cxn ang="0">
                  <a:pos x="0" y="14"/>
                </a:cxn>
                <a:cxn ang="0">
                  <a:pos x="0" y="22"/>
                </a:cxn>
                <a:cxn ang="0">
                  <a:pos x="2" y="28"/>
                </a:cxn>
                <a:cxn ang="0">
                  <a:pos x="4" y="28"/>
                </a:cxn>
                <a:cxn ang="0">
                  <a:pos x="6" y="30"/>
                </a:cxn>
                <a:cxn ang="0">
                  <a:pos x="12" y="34"/>
                </a:cxn>
                <a:cxn ang="0">
                  <a:pos x="22" y="30"/>
                </a:cxn>
                <a:cxn ang="0">
                  <a:pos x="22" y="26"/>
                </a:cxn>
                <a:cxn ang="0">
                  <a:pos x="26" y="26"/>
                </a:cxn>
                <a:cxn ang="0">
                  <a:pos x="28" y="24"/>
                </a:cxn>
                <a:cxn ang="0">
                  <a:pos x="28" y="22"/>
                </a:cxn>
                <a:cxn ang="0">
                  <a:pos x="28" y="18"/>
                </a:cxn>
                <a:cxn ang="0">
                  <a:pos x="30" y="16"/>
                </a:cxn>
                <a:cxn ang="0">
                  <a:pos x="32" y="10"/>
                </a:cxn>
                <a:cxn ang="0">
                  <a:pos x="34" y="8"/>
                </a:cxn>
                <a:cxn ang="0">
                  <a:pos x="34" y="6"/>
                </a:cxn>
                <a:cxn ang="0">
                  <a:pos x="34" y="2"/>
                </a:cxn>
                <a:cxn ang="0">
                  <a:pos x="30" y="0"/>
                </a:cxn>
                <a:cxn ang="0">
                  <a:pos x="30" y="0"/>
                </a:cxn>
              </a:cxnLst>
              <a:rect l="0" t="0" r="r" b="b"/>
              <a:pathLst>
                <a:path w="34" h="34">
                  <a:moveTo>
                    <a:pt x="30" y="0"/>
                  </a:moveTo>
                  <a:lnTo>
                    <a:pt x="30" y="0"/>
                  </a:lnTo>
                  <a:lnTo>
                    <a:pt x="22" y="2"/>
                  </a:lnTo>
                  <a:lnTo>
                    <a:pt x="16" y="4"/>
                  </a:lnTo>
                  <a:lnTo>
                    <a:pt x="12" y="4"/>
                  </a:lnTo>
                  <a:lnTo>
                    <a:pt x="8" y="6"/>
                  </a:lnTo>
                  <a:lnTo>
                    <a:pt x="8" y="8"/>
                  </a:lnTo>
                  <a:lnTo>
                    <a:pt x="8" y="10"/>
                  </a:lnTo>
                  <a:lnTo>
                    <a:pt x="6" y="10"/>
                  </a:lnTo>
                  <a:lnTo>
                    <a:pt x="6" y="10"/>
                  </a:lnTo>
                  <a:lnTo>
                    <a:pt x="0" y="14"/>
                  </a:lnTo>
                  <a:lnTo>
                    <a:pt x="0" y="22"/>
                  </a:lnTo>
                  <a:lnTo>
                    <a:pt x="2" y="28"/>
                  </a:lnTo>
                  <a:lnTo>
                    <a:pt x="4" y="28"/>
                  </a:lnTo>
                  <a:lnTo>
                    <a:pt x="6" y="30"/>
                  </a:lnTo>
                  <a:lnTo>
                    <a:pt x="12" y="34"/>
                  </a:lnTo>
                  <a:lnTo>
                    <a:pt x="22" y="30"/>
                  </a:lnTo>
                  <a:lnTo>
                    <a:pt x="22" y="26"/>
                  </a:lnTo>
                  <a:lnTo>
                    <a:pt x="26" y="26"/>
                  </a:lnTo>
                  <a:lnTo>
                    <a:pt x="28" y="24"/>
                  </a:lnTo>
                  <a:lnTo>
                    <a:pt x="28" y="22"/>
                  </a:lnTo>
                  <a:lnTo>
                    <a:pt x="28" y="18"/>
                  </a:lnTo>
                  <a:lnTo>
                    <a:pt x="30" y="16"/>
                  </a:lnTo>
                  <a:lnTo>
                    <a:pt x="32" y="10"/>
                  </a:lnTo>
                  <a:lnTo>
                    <a:pt x="34" y="8"/>
                  </a:lnTo>
                  <a:lnTo>
                    <a:pt x="34" y="6"/>
                  </a:lnTo>
                  <a:lnTo>
                    <a:pt x="34" y="2"/>
                  </a:lnTo>
                  <a:lnTo>
                    <a:pt x="30" y="0"/>
                  </a:lnTo>
                  <a:lnTo>
                    <a:pt x="3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19" name="Freeform 382">
              <a:extLst>
                <a:ext uri="{FF2B5EF4-FFF2-40B4-BE49-F238E27FC236}">
                  <a16:creationId xmlns:a16="http://schemas.microsoft.com/office/drawing/2014/main" id="{98FF234C-8A4A-4D7A-AD5E-177F922E97E3}"/>
                </a:ext>
              </a:extLst>
            </p:cNvPr>
            <p:cNvSpPr>
              <a:spLocks noEditPoints="1"/>
            </p:cNvSpPr>
            <p:nvPr/>
          </p:nvSpPr>
          <p:spPr bwMode="auto">
            <a:xfrm>
              <a:off x="1767815" y="5122590"/>
              <a:ext cx="142429" cy="877878"/>
            </a:xfrm>
            <a:custGeom>
              <a:avLst/>
              <a:gdLst/>
              <a:ahLst/>
              <a:cxnLst>
                <a:cxn ang="0">
                  <a:pos x="90" y="664"/>
                </a:cxn>
                <a:cxn ang="0">
                  <a:pos x="64" y="664"/>
                </a:cxn>
                <a:cxn ang="0">
                  <a:pos x="46" y="664"/>
                </a:cxn>
                <a:cxn ang="0">
                  <a:pos x="50" y="654"/>
                </a:cxn>
                <a:cxn ang="0">
                  <a:pos x="54" y="644"/>
                </a:cxn>
                <a:cxn ang="0">
                  <a:pos x="72" y="656"/>
                </a:cxn>
                <a:cxn ang="0">
                  <a:pos x="60" y="638"/>
                </a:cxn>
                <a:cxn ang="0">
                  <a:pos x="80" y="624"/>
                </a:cxn>
                <a:cxn ang="0">
                  <a:pos x="104" y="666"/>
                </a:cxn>
                <a:cxn ang="0">
                  <a:pos x="96" y="112"/>
                </a:cxn>
                <a:cxn ang="0">
                  <a:pos x="92" y="144"/>
                </a:cxn>
                <a:cxn ang="0">
                  <a:pos x="80" y="180"/>
                </a:cxn>
                <a:cxn ang="0">
                  <a:pos x="72" y="242"/>
                </a:cxn>
                <a:cxn ang="0">
                  <a:pos x="64" y="296"/>
                </a:cxn>
                <a:cxn ang="0">
                  <a:pos x="56" y="320"/>
                </a:cxn>
                <a:cxn ang="0">
                  <a:pos x="54" y="352"/>
                </a:cxn>
                <a:cxn ang="0">
                  <a:pos x="44" y="392"/>
                </a:cxn>
                <a:cxn ang="0">
                  <a:pos x="46" y="430"/>
                </a:cxn>
                <a:cxn ang="0">
                  <a:pos x="50" y="462"/>
                </a:cxn>
                <a:cxn ang="0">
                  <a:pos x="48" y="480"/>
                </a:cxn>
                <a:cxn ang="0">
                  <a:pos x="46" y="518"/>
                </a:cxn>
                <a:cxn ang="0">
                  <a:pos x="30" y="548"/>
                </a:cxn>
                <a:cxn ang="0">
                  <a:pos x="30" y="582"/>
                </a:cxn>
                <a:cxn ang="0">
                  <a:pos x="36" y="592"/>
                </a:cxn>
                <a:cxn ang="0">
                  <a:pos x="76" y="616"/>
                </a:cxn>
                <a:cxn ang="0">
                  <a:pos x="48" y="642"/>
                </a:cxn>
                <a:cxn ang="0">
                  <a:pos x="36" y="640"/>
                </a:cxn>
                <a:cxn ang="0">
                  <a:pos x="32" y="648"/>
                </a:cxn>
                <a:cxn ang="0">
                  <a:pos x="24" y="642"/>
                </a:cxn>
                <a:cxn ang="0">
                  <a:pos x="26" y="630"/>
                </a:cxn>
                <a:cxn ang="0">
                  <a:pos x="36" y="610"/>
                </a:cxn>
                <a:cxn ang="0">
                  <a:pos x="24" y="612"/>
                </a:cxn>
                <a:cxn ang="0">
                  <a:pos x="16" y="626"/>
                </a:cxn>
                <a:cxn ang="0">
                  <a:pos x="6" y="618"/>
                </a:cxn>
                <a:cxn ang="0">
                  <a:pos x="14" y="606"/>
                </a:cxn>
                <a:cxn ang="0">
                  <a:pos x="18" y="592"/>
                </a:cxn>
                <a:cxn ang="0">
                  <a:pos x="20" y="582"/>
                </a:cxn>
                <a:cxn ang="0">
                  <a:pos x="20" y="562"/>
                </a:cxn>
                <a:cxn ang="0">
                  <a:pos x="16" y="536"/>
                </a:cxn>
                <a:cxn ang="0">
                  <a:pos x="18" y="512"/>
                </a:cxn>
                <a:cxn ang="0">
                  <a:pos x="6" y="508"/>
                </a:cxn>
                <a:cxn ang="0">
                  <a:pos x="6" y="498"/>
                </a:cxn>
                <a:cxn ang="0">
                  <a:pos x="18" y="502"/>
                </a:cxn>
                <a:cxn ang="0">
                  <a:pos x="26" y="488"/>
                </a:cxn>
                <a:cxn ang="0">
                  <a:pos x="34" y="464"/>
                </a:cxn>
                <a:cxn ang="0">
                  <a:pos x="32" y="442"/>
                </a:cxn>
                <a:cxn ang="0">
                  <a:pos x="38" y="414"/>
                </a:cxn>
                <a:cxn ang="0">
                  <a:pos x="30" y="382"/>
                </a:cxn>
                <a:cxn ang="0">
                  <a:pos x="30" y="354"/>
                </a:cxn>
                <a:cxn ang="0">
                  <a:pos x="32" y="330"/>
                </a:cxn>
                <a:cxn ang="0">
                  <a:pos x="42" y="302"/>
                </a:cxn>
                <a:cxn ang="0">
                  <a:pos x="50" y="260"/>
                </a:cxn>
                <a:cxn ang="0">
                  <a:pos x="56" y="202"/>
                </a:cxn>
                <a:cxn ang="0">
                  <a:pos x="58" y="166"/>
                </a:cxn>
                <a:cxn ang="0">
                  <a:pos x="66" y="134"/>
                </a:cxn>
                <a:cxn ang="0">
                  <a:pos x="68" y="98"/>
                </a:cxn>
                <a:cxn ang="0">
                  <a:pos x="70" y="62"/>
                </a:cxn>
                <a:cxn ang="0">
                  <a:pos x="70" y="10"/>
                </a:cxn>
                <a:cxn ang="0">
                  <a:pos x="82" y="14"/>
                </a:cxn>
                <a:cxn ang="0">
                  <a:pos x="96" y="60"/>
                </a:cxn>
                <a:cxn ang="0">
                  <a:pos x="108" y="98"/>
                </a:cxn>
              </a:cxnLst>
              <a:rect l="0" t="0" r="r" b="b"/>
              <a:pathLst>
                <a:path w="110" h="678">
                  <a:moveTo>
                    <a:pt x="104" y="666"/>
                  </a:moveTo>
                  <a:lnTo>
                    <a:pt x="104" y="666"/>
                  </a:lnTo>
                  <a:lnTo>
                    <a:pt x="102" y="672"/>
                  </a:lnTo>
                  <a:lnTo>
                    <a:pt x="98" y="678"/>
                  </a:lnTo>
                  <a:lnTo>
                    <a:pt x="98" y="672"/>
                  </a:lnTo>
                  <a:lnTo>
                    <a:pt x="92" y="670"/>
                  </a:lnTo>
                  <a:lnTo>
                    <a:pt x="92" y="668"/>
                  </a:lnTo>
                  <a:lnTo>
                    <a:pt x="90" y="664"/>
                  </a:lnTo>
                  <a:lnTo>
                    <a:pt x="78" y="668"/>
                  </a:lnTo>
                  <a:lnTo>
                    <a:pt x="76" y="670"/>
                  </a:lnTo>
                  <a:lnTo>
                    <a:pt x="72" y="670"/>
                  </a:lnTo>
                  <a:lnTo>
                    <a:pt x="66" y="670"/>
                  </a:lnTo>
                  <a:lnTo>
                    <a:pt x="66" y="668"/>
                  </a:lnTo>
                  <a:lnTo>
                    <a:pt x="68" y="668"/>
                  </a:lnTo>
                  <a:lnTo>
                    <a:pt x="68" y="666"/>
                  </a:lnTo>
                  <a:lnTo>
                    <a:pt x="64" y="664"/>
                  </a:lnTo>
                  <a:lnTo>
                    <a:pt x="60" y="666"/>
                  </a:lnTo>
                  <a:lnTo>
                    <a:pt x="56" y="666"/>
                  </a:lnTo>
                  <a:lnTo>
                    <a:pt x="56" y="662"/>
                  </a:lnTo>
                  <a:lnTo>
                    <a:pt x="50" y="662"/>
                  </a:lnTo>
                  <a:lnTo>
                    <a:pt x="50" y="660"/>
                  </a:lnTo>
                  <a:lnTo>
                    <a:pt x="46" y="660"/>
                  </a:lnTo>
                  <a:lnTo>
                    <a:pt x="46" y="662"/>
                  </a:lnTo>
                  <a:lnTo>
                    <a:pt x="46" y="664"/>
                  </a:lnTo>
                  <a:lnTo>
                    <a:pt x="42" y="662"/>
                  </a:lnTo>
                  <a:lnTo>
                    <a:pt x="42" y="660"/>
                  </a:lnTo>
                  <a:lnTo>
                    <a:pt x="44" y="660"/>
                  </a:lnTo>
                  <a:lnTo>
                    <a:pt x="44" y="658"/>
                  </a:lnTo>
                  <a:lnTo>
                    <a:pt x="54" y="656"/>
                  </a:lnTo>
                  <a:lnTo>
                    <a:pt x="54" y="654"/>
                  </a:lnTo>
                  <a:lnTo>
                    <a:pt x="54" y="652"/>
                  </a:lnTo>
                  <a:lnTo>
                    <a:pt x="50" y="654"/>
                  </a:lnTo>
                  <a:lnTo>
                    <a:pt x="48" y="654"/>
                  </a:lnTo>
                  <a:lnTo>
                    <a:pt x="46" y="652"/>
                  </a:lnTo>
                  <a:lnTo>
                    <a:pt x="44" y="646"/>
                  </a:lnTo>
                  <a:lnTo>
                    <a:pt x="50" y="646"/>
                  </a:lnTo>
                  <a:lnTo>
                    <a:pt x="50" y="650"/>
                  </a:lnTo>
                  <a:lnTo>
                    <a:pt x="52" y="648"/>
                  </a:lnTo>
                  <a:lnTo>
                    <a:pt x="52" y="650"/>
                  </a:lnTo>
                  <a:lnTo>
                    <a:pt x="54" y="644"/>
                  </a:lnTo>
                  <a:lnTo>
                    <a:pt x="58" y="644"/>
                  </a:lnTo>
                  <a:lnTo>
                    <a:pt x="58" y="652"/>
                  </a:lnTo>
                  <a:lnTo>
                    <a:pt x="62" y="654"/>
                  </a:lnTo>
                  <a:lnTo>
                    <a:pt x="60" y="658"/>
                  </a:lnTo>
                  <a:lnTo>
                    <a:pt x="64" y="658"/>
                  </a:lnTo>
                  <a:lnTo>
                    <a:pt x="64" y="654"/>
                  </a:lnTo>
                  <a:lnTo>
                    <a:pt x="70" y="654"/>
                  </a:lnTo>
                  <a:lnTo>
                    <a:pt x="72" y="656"/>
                  </a:lnTo>
                  <a:lnTo>
                    <a:pt x="76" y="656"/>
                  </a:lnTo>
                  <a:lnTo>
                    <a:pt x="70" y="650"/>
                  </a:lnTo>
                  <a:lnTo>
                    <a:pt x="64" y="650"/>
                  </a:lnTo>
                  <a:lnTo>
                    <a:pt x="62" y="646"/>
                  </a:lnTo>
                  <a:lnTo>
                    <a:pt x="62" y="642"/>
                  </a:lnTo>
                  <a:lnTo>
                    <a:pt x="72" y="638"/>
                  </a:lnTo>
                  <a:lnTo>
                    <a:pt x="62" y="638"/>
                  </a:lnTo>
                  <a:lnTo>
                    <a:pt x="60" y="638"/>
                  </a:lnTo>
                  <a:lnTo>
                    <a:pt x="60" y="636"/>
                  </a:lnTo>
                  <a:lnTo>
                    <a:pt x="60" y="632"/>
                  </a:lnTo>
                  <a:lnTo>
                    <a:pt x="60" y="624"/>
                  </a:lnTo>
                  <a:lnTo>
                    <a:pt x="62" y="624"/>
                  </a:lnTo>
                  <a:lnTo>
                    <a:pt x="66" y="624"/>
                  </a:lnTo>
                  <a:lnTo>
                    <a:pt x="70" y="626"/>
                  </a:lnTo>
                  <a:lnTo>
                    <a:pt x="76" y="620"/>
                  </a:lnTo>
                  <a:lnTo>
                    <a:pt x="80" y="624"/>
                  </a:lnTo>
                  <a:lnTo>
                    <a:pt x="84" y="622"/>
                  </a:lnTo>
                  <a:lnTo>
                    <a:pt x="88" y="666"/>
                  </a:lnTo>
                  <a:lnTo>
                    <a:pt x="92" y="664"/>
                  </a:lnTo>
                  <a:lnTo>
                    <a:pt x="98" y="664"/>
                  </a:lnTo>
                  <a:lnTo>
                    <a:pt x="94" y="664"/>
                  </a:lnTo>
                  <a:lnTo>
                    <a:pt x="96" y="664"/>
                  </a:lnTo>
                  <a:lnTo>
                    <a:pt x="104" y="666"/>
                  </a:lnTo>
                  <a:lnTo>
                    <a:pt x="104" y="666"/>
                  </a:lnTo>
                  <a:close/>
                  <a:moveTo>
                    <a:pt x="108" y="98"/>
                  </a:moveTo>
                  <a:lnTo>
                    <a:pt x="108" y="98"/>
                  </a:lnTo>
                  <a:lnTo>
                    <a:pt x="108" y="102"/>
                  </a:lnTo>
                  <a:lnTo>
                    <a:pt x="104" y="102"/>
                  </a:lnTo>
                  <a:lnTo>
                    <a:pt x="104" y="104"/>
                  </a:lnTo>
                  <a:lnTo>
                    <a:pt x="102" y="106"/>
                  </a:lnTo>
                  <a:lnTo>
                    <a:pt x="100" y="110"/>
                  </a:lnTo>
                  <a:lnTo>
                    <a:pt x="96" y="112"/>
                  </a:lnTo>
                  <a:lnTo>
                    <a:pt x="94" y="112"/>
                  </a:lnTo>
                  <a:lnTo>
                    <a:pt x="92" y="114"/>
                  </a:lnTo>
                  <a:lnTo>
                    <a:pt x="92" y="130"/>
                  </a:lnTo>
                  <a:lnTo>
                    <a:pt x="96" y="136"/>
                  </a:lnTo>
                  <a:lnTo>
                    <a:pt x="96" y="138"/>
                  </a:lnTo>
                  <a:lnTo>
                    <a:pt x="94" y="140"/>
                  </a:lnTo>
                  <a:lnTo>
                    <a:pt x="92" y="142"/>
                  </a:lnTo>
                  <a:lnTo>
                    <a:pt x="92" y="144"/>
                  </a:lnTo>
                  <a:lnTo>
                    <a:pt x="94" y="148"/>
                  </a:lnTo>
                  <a:lnTo>
                    <a:pt x="94" y="154"/>
                  </a:lnTo>
                  <a:lnTo>
                    <a:pt x="92" y="160"/>
                  </a:lnTo>
                  <a:lnTo>
                    <a:pt x="88" y="166"/>
                  </a:lnTo>
                  <a:lnTo>
                    <a:pt x="86" y="172"/>
                  </a:lnTo>
                  <a:lnTo>
                    <a:pt x="84" y="176"/>
                  </a:lnTo>
                  <a:lnTo>
                    <a:pt x="82" y="178"/>
                  </a:lnTo>
                  <a:lnTo>
                    <a:pt x="80" y="180"/>
                  </a:lnTo>
                  <a:lnTo>
                    <a:pt x="78" y="186"/>
                  </a:lnTo>
                  <a:lnTo>
                    <a:pt x="76" y="202"/>
                  </a:lnTo>
                  <a:lnTo>
                    <a:pt x="76" y="210"/>
                  </a:lnTo>
                  <a:lnTo>
                    <a:pt x="76" y="216"/>
                  </a:lnTo>
                  <a:lnTo>
                    <a:pt x="74" y="220"/>
                  </a:lnTo>
                  <a:lnTo>
                    <a:pt x="72" y="228"/>
                  </a:lnTo>
                  <a:lnTo>
                    <a:pt x="72" y="236"/>
                  </a:lnTo>
                  <a:lnTo>
                    <a:pt x="72" y="242"/>
                  </a:lnTo>
                  <a:lnTo>
                    <a:pt x="72" y="248"/>
                  </a:lnTo>
                  <a:lnTo>
                    <a:pt x="72" y="252"/>
                  </a:lnTo>
                  <a:lnTo>
                    <a:pt x="68" y="258"/>
                  </a:lnTo>
                  <a:lnTo>
                    <a:pt x="70" y="264"/>
                  </a:lnTo>
                  <a:lnTo>
                    <a:pt x="70" y="270"/>
                  </a:lnTo>
                  <a:lnTo>
                    <a:pt x="70" y="276"/>
                  </a:lnTo>
                  <a:lnTo>
                    <a:pt x="68" y="286"/>
                  </a:lnTo>
                  <a:lnTo>
                    <a:pt x="64" y="296"/>
                  </a:lnTo>
                  <a:lnTo>
                    <a:pt x="62" y="302"/>
                  </a:lnTo>
                  <a:lnTo>
                    <a:pt x="64" y="304"/>
                  </a:lnTo>
                  <a:lnTo>
                    <a:pt x="64" y="310"/>
                  </a:lnTo>
                  <a:lnTo>
                    <a:pt x="64" y="314"/>
                  </a:lnTo>
                  <a:lnTo>
                    <a:pt x="62" y="316"/>
                  </a:lnTo>
                  <a:lnTo>
                    <a:pt x="60" y="316"/>
                  </a:lnTo>
                  <a:lnTo>
                    <a:pt x="58" y="316"/>
                  </a:lnTo>
                  <a:lnTo>
                    <a:pt x="56" y="320"/>
                  </a:lnTo>
                  <a:lnTo>
                    <a:pt x="54" y="322"/>
                  </a:lnTo>
                  <a:lnTo>
                    <a:pt x="52" y="326"/>
                  </a:lnTo>
                  <a:lnTo>
                    <a:pt x="52" y="332"/>
                  </a:lnTo>
                  <a:lnTo>
                    <a:pt x="52" y="340"/>
                  </a:lnTo>
                  <a:lnTo>
                    <a:pt x="52" y="342"/>
                  </a:lnTo>
                  <a:lnTo>
                    <a:pt x="54" y="344"/>
                  </a:lnTo>
                  <a:lnTo>
                    <a:pt x="56" y="350"/>
                  </a:lnTo>
                  <a:lnTo>
                    <a:pt x="54" y="352"/>
                  </a:lnTo>
                  <a:lnTo>
                    <a:pt x="52" y="354"/>
                  </a:lnTo>
                  <a:lnTo>
                    <a:pt x="50" y="362"/>
                  </a:lnTo>
                  <a:lnTo>
                    <a:pt x="48" y="372"/>
                  </a:lnTo>
                  <a:lnTo>
                    <a:pt x="48" y="378"/>
                  </a:lnTo>
                  <a:lnTo>
                    <a:pt x="44" y="382"/>
                  </a:lnTo>
                  <a:lnTo>
                    <a:pt x="42" y="386"/>
                  </a:lnTo>
                  <a:lnTo>
                    <a:pt x="44" y="388"/>
                  </a:lnTo>
                  <a:lnTo>
                    <a:pt x="44" y="392"/>
                  </a:lnTo>
                  <a:lnTo>
                    <a:pt x="46" y="396"/>
                  </a:lnTo>
                  <a:lnTo>
                    <a:pt x="44" y="402"/>
                  </a:lnTo>
                  <a:lnTo>
                    <a:pt x="44" y="406"/>
                  </a:lnTo>
                  <a:lnTo>
                    <a:pt x="46" y="408"/>
                  </a:lnTo>
                  <a:lnTo>
                    <a:pt x="50" y="408"/>
                  </a:lnTo>
                  <a:lnTo>
                    <a:pt x="50" y="412"/>
                  </a:lnTo>
                  <a:lnTo>
                    <a:pt x="50" y="422"/>
                  </a:lnTo>
                  <a:lnTo>
                    <a:pt x="46" y="430"/>
                  </a:lnTo>
                  <a:lnTo>
                    <a:pt x="46" y="434"/>
                  </a:lnTo>
                  <a:lnTo>
                    <a:pt x="46" y="436"/>
                  </a:lnTo>
                  <a:lnTo>
                    <a:pt x="48" y="442"/>
                  </a:lnTo>
                  <a:lnTo>
                    <a:pt x="50" y="444"/>
                  </a:lnTo>
                  <a:lnTo>
                    <a:pt x="50" y="446"/>
                  </a:lnTo>
                  <a:lnTo>
                    <a:pt x="50" y="450"/>
                  </a:lnTo>
                  <a:lnTo>
                    <a:pt x="50" y="456"/>
                  </a:lnTo>
                  <a:lnTo>
                    <a:pt x="50" y="462"/>
                  </a:lnTo>
                  <a:lnTo>
                    <a:pt x="50" y="464"/>
                  </a:lnTo>
                  <a:lnTo>
                    <a:pt x="50" y="466"/>
                  </a:lnTo>
                  <a:lnTo>
                    <a:pt x="50" y="470"/>
                  </a:lnTo>
                  <a:lnTo>
                    <a:pt x="50" y="472"/>
                  </a:lnTo>
                  <a:lnTo>
                    <a:pt x="50" y="476"/>
                  </a:lnTo>
                  <a:lnTo>
                    <a:pt x="50" y="478"/>
                  </a:lnTo>
                  <a:lnTo>
                    <a:pt x="48" y="478"/>
                  </a:lnTo>
                  <a:lnTo>
                    <a:pt x="48" y="480"/>
                  </a:lnTo>
                  <a:lnTo>
                    <a:pt x="46" y="484"/>
                  </a:lnTo>
                  <a:lnTo>
                    <a:pt x="46" y="486"/>
                  </a:lnTo>
                  <a:lnTo>
                    <a:pt x="48" y="492"/>
                  </a:lnTo>
                  <a:lnTo>
                    <a:pt x="48" y="496"/>
                  </a:lnTo>
                  <a:lnTo>
                    <a:pt x="48" y="502"/>
                  </a:lnTo>
                  <a:lnTo>
                    <a:pt x="46" y="508"/>
                  </a:lnTo>
                  <a:lnTo>
                    <a:pt x="46" y="514"/>
                  </a:lnTo>
                  <a:lnTo>
                    <a:pt x="46" y="518"/>
                  </a:lnTo>
                  <a:lnTo>
                    <a:pt x="46" y="520"/>
                  </a:lnTo>
                  <a:lnTo>
                    <a:pt x="42" y="524"/>
                  </a:lnTo>
                  <a:lnTo>
                    <a:pt x="40" y="528"/>
                  </a:lnTo>
                  <a:lnTo>
                    <a:pt x="40" y="532"/>
                  </a:lnTo>
                  <a:lnTo>
                    <a:pt x="42" y="538"/>
                  </a:lnTo>
                  <a:lnTo>
                    <a:pt x="38" y="542"/>
                  </a:lnTo>
                  <a:lnTo>
                    <a:pt x="32" y="546"/>
                  </a:lnTo>
                  <a:lnTo>
                    <a:pt x="30" y="548"/>
                  </a:lnTo>
                  <a:lnTo>
                    <a:pt x="30" y="550"/>
                  </a:lnTo>
                  <a:lnTo>
                    <a:pt x="32" y="558"/>
                  </a:lnTo>
                  <a:lnTo>
                    <a:pt x="30" y="562"/>
                  </a:lnTo>
                  <a:lnTo>
                    <a:pt x="28" y="568"/>
                  </a:lnTo>
                  <a:lnTo>
                    <a:pt x="28" y="574"/>
                  </a:lnTo>
                  <a:lnTo>
                    <a:pt x="28" y="580"/>
                  </a:lnTo>
                  <a:lnTo>
                    <a:pt x="28" y="582"/>
                  </a:lnTo>
                  <a:lnTo>
                    <a:pt x="30" y="582"/>
                  </a:lnTo>
                  <a:lnTo>
                    <a:pt x="32" y="582"/>
                  </a:lnTo>
                  <a:lnTo>
                    <a:pt x="34" y="580"/>
                  </a:lnTo>
                  <a:lnTo>
                    <a:pt x="36" y="580"/>
                  </a:lnTo>
                  <a:lnTo>
                    <a:pt x="38" y="580"/>
                  </a:lnTo>
                  <a:lnTo>
                    <a:pt x="40" y="584"/>
                  </a:lnTo>
                  <a:lnTo>
                    <a:pt x="38" y="588"/>
                  </a:lnTo>
                  <a:lnTo>
                    <a:pt x="36" y="590"/>
                  </a:lnTo>
                  <a:lnTo>
                    <a:pt x="36" y="592"/>
                  </a:lnTo>
                  <a:lnTo>
                    <a:pt x="38" y="598"/>
                  </a:lnTo>
                  <a:lnTo>
                    <a:pt x="46" y="606"/>
                  </a:lnTo>
                  <a:lnTo>
                    <a:pt x="50" y="612"/>
                  </a:lnTo>
                  <a:lnTo>
                    <a:pt x="66" y="610"/>
                  </a:lnTo>
                  <a:lnTo>
                    <a:pt x="90" y="612"/>
                  </a:lnTo>
                  <a:lnTo>
                    <a:pt x="90" y="614"/>
                  </a:lnTo>
                  <a:lnTo>
                    <a:pt x="80" y="614"/>
                  </a:lnTo>
                  <a:lnTo>
                    <a:pt x="76" y="616"/>
                  </a:lnTo>
                  <a:lnTo>
                    <a:pt x="74" y="622"/>
                  </a:lnTo>
                  <a:lnTo>
                    <a:pt x="56" y="622"/>
                  </a:lnTo>
                  <a:lnTo>
                    <a:pt x="58" y="626"/>
                  </a:lnTo>
                  <a:lnTo>
                    <a:pt x="54" y="632"/>
                  </a:lnTo>
                  <a:lnTo>
                    <a:pt x="56" y="638"/>
                  </a:lnTo>
                  <a:lnTo>
                    <a:pt x="54" y="642"/>
                  </a:lnTo>
                  <a:lnTo>
                    <a:pt x="52" y="644"/>
                  </a:lnTo>
                  <a:lnTo>
                    <a:pt x="48" y="642"/>
                  </a:lnTo>
                  <a:lnTo>
                    <a:pt x="44" y="640"/>
                  </a:lnTo>
                  <a:lnTo>
                    <a:pt x="44" y="640"/>
                  </a:lnTo>
                  <a:lnTo>
                    <a:pt x="44" y="634"/>
                  </a:lnTo>
                  <a:lnTo>
                    <a:pt x="40" y="636"/>
                  </a:lnTo>
                  <a:lnTo>
                    <a:pt x="40" y="640"/>
                  </a:lnTo>
                  <a:lnTo>
                    <a:pt x="34" y="636"/>
                  </a:lnTo>
                  <a:lnTo>
                    <a:pt x="32" y="636"/>
                  </a:lnTo>
                  <a:lnTo>
                    <a:pt x="36" y="640"/>
                  </a:lnTo>
                  <a:lnTo>
                    <a:pt x="42" y="642"/>
                  </a:lnTo>
                  <a:lnTo>
                    <a:pt x="40" y="646"/>
                  </a:lnTo>
                  <a:lnTo>
                    <a:pt x="42" y="650"/>
                  </a:lnTo>
                  <a:lnTo>
                    <a:pt x="38" y="652"/>
                  </a:lnTo>
                  <a:lnTo>
                    <a:pt x="38" y="650"/>
                  </a:lnTo>
                  <a:lnTo>
                    <a:pt x="36" y="650"/>
                  </a:lnTo>
                  <a:lnTo>
                    <a:pt x="34" y="650"/>
                  </a:lnTo>
                  <a:lnTo>
                    <a:pt x="32" y="648"/>
                  </a:lnTo>
                  <a:lnTo>
                    <a:pt x="32" y="646"/>
                  </a:lnTo>
                  <a:lnTo>
                    <a:pt x="32" y="644"/>
                  </a:lnTo>
                  <a:lnTo>
                    <a:pt x="30" y="644"/>
                  </a:lnTo>
                  <a:lnTo>
                    <a:pt x="28" y="646"/>
                  </a:lnTo>
                  <a:lnTo>
                    <a:pt x="28" y="644"/>
                  </a:lnTo>
                  <a:lnTo>
                    <a:pt x="26" y="644"/>
                  </a:lnTo>
                  <a:lnTo>
                    <a:pt x="26" y="642"/>
                  </a:lnTo>
                  <a:lnTo>
                    <a:pt x="24" y="642"/>
                  </a:lnTo>
                  <a:lnTo>
                    <a:pt x="24" y="640"/>
                  </a:lnTo>
                  <a:lnTo>
                    <a:pt x="26" y="632"/>
                  </a:lnTo>
                  <a:lnTo>
                    <a:pt x="30" y="632"/>
                  </a:lnTo>
                  <a:lnTo>
                    <a:pt x="30" y="634"/>
                  </a:lnTo>
                  <a:lnTo>
                    <a:pt x="32" y="634"/>
                  </a:lnTo>
                  <a:lnTo>
                    <a:pt x="32" y="632"/>
                  </a:lnTo>
                  <a:lnTo>
                    <a:pt x="30" y="630"/>
                  </a:lnTo>
                  <a:lnTo>
                    <a:pt x="26" y="630"/>
                  </a:lnTo>
                  <a:lnTo>
                    <a:pt x="24" y="622"/>
                  </a:lnTo>
                  <a:lnTo>
                    <a:pt x="22" y="614"/>
                  </a:lnTo>
                  <a:lnTo>
                    <a:pt x="26" y="614"/>
                  </a:lnTo>
                  <a:lnTo>
                    <a:pt x="30" y="614"/>
                  </a:lnTo>
                  <a:lnTo>
                    <a:pt x="30" y="616"/>
                  </a:lnTo>
                  <a:lnTo>
                    <a:pt x="32" y="616"/>
                  </a:lnTo>
                  <a:lnTo>
                    <a:pt x="34" y="610"/>
                  </a:lnTo>
                  <a:lnTo>
                    <a:pt x="36" y="610"/>
                  </a:lnTo>
                  <a:lnTo>
                    <a:pt x="40" y="606"/>
                  </a:lnTo>
                  <a:lnTo>
                    <a:pt x="40" y="604"/>
                  </a:lnTo>
                  <a:lnTo>
                    <a:pt x="38" y="606"/>
                  </a:lnTo>
                  <a:lnTo>
                    <a:pt x="36" y="606"/>
                  </a:lnTo>
                  <a:lnTo>
                    <a:pt x="34" y="602"/>
                  </a:lnTo>
                  <a:lnTo>
                    <a:pt x="30" y="608"/>
                  </a:lnTo>
                  <a:lnTo>
                    <a:pt x="26" y="612"/>
                  </a:lnTo>
                  <a:lnTo>
                    <a:pt x="24" y="612"/>
                  </a:lnTo>
                  <a:lnTo>
                    <a:pt x="24" y="606"/>
                  </a:lnTo>
                  <a:lnTo>
                    <a:pt x="18" y="610"/>
                  </a:lnTo>
                  <a:lnTo>
                    <a:pt x="16" y="610"/>
                  </a:lnTo>
                  <a:lnTo>
                    <a:pt x="20" y="616"/>
                  </a:lnTo>
                  <a:lnTo>
                    <a:pt x="20" y="626"/>
                  </a:lnTo>
                  <a:lnTo>
                    <a:pt x="12" y="624"/>
                  </a:lnTo>
                  <a:lnTo>
                    <a:pt x="14" y="626"/>
                  </a:lnTo>
                  <a:lnTo>
                    <a:pt x="16" y="626"/>
                  </a:lnTo>
                  <a:lnTo>
                    <a:pt x="24" y="632"/>
                  </a:lnTo>
                  <a:lnTo>
                    <a:pt x="24" y="634"/>
                  </a:lnTo>
                  <a:lnTo>
                    <a:pt x="22" y="634"/>
                  </a:lnTo>
                  <a:lnTo>
                    <a:pt x="18" y="634"/>
                  </a:lnTo>
                  <a:lnTo>
                    <a:pt x="16" y="634"/>
                  </a:lnTo>
                  <a:lnTo>
                    <a:pt x="8" y="626"/>
                  </a:lnTo>
                  <a:lnTo>
                    <a:pt x="10" y="622"/>
                  </a:lnTo>
                  <a:lnTo>
                    <a:pt x="6" y="618"/>
                  </a:lnTo>
                  <a:lnTo>
                    <a:pt x="4" y="616"/>
                  </a:lnTo>
                  <a:lnTo>
                    <a:pt x="2" y="610"/>
                  </a:lnTo>
                  <a:lnTo>
                    <a:pt x="2" y="608"/>
                  </a:lnTo>
                  <a:lnTo>
                    <a:pt x="4" y="606"/>
                  </a:lnTo>
                  <a:lnTo>
                    <a:pt x="8" y="604"/>
                  </a:lnTo>
                  <a:lnTo>
                    <a:pt x="12" y="608"/>
                  </a:lnTo>
                  <a:lnTo>
                    <a:pt x="14" y="608"/>
                  </a:lnTo>
                  <a:lnTo>
                    <a:pt x="14" y="606"/>
                  </a:lnTo>
                  <a:lnTo>
                    <a:pt x="16" y="606"/>
                  </a:lnTo>
                  <a:lnTo>
                    <a:pt x="20" y="606"/>
                  </a:lnTo>
                  <a:lnTo>
                    <a:pt x="20" y="602"/>
                  </a:lnTo>
                  <a:lnTo>
                    <a:pt x="24" y="602"/>
                  </a:lnTo>
                  <a:lnTo>
                    <a:pt x="22" y="598"/>
                  </a:lnTo>
                  <a:lnTo>
                    <a:pt x="20" y="596"/>
                  </a:lnTo>
                  <a:lnTo>
                    <a:pt x="18" y="594"/>
                  </a:lnTo>
                  <a:lnTo>
                    <a:pt x="18" y="592"/>
                  </a:lnTo>
                  <a:lnTo>
                    <a:pt x="18" y="590"/>
                  </a:lnTo>
                  <a:lnTo>
                    <a:pt x="24" y="586"/>
                  </a:lnTo>
                  <a:lnTo>
                    <a:pt x="22" y="586"/>
                  </a:lnTo>
                  <a:lnTo>
                    <a:pt x="18" y="584"/>
                  </a:lnTo>
                  <a:lnTo>
                    <a:pt x="18" y="582"/>
                  </a:lnTo>
                  <a:lnTo>
                    <a:pt x="20" y="582"/>
                  </a:lnTo>
                  <a:lnTo>
                    <a:pt x="22" y="582"/>
                  </a:lnTo>
                  <a:lnTo>
                    <a:pt x="20" y="582"/>
                  </a:lnTo>
                  <a:lnTo>
                    <a:pt x="16" y="580"/>
                  </a:lnTo>
                  <a:lnTo>
                    <a:pt x="12" y="580"/>
                  </a:lnTo>
                  <a:lnTo>
                    <a:pt x="12" y="574"/>
                  </a:lnTo>
                  <a:lnTo>
                    <a:pt x="16" y="570"/>
                  </a:lnTo>
                  <a:lnTo>
                    <a:pt x="16" y="566"/>
                  </a:lnTo>
                  <a:lnTo>
                    <a:pt x="18" y="564"/>
                  </a:lnTo>
                  <a:lnTo>
                    <a:pt x="20" y="564"/>
                  </a:lnTo>
                  <a:lnTo>
                    <a:pt x="20" y="562"/>
                  </a:lnTo>
                  <a:lnTo>
                    <a:pt x="22" y="556"/>
                  </a:lnTo>
                  <a:lnTo>
                    <a:pt x="18" y="558"/>
                  </a:lnTo>
                  <a:lnTo>
                    <a:pt x="18" y="560"/>
                  </a:lnTo>
                  <a:lnTo>
                    <a:pt x="16" y="560"/>
                  </a:lnTo>
                  <a:lnTo>
                    <a:pt x="16" y="548"/>
                  </a:lnTo>
                  <a:lnTo>
                    <a:pt x="18" y="548"/>
                  </a:lnTo>
                  <a:lnTo>
                    <a:pt x="16" y="544"/>
                  </a:lnTo>
                  <a:lnTo>
                    <a:pt x="16" y="536"/>
                  </a:lnTo>
                  <a:lnTo>
                    <a:pt x="16" y="528"/>
                  </a:lnTo>
                  <a:lnTo>
                    <a:pt x="20" y="530"/>
                  </a:lnTo>
                  <a:lnTo>
                    <a:pt x="20" y="528"/>
                  </a:lnTo>
                  <a:lnTo>
                    <a:pt x="22" y="526"/>
                  </a:lnTo>
                  <a:lnTo>
                    <a:pt x="18" y="526"/>
                  </a:lnTo>
                  <a:lnTo>
                    <a:pt x="20" y="524"/>
                  </a:lnTo>
                  <a:lnTo>
                    <a:pt x="20" y="520"/>
                  </a:lnTo>
                  <a:lnTo>
                    <a:pt x="18" y="512"/>
                  </a:lnTo>
                  <a:lnTo>
                    <a:pt x="12" y="512"/>
                  </a:lnTo>
                  <a:lnTo>
                    <a:pt x="12" y="516"/>
                  </a:lnTo>
                  <a:lnTo>
                    <a:pt x="6" y="514"/>
                  </a:lnTo>
                  <a:lnTo>
                    <a:pt x="6" y="512"/>
                  </a:lnTo>
                  <a:lnTo>
                    <a:pt x="6" y="510"/>
                  </a:lnTo>
                  <a:lnTo>
                    <a:pt x="8" y="510"/>
                  </a:lnTo>
                  <a:lnTo>
                    <a:pt x="8" y="508"/>
                  </a:lnTo>
                  <a:lnTo>
                    <a:pt x="6" y="508"/>
                  </a:lnTo>
                  <a:lnTo>
                    <a:pt x="6" y="510"/>
                  </a:lnTo>
                  <a:lnTo>
                    <a:pt x="2" y="510"/>
                  </a:lnTo>
                  <a:lnTo>
                    <a:pt x="2" y="514"/>
                  </a:lnTo>
                  <a:lnTo>
                    <a:pt x="0" y="514"/>
                  </a:lnTo>
                  <a:lnTo>
                    <a:pt x="0" y="508"/>
                  </a:lnTo>
                  <a:lnTo>
                    <a:pt x="6" y="504"/>
                  </a:lnTo>
                  <a:lnTo>
                    <a:pt x="2" y="500"/>
                  </a:lnTo>
                  <a:lnTo>
                    <a:pt x="6" y="498"/>
                  </a:lnTo>
                  <a:lnTo>
                    <a:pt x="8" y="496"/>
                  </a:lnTo>
                  <a:lnTo>
                    <a:pt x="12" y="496"/>
                  </a:lnTo>
                  <a:lnTo>
                    <a:pt x="12" y="502"/>
                  </a:lnTo>
                  <a:lnTo>
                    <a:pt x="16" y="498"/>
                  </a:lnTo>
                  <a:lnTo>
                    <a:pt x="16" y="502"/>
                  </a:lnTo>
                  <a:lnTo>
                    <a:pt x="14" y="502"/>
                  </a:lnTo>
                  <a:lnTo>
                    <a:pt x="16" y="502"/>
                  </a:lnTo>
                  <a:lnTo>
                    <a:pt x="18" y="502"/>
                  </a:lnTo>
                  <a:lnTo>
                    <a:pt x="18" y="500"/>
                  </a:lnTo>
                  <a:lnTo>
                    <a:pt x="22" y="500"/>
                  </a:lnTo>
                  <a:lnTo>
                    <a:pt x="22" y="502"/>
                  </a:lnTo>
                  <a:lnTo>
                    <a:pt x="22" y="504"/>
                  </a:lnTo>
                  <a:lnTo>
                    <a:pt x="24" y="502"/>
                  </a:lnTo>
                  <a:lnTo>
                    <a:pt x="26" y="502"/>
                  </a:lnTo>
                  <a:lnTo>
                    <a:pt x="26" y="496"/>
                  </a:lnTo>
                  <a:lnTo>
                    <a:pt x="26" y="488"/>
                  </a:lnTo>
                  <a:lnTo>
                    <a:pt x="30" y="486"/>
                  </a:lnTo>
                  <a:lnTo>
                    <a:pt x="28" y="484"/>
                  </a:lnTo>
                  <a:lnTo>
                    <a:pt x="26" y="484"/>
                  </a:lnTo>
                  <a:lnTo>
                    <a:pt x="28" y="476"/>
                  </a:lnTo>
                  <a:lnTo>
                    <a:pt x="26" y="470"/>
                  </a:lnTo>
                  <a:lnTo>
                    <a:pt x="30" y="468"/>
                  </a:lnTo>
                  <a:lnTo>
                    <a:pt x="26" y="464"/>
                  </a:lnTo>
                  <a:lnTo>
                    <a:pt x="34" y="464"/>
                  </a:lnTo>
                  <a:lnTo>
                    <a:pt x="32" y="462"/>
                  </a:lnTo>
                  <a:lnTo>
                    <a:pt x="30" y="462"/>
                  </a:lnTo>
                  <a:lnTo>
                    <a:pt x="30" y="458"/>
                  </a:lnTo>
                  <a:lnTo>
                    <a:pt x="38" y="454"/>
                  </a:lnTo>
                  <a:lnTo>
                    <a:pt x="34" y="450"/>
                  </a:lnTo>
                  <a:lnTo>
                    <a:pt x="34" y="446"/>
                  </a:lnTo>
                  <a:lnTo>
                    <a:pt x="32" y="446"/>
                  </a:lnTo>
                  <a:lnTo>
                    <a:pt x="32" y="442"/>
                  </a:lnTo>
                  <a:lnTo>
                    <a:pt x="34" y="440"/>
                  </a:lnTo>
                  <a:lnTo>
                    <a:pt x="36" y="438"/>
                  </a:lnTo>
                  <a:lnTo>
                    <a:pt x="36" y="440"/>
                  </a:lnTo>
                  <a:lnTo>
                    <a:pt x="38" y="438"/>
                  </a:lnTo>
                  <a:lnTo>
                    <a:pt x="36" y="418"/>
                  </a:lnTo>
                  <a:lnTo>
                    <a:pt x="40" y="416"/>
                  </a:lnTo>
                  <a:lnTo>
                    <a:pt x="40" y="414"/>
                  </a:lnTo>
                  <a:lnTo>
                    <a:pt x="38" y="414"/>
                  </a:lnTo>
                  <a:lnTo>
                    <a:pt x="36" y="410"/>
                  </a:lnTo>
                  <a:lnTo>
                    <a:pt x="32" y="414"/>
                  </a:lnTo>
                  <a:lnTo>
                    <a:pt x="32" y="416"/>
                  </a:lnTo>
                  <a:lnTo>
                    <a:pt x="26" y="416"/>
                  </a:lnTo>
                  <a:lnTo>
                    <a:pt x="26" y="410"/>
                  </a:lnTo>
                  <a:lnTo>
                    <a:pt x="24" y="404"/>
                  </a:lnTo>
                  <a:lnTo>
                    <a:pt x="26" y="394"/>
                  </a:lnTo>
                  <a:lnTo>
                    <a:pt x="30" y="382"/>
                  </a:lnTo>
                  <a:lnTo>
                    <a:pt x="32" y="382"/>
                  </a:lnTo>
                  <a:lnTo>
                    <a:pt x="32" y="370"/>
                  </a:lnTo>
                  <a:lnTo>
                    <a:pt x="30" y="362"/>
                  </a:lnTo>
                  <a:lnTo>
                    <a:pt x="30" y="360"/>
                  </a:lnTo>
                  <a:lnTo>
                    <a:pt x="32" y="360"/>
                  </a:lnTo>
                  <a:lnTo>
                    <a:pt x="30" y="358"/>
                  </a:lnTo>
                  <a:lnTo>
                    <a:pt x="30" y="356"/>
                  </a:lnTo>
                  <a:lnTo>
                    <a:pt x="30" y="354"/>
                  </a:lnTo>
                  <a:lnTo>
                    <a:pt x="32" y="350"/>
                  </a:lnTo>
                  <a:lnTo>
                    <a:pt x="28" y="348"/>
                  </a:lnTo>
                  <a:lnTo>
                    <a:pt x="28" y="344"/>
                  </a:lnTo>
                  <a:lnTo>
                    <a:pt x="30" y="342"/>
                  </a:lnTo>
                  <a:lnTo>
                    <a:pt x="26" y="338"/>
                  </a:lnTo>
                  <a:lnTo>
                    <a:pt x="30" y="336"/>
                  </a:lnTo>
                  <a:lnTo>
                    <a:pt x="34" y="336"/>
                  </a:lnTo>
                  <a:lnTo>
                    <a:pt x="32" y="330"/>
                  </a:lnTo>
                  <a:lnTo>
                    <a:pt x="34" y="328"/>
                  </a:lnTo>
                  <a:lnTo>
                    <a:pt x="36" y="326"/>
                  </a:lnTo>
                  <a:lnTo>
                    <a:pt x="38" y="324"/>
                  </a:lnTo>
                  <a:lnTo>
                    <a:pt x="38" y="318"/>
                  </a:lnTo>
                  <a:lnTo>
                    <a:pt x="42" y="314"/>
                  </a:lnTo>
                  <a:lnTo>
                    <a:pt x="42" y="308"/>
                  </a:lnTo>
                  <a:lnTo>
                    <a:pt x="42" y="302"/>
                  </a:lnTo>
                  <a:lnTo>
                    <a:pt x="42" y="302"/>
                  </a:lnTo>
                  <a:lnTo>
                    <a:pt x="40" y="298"/>
                  </a:lnTo>
                  <a:lnTo>
                    <a:pt x="44" y="292"/>
                  </a:lnTo>
                  <a:lnTo>
                    <a:pt x="48" y="286"/>
                  </a:lnTo>
                  <a:lnTo>
                    <a:pt x="48" y="276"/>
                  </a:lnTo>
                  <a:lnTo>
                    <a:pt x="50" y="270"/>
                  </a:lnTo>
                  <a:lnTo>
                    <a:pt x="50" y="268"/>
                  </a:lnTo>
                  <a:lnTo>
                    <a:pt x="50" y="266"/>
                  </a:lnTo>
                  <a:lnTo>
                    <a:pt x="50" y="260"/>
                  </a:lnTo>
                  <a:lnTo>
                    <a:pt x="54" y="256"/>
                  </a:lnTo>
                  <a:lnTo>
                    <a:pt x="56" y="236"/>
                  </a:lnTo>
                  <a:lnTo>
                    <a:pt x="54" y="230"/>
                  </a:lnTo>
                  <a:lnTo>
                    <a:pt x="52" y="226"/>
                  </a:lnTo>
                  <a:lnTo>
                    <a:pt x="52" y="220"/>
                  </a:lnTo>
                  <a:lnTo>
                    <a:pt x="54" y="216"/>
                  </a:lnTo>
                  <a:lnTo>
                    <a:pt x="56" y="216"/>
                  </a:lnTo>
                  <a:lnTo>
                    <a:pt x="56" y="202"/>
                  </a:lnTo>
                  <a:lnTo>
                    <a:pt x="54" y="196"/>
                  </a:lnTo>
                  <a:lnTo>
                    <a:pt x="52" y="192"/>
                  </a:lnTo>
                  <a:lnTo>
                    <a:pt x="52" y="190"/>
                  </a:lnTo>
                  <a:lnTo>
                    <a:pt x="56" y="182"/>
                  </a:lnTo>
                  <a:lnTo>
                    <a:pt x="56" y="176"/>
                  </a:lnTo>
                  <a:lnTo>
                    <a:pt x="56" y="172"/>
                  </a:lnTo>
                  <a:lnTo>
                    <a:pt x="58" y="172"/>
                  </a:lnTo>
                  <a:lnTo>
                    <a:pt x="58" y="166"/>
                  </a:lnTo>
                  <a:lnTo>
                    <a:pt x="58" y="162"/>
                  </a:lnTo>
                  <a:lnTo>
                    <a:pt x="62" y="160"/>
                  </a:lnTo>
                  <a:lnTo>
                    <a:pt x="62" y="156"/>
                  </a:lnTo>
                  <a:lnTo>
                    <a:pt x="62" y="152"/>
                  </a:lnTo>
                  <a:lnTo>
                    <a:pt x="62" y="144"/>
                  </a:lnTo>
                  <a:lnTo>
                    <a:pt x="64" y="144"/>
                  </a:lnTo>
                  <a:lnTo>
                    <a:pt x="62" y="142"/>
                  </a:lnTo>
                  <a:lnTo>
                    <a:pt x="66" y="134"/>
                  </a:lnTo>
                  <a:lnTo>
                    <a:pt x="64" y="130"/>
                  </a:lnTo>
                  <a:lnTo>
                    <a:pt x="64" y="128"/>
                  </a:lnTo>
                  <a:lnTo>
                    <a:pt x="62" y="120"/>
                  </a:lnTo>
                  <a:lnTo>
                    <a:pt x="64" y="114"/>
                  </a:lnTo>
                  <a:lnTo>
                    <a:pt x="66" y="104"/>
                  </a:lnTo>
                  <a:lnTo>
                    <a:pt x="66" y="102"/>
                  </a:lnTo>
                  <a:lnTo>
                    <a:pt x="68" y="102"/>
                  </a:lnTo>
                  <a:lnTo>
                    <a:pt x="68" y="98"/>
                  </a:lnTo>
                  <a:lnTo>
                    <a:pt x="64" y="96"/>
                  </a:lnTo>
                  <a:lnTo>
                    <a:pt x="64" y="94"/>
                  </a:lnTo>
                  <a:lnTo>
                    <a:pt x="64" y="90"/>
                  </a:lnTo>
                  <a:lnTo>
                    <a:pt x="68" y="90"/>
                  </a:lnTo>
                  <a:lnTo>
                    <a:pt x="68" y="80"/>
                  </a:lnTo>
                  <a:lnTo>
                    <a:pt x="68" y="68"/>
                  </a:lnTo>
                  <a:lnTo>
                    <a:pt x="70" y="68"/>
                  </a:lnTo>
                  <a:lnTo>
                    <a:pt x="70" y="62"/>
                  </a:lnTo>
                  <a:lnTo>
                    <a:pt x="72" y="62"/>
                  </a:lnTo>
                  <a:lnTo>
                    <a:pt x="72" y="58"/>
                  </a:lnTo>
                  <a:lnTo>
                    <a:pt x="70" y="56"/>
                  </a:lnTo>
                  <a:lnTo>
                    <a:pt x="72" y="48"/>
                  </a:lnTo>
                  <a:lnTo>
                    <a:pt x="72" y="42"/>
                  </a:lnTo>
                  <a:lnTo>
                    <a:pt x="72" y="28"/>
                  </a:lnTo>
                  <a:lnTo>
                    <a:pt x="70" y="18"/>
                  </a:lnTo>
                  <a:lnTo>
                    <a:pt x="70" y="10"/>
                  </a:lnTo>
                  <a:lnTo>
                    <a:pt x="68" y="8"/>
                  </a:lnTo>
                  <a:lnTo>
                    <a:pt x="70" y="8"/>
                  </a:lnTo>
                  <a:lnTo>
                    <a:pt x="72" y="4"/>
                  </a:lnTo>
                  <a:lnTo>
                    <a:pt x="74" y="0"/>
                  </a:lnTo>
                  <a:lnTo>
                    <a:pt x="76" y="0"/>
                  </a:lnTo>
                  <a:lnTo>
                    <a:pt x="78" y="6"/>
                  </a:lnTo>
                  <a:lnTo>
                    <a:pt x="80" y="12"/>
                  </a:lnTo>
                  <a:lnTo>
                    <a:pt x="82" y="14"/>
                  </a:lnTo>
                  <a:lnTo>
                    <a:pt x="86" y="20"/>
                  </a:lnTo>
                  <a:lnTo>
                    <a:pt x="88" y="22"/>
                  </a:lnTo>
                  <a:lnTo>
                    <a:pt x="92" y="34"/>
                  </a:lnTo>
                  <a:lnTo>
                    <a:pt x="92" y="40"/>
                  </a:lnTo>
                  <a:lnTo>
                    <a:pt x="96" y="46"/>
                  </a:lnTo>
                  <a:lnTo>
                    <a:pt x="96" y="50"/>
                  </a:lnTo>
                  <a:lnTo>
                    <a:pt x="96" y="54"/>
                  </a:lnTo>
                  <a:lnTo>
                    <a:pt x="96" y="60"/>
                  </a:lnTo>
                  <a:lnTo>
                    <a:pt x="98" y="72"/>
                  </a:lnTo>
                  <a:lnTo>
                    <a:pt x="104" y="76"/>
                  </a:lnTo>
                  <a:lnTo>
                    <a:pt x="104" y="80"/>
                  </a:lnTo>
                  <a:lnTo>
                    <a:pt x="104" y="82"/>
                  </a:lnTo>
                  <a:lnTo>
                    <a:pt x="106" y="84"/>
                  </a:lnTo>
                  <a:lnTo>
                    <a:pt x="110" y="88"/>
                  </a:lnTo>
                  <a:lnTo>
                    <a:pt x="110" y="90"/>
                  </a:lnTo>
                  <a:lnTo>
                    <a:pt x="108" y="98"/>
                  </a:lnTo>
                  <a:lnTo>
                    <a:pt x="108" y="9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0" name="Freeform 383">
              <a:extLst>
                <a:ext uri="{FF2B5EF4-FFF2-40B4-BE49-F238E27FC236}">
                  <a16:creationId xmlns:a16="http://schemas.microsoft.com/office/drawing/2014/main" id="{B831DA0D-AD74-4BB2-A238-21D0895A80BA}"/>
                </a:ext>
              </a:extLst>
            </p:cNvPr>
            <p:cNvSpPr>
              <a:spLocks noEditPoints="1"/>
            </p:cNvSpPr>
            <p:nvPr/>
          </p:nvSpPr>
          <p:spPr bwMode="auto">
            <a:xfrm>
              <a:off x="3267200" y="4255071"/>
              <a:ext cx="176093" cy="341829"/>
            </a:xfrm>
            <a:custGeom>
              <a:avLst/>
              <a:gdLst/>
              <a:ahLst/>
              <a:cxnLst>
                <a:cxn ang="0">
                  <a:pos x="8" y="168"/>
                </a:cxn>
                <a:cxn ang="0">
                  <a:pos x="16" y="178"/>
                </a:cxn>
                <a:cxn ang="0">
                  <a:pos x="16" y="182"/>
                </a:cxn>
                <a:cxn ang="0">
                  <a:pos x="20" y="190"/>
                </a:cxn>
                <a:cxn ang="0">
                  <a:pos x="18" y="196"/>
                </a:cxn>
                <a:cxn ang="0">
                  <a:pos x="18" y="206"/>
                </a:cxn>
                <a:cxn ang="0">
                  <a:pos x="20" y="214"/>
                </a:cxn>
                <a:cxn ang="0">
                  <a:pos x="22" y="222"/>
                </a:cxn>
                <a:cxn ang="0">
                  <a:pos x="16" y="224"/>
                </a:cxn>
                <a:cxn ang="0">
                  <a:pos x="8" y="224"/>
                </a:cxn>
                <a:cxn ang="0">
                  <a:pos x="6" y="230"/>
                </a:cxn>
                <a:cxn ang="0">
                  <a:pos x="14" y="244"/>
                </a:cxn>
                <a:cxn ang="0">
                  <a:pos x="18" y="256"/>
                </a:cxn>
                <a:cxn ang="0">
                  <a:pos x="20" y="264"/>
                </a:cxn>
                <a:cxn ang="0">
                  <a:pos x="30" y="258"/>
                </a:cxn>
                <a:cxn ang="0">
                  <a:pos x="36" y="260"/>
                </a:cxn>
                <a:cxn ang="0">
                  <a:pos x="58" y="256"/>
                </a:cxn>
                <a:cxn ang="0">
                  <a:pos x="66" y="246"/>
                </a:cxn>
                <a:cxn ang="0">
                  <a:pos x="68" y="242"/>
                </a:cxn>
                <a:cxn ang="0">
                  <a:pos x="68" y="236"/>
                </a:cxn>
                <a:cxn ang="0">
                  <a:pos x="74" y="232"/>
                </a:cxn>
                <a:cxn ang="0">
                  <a:pos x="82" y="230"/>
                </a:cxn>
                <a:cxn ang="0">
                  <a:pos x="90" y="226"/>
                </a:cxn>
                <a:cxn ang="0">
                  <a:pos x="94" y="224"/>
                </a:cxn>
                <a:cxn ang="0">
                  <a:pos x="104" y="218"/>
                </a:cxn>
                <a:cxn ang="0">
                  <a:pos x="108" y="212"/>
                </a:cxn>
                <a:cxn ang="0">
                  <a:pos x="112" y="208"/>
                </a:cxn>
                <a:cxn ang="0">
                  <a:pos x="114" y="206"/>
                </a:cxn>
                <a:cxn ang="0">
                  <a:pos x="110" y="198"/>
                </a:cxn>
                <a:cxn ang="0">
                  <a:pos x="112" y="190"/>
                </a:cxn>
                <a:cxn ang="0">
                  <a:pos x="110" y="184"/>
                </a:cxn>
                <a:cxn ang="0">
                  <a:pos x="114" y="180"/>
                </a:cxn>
                <a:cxn ang="0">
                  <a:pos x="110" y="176"/>
                </a:cxn>
                <a:cxn ang="0">
                  <a:pos x="104" y="176"/>
                </a:cxn>
                <a:cxn ang="0">
                  <a:pos x="102" y="174"/>
                </a:cxn>
                <a:cxn ang="0">
                  <a:pos x="102" y="170"/>
                </a:cxn>
                <a:cxn ang="0">
                  <a:pos x="106" y="164"/>
                </a:cxn>
                <a:cxn ang="0">
                  <a:pos x="110" y="160"/>
                </a:cxn>
                <a:cxn ang="0">
                  <a:pos x="114" y="150"/>
                </a:cxn>
                <a:cxn ang="0">
                  <a:pos x="116" y="144"/>
                </a:cxn>
                <a:cxn ang="0">
                  <a:pos x="118" y="136"/>
                </a:cxn>
                <a:cxn ang="0">
                  <a:pos x="118" y="132"/>
                </a:cxn>
                <a:cxn ang="0">
                  <a:pos x="120" y="126"/>
                </a:cxn>
                <a:cxn ang="0">
                  <a:pos x="126" y="126"/>
                </a:cxn>
                <a:cxn ang="0">
                  <a:pos x="136" y="126"/>
                </a:cxn>
                <a:cxn ang="0">
                  <a:pos x="24" y="0"/>
                </a:cxn>
                <a:cxn ang="0">
                  <a:pos x="18" y="42"/>
                </a:cxn>
                <a:cxn ang="0">
                  <a:pos x="24" y="52"/>
                </a:cxn>
                <a:cxn ang="0">
                  <a:pos x="20" y="62"/>
                </a:cxn>
                <a:cxn ang="0">
                  <a:pos x="18" y="98"/>
                </a:cxn>
                <a:cxn ang="0">
                  <a:pos x="0" y="140"/>
                </a:cxn>
                <a:cxn ang="0">
                  <a:pos x="8" y="168"/>
                </a:cxn>
                <a:cxn ang="0">
                  <a:pos x="2" y="154"/>
                </a:cxn>
                <a:cxn ang="0">
                  <a:pos x="6" y="154"/>
                </a:cxn>
                <a:cxn ang="0">
                  <a:pos x="12" y="162"/>
                </a:cxn>
                <a:cxn ang="0">
                  <a:pos x="22" y="168"/>
                </a:cxn>
                <a:cxn ang="0">
                  <a:pos x="18" y="166"/>
                </a:cxn>
                <a:cxn ang="0">
                  <a:pos x="10" y="168"/>
                </a:cxn>
                <a:cxn ang="0">
                  <a:pos x="2" y="154"/>
                </a:cxn>
              </a:cxnLst>
              <a:rect l="0" t="0" r="r" b="b"/>
              <a:pathLst>
                <a:path w="136" h="264">
                  <a:moveTo>
                    <a:pt x="8" y="168"/>
                  </a:moveTo>
                  <a:lnTo>
                    <a:pt x="8" y="168"/>
                  </a:lnTo>
                  <a:lnTo>
                    <a:pt x="16" y="174"/>
                  </a:lnTo>
                  <a:lnTo>
                    <a:pt x="16" y="178"/>
                  </a:lnTo>
                  <a:lnTo>
                    <a:pt x="16" y="180"/>
                  </a:lnTo>
                  <a:lnTo>
                    <a:pt x="16" y="182"/>
                  </a:lnTo>
                  <a:lnTo>
                    <a:pt x="20" y="186"/>
                  </a:lnTo>
                  <a:lnTo>
                    <a:pt x="20" y="190"/>
                  </a:lnTo>
                  <a:lnTo>
                    <a:pt x="20" y="194"/>
                  </a:lnTo>
                  <a:lnTo>
                    <a:pt x="18" y="196"/>
                  </a:lnTo>
                  <a:lnTo>
                    <a:pt x="16" y="200"/>
                  </a:lnTo>
                  <a:lnTo>
                    <a:pt x="18" y="206"/>
                  </a:lnTo>
                  <a:lnTo>
                    <a:pt x="20" y="210"/>
                  </a:lnTo>
                  <a:lnTo>
                    <a:pt x="20" y="214"/>
                  </a:lnTo>
                  <a:lnTo>
                    <a:pt x="22" y="218"/>
                  </a:lnTo>
                  <a:lnTo>
                    <a:pt x="22" y="222"/>
                  </a:lnTo>
                  <a:lnTo>
                    <a:pt x="22" y="224"/>
                  </a:lnTo>
                  <a:lnTo>
                    <a:pt x="16" y="224"/>
                  </a:lnTo>
                  <a:lnTo>
                    <a:pt x="12" y="224"/>
                  </a:lnTo>
                  <a:lnTo>
                    <a:pt x="8" y="224"/>
                  </a:lnTo>
                  <a:lnTo>
                    <a:pt x="6" y="228"/>
                  </a:lnTo>
                  <a:lnTo>
                    <a:pt x="6" y="230"/>
                  </a:lnTo>
                  <a:lnTo>
                    <a:pt x="6" y="232"/>
                  </a:lnTo>
                  <a:lnTo>
                    <a:pt x="14" y="244"/>
                  </a:lnTo>
                  <a:lnTo>
                    <a:pt x="16" y="250"/>
                  </a:lnTo>
                  <a:lnTo>
                    <a:pt x="18" y="256"/>
                  </a:lnTo>
                  <a:lnTo>
                    <a:pt x="14" y="264"/>
                  </a:lnTo>
                  <a:lnTo>
                    <a:pt x="20" y="264"/>
                  </a:lnTo>
                  <a:lnTo>
                    <a:pt x="26" y="264"/>
                  </a:lnTo>
                  <a:lnTo>
                    <a:pt x="30" y="258"/>
                  </a:lnTo>
                  <a:lnTo>
                    <a:pt x="32" y="260"/>
                  </a:lnTo>
                  <a:lnTo>
                    <a:pt x="36" y="260"/>
                  </a:lnTo>
                  <a:lnTo>
                    <a:pt x="52" y="258"/>
                  </a:lnTo>
                  <a:lnTo>
                    <a:pt x="58" y="256"/>
                  </a:lnTo>
                  <a:lnTo>
                    <a:pt x="62" y="250"/>
                  </a:lnTo>
                  <a:lnTo>
                    <a:pt x="66" y="246"/>
                  </a:lnTo>
                  <a:lnTo>
                    <a:pt x="70" y="244"/>
                  </a:lnTo>
                  <a:lnTo>
                    <a:pt x="68" y="242"/>
                  </a:lnTo>
                  <a:lnTo>
                    <a:pt x="66" y="240"/>
                  </a:lnTo>
                  <a:lnTo>
                    <a:pt x="68" y="236"/>
                  </a:lnTo>
                  <a:lnTo>
                    <a:pt x="70" y="234"/>
                  </a:lnTo>
                  <a:lnTo>
                    <a:pt x="74" y="232"/>
                  </a:lnTo>
                  <a:lnTo>
                    <a:pt x="80" y="232"/>
                  </a:lnTo>
                  <a:lnTo>
                    <a:pt x="82" y="230"/>
                  </a:lnTo>
                  <a:lnTo>
                    <a:pt x="86" y="228"/>
                  </a:lnTo>
                  <a:lnTo>
                    <a:pt x="90" y="226"/>
                  </a:lnTo>
                  <a:lnTo>
                    <a:pt x="92" y="226"/>
                  </a:lnTo>
                  <a:lnTo>
                    <a:pt x="94" y="224"/>
                  </a:lnTo>
                  <a:lnTo>
                    <a:pt x="96" y="222"/>
                  </a:lnTo>
                  <a:lnTo>
                    <a:pt x="104" y="218"/>
                  </a:lnTo>
                  <a:lnTo>
                    <a:pt x="106" y="216"/>
                  </a:lnTo>
                  <a:lnTo>
                    <a:pt x="108" y="212"/>
                  </a:lnTo>
                  <a:lnTo>
                    <a:pt x="110" y="210"/>
                  </a:lnTo>
                  <a:lnTo>
                    <a:pt x="112" y="208"/>
                  </a:lnTo>
                  <a:lnTo>
                    <a:pt x="114" y="208"/>
                  </a:lnTo>
                  <a:lnTo>
                    <a:pt x="114" y="206"/>
                  </a:lnTo>
                  <a:lnTo>
                    <a:pt x="114" y="202"/>
                  </a:lnTo>
                  <a:lnTo>
                    <a:pt x="110" y="198"/>
                  </a:lnTo>
                  <a:lnTo>
                    <a:pt x="112" y="196"/>
                  </a:lnTo>
                  <a:lnTo>
                    <a:pt x="112" y="190"/>
                  </a:lnTo>
                  <a:lnTo>
                    <a:pt x="110" y="186"/>
                  </a:lnTo>
                  <a:lnTo>
                    <a:pt x="110" y="184"/>
                  </a:lnTo>
                  <a:lnTo>
                    <a:pt x="112" y="182"/>
                  </a:lnTo>
                  <a:lnTo>
                    <a:pt x="114" y="180"/>
                  </a:lnTo>
                  <a:lnTo>
                    <a:pt x="114" y="178"/>
                  </a:lnTo>
                  <a:lnTo>
                    <a:pt x="110" y="176"/>
                  </a:lnTo>
                  <a:lnTo>
                    <a:pt x="108" y="174"/>
                  </a:lnTo>
                  <a:lnTo>
                    <a:pt x="104" y="176"/>
                  </a:lnTo>
                  <a:lnTo>
                    <a:pt x="102" y="176"/>
                  </a:lnTo>
                  <a:lnTo>
                    <a:pt x="102" y="174"/>
                  </a:lnTo>
                  <a:lnTo>
                    <a:pt x="102" y="170"/>
                  </a:lnTo>
                  <a:lnTo>
                    <a:pt x="102" y="170"/>
                  </a:lnTo>
                  <a:lnTo>
                    <a:pt x="106" y="168"/>
                  </a:lnTo>
                  <a:lnTo>
                    <a:pt x="106" y="164"/>
                  </a:lnTo>
                  <a:lnTo>
                    <a:pt x="108" y="162"/>
                  </a:lnTo>
                  <a:lnTo>
                    <a:pt x="110" y="160"/>
                  </a:lnTo>
                  <a:lnTo>
                    <a:pt x="112" y="154"/>
                  </a:lnTo>
                  <a:lnTo>
                    <a:pt x="114" y="150"/>
                  </a:lnTo>
                  <a:lnTo>
                    <a:pt x="114" y="146"/>
                  </a:lnTo>
                  <a:lnTo>
                    <a:pt x="116" y="144"/>
                  </a:lnTo>
                  <a:lnTo>
                    <a:pt x="118" y="140"/>
                  </a:lnTo>
                  <a:lnTo>
                    <a:pt x="118" y="136"/>
                  </a:lnTo>
                  <a:lnTo>
                    <a:pt x="118" y="134"/>
                  </a:lnTo>
                  <a:lnTo>
                    <a:pt x="118" y="132"/>
                  </a:lnTo>
                  <a:lnTo>
                    <a:pt x="120" y="128"/>
                  </a:lnTo>
                  <a:lnTo>
                    <a:pt x="120" y="126"/>
                  </a:lnTo>
                  <a:lnTo>
                    <a:pt x="124" y="126"/>
                  </a:lnTo>
                  <a:lnTo>
                    <a:pt x="126" y="126"/>
                  </a:lnTo>
                  <a:lnTo>
                    <a:pt x="132" y="128"/>
                  </a:lnTo>
                  <a:lnTo>
                    <a:pt x="136" y="126"/>
                  </a:lnTo>
                  <a:lnTo>
                    <a:pt x="136" y="66"/>
                  </a:lnTo>
                  <a:lnTo>
                    <a:pt x="24" y="0"/>
                  </a:lnTo>
                  <a:lnTo>
                    <a:pt x="12" y="10"/>
                  </a:lnTo>
                  <a:lnTo>
                    <a:pt x="18" y="42"/>
                  </a:lnTo>
                  <a:lnTo>
                    <a:pt x="22" y="48"/>
                  </a:lnTo>
                  <a:lnTo>
                    <a:pt x="24" y="52"/>
                  </a:lnTo>
                  <a:lnTo>
                    <a:pt x="24" y="56"/>
                  </a:lnTo>
                  <a:lnTo>
                    <a:pt x="20" y="62"/>
                  </a:lnTo>
                  <a:lnTo>
                    <a:pt x="20" y="68"/>
                  </a:lnTo>
                  <a:lnTo>
                    <a:pt x="18" y="98"/>
                  </a:lnTo>
                  <a:lnTo>
                    <a:pt x="20" y="122"/>
                  </a:lnTo>
                  <a:lnTo>
                    <a:pt x="0" y="140"/>
                  </a:lnTo>
                  <a:lnTo>
                    <a:pt x="0" y="154"/>
                  </a:lnTo>
                  <a:lnTo>
                    <a:pt x="8" y="168"/>
                  </a:lnTo>
                  <a:lnTo>
                    <a:pt x="8" y="168"/>
                  </a:lnTo>
                  <a:close/>
                  <a:moveTo>
                    <a:pt x="2" y="154"/>
                  </a:moveTo>
                  <a:lnTo>
                    <a:pt x="2" y="154"/>
                  </a:lnTo>
                  <a:lnTo>
                    <a:pt x="6" y="154"/>
                  </a:lnTo>
                  <a:lnTo>
                    <a:pt x="6" y="158"/>
                  </a:lnTo>
                  <a:lnTo>
                    <a:pt x="12" y="162"/>
                  </a:lnTo>
                  <a:lnTo>
                    <a:pt x="22" y="162"/>
                  </a:lnTo>
                  <a:lnTo>
                    <a:pt x="22" y="168"/>
                  </a:lnTo>
                  <a:lnTo>
                    <a:pt x="20" y="168"/>
                  </a:lnTo>
                  <a:lnTo>
                    <a:pt x="18" y="166"/>
                  </a:lnTo>
                  <a:lnTo>
                    <a:pt x="12" y="166"/>
                  </a:lnTo>
                  <a:lnTo>
                    <a:pt x="10" y="168"/>
                  </a:lnTo>
                  <a:lnTo>
                    <a:pt x="2" y="154"/>
                  </a:lnTo>
                  <a:lnTo>
                    <a:pt x="2" y="15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1" name="Freeform 384">
              <a:extLst>
                <a:ext uri="{FF2B5EF4-FFF2-40B4-BE49-F238E27FC236}">
                  <a16:creationId xmlns:a16="http://schemas.microsoft.com/office/drawing/2014/main" id="{53469909-0957-489C-9EDD-FFA2CC7376EC}"/>
                </a:ext>
              </a:extLst>
            </p:cNvPr>
            <p:cNvSpPr>
              <a:spLocks/>
            </p:cNvSpPr>
            <p:nvPr/>
          </p:nvSpPr>
          <p:spPr bwMode="auto">
            <a:xfrm>
              <a:off x="3269789" y="4454471"/>
              <a:ext cx="25896" cy="18127"/>
            </a:xfrm>
            <a:custGeom>
              <a:avLst/>
              <a:gdLst/>
              <a:ahLst/>
              <a:cxnLst>
                <a:cxn ang="0">
                  <a:pos x="0" y="0"/>
                </a:cxn>
                <a:cxn ang="0">
                  <a:pos x="0" y="0"/>
                </a:cxn>
                <a:cxn ang="0">
                  <a:pos x="4" y="0"/>
                </a:cxn>
                <a:cxn ang="0">
                  <a:pos x="4" y="4"/>
                </a:cxn>
                <a:cxn ang="0">
                  <a:pos x="10" y="8"/>
                </a:cxn>
                <a:cxn ang="0">
                  <a:pos x="20" y="8"/>
                </a:cxn>
                <a:cxn ang="0">
                  <a:pos x="20" y="14"/>
                </a:cxn>
                <a:cxn ang="0">
                  <a:pos x="18" y="14"/>
                </a:cxn>
                <a:cxn ang="0">
                  <a:pos x="16" y="12"/>
                </a:cxn>
                <a:cxn ang="0">
                  <a:pos x="10" y="12"/>
                </a:cxn>
                <a:cxn ang="0">
                  <a:pos x="8" y="14"/>
                </a:cxn>
                <a:cxn ang="0">
                  <a:pos x="0" y="0"/>
                </a:cxn>
              </a:cxnLst>
              <a:rect l="0" t="0" r="r" b="b"/>
              <a:pathLst>
                <a:path w="20" h="14">
                  <a:moveTo>
                    <a:pt x="0" y="0"/>
                  </a:moveTo>
                  <a:lnTo>
                    <a:pt x="0" y="0"/>
                  </a:lnTo>
                  <a:lnTo>
                    <a:pt x="4" y="0"/>
                  </a:lnTo>
                  <a:lnTo>
                    <a:pt x="4" y="4"/>
                  </a:lnTo>
                  <a:lnTo>
                    <a:pt x="10" y="8"/>
                  </a:lnTo>
                  <a:lnTo>
                    <a:pt x="20" y="8"/>
                  </a:lnTo>
                  <a:lnTo>
                    <a:pt x="20" y="14"/>
                  </a:lnTo>
                  <a:lnTo>
                    <a:pt x="18" y="14"/>
                  </a:lnTo>
                  <a:lnTo>
                    <a:pt x="16" y="12"/>
                  </a:lnTo>
                  <a:lnTo>
                    <a:pt x="10" y="12"/>
                  </a:lnTo>
                  <a:lnTo>
                    <a:pt x="8" y="14"/>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2" name="Freeform 385">
              <a:extLst>
                <a:ext uri="{FF2B5EF4-FFF2-40B4-BE49-F238E27FC236}">
                  <a16:creationId xmlns:a16="http://schemas.microsoft.com/office/drawing/2014/main" id="{D57E35DB-47F6-4B82-B781-4E740EDFC7C2}"/>
                </a:ext>
              </a:extLst>
            </p:cNvPr>
            <p:cNvSpPr>
              <a:spLocks/>
            </p:cNvSpPr>
            <p:nvPr/>
          </p:nvSpPr>
          <p:spPr bwMode="auto">
            <a:xfrm>
              <a:off x="3269789" y="4454471"/>
              <a:ext cx="25896" cy="18127"/>
            </a:xfrm>
            <a:custGeom>
              <a:avLst/>
              <a:gdLst/>
              <a:ahLst/>
              <a:cxnLst>
                <a:cxn ang="0">
                  <a:pos x="0" y="0"/>
                </a:cxn>
                <a:cxn ang="0">
                  <a:pos x="0" y="0"/>
                </a:cxn>
                <a:cxn ang="0">
                  <a:pos x="4" y="0"/>
                </a:cxn>
                <a:cxn ang="0">
                  <a:pos x="4" y="4"/>
                </a:cxn>
                <a:cxn ang="0">
                  <a:pos x="10" y="8"/>
                </a:cxn>
                <a:cxn ang="0">
                  <a:pos x="20" y="8"/>
                </a:cxn>
                <a:cxn ang="0">
                  <a:pos x="20" y="14"/>
                </a:cxn>
                <a:cxn ang="0">
                  <a:pos x="18" y="14"/>
                </a:cxn>
                <a:cxn ang="0">
                  <a:pos x="16" y="12"/>
                </a:cxn>
                <a:cxn ang="0">
                  <a:pos x="10" y="12"/>
                </a:cxn>
                <a:cxn ang="0">
                  <a:pos x="8" y="14"/>
                </a:cxn>
                <a:cxn ang="0">
                  <a:pos x="0" y="0"/>
                </a:cxn>
              </a:cxnLst>
              <a:rect l="0" t="0" r="r" b="b"/>
              <a:pathLst>
                <a:path w="20" h="14">
                  <a:moveTo>
                    <a:pt x="0" y="0"/>
                  </a:moveTo>
                  <a:lnTo>
                    <a:pt x="0" y="0"/>
                  </a:lnTo>
                  <a:lnTo>
                    <a:pt x="4" y="0"/>
                  </a:lnTo>
                  <a:lnTo>
                    <a:pt x="4" y="4"/>
                  </a:lnTo>
                  <a:lnTo>
                    <a:pt x="10" y="8"/>
                  </a:lnTo>
                  <a:lnTo>
                    <a:pt x="20" y="8"/>
                  </a:lnTo>
                  <a:lnTo>
                    <a:pt x="20" y="14"/>
                  </a:lnTo>
                  <a:lnTo>
                    <a:pt x="18" y="14"/>
                  </a:lnTo>
                  <a:lnTo>
                    <a:pt x="16" y="12"/>
                  </a:lnTo>
                  <a:lnTo>
                    <a:pt x="10" y="12"/>
                  </a:lnTo>
                  <a:lnTo>
                    <a:pt x="8" y="14"/>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3" name="Freeform 386">
              <a:extLst>
                <a:ext uri="{FF2B5EF4-FFF2-40B4-BE49-F238E27FC236}">
                  <a16:creationId xmlns:a16="http://schemas.microsoft.com/office/drawing/2014/main" id="{56DB8A06-E60E-4D0F-B817-7D3C0DA5BCE3}"/>
                </a:ext>
              </a:extLst>
            </p:cNvPr>
            <p:cNvSpPr>
              <a:spLocks/>
            </p:cNvSpPr>
            <p:nvPr/>
          </p:nvSpPr>
          <p:spPr bwMode="auto">
            <a:xfrm>
              <a:off x="3269789" y="4524390"/>
              <a:ext cx="222706" cy="163145"/>
            </a:xfrm>
            <a:custGeom>
              <a:avLst/>
              <a:gdLst/>
              <a:ahLst/>
              <a:cxnLst>
                <a:cxn ang="0">
                  <a:pos x="62" y="102"/>
                </a:cxn>
                <a:cxn ang="0">
                  <a:pos x="68" y="98"/>
                </a:cxn>
                <a:cxn ang="0">
                  <a:pos x="70" y="90"/>
                </a:cxn>
                <a:cxn ang="0">
                  <a:pos x="76" y="86"/>
                </a:cxn>
                <a:cxn ang="0">
                  <a:pos x="86" y="92"/>
                </a:cxn>
                <a:cxn ang="0">
                  <a:pos x="96" y="96"/>
                </a:cxn>
                <a:cxn ang="0">
                  <a:pos x="110" y="98"/>
                </a:cxn>
                <a:cxn ang="0">
                  <a:pos x="118" y="96"/>
                </a:cxn>
                <a:cxn ang="0">
                  <a:pos x="122" y="92"/>
                </a:cxn>
                <a:cxn ang="0">
                  <a:pos x="126" y="94"/>
                </a:cxn>
                <a:cxn ang="0">
                  <a:pos x="130" y="94"/>
                </a:cxn>
                <a:cxn ang="0">
                  <a:pos x="136" y="92"/>
                </a:cxn>
                <a:cxn ang="0">
                  <a:pos x="138" y="88"/>
                </a:cxn>
                <a:cxn ang="0">
                  <a:pos x="142" y="92"/>
                </a:cxn>
                <a:cxn ang="0">
                  <a:pos x="146" y="86"/>
                </a:cxn>
                <a:cxn ang="0">
                  <a:pos x="160" y="84"/>
                </a:cxn>
                <a:cxn ang="0">
                  <a:pos x="172" y="86"/>
                </a:cxn>
                <a:cxn ang="0">
                  <a:pos x="170" y="80"/>
                </a:cxn>
                <a:cxn ang="0">
                  <a:pos x="168" y="78"/>
                </a:cxn>
                <a:cxn ang="0">
                  <a:pos x="164" y="68"/>
                </a:cxn>
                <a:cxn ang="0">
                  <a:pos x="156" y="64"/>
                </a:cxn>
                <a:cxn ang="0">
                  <a:pos x="154" y="56"/>
                </a:cxn>
                <a:cxn ang="0">
                  <a:pos x="148" y="54"/>
                </a:cxn>
                <a:cxn ang="0">
                  <a:pos x="142" y="50"/>
                </a:cxn>
                <a:cxn ang="0">
                  <a:pos x="134" y="48"/>
                </a:cxn>
                <a:cxn ang="0">
                  <a:pos x="132" y="46"/>
                </a:cxn>
                <a:cxn ang="0">
                  <a:pos x="126" y="36"/>
                </a:cxn>
                <a:cxn ang="0">
                  <a:pos x="126" y="30"/>
                </a:cxn>
                <a:cxn ang="0">
                  <a:pos x="122" y="20"/>
                </a:cxn>
                <a:cxn ang="0">
                  <a:pos x="120" y="16"/>
                </a:cxn>
                <a:cxn ang="0">
                  <a:pos x="120" y="8"/>
                </a:cxn>
                <a:cxn ang="0">
                  <a:pos x="110" y="0"/>
                </a:cxn>
                <a:cxn ang="0">
                  <a:pos x="106" y="4"/>
                </a:cxn>
                <a:cxn ang="0">
                  <a:pos x="102" y="10"/>
                </a:cxn>
                <a:cxn ang="0">
                  <a:pos x="92" y="18"/>
                </a:cxn>
                <a:cxn ang="0">
                  <a:pos x="88" y="20"/>
                </a:cxn>
                <a:cxn ang="0">
                  <a:pos x="80" y="22"/>
                </a:cxn>
                <a:cxn ang="0">
                  <a:pos x="72" y="24"/>
                </a:cxn>
                <a:cxn ang="0">
                  <a:pos x="68" y="28"/>
                </a:cxn>
                <a:cxn ang="0">
                  <a:pos x="68" y="34"/>
                </a:cxn>
                <a:cxn ang="0">
                  <a:pos x="66" y="38"/>
                </a:cxn>
                <a:cxn ang="0">
                  <a:pos x="56" y="48"/>
                </a:cxn>
                <a:cxn ang="0">
                  <a:pos x="34" y="52"/>
                </a:cxn>
                <a:cxn ang="0">
                  <a:pos x="28" y="50"/>
                </a:cxn>
                <a:cxn ang="0">
                  <a:pos x="18" y="56"/>
                </a:cxn>
                <a:cxn ang="0">
                  <a:pos x="10" y="64"/>
                </a:cxn>
                <a:cxn ang="0">
                  <a:pos x="4" y="74"/>
                </a:cxn>
                <a:cxn ang="0">
                  <a:pos x="2" y="78"/>
                </a:cxn>
                <a:cxn ang="0">
                  <a:pos x="6" y="84"/>
                </a:cxn>
                <a:cxn ang="0">
                  <a:pos x="14" y="102"/>
                </a:cxn>
                <a:cxn ang="0">
                  <a:pos x="22" y="112"/>
                </a:cxn>
                <a:cxn ang="0">
                  <a:pos x="30" y="122"/>
                </a:cxn>
                <a:cxn ang="0">
                  <a:pos x="36" y="126"/>
                </a:cxn>
                <a:cxn ang="0">
                  <a:pos x="40" y="122"/>
                </a:cxn>
                <a:cxn ang="0">
                  <a:pos x="44" y="116"/>
                </a:cxn>
                <a:cxn ang="0">
                  <a:pos x="50" y="118"/>
                </a:cxn>
                <a:cxn ang="0">
                  <a:pos x="60" y="114"/>
                </a:cxn>
              </a:cxnLst>
              <a:rect l="0" t="0" r="r" b="b"/>
              <a:pathLst>
                <a:path w="172" h="126">
                  <a:moveTo>
                    <a:pt x="60" y="114"/>
                  </a:moveTo>
                  <a:lnTo>
                    <a:pt x="62" y="102"/>
                  </a:lnTo>
                  <a:lnTo>
                    <a:pt x="64" y="100"/>
                  </a:lnTo>
                  <a:lnTo>
                    <a:pt x="68" y="98"/>
                  </a:lnTo>
                  <a:lnTo>
                    <a:pt x="68" y="94"/>
                  </a:lnTo>
                  <a:lnTo>
                    <a:pt x="70" y="90"/>
                  </a:lnTo>
                  <a:lnTo>
                    <a:pt x="72" y="86"/>
                  </a:lnTo>
                  <a:lnTo>
                    <a:pt x="76" y="86"/>
                  </a:lnTo>
                  <a:lnTo>
                    <a:pt x="82" y="88"/>
                  </a:lnTo>
                  <a:lnTo>
                    <a:pt x="86" y="92"/>
                  </a:lnTo>
                  <a:lnTo>
                    <a:pt x="90" y="94"/>
                  </a:lnTo>
                  <a:lnTo>
                    <a:pt x="96" y="96"/>
                  </a:lnTo>
                  <a:lnTo>
                    <a:pt x="102" y="96"/>
                  </a:lnTo>
                  <a:lnTo>
                    <a:pt x="110" y="98"/>
                  </a:lnTo>
                  <a:lnTo>
                    <a:pt x="118" y="100"/>
                  </a:lnTo>
                  <a:lnTo>
                    <a:pt x="118" y="96"/>
                  </a:lnTo>
                  <a:lnTo>
                    <a:pt x="120" y="92"/>
                  </a:lnTo>
                  <a:lnTo>
                    <a:pt x="122" y="92"/>
                  </a:lnTo>
                  <a:lnTo>
                    <a:pt x="124" y="92"/>
                  </a:lnTo>
                  <a:lnTo>
                    <a:pt x="126" y="94"/>
                  </a:lnTo>
                  <a:lnTo>
                    <a:pt x="128" y="96"/>
                  </a:lnTo>
                  <a:lnTo>
                    <a:pt x="130" y="94"/>
                  </a:lnTo>
                  <a:lnTo>
                    <a:pt x="136" y="94"/>
                  </a:lnTo>
                  <a:lnTo>
                    <a:pt x="136" y="92"/>
                  </a:lnTo>
                  <a:lnTo>
                    <a:pt x="136" y="90"/>
                  </a:lnTo>
                  <a:lnTo>
                    <a:pt x="138" y="88"/>
                  </a:lnTo>
                  <a:lnTo>
                    <a:pt x="140" y="90"/>
                  </a:lnTo>
                  <a:lnTo>
                    <a:pt x="142" y="92"/>
                  </a:lnTo>
                  <a:lnTo>
                    <a:pt x="144" y="90"/>
                  </a:lnTo>
                  <a:lnTo>
                    <a:pt x="146" y="86"/>
                  </a:lnTo>
                  <a:lnTo>
                    <a:pt x="150" y="84"/>
                  </a:lnTo>
                  <a:lnTo>
                    <a:pt x="160" y="84"/>
                  </a:lnTo>
                  <a:lnTo>
                    <a:pt x="164" y="86"/>
                  </a:lnTo>
                  <a:lnTo>
                    <a:pt x="172" y="86"/>
                  </a:lnTo>
                  <a:lnTo>
                    <a:pt x="172" y="84"/>
                  </a:lnTo>
                  <a:lnTo>
                    <a:pt x="170" y="80"/>
                  </a:lnTo>
                  <a:lnTo>
                    <a:pt x="168" y="80"/>
                  </a:lnTo>
                  <a:lnTo>
                    <a:pt x="168" y="78"/>
                  </a:lnTo>
                  <a:lnTo>
                    <a:pt x="168" y="74"/>
                  </a:lnTo>
                  <a:lnTo>
                    <a:pt x="164" y="68"/>
                  </a:lnTo>
                  <a:lnTo>
                    <a:pt x="160" y="66"/>
                  </a:lnTo>
                  <a:lnTo>
                    <a:pt x="156" y="64"/>
                  </a:lnTo>
                  <a:lnTo>
                    <a:pt x="154" y="62"/>
                  </a:lnTo>
                  <a:lnTo>
                    <a:pt x="154" y="56"/>
                  </a:lnTo>
                  <a:lnTo>
                    <a:pt x="150" y="54"/>
                  </a:lnTo>
                  <a:lnTo>
                    <a:pt x="148" y="54"/>
                  </a:lnTo>
                  <a:lnTo>
                    <a:pt x="144" y="52"/>
                  </a:lnTo>
                  <a:lnTo>
                    <a:pt x="142" y="50"/>
                  </a:lnTo>
                  <a:lnTo>
                    <a:pt x="138" y="48"/>
                  </a:lnTo>
                  <a:lnTo>
                    <a:pt x="134" y="48"/>
                  </a:lnTo>
                  <a:lnTo>
                    <a:pt x="134" y="46"/>
                  </a:lnTo>
                  <a:lnTo>
                    <a:pt x="132" y="46"/>
                  </a:lnTo>
                  <a:lnTo>
                    <a:pt x="132" y="42"/>
                  </a:lnTo>
                  <a:lnTo>
                    <a:pt x="126" y="36"/>
                  </a:lnTo>
                  <a:lnTo>
                    <a:pt x="126" y="34"/>
                  </a:lnTo>
                  <a:lnTo>
                    <a:pt x="126" y="30"/>
                  </a:lnTo>
                  <a:lnTo>
                    <a:pt x="126" y="24"/>
                  </a:lnTo>
                  <a:lnTo>
                    <a:pt x="122" y="20"/>
                  </a:lnTo>
                  <a:lnTo>
                    <a:pt x="120" y="20"/>
                  </a:lnTo>
                  <a:lnTo>
                    <a:pt x="120" y="16"/>
                  </a:lnTo>
                  <a:lnTo>
                    <a:pt x="120" y="10"/>
                  </a:lnTo>
                  <a:lnTo>
                    <a:pt x="120" y="8"/>
                  </a:lnTo>
                  <a:lnTo>
                    <a:pt x="112" y="0"/>
                  </a:lnTo>
                  <a:lnTo>
                    <a:pt x="110" y="0"/>
                  </a:lnTo>
                  <a:lnTo>
                    <a:pt x="108" y="2"/>
                  </a:lnTo>
                  <a:lnTo>
                    <a:pt x="106" y="4"/>
                  </a:lnTo>
                  <a:lnTo>
                    <a:pt x="104" y="8"/>
                  </a:lnTo>
                  <a:lnTo>
                    <a:pt x="102" y="10"/>
                  </a:lnTo>
                  <a:lnTo>
                    <a:pt x="94" y="14"/>
                  </a:lnTo>
                  <a:lnTo>
                    <a:pt x="92" y="18"/>
                  </a:lnTo>
                  <a:lnTo>
                    <a:pt x="90" y="20"/>
                  </a:lnTo>
                  <a:lnTo>
                    <a:pt x="88" y="20"/>
                  </a:lnTo>
                  <a:lnTo>
                    <a:pt x="84" y="20"/>
                  </a:lnTo>
                  <a:lnTo>
                    <a:pt x="80" y="22"/>
                  </a:lnTo>
                  <a:lnTo>
                    <a:pt x="78" y="24"/>
                  </a:lnTo>
                  <a:lnTo>
                    <a:pt x="72" y="24"/>
                  </a:lnTo>
                  <a:lnTo>
                    <a:pt x="70" y="26"/>
                  </a:lnTo>
                  <a:lnTo>
                    <a:pt x="68" y="28"/>
                  </a:lnTo>
                  <a:lnTo>
                    <a:pt x="66" y="32"/>
                  </a:lnTo>
                  <a:lnTo>
                    <a:pt x="68" y="34"/>
                  </a:lnTo>
                  <a:lnTo>
                    <a:pt x="70" y="36"/>
                  </a:lnTo>
                  <a:lnTo>
                    <a:pt x="66" y="38"/>
                  </a:lnTo>
                  <a:lnTo>
                    <a:pt x="60" y="42"/>
                  </a:lnTo>
                  <a:lnTo>
                    <a:pt x="56" y="48"/>
                  </a:lnTo>
                  <a:lnTo>
                    <a:pt x="50" y="50"/>
                  </a:lnTo>
                  <a:lnTo>
                    <a:pt x="34" y="52"/>
                  </a:lnTo>
                  <a:lnTo>
                    <a:pt x="30" y="52"/>
                  </a:lnTo>
                  <a:lnTo>
                    <a:pt x="28" y="50"/>
                  </a:lnTo>
                  <a:lnTo>
                    <a:pt x="24" y="56"/>
                  </a:lnTo>
                  <a:lnTo>
                    <a:pt x="18" y="56"/>
                  </a:lnTo>
                  <a:lnTo>
                    <a:pt x="12" y="56"/>
                  </a:lnTo>
                  <a:lnTo>
                    <a:pt x="10" y="64"/>
                  </a:lnTo>
                  <a:lnTo>
                    <a:pt x="8" y="70"/>
                  </a:lnTo>
                  <a:lnTo>
                    <a:pt x="4" y="74"/>
                  </a:lnTo>
                  <a:lnTo>
                    <a:pt x="0" y="76"/>
                  </a:lnTo>
                  <a:lnTo>
                    <a:pt x="2" y="78"/>
                  </a:lnTo>
                  <a:lnTo>
                    <a:pt x="4" y="80"/>
                  </a:lnTo>
                  <a:lnTo>
                    <a:pt x="6" y="84"/>
                  </a:lnTo>
                  <a:lnTo>
                    <a:pt x="10" y="98"/>
                  </a:lnTo>
                  <a:lnTo>
                    <a:pt x="14" y="102"/>
                  </a:lnTo>
                  <a:lnTo>
                    <a:pt x="16" y="108"/>
                  </a:lnTo>
                  <a:lnTo>
                    <a:pt x="22" y="112"/>
                  </a:lnTo>
                  <a:lnTo>
                    <a:pt x="24" y="116"/>
                  </a:lnTo>
                  <a:lnTo>
                    <a:pt x="30" y="122"/>
                  </a:lnTo>
                  <a:lnTo>
                    <a:pt x="34" y="126"/>
                  </a:lnTo>
                  <a:lnTo>
                    <a:pt x="36" y="126"/>
                  </a:lnTo>
                  <a:lnTo>
                    <a:pt x="38" y="124"/>
                  </a:lnTo>
                  <a:lnTo>
                    <a:pt x="40" y="122"/>
                  </a:lnTo>
                  <a:lnTo>
                    <a:pt x="40" y="118"/>
                  </a:lnTo>
                  <a:lnTo>
                    <a:pt x="44" y="116"/>
                  </a:lnTo>
                  <a:lnTo>
                    <a:pt x="48" y="118"/>
                  </a:lnTo>
                  <a:lnTo>
                    <a:pt x="50" y="118"/>
                  </a:lnTo>
                  <a:lnTo>
                    <a:pt x="60" y="114"/>
                  </a:lnTo>
                  <a:lnTo>
                    <a:pt x="60" y="1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4" name="Freeform 387">
              <a:extLst>
                <a:ext uri="{FF2B5EF4-FFF2-40B4-BE49-F238E27FC236}">
                  <a16:creationId xmlns:a16="http://schemas.microsoft.com/office/drawing/2014/main" id="{08369B24-A929-49BD-B05F-D2ADE46495F7}"/>
                </a:ext>
              </a:extLst>
            </p:cNvPr>
            <p:cNvSpPr>
              <a:spLocks/>
            </p:cNvSpPr>
            <p:nvPr/>
          </p:nvSpPr>
          <p:spPr bwMode="auto">
            <a:xfrm>
              <a:off x="1690127" y="3092336"/>
              <a:ext cx="5179" cy="2590"/>
            </a:xfrm>
            <a:custGeom>
              <a:avLst/>
              <a:gdLst/>
              <a:ahLst/>
              <a:cxnLst>
                <a:cxn ang="0">
                  <a:pos x="0" y="0"/>
                </a:cxn>
                <a:cxn ang="0">
                  <a:pos x="4" y="2"/>
                </a:cxn>
                <a:cxn ang="0">
                  <a:pos x="4" y="0"/>
                </a:cxn>
                <a:cxn ang="0">
                  <a:pos x="0" y="0"/>
                </a:cxn>
                <a:cxn ang="0">
                  <a:pos x="0" y="0"/>
                </a:cxn>
              </a:cxnLst>
              <a:rect l="0" t="0" r="r" b="b"/>
              <a:pathLst>
                <a:path w="4" h="2">
                  <a:moveTo>
                    <a:pt x="0" y="0"/>
                  </a:moveTo>
                  <a:lnTo>
                    <a:pt x="4" y="2"/>
                  </a:lnTo>
                  <a:lnTo>
                    <a:pt x="4"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5" name="Freeform 388">
              <a:extLst>
                <a:ext uri="{FF2B5EF4-FFF2-40B4-BE49-F238E27FC236}">
                  <a16:creationId xmlns:a16="http://schemas.microsoft.com/office/drawing/2014/main" id="{7511A634-0178-4EC8-8E7C-39E0D0A64153}"/>
                </a:ext>
              </a:extLst>
            </p:cNvPr>
            <p:cNvSpPr>
              <a:spLocks/>
            </p:cNvSpPr>
            <p:nvPr/>
          </p:nvSpPr>
          <p:spPr bwMode="auto">
            <a:xfrm>
              <a:off x="1690127" y="3092336"/>
              <a:ext cx="5179" cy="2590"/>
            </a:xfrm>
            <a:custGeom>
              <a:avLst/>
              <a:gdLst/>
              <a:ahLst/>
              <a:cxnLst>
                <a:cxn ang="0">
                  <a:pos x="0" y="0"/>
                </a:cxn>
                <a:cxn ang="0">
                  <a:pos x="4" y="2"/>
                </a:cxn>
                <a:cxn ang="0">
                  <a:pos x="4" y="0"/>
                </a:cxn>
                <a:cxn ang="0">
                  <a:pos x="0" y="0"/>
                </a:cxn>
                <a:cxn ang="0">
                  <a:pos x="0" y="0"/>
                </a:cxn>
              </a:cxnLst>
              <a:rect l="0" t="0" r="r" b="b"/>
              <a:pathLst>
                <a:path w="4" h="2">
                  <a:moveTo>
                    <a:pt x="0" y="0"/>
                  </a:moveTo>
                  <a:lnTo>
                    <a:pt x="4" y="2"/>
                  </a:lnTo>
                  <a:lnTo>
                    <a:pt x="4"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6" name="Freeform 389">
              <a:extLst>
                <a:ext uri="{FF2B5EF4-FFF2-40B4-BE49-F238E27FC236}">
                  <a16:creationId xmlns:a16="http://schemas.microsoft.com/office/drawing/2014/main" id="{B04B71EF-2198-47B7-85A6-DC05C4311C78}"/>
                </a:ext>
              </a:extLst>
            </p:cNvPr>
            <p:cNvSpPr>
              <a:spLocks/>
            </p:cNvSpPr>
            <p:nvPr/>
          </p:nvSpPr>
          <p:spPr bwMode="auto">
            <a:xfrm>
              <a:off x="1718613" y="3009468"/>
              <a:ext cx="2590" cy="2590"/>
            </a:xfrm>
            <a:custGeom>
              <a:avLst/>
              <a:gdLst/>
              <a:ahLst/>
              <a:cxnLst>
                <a:cxn ang="0">
                  <a:pos x="2" y="0"/>
                </a:cxn>
                <a:cxn ang="0">
                  <a:pos x="2" y="0"/>
                </a:cxn>
                <a:cxn ang="0">
                  <a:pos x="2" y="2"/>
                </a:cxn>
                <a:cxn ang="0">
                  <a:pos x="0" y="2"/>
                </a:cxn>
                <a:cxn ang="0">
                  <a:pos x="0" y="0"/>
                </a:cxn>
                <a:cxn ang="0">
                  <a:pos x="2" y="0"/>
                </a:cxn>
                <a:cxn ang="0">
                  <a:pos x="2" y="0"/>
                </a:cxn>
              </a:cxnLst>
              <a:rect l="0" t="0" r="r" b="b"/>
              <a:pathLst>
                <a:path w="2" h="2">
                  <a:moveTo>
                    <a:pt x="2" y="0"/>
                  </a:moveTo>
                  <a:lnTo>
                    <a:pt x="2" y="0"/>
                  </a:lnTo>
                  <a:lnTo>
                    <a:pt x="2" y="2"/>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7" name="Freeform 390">
              <a:extLst>
                <a:ext uri="{FF2B5EF4-FFF2-40B4-BE49-F238E27FC236}">
                  <a16:creationId xmlns:a16="http://schemas.microsoft.com/office/drawing/2014/main" id="{A95127B7-20AD-4B73-B0AA-278A69AEA68F}"/>
                </a:ext>
              </a:extLst>
            </p:cNvPr>
            <p:cNvSpPr>
              <a:spLocks/>
            </p:cNvSpPr>
            <p:nvPr/>
          </p:nvSpPr>
          <p:spPr bwMode="auto">
            <a:xfrm>
              <a:off x="1718613" y="3009468"/>
              <a:ext cx="2590" cy="2590"/>
            </a:xfrm>
            <a:custGeom>
              <a:avLst/>
              <a:gdLst/>
              <a:ahLst/>
              <a:cxnLst>
                <a:cxn ang="0">
                  <a:pos x="2" y="0"/>
                </a:cxn>
                <a:cxn ang="0">
                  <a:pos x="2" y="0"/>
                </a:cxn>
                <a:cxn ang="0">
                  <a:pos x="2" y="2"/>
                </a:cxn>
                <a:cxn ang="0">
                  <a:pos x="0" y="2"/>
                </a:cxn>
                <a:cxn ang="0">
                  <a:pos x="0" y="0"/>
                </a:cxn>
                <a:cxn ang="0">
                  <a:pos x="2" y="0"/>
                </a:cxn>
                <a:cxn ang="0">
                  <a:pos x="2" y="0"/>
                </a:cxn>
              </a:cxnLst>
              <a:rect l="0" t="0" r="r" b="b"/>
              <a:pathLst>
                <a:path w="2" h="2">
                  <a:moveTo>
                    <a:pt x="2" y="0"/>
                  </a:moveTo>
                  <a:lnTo>
                    <a:pt x="2" y="0"/>
                  </a:lnTo>
                  <a:lnTo>
                    <a:pt x="2" y="2"/>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8" name="Freeform 391">
              <a:extLst>
                <a:ext uri="{FF2B5EF4-FFF2-40B4-BE49-F238E27FC236}">
                  <a16:creationId xmlns:a16="http://schemas.microsoft.com/office/drawing/2014/main" id="{B6C46630-681E-4A84-898E-621F0F766689}"/>
                </a:ext>
              </a:extLst>
            </p:cNvPr>
            <p:cNvSpPr>
              <a:spLocks/>
            </p:cNvSpPr>
            <p:nvPr/>
          </p:nvSpPr>
          <p:spPr bwMode="auto">
            <a:xfrm>
              <a:off x="1721202" y="3014647"/>
              <a:ext cx="1295" cy="2590"/>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9" name="Freeform 392">
              <a:extLst>
                <a:ext uri="{FF2B5EF4-FFF2-40B4-BE49-F238E27FC236}">
                  <a16:creationId xmlns:a16="http://schemas.microsoft.com/office/drawing/2014/main" id="{87FA39A1-DFE8-4061-8579-1DD7BA1DC4C6}"/>
                </a:ext>
              </a:extLst>
            </p:cNvPr>
            <p:cNvSpPr>
              <a:spLocks/>
            </p:cNvSpPr>
            <p:nvPr/>
          </p:nvSpPr>
          <p:spPr bwMode="auto">
            <a:xfrm>
              <a:off x="1868810" y="3079387"/>
              <a:ext cx="15538" cy="5179"/>
            </a:xfrm>
            <a:custGeom>
              <a:avLst/>
              <a:gdLst/>
              <a:ahLst/>
              <a:cxnLst>
                <a:cxn ang="0">
                  <a:pos x="2" y="0"/>
                </a:cxn>
                <a:cxn ang="0">
                  <a:pos x="2" y="0"/>
                </a:cxn>
                <a:cxn ang="0">
                  <a:pos x="10" y="2"/>
                </a:cxn>
                <a:cxn ang="0">
                  <a:pos x="12" y="4"/>
                </a:cxn>
                <a:cxn ang="0">
                  <a:pos x="4" y="2"/>
                </a:cxn>
                <a:cxn ang="0">
                  <a:pos x="0" y="2"/>
                </a:cxn>
                <a:cxn ang="0">
                  <a:pos x="2" y="0"/>
                </a:cxn>
                <a:cxn ang="0">
                  <a:pos x="2" y="0"/>
                </a:cxn>
              </a:cxnLst>
              <a:rect l="0" t="0" r="r" b="b"/>
              <a:pathLst>
                <a:path w="12" h="4">
                  <a:moveTo>
                    <a:pt x="2" y="0"/>
                  </a:moveTo>
                  <a:lnTo>
                    <a:pt x="2" y="0"/>
                  </a:lnTo>
                  <a:lnTo>
                    <a:pt x="10" y="2"/>
                  </a:lnTo>
                  <a:lnTo>
                    <a:pt x="12" y="4"/>
                  </a:lnTo>
                  <a:lnTo>
                    <a:pt x="4" y="2"/>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0" name="Freeform 393">
              <a:extLst>
                <a:ext uri="{FF2B5EF4-FFF2-40B4-BE49-F238E27FC236}">
                  <a16:creationId xmlns:a16="http://schemas.microsoft.com/office/drawing/2014/main" id="{2404997C-E38C-4091-B57C-61419B03F015}"/>
                </a:ext>
              </a:extLst>
            </p:cNvPr>
            <p:cNvSpPr>
              <a:spLocks/>
            </p:cNvSpPr>
            <p:nvPr/>
          </p:nvSpPr>
          <p:spPr bwMode="auto">
            <a:xfrm>
              <a:off x="1868810" y="3079387"/>
              <a:ext cx="15538" cy="5179"/>
            </a:xfrm>
            <a:custGeom>
              <a:avLst/>
              <a:gdLst/>
              <a:ahLst/>
              <a:cxnLst>
                <a:cxn ang="0">
                  <a:pos x="2" y="0"/>
                </a:cxn>
                <a:cxn ang="0">
                  <a:pos x="2" y="0"/>
                </a:cxn>
                <a:cxn ang="0">
                  <a:pos x="10" y="2"/>
                </a:cxn>
                <a:cxn ang="0">
                  <a:pos x="12" y="4"/>
                </a:cxn>
                <a:cxn ang="0">
                  <a:pos x="4" y="2"/>
                </a:cxn>
                <a:cxn ang="0">
                  <a:pos x="0" y="2"/>
                </a:cxn>
                <a:cxn ang="0">
                  <a:pos x="2" y="0"/>
                </a:cxn>
                <a:cxn ang="0">
                  <a:pos x="2" y="0"/>
                </a:cxn>
              </a:cxnLst>
              <a:rect l="0" t="0" r="r" b="b"/>
              <a:pathLst>
                <a:path w="12" h="4">
                  <a:moveTo>
                    <a:pt x="2" y="0"/>
                  </a:moveTo>
                  <a:lnTo>
                    <a:pt x="2" y="0"/>
                  </a:lnTo>
                  <a:lnTo>
                    <a:pt x="10" y="2"/>
                  </a:lnTo>
                  <a:lnTo>
                    <a:pt x="12" y="4"/>
                  </a:lnTo>
                  <a:lnTo>
                    <a:pt x="4" y="2"/>
                  </a:lnTo>
                  <a:lnTo>
                    <a:pt x="0" y="2"/>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1" name="Freeform 394">
              <a:extLst>
                <a:ext uri="{FF2B5EF4-FFF2-40B4-BE49-F238E27FC236}">
                  <a16:creationId xmlns:a16="http://schemas.microsoft.com/office/drawing/2014/main" id="{4392029F-1466-48B0-8F89-3A632D59DC8F}"/>
                </a:ext>
              </a:extLst>
            </p:cNvPr>
            <p:cNvSpPr>
              <a:spLocks/>
            </p:cNvSpPr>
            <p:nvPr/>
          </p:nvSpPr>
          <p:spPr bwMode="auto">
            <a:xfrm>
              <a:off x="1853273" y="3058671"/>
              <a:ext cx="5179" cy="7769"/>
            </a:xfrm>
            <a:custGeom>
              <a:avLst/>
              <a:gdLst/>
              <a:ahLst/>
              <a:cxnLst>
                <a:cxn ang="0">
                  <a:pos x="2" y="0"/>
                </a:cxn>
                <a:cxn ang="0">
                  <a:pos x="2" y="0"/>
                </a:cxn>
                <a:cxn ang="0">
                  <a:pos x="4" y="0"/>
                </a:cxn>
                <a:cxn ang="0">
                  <a:pos x="4" y="2"/>
                </a:cxn>
                <a:cxn ang="0">
                  <a:pos x="4" y="6"/>
                </a:cxn>
                <a:cxn ang="0">
                  <a:pos x="0" y="6"/>
                </a:cxn>
                <a:cxn ang="0">
                  <a:pos x="0" y="2"/>
                </a:cxn>
                <a:cxn ang="0">
                  <a:pos x="0" y="0"/>
                </a:cxn>
                <a:cxn ang="0">
                  <a:pos x="2" y="0"/>
                </a:cxn>
                <a:cxn ang="0">
                  <a:pos x="2" y="0"/>
                </a:cxn>
              </a:cxnLst>
              <a:rect l="0" t="0" r="r" b="b"/>
              <a:pathLst>
                <a:path w="4" h="6">
                  <a:moveTo>
                    <a:pt x="2" y="0"/>
                  </a:moveTo>
                  <a:lnTo>
                    <a:pt x="2" y="0"/>
                  </a:lnTo>
                  <a:lnTo>
                    <a:pt x="4" y="0"/>
                  </a:lnTo>
                  <a:lnTo>
                    <a:pt x="4" y="2"/>
                  </a:lnTo>
                  <a:lnTo>
                    <a:pt x="4" y="6"/>
                  </a:lnTo>
                  <a:lnTo>
                    <a:pt x="0" y="6"/>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2" name="Freeform 395">
              <a:extLst>
                <a:ext uri="{FF2B5EF4-FFF2-40B4-BE49-F238E27FC236}">
                  <a16:creationId xmlns:a16="http://schemas.microsoft.com/office/drawing/2014/main" id="{3F6C2C9A-363E-4B94-A110-44508027E12E}"/>
                </a:ext>
              </a:extLst>
            </p:cNvPr>
            <p:cNvSpPr>
              <a:spLocks/>
            </p:cNvSpPr>
            <p:nvPr/>
          </p:nvSpPr>
          <p:spPr bwMode="auto">
            <a:xfrm>
              <a:off x="1853273" y="3058671"/>
              <a:ext cx="5179" cy="7769"/>
            </a:xfrm>
            <a:custGeom>
              <a:avLst/>
              <a:gdLst/>
              <a:ahLst/>
              <a:cxnLst>
                <a:cxn ang="0">
                  <a:pos x="2" y="0"/>
                </a:cxn>
                <a:cxn ang="0">
                  <a:pos x="2" y="0"/>
                </a:cxn>
                <a:cxn ang="0">
                  <a:pos x="4" y="0"/>
                </a:cxn>
                <a:cxn ang="0">
                  <a:pos x="4" y="2"/>
                </a:cxn>
                <a:cxn ang="0">
                  <a:pos x="4" y="6"/>
                </a:cxn>
                <a:cxn ang="0">
                  <a:pos x="0" y="6"/>
                </a:cxn>
                <a:cxn ang="0">
                  <a:pos x="0" y="2"/>
                </a:cxn>
                <a:cxn ang="0">
                  <a:pos x="0" y="0"/>
                </a:cxn>
                <a:cxn ang="0">
                  <a:pos x="2" y="0"/>
                </a:cxn>
                <a:cxn ang="0">
                  <a:pos x="2" y="0"/>
                </a:cxn>
              </a:cxnLst>
              <a:rect l="0" t="0" r="r" b="b"/>
              <a:pathLst>
                <a:path w="4" h="6">
                  <a:moveTo>
                    <a:pt x="2" y="0"/>
                  </a:moveTo>
                  <a:lnTo>
                    <a:pt x="2" y="0"/>
                  </a:lnTo>
                  <a:lnTo>
                    <a:pt x="4" y="0"/>
                  </a:lnTo>
                  <a:lnTo>
                    <a:pt x="4" y="2"/>
                  </a:lnTo>
                  <a:lnTo>
                    <a:pt x="4" y="6"/>
                  </a:lnTo>
                  <a:lnTo>
                    <a:pt x="0" y="6"/>
                  </a:lnTo>
                  <a:lnTo>
                    <a:pt x="0" y="2"/>
                  </a:lnTo>
                  <a:lnTo>
                    <a:pt x="0"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3" name="Freeform 396">
              <a:extLst>
                <a:ext uri="{FF2B5EF4-FFF2-40B4-BE49-F238E27FC236}">
                  <a16:creationId xmlns:a16="http://schemas.microsoft.com/office/drawing/2014/main" id="{E65DC7ED-3703-4C24-B564-D4ADBBF4DC89}"/>
                </a:ext>
              </a:extLst>
            </p:cNvPr>
            <p:cNvSpPr>
              <a:spLocks/>
            </p:cNvSpPr>
            <p:nvPr/>
          </p:nvSpPr>
          <p:spPr bwMode="auto">
            <a:xfrm>
              <a:off x="1936140" y="3252891"/>
              <a:ext cx="2590" cy="5179"/>
            </a:xfrm>
            <a:custGeom>
              <a:avLst/>
              <a:gdLst/>
              <a:ahLst/>
              <a:cxnLst>
                <a:cxn ang="0">
                  <a:pos x="0" y="0"/>
                </a:cxn>
                <a:cxn ang="0">
                  <a:pos x="0" y="0"/>
                </a:cxn>
                <a:cxn ang="0">
                  <a:pos x="2" y="2"/>
                </a:cxn>
                <a:cxn ang="0">
                  <a:pos x="2" y="4"/>
                </a:cxn>
                <a:cxn ang="0">
                  <a:pos x="2" y="2"/>
                </a:cxn>
                <a:cxn ang="0">
                  <a:pos x="0" y="0"/>
                </a:cxn>
                <a:cxn ang="0">
                  <a:pos x="0" y="0"/>
                </a:cxn>
              </a:cxnLst>
              <a:rect l="0" t="0" r="r" b="b"/>
              <a:pathLst>
                <a:path w="2" h="4">
                  <a:moveTo>
                    <a:pt x="0" y="0"/>
                  </a:moveTo>
                  <a:lnTo>
                    <a:pt x="0" y="0"/>
                  </a:lnTo>
                  <a:lnTo>
                    <a:pt x="2" y="2"/>
                  </a:lnTo>
                  <a:lnTo>
                    <a:pt x="2" y="4"/>
                  </a:ln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4" name="Freeform 397">
              <a:extLst>
                <a:ext uri="{FF2B5EF4-FFF2-40B4-BE49-F238E27FC236}">
                  <a16:creationId xmlns:a16="http://schemas.microsoft.com/office/drawing/2014/main" id="{499EAB16-9A7F-449C-987C-5365705C2BBA}"/>
                </a:ext>
              </a:extLst>
            </p:cNvPr>
            <p:cNvSpPr>
              <a:spLocks/>
            </p:cNvSpPr>
            <p:nvPr/>
          </p:nvSpPr>
          <p:spPr bwMode="auto">
            <a:xfrm>
              <a:off x="1936140" y="3252891"/>
              <a:ext cx="2590" cy="5179"/>
            </a:xfrm>
            <a:custGeom>
              <a:avLst/>
              <a:gdLst/>
              <a:ahLst/>
              <a:cxnLst>
                <a:cxn ang="0">
                  <a:pos x="0" y="0"/>
                </a:cxn>
                <a:cxn ang="0">
                  <a:pos x="0" y="0"/>
                </a:cxn>
                <a:cxn ang="0">
                  <a:pos x="2" y="2"/>
                </a:cxn>
                <a:cxn ang="0">
                  <a:pos x="2" y="4"/>
                </a:cxn>
                <a:cxn ang="0">
                  <a:pos x="2" y="2"/>
                </a:cxn>
                <a:cxn ang="0">
                  <a:pos x="0" y="0"/>
                </a:cxn>
                <a:cxn ang="0">
                  <a:pos x="0" y="0"/>
                </a:cxn>
              </a:cxnLst>
              <a:rect l="0" t="0" r="r" b="b"/>
              <a:pathLst>
                <a:path w="2" h="4">
                  <a:moveTo>
                    <a:pt x="0" y="0"/>
                  </a:moveTo>
                  <a:lnTo>
                    <a:pt x="0" y="0"/>
                  </a:lnTo>
                  <a:lnTo>
                    <a:pt x="2" y="2"/>
                  </a:lnTo>
                  <a:lnTo>
                    <a:pt x="2" y="4"/>
                  </a:lnTo>
                  <a:lnTo>
                    <a:pt x="2"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5" name="Freeform 398">
              <a:extLst>
                <a:ext uri="{FF2B5EF4-FFF2-40B4-BE49-F238E27FC236}">
                  <a16:creationId xmlns:a16="http://schemas.microsoft.com/office/drawing/2014/main" id="{181ABCCF-C809-4239-9F41-795BD1926545}"/>
                </a:ext>
              </a:extLst>
            </p:cNvPr>
            <p:cNvSpPr>
              <a:spLocks/>
            </p:cNvSpPr>
            <p:nvPr/>
          </p:nvSpPr>
          <p:spPr bwMode="auto">
            <a:xfrm>
              <a:off x="1539930" y="3682767"/>
              <a:ext cx="2590" cy="2590"/>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6" name="Freeform 399">
              <a:extLst>
                <a:ext uri="{FF2B5EF4-FFF2-40B4-BE49-F238E27FC236}">
                  <a16:creationId xmlns:a16="http://schemas.microsoft.com/office/drawing/2014/main" id="{A04D8937-EF9C-49CD-BBF2-B9C38D44D2A3}"/>
                </a:ext>
              </a:extLst>
            </p:cNvPr>
            <p:cNvSpPr>
              <a:spLocks/>
            </p:cNvSpPr>
            <p:nvPr/>
          </p:nvSpPr>
          <p:spPr bwMode="auto">
            <a:xfrm>
              <a:off x="1539930" y="3682767"/>
              <a:ext cx="2590" cy="2590"/>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7" name="Freeform 400">
              <a:extLst>
                <a:ext uri="{FF2B5EF4-FFF2-40B4-BE49-F238E27FC236}">
                  <a16:creationId xmlns:a16="http://schemas.microsoft.com/office/drawing/2014/main" id="{2D8CE8B8-8D4C-4429-938B-FB8F154ED1BE}"/>
                </a:ext>
              </a:extLst>
            </p:cNvPr>
            <p:cNvSpPr>
              <a:spLocks/>
            </p:cNvSpPr>
            <p:nvPr/>
          </p:nvSpPr>
          <p:spPr bwMode="auto">
            <a:xfrm>
              <a:off x="1560647" y="3672408"/>
              <a:ext cx="5179" cy="2590"/>
            </a:xfrm>
            <a:custGeom>
              <a:avLst/>
              <a:gdLst/>
              <a:ahLst/>
              <a:cxnLst>
                <a:cxn ang="0">
                  <a:pos x="2" y="0"/>
                </a:cxn>
                <a:cxn ang="0">
                  <a:pos x="2" y="0"/>
                </a:cxn>
                <a:cxn ang="0">
                  <a:pos x="0" y="2"/>
                </a:cxn>
                <a:cxn ang="0">
                  <a:pos x="4" y="0"/>
                </a:cxn>
                <a:cxn ang="0">
                  <a:pos x="2" y="0"/>
                </a:cxn>
                <a:cxn ang="0">
                  <a:pos x="2" y="0"/>
                </a:cxn>
              </a:cxnLst>
              <a:rect l="0" t="0" r="r" b="b"/>
              <a:pathLst>
                <a:path w="4" h="2">
                  <a:moveTo>
                    <a:pt x="2" y="0"/>
                  </a:moveTo>
                  <a:lnTo>
                    <a:pt x="2" y="0"/>
                  </a:lnTo>
                  <a:lnTo>
                    <a:pt x="0" y="2"/>
                  </a:lnTo>
                  <a:lnTo>
                    <a:pt x="4"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8" name="Freeform 401">
              <a:extLst>
                <a:ext uri="{FF2B5EF4-FFF2-40B4-BE49-F238E27FC236}">
                  <a16:creationId xmlns:a16="http://schemas.microsoft.com/office/drawing/2014/main" id="{A9DB4AB8-9270-46C1-9475-D45BF2D61213}"/>
                </a:ext>
              </a:extLst>
            </p:cNvPr>
            <p:cNvSpPr>
              <a:spLocks/>
            </p:cNvSpPr>
            <p:nvPr/>
          </p:nvSpPr>
          <p:spPr bwMode="auto">
            <a:xfrm>
              <a:off x="1560647" y="3672408"/>
              <a:ext cx="5179" cy="2590"/>
            </a:xfrm>
            <a:custGeom>
              <a:avLst/>
              <a:gdLst/>
              <a:ahLst/>
              <a:cxnLst>
                <a:cxn ang="0">
                  <a:pos x="2" y="0"/>
                </a:cxn>
                <a:cxn ang="0">
                  <a:pos x="2" y="0"/>
                </a:cxn>
                <a:cxn ang="0">
                  <a:pos x="0" y="2"/>
                </a:cxn>
                <a:cxn ang="0">
                  <a:pos x="4" y="0"/>
                </a:cxn>
                <a:cxn ang="0">
                  <a:pos x="2" y="0"/>
                </a:cxn>
                <a:cxn ang="0">
                  <a:pos x="2" y="0"/>
                </a:cxn>
              </a:cxnLst>
              <a:rect l="0" t="0" r="r" b="b"/>
              <a:pathLst>
                <a:path w="4" h="2">
                  <a:moveTo>
                    <a:pt x="2" y="0"/>
                  </a:moveTo>
                  <a:lnTo>
                    <a:pt x="2" y="0"/>
                  </a:lnTo>
                  <a:lnTo>
                    <a:pt x="0" y="2"/>
                  </a:lnTo>
                  <a:lnTo>
                    <a:pt x="4"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9" name="Rectangle 402">
              <a:extLst>
                <a:ext uri="{FF2B5EF4-FFF2-40B4-BE49-F238E27FC236}">
                  <a16:creationId xmlns:a16="http://schemas.microsoft.com/office/drawing/2014/main" id="{4FE74DCA-B225-4482-8AE7-E3AAD2C67844}"/>
                </a:ext>
              </a:extLst>
            </p:cNvPr>
            <p:cNvSpPr>
              <a:spLocks noChangeArrowheads="1"/>
            </p:cNvSpPr>
            <p:nvPr/>
          </p:nvSpPr>
          <p:spPr bwMode="auto">
            <a:xfrm>
              <a:off x="1640925" y="3832964"/>
              <a:ext cx="1295" cy="2590"/>
            </a:xfrm>
            <a:prstGeom prst="rect">
              <a:avLst/>
            </a:prstGeom>
            <a:grpFill/>
            <a:ln w="6350">
              <a:noFill/>
              <a:prstDash val="solid"/>
              <a:miter lim="800000"/>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0" name="Rectangle 403">
              <a:extLst>
                <a:ext uri="{FF2B5EF4-FFF2-40B4-BE49-F238E27FC236}">
                  <a16:creationId xmlns:a16="http://schemas.microsoft.com/office/drawing/2014/main" id="{892F6BF6-518F-4615-87A4-8FAD24BCD5FD}"/>
                </a:ext>
              </a:extLst>
            </p:cNvPr>
            <p:cNvSpPr>
              <a:spLocks noChangeArrowheads="1"/>
            </p:cNvSpPr>
            <p:nvPr/>
          </p:nvSpPr>
          <p:spPr bwMode="auto">
            <a:xfrm>
              <a:off x="1410449" y="3146717"/>
              <a:ext cx="1295" cy="1295"/>
            </a:xfrm>
            <a:prstGeom prst="rect">
              <a:avLst/>
            </a:prstGeom>
            <a:grpFill/>
            <a:ln w="6350">
              <a:noFill/>
              <a:prstDash val="solid"/>
              <a:miter lim="800000"/>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1" name="Freeform 404">
              <a:extLst>
                <a:ext uri="{FF2B5EF4-FFF2-40B4-BE49-F238E27FC236}">
                  <a16:creationId xmlns:a16="http://schemas.microsoft.com/office/drawing/2014/main" id="{3E1D8805-60C2-4758-901D-2DDA33F7B2F7}"/>
                </a:ext>
              </a:extLst>
            </p:cNvPr>
            <p:cNvSpPr>
              <a:spLocks/>
            </p:cNvSpPr>
            <p:nvPr/>
          </p:nvSpPr>
          <p:spPr bwMode="auto">
            <a:xfrm>
              <a:off x="1845504" y="3716432"/>
              <a:ext cx="10358" cy="7769"/>
            </a:xfrm>
            <a:custGeom>
              <a:avLst/>
              <a:gdLst/>
              <a:ahLst/>
              <a:cxnLst>
                <a:cxn ang="0">
                  <a:pos x="2" y="4"/>
                </a:cxn>
                <a:cxn ang="0">
                  <a:pos x="2" y="4"/>
                </a:cxn>
                <a:cxn ang="0">
                  <a:pos x="0" y="6"/>
                </a:cxn>
                <a:cxn ang="0">
                  <a:pos x="0" y="4"/>
                </a:cxn>
                <a:cxn ang="0">
                  <a:pos x="6" y="0"/>
                </a:cxn>
                <a:cxn ang="0">
                  <a:pos x="8" y="0"/>
                </a:cxn>
                <a:cxn ang="0">
                  <a:pos x="6" y="2"/>
                </a:cxn>
                <a:cxn ang="0">
                  <a:pos x="2" y="4"/>
                </a:cxn>
                <a:cxn ang="0">
                  <a:pos x="2" y="4"/>
                </a:cxn>
              </a:cxnLst>
              <a:rect l="0" t="0" r="r" b="b"/>
              <a:pathLst>
                <a:path w="8" h="6">
                  <a:moveTo>
                    <a:pt x="2" y="4"/>
                  </a:moveTo>
                  <a:lnTo>
                    <a:pt x="2" y="4"/>
                  </a:lnTo>
                  <a:lnTo>
                    <a:pt x="0" y="6"/>
                  </a:lnTo>
                  <a:lnTo>
                    <a:pt x="0" y="4"/>
                  </a:lnTo>
                  <a:lnTo>
                    <a:pt x="6" y="0"/>
                  </a:lnTo>
                  <a:lnTo>
                    <a:pt x="8" y="0"/>
                  </a:lnTo>
                  <a:lnTo>
                    <a:pt x="6" y="2"/>
                  </a:lnTo>
                  <a:lnTo>
                    <a:pt x="2" y="4"/>
                  </a:lnTo>
                  <a:lnTo>
                    <a:pt x="2"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2" name="Freeform 405">
              <a:extLst>
                <a:ext uri="{FF2B5EF4-FFF2-40B4-BE49-F238E27FC236}">
                  <a16:creationId xmlns:a16="http://schemas.microsoft.com/office/drawing/2014/main" id="{423E840E-3FCA-472E-AB8A-EF764BEC63FD}"/>
                </a:ext>
              </a:extLst>
            </p:cNvPr>
            <p:cNvSpPr>
              <a:spLocks/>
            </p:cNvSpPr>
            <p:nvPr/>
          </p:nvSpPr>
          <p:spPr bwMode="auto">
            <a:xfrm>
              <a:off x="1845504" y="3716432"/>
              <a:ext cx="10358" cy="7769"/>
            </a:xfrm>
            <a:custGeom>
              <a:avLst/>
              <a:gdLst/>
              <a:ahLst/>
              <a:cxnLst>
                <a:cxn ang="0">
                  <a:pos x="2" y="4"/>
                </a:cxn>
                <a:cxn ang="0">
                  <a:pos x="2" y="4"/>
                </a:cxn>
                <a:cxn ang="0">
                  <a:pos x="0" y="6"/>
                </a:cxn>
                <a:cxn ang="0">
                  <a:pos x="0" y="4"/>
                </a:cxn>
                <a:cxn ang="0">
                  <a:pos x="6" y="0"/>
                </a:cxn>
                <a:cxn ang="0">
                  <a:pos x="8" y="0"/>
                </a:cxn>
                <a:cxn ang="0">
                  <a:pos x="6" y="2"/>
                </a:cxn>
                <a:cxn ang="0">
                  <a:pos x="2" y="4"/>
                </a:cxn>
                <a:cxn ang="0">
                  <a:pos x="2" y="4"/>
                </a:cxn>
              </a:cxnLst>
              <a:rect l="0" t="0" r="r" b="b"/>
              <a:pathLst>
                <a:path w="8" h="6">
                  <a:moveTo>
                    <a:pt x="2" y="4"/>
                  </a:moveTo>
                  <a:lnTo>
                    <a:pt x="2" y="4"/>
                  </a:lnTo>
                  <a:lnTo>
                    <a:pt x="0" y="6"/>
                  </a:lnTo>
                  <a:lnTo>
                    <a:pt x="0" y="4"/>
                  </a:lnTo>
                  <a:lnTo>
                    <a:pt x="6" y="0"/>
                  </a:lnTo>
                  <a:lnTo>
                    <a:pt x="8" y="0"/>
                  </a:lnTo>
                  <a:lnTo>
                    <a:pt x="6" y="2"/>
                  </a:lnTo>
                  <a:lnTo>
                    <a:pt x="2" y="4"/>
                  </a:lnTo>
                  <a:lnTo>
                    <a:pt x="2"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3" name="Freeform 407">
              <a:extLst>
                <a:ext uri="{FF2B5EF4-FFF2-40B4-BE49-F238E27FC236}">
                  <a16:creationId xmlns:a16="http://schemas.microsoft.com/office/drawing/2014/main" id="{340367F6-70B7-469F-9593-49F02B6D246F}"/>
                </a:ext>
              </a:extLst>
            </p:cNvPr>
            <p:cNvSpPr>
              <a:spLocks/>
            </p:cNvSpPr>
            <p:nvPr/>
          </p:nvSpPr>
          <p:spPr bwMode="auto">
            <a:xfrm>
              <a:off x="1897296" y="3744917"/>
              <a:ext cx="2590" cy="2590"/>
            </a:xfrm>
            <a:custGeom>
              <a:avLst/>
              <a:gdLst/>
              <a:ahLst/>
              <a:cxnLst>
                <a:cxn ang="0">
                  <a:pos x="0" y="2"/>
                </a:cxn>
                <a:cxn ang="0">
                  <a:pos x="0" y="2"/>
                </a:cxn>
                <a:cxn ang="0">
                  <a:pos x="0" y="0"/>
                </a:cxn>
                <a:cxn ang="0">
                  <a:pos x="2" y="0"/>
                </a:cxn>
                <a:cxn ang="0">
                  <a:pos x="0" y="2"/>
                </a:cxn>
                <a:cxn ang="0">
                  <a:pos x="0" y="2"/>
                </a:cxn>
              </a:cxnLst>
              <a:rect l="0" t="0" r="r" b="b"/>
              <a:pathLst>
                <a:path w="2" h="2">
                  <a:moveTo>
                    <a:pt x="0" y="2"/>
                  </a:moveTo>
                  <a:lnTo>
                    <a:pt x="0" y="2"/>
                  </a:lnTo>
                  <a:lnTo>
                    <a:pt x="0" y="0"/>
                  </a:lnTo>
                  <a:lnTo>
                    <a:pt x="2" y="0"/>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4" name="Freeform 408">
              <a:extLst>
                <a:ext uri="{FF2B5EF4-FFF2-40B4-BE49-F238E27FC236}">
                  <a16:creationId xmlns:a16="http://schemas.microsoft.com/office/drawing/2014/main" id="{F0AD7D32-20E6-4B0B-8806-950C1417A774}"/>
                </a:ext>
              </a:extLst>
            </p:cNvPr>
            <p:cNvSpPr>
              <a:spLocks/>
            </p:cNvSpPr>
            <p:nvPr/>
          </p:nvSpPr>
          <p:spPr bwMode="auto">
            <a:xfrm>
              <a:off x="1897296" y="3744917"/>
              <a:ext cx="2590" cy="2590"/>
            </a:xfrm>
            <a:custGeom>
              <a:avLst/>
              <a:gdLst/>
              <a:ahLst/>
              <a:cxnLst>
                <a:cxn ang="0">
                  <a:pos x="0" y="2"/>
                </a:cxn>
                <a:cxn ang="0">
                  <a:pos x="0" y="2"/>
                </a:cxn>
                <a:cxn ang="0">
                  <a:pos x="0" y="0"/>
                </a:cxn>
                <a:cxn ang="0">
                  <a:pos x="2" y="0"/>
                </a:cxn>
                <a:cxn ang="0">
                  <a:pos x="0" y="2"/>
                </a:cxn>
                <a:cxn ang="0">
                  <a:pos x="0" y="2"/>
                </a:cxn>
              </a:cxnLst>
              <a:rect l="0" t="0" r="r" b="b"/>
              <a:pathLst>
                <a:path w="2" h="2">
                  <a:moveTo>
                    <a:pt x="0" y="2"/>
                  </a:moveTo>
                  <a:lnTo>
                    <a:pt x="0" y="2"/>
                  </a:lnTo>
                  <a:lnTo>
                    <a:pt x="0" y="0"/>
                  </a:lnTo>
                  <a:lnTo>
                    <a:pt x="2" y="0"/>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5" name="Freeform 409">
              <a:extLst>
                <a:ext uri="{FF2B5EF4-FFF2-40B4-BE49-F238E27FC236}">
                  <a16:creationId xmlns:a16="http://schemas.microsoft.com/office/drawing/2014/main" id="{A9622046-3F15-42DF-8247-7327283FDF4F}"/>
                </a:ext>
              </a:extLst>
            </p:cNvPr>
            <p:cNvSpPr>
              <a:spLocks/>
            </p:cNvSpPr>
            <p:nvPr/>
          </p:nvSpPr>
          <p:spPr bwMode="auto">
            <a:xfrm>
              <a:off x="1620208" y="3193330"/>
              <a:ext cx="2590" cy="2590"/>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6" name="Freeform 410">
              <a:extLst>
                <a:ext uri="{FF2B5EF4-FFF2-40B4-BE49-F238E27FC236}">
                  <a16:creationId xmlns:a16="http://schemas.microsoft.com/office/drawing/2014/main" id="{4C4545D7-5F3E-4A70-B726-EADF08AD201C}"/>
                </a:ext>
              </a:extLst>
            </p:cNvPr>
            <p:cNvSpPr>
              <a:spLocks/>
            </p:cNvSpPr>
            <p:nvPr/>
          </p:nvSpPr>
          <p:spPr bwMode="auto">
            <a:xfrm>
              <a:off x="1620208" y="3193330"/>
              <a:ext cx="2590" cy="2590"/>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7" name="Freeform 411">
              <a:extLst>
                <a:ext uri="{FF2B5EF4-FFF2-40B4-BE49-F238E27FC236}">
                  <a16:creationId xmlns:a16="http://schemas.microsoft.com/office/drawing/2014/main" id="{6B40288E-136C-457F-B7A6-6AF1538F7A98}"/>
                </a:ext>
              </a:extLst>
            </p:cNvPr>
            <p:cNvSpPr>
              <a:spLocks/>
            </p:cNvSpPr>
            <p:nvPr/>
          </p:nvSpPr>
          <p:spPr bwMode="auto">
            <a:xfrm>
              <a:off x="1529571" y="2887756"/>
              <a:ext cx="1295" cy="2590"/>
            </a:xfrm>
            <a:custGeom>
              <a:avLst/>
              <a:gdLst/>
              <a:ahLst/>
              <a:cxnLst>
                <a:cxn ang="0">
                  <a:pos x="0" y="0"/>
                </a:cxn>
                <a:cxn ang="0">
                  <a:pos x="0" y="0"/>
                </a:cxn>
                <a:cxn ang="0">
                  <a:pos x="0" y="2"/>
                </a:cxn>
                <a:cxn ang="0">
                  <a:pos x="0" y="0"/>
                </a:cxn>
                <a:cxn ang="0">
                  <a:pos x="0" y="0"/>
                </a:cxn>
              </a:cxnLst>
              <a:rect l="0" t="0" r="r" b="b"/>
              <a:pathLst>
                <a:path h="2">
                  <a:moveTo>
                    <a:pt x="0" y="0"/>
                  </a:moveTo>
                  <a:lnTo>
                    <a:pt x="0" y="0"/>
                  </a:lnTo>
                  <a:lnTo>
                    <a:pt x="0"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8" name="Freeform 412">
              <a:extLst>
                <a:ext uri="{FF2B5EF4-FFF2-40B4-BE49-F238E27FC236}">
                  <a16:creationId xmlns:a16="http://schemas.microsoft.com/office/drawing/2014/main" id="{2F450BA5-4FC7-45E5-8258-0C8FC3FE88D9}"/>
                </a:ext>
              </a:extLst>
            </p:cNvPr>
            <p:cNvSpPr>
              <a:spLocks noEditPoints="1"/>
            </p:cNvSpPr>
            <p:nvPr/>
          </p:nvSpPr>
          <p:spPr bwMode="auto">
            <a:xfrm>
              <a:off x="659462" y="2846323"/>
              <a:ext cx="1514922" cy="989231"/>
            </a:xfrm>
            <a:custGeom>
              <a:avLst/>
              <a:gdLst/>
              <a:ahLst/>
              <a:cxnLst>
                <a:cxn ang="0">
                  <a:pos x="818" y="108"/>
                </a:cxn>
                <a:cxn ang="0">
                  <a:pos x="508" y="48"/>
                </a:cxn>
                <a:cxn ang="0">
                  <a:pos x="508" y="36"/>
                </a:cxn>
                <a:cxn ang="0">
                  <a:pos x="648" y="72"/>
                </a:cxn>
                <a:cxn ang="0">
                  <a:pos x="680" y="34"/>
                </a:cxn>
                <a:cxn ang="0">
                  <a:pos x="724" y="70"/>
                </a:cxn>
                <a:cxn ang="0">
                  <a:pos x="384" y="48"/>
                </a:cxn>
                <a:cxn ang="0">
                  <a:pos x="452" y="32"/>
                </a:cxn>
                <a:cxn ang="0">
                  <a:pos x="772" y="322"/>
                </a:cxn>
                <a:cxn ang="0">
                  <a:pos x="778" y="322"/>
                </a:cxn>
                <a:cxn ang="0">
                  <a:pos x="1000" y="288"/>
                </a:cxn>
                <a:cxn ang="0">
                  <a:pos x="990" y="306"/>
                </a:cxn>
                <a:cxn ang="0">
                  <a:pos x="976" y="362"/>
                </a:cxn>
                <a:cxn ang="0">
                  <a:pos x="858" y="328"/>
                </a:cxn>
                <a:cxn ang="0">
                  <a:pos x="896" y="236"/>
                </a:cxn>
                <a:cxn ang="0">
                  <a:pos x="832" y="172"/>
                </a:cxn>
                <a:cxn ang="0">
                  <a:pos x="714" y="164"/>
                </a:cxn>
                <a:cxn ang="0">
                  <a:pos x="738" y="148"/>
                </a:cxn>
                <a:cxn ang="0">
                  <a:pos x="784" y="134"/>
                </a:cxn>
                <a:cxn ang="0">
                  <a:pos x="886" y="136"/>
                </a:cxn>
                <a:cxn ang="0">
                  <a:pos x="946" y="170"/>
                </a:cxn>
                <a:cxn ang="0">
                  <a:pos x="982" y="234"/>
                </a:cxn>
                <a:cxn ang="0">
                  <a:pos x="1014" y="728"/>
                </a:cxn>
                <a:cxn ang="0">
                  <a:pos x="982" y="702"/>
                </a:cxn>
                <a:cxn ang="0">
                  <a:pos x="832" y="732"/>
                </a:cxn>
                <a:cxn ang="0">
                  <a:pos x="788" y="692"/>
                </a:cxn>
                <a:cxn ang="0">
                  <a:pos x="630" y="644"/>
                </a:cxn>
                <a:cxn ang="0">
                  <a:pos x="220" y="620"/>
                </a:cxn>
                <a:cxn ang="0">
                  <a:pos x="164" y="546"/>
                </a:cxn>
                <a:cxn ang="0">
                  <a:pos x="86" y="410"/>
                </a:cxn>
                <a:cxn ang="0">
                  <a:pos x="80" y="200"/>
                </a:cxn>
                <a:cxn ang="0">
                  <a:pos x="168" y="174"/>
                </a:cxn>
                <a:cxn ang="0">
                  <a:pos x="340" y="208"/>
                </a:cxn>
                <a:cxn ang="0">
                  <a:pos x="460" y="216"/>
                </a:cxn>
                <a:cxn ang="0">
                  <a:pos x="544" y="238"/>
                </a:cxn>
                <a:cxn ang="0">
                  <a:pos x="618" y="216"/>
                </a:cxn>
                <a:cxn ang="0">
                  <a:pos x="604" y="120"/>
                </a:cxn>
                <a:cxn ang="0">
                  <a:pos x="632" y="150"/>
                </a:cxn>
                <a:cxn ang="0">
                  <a:pos x="700" y="244"/>
                </a:cxn>
                <a:cxn ang="0">
                  <a:pos x="782" y="242"/>
                </a:cxn>
                <a:cxn ang="0">
                  <a:pos x="676" y="290"/>
                </a:cxn>
                <a:cxn ang="0">
                  <a:pos x="618" y="388"/>
                </a:cxn>
                <a:cxn ang="0">
                  <a:pos x="772" y="526"/>
                </a:cxn>
                <a:cxn ang="0">
                  <a:pos x="844" y="472"/>
                </a:cxn>
                <a:cxn ang="0">
                  <a:pos x="890" y="356"/>
                </a:cxn>
                <a:cxn ang="0">
                  <a:pos x="994" y="412"/>
                </a:cxn>
                <a:cxn ang="0">
                  <a:pos x="1038" y="492"/>
                </a:cxn>
                <a:cxn ang="0">
                  <a:pos x="1114" y="554"/>
                </a:cxn>
                <a:cxn ang="0">
                  <a:pos x="974" y="608"/>
                </a:cxn>
                <a:cxn ang="0">
                  <a:pos x="1002" y="644"/>
                </a:cxn>
                <a:cxn ang="0">
                  <a:pos x="1168" y="658"/>
                </a:cxn>
                <a:cxn ang="0">
                  <a:pos x="1102" y="616"/>
                </a:cxn>
                <a:cxn ang="0">
                  <a:pos x="1082" y="652"/>
                </a:cxn>
                <a:cxn ang="0">
                  <a:pos x="1046" y="676"/>
                </a:cxn>
                <a:cxn ang="0">
                  <a:pos x="534" y="186"/>
                </a:cxn>
                <a:cxn ang="0">
                  <a:pos x="408" y="116"/>
                </a:cxn>
                <a:cxn ang="0">
                  <a:pos x="330" y="146"/>
                </a:cxn>
                <a:cxn ang="0">
                  <a:pos x="324" y="190"/>
                </a:cxn>
                <a:cxn ang="0">
                  <a:pos x="522" y="198"/>
                </a:cxn>
                <a:cxn ang="0">
                  <a:pos x="566" y="78"/>
                </a:cxn>
                <a:cxn ang="0">
                  <a:pos x="590" y="130"/>
                </a:cxn>
                <a:cxn ang="0">
                  <a:pos x="122" y="556"/>
                </a:cxn>
                <a:cxn ang="0">
                  <a:pos x="306" y="104"/>
                </a:cxn>
              </a:cxnLst>
              <a:rect l="0" t="0" r="r" b="b"/>
              <a:pathLst>
                <a:path w="1170" h="764">
                  <a:moveTo>
                    <a:pt x="766" y="700"/>
                  </a:moveTo>
                  <a:lnTo>
                    <a:pt x="766" y="700"/>
                  </a:lnTo>
                  <a:lnTo>
                    <a:pt x="760" y="698"/>
                  </a:lnTo>
                  <a:lnTo>
                    <a:pt x="762" y="696"/>
                  </a:lnTo>
                  <a:lnTo>
                    <a:pt x="768" y="698"/>
                  </a:lnTo>
                  <a:lnTo>
                    <a:pt x="772" y="700"/>
                  </a:lnTo>
                  <a:lnTo>
                    <a:pt x="774" y="700"/>
                  </a:lnTo>
                  <a:lnTo>
                    <a:pt x="776" y="700"/>
                  </a:lnTo>
                  <a:lnTo>
                    <a:pt x="774" y="700"/>
                  </a:lnTo>
                  <a:lnTo>
                    <a:pt x="766" y="700"/>
                  </a:lnTo>
                  <a:lnTo>
                    <a:pt x="766" y="700"/>
                  </a:lnTo>
                  <a:close/>
                  <a:moveTo>
                    <a:pt x="814" y="184"/>
                  </a:moveTo>
                  <a:lnTo>
                    <a:pt x="814" y="184"/>
                  </a:lnTo>
                  <a:lnTo>
                    <a:pt x="812" y="186"/>
                  </a:lnTo>
                  <a:lnTo>
                    <a:pt x="808" y="186"/>
                  </a:lnTo>
                  <a:lnTo>
                    <a:pt x="798" y="186"/>
                  </a:lnTo>
                  <a:lnTo>
                    <a:pt x="798" y="188"/>
                  </a:lnTo>
                  <a:lnTo>
                    <a:pt x="800" y="188"/>
                  </a:lnTo>
                  <a:lnTo>
                    <a:pt x="800" y="190"/>
                  </a:lnTo>
                  <a:lnTo>
                    <a:pt x="802" y="192"/>
                  </a:lnTo>
                  <a:lnTo>
                    <a:pt x="804" y="190"/>
                  </a:lnTo>
                  <a:lnTo>
                    <a:pt x="806" y="194"/>
                  </a:lnTo>
                  <a:lnTo>
                    <a:pt x="808" y="194"/>
                  </a:lnTo>
                  <a:lnTo>
                    <a:pt x="816" y="186"/>
                  </a:lnTo>
                  <a:lnTo>
                    <a:pt x="820" y="184"/>
                  </a:lnTo>
                  <a:lnTo>
                    <a:pt x="818" y="184"/>
                  </a:lnTo>
                  <a:lnTo>
                    <a:pt x="814" y="184"/>
                  </a:lnTo>
                  <a:lnTo>
                    <a:pt x="814" y="184"/>
                  </a:lnTo>
                  <a:close/>
                  <a:moveTo>
                    <a:pt x="840" y="96"/>
                  </a:moveTo>
                  <a:lnTo>
                    <a:pt x="838" y="96"/>
                  </a:lnTo>
                  <a:lnTo>
                    <a:pt x="834" y="84"/>
                  </a:lnTo>
                  <a:lnTo>
                    <a:pt x="832" y="80"/>
                  </a:lnTo>
                  <a:lnTo>
                    <a:pt x="830" y="80"/>
                  </a:lnTo>
                  <a:lnTo>
                    <a:pt x="828" y="80"/>
                  </a:lnTo>
                  <a:lnTo>
                    <a:pt x="826" y="78"/>
                  </a:lnTo>
                  <a:lnTo>
                    <a:pt x="820" y="80"/>
                  </a:lnTo>
                  <a:lnTo>
                    <a:pt x="814" y="82"/>
                  </a:lnTo>
                  <a:lnTo>
                    <a:pt x="810" y="82"/>
                  </a:lnTo>
                  <a:lnTo>
                    <a:pt x="808" y="82"/>
                  </a:lnTo>
                  <a:lnTo>
                    <a:pt x="804" y="78"/>
                  </a:lnTo>
                  <a:lnTo>
                    <a:pt x="800" y="80"/>
                  </a:lnTo>
                  <a:lnTo>
                    <a:pt x="796" y="82"/>
                  </a:lnTo>
                  <a:lnTo>
                    <a:pt x="792" y="82"/>
                  </a:lnTo>
                  <a:lnTo>
                    <a:pt x="788" y="86"/>
                  </a:lnTo>
                  <a:lnTo>
                    <a:pt x="786" y="92"/>
                  </a:lnTo>
                  <a:lnTo>
                    <a:pt x="782" y="104"/>
                  </a:lnTo>
                  <a:lnTo>
                    <a:pt x="782" y="102"/>
                  </a:lnTo>
                  <a:lnTo>
                    <a:pt x="782" y="106"/>
                  </a:lnTo>
                  <a:lnTo>
                    <a:pt x="784" y="110"/>
                  </a:lnTo>
                  <a:lnTo>
                    <a:pt x="788" y="114"/>
                  </a:lnTo>
                  <a:lnTo>
                    <a:pt x="792" y="114"/>
                  </a:lnTo>
                  <a:lnTo>
                    <a:pt x="794" y="112"/>
                  </a:lnTo>
                  <a:lnTo>
                    <a:pt x="798" y="110"/>
                  </a:lnTo>
                  <a:lnTo>
                    <a:pt x="804" y="112"/>
                  </a:lnTo>
                  <a:lnTo>
                    <a:pt x="812" y="112"/>
                  </a:lnTo>
                  <a:lnTo>
                    <a:pt x="816" y="112"/>
                  </a:lnTo>
                  <a:lnTo>
                    <a:pt x="818" y="108"/>
                  </a:lnTo>
                  <a:lnTo>
                    <a:pt x="824" y="104"/>
                  </a:lnTo>
                  <a:lnTo>
                    <a:pt x="826" y="104"/>
                  </a:lnTo>
                  <a:lnTo>
                    <a:pt x="830" y="104"/>
                  </a:lnTo>
                  <a:lnTo>
                    <a:pt x="832" y="102"/>
                  </a:lnTo>
                  <a:lnTo>
                    <a:pt x="832" y="102"/>
                  </a:lnTo>
                  <a:lnTo>
                    <a:pt x="836" y="102"/>
                  </a:lnTo>
                  <a:lnTo>
                    <a:pt x="840" y="100"/>
                  </a:lnTo>
                  <a:lnTo>
                    <a:pt x="840" y="96"/>
                  </a:lnTo>
                  <a:lnTo>
                    <a:pt x="840" y="96"/>
                  </a:lnTo>
                  <a:close/>
                  <a:moveTo>
                    <a:pt x="552" y="12"/>
                  </a:moveTo>
                  <a:lnTo>
                    <a:pt x="552" y="12"/>
                  </a:lnTo>
                  <a:lnTo>
                    <a:pt x="554" y="14"/>
                  </a:lnTo>
                  <a:lnTo>
                    <a:pt x="554" y="14"/>
                  </a:lnTo>
                  <a:lnTo>
                    <a:pt x="552" y="14"/>
                  </a:lnTo>
                  <a:lnTo>
                    <a:pt x="546" y="14"/>
                  </a:lnTo>
                  <a:lnTo>
                    <a:pt x="546" y="14"/>
                  </a:lnTo>
                  <a:lnTo>
                    <a:pt x="548" y="12"/>
                  </a:lnTo>
                  <a:lnTo>
                    <a:pt x="542" y="4"/>
                  </a:lnTo>
                  <a:lnTo>
                    <a:pt x="542" y="6"/>
                  </a:lnTo>
                  <a:lnTo>
                    <a:pt x="536" y="6"/>
                  </a:lnTo>
                  <a:lnTo>
                    <a:pt x="536" y="8"/>
                  </a:lnTo>
                  <a:lnTo>
                    <a:pt x="534" y="8"/>
                  </a:lnTo>
                  <a:lnTo>
                    <a:pt x="536" y="12"/>
                  </a:lnTo>
                  <a:lnTo>
                    <a:pt x="544" y="14"/>
                  </a:lnTo>
                  <a:lnTo>
                    <a:pt x="544" y="14"/>
                  </a:lnTo>
                  <a:lnTo>
                    <a:pt x="534" y="14"/>
                  </a:lnTo>
                  <a:lnTo>
                    <a:pt x="534" y="18"/>
                  </a:lnTo>
                  <a:lnTo>
                    <a:pt x="536" y="20"/>
                  </a:lnTo>
                  <a:lnTo>
                    <a:pt x="540" y="22"/>
                  </a:lnTo>
                  <a:lnTo>
                    <a:pt x="540" y="30"/>
                  </a:lnTo>
                  <a:lnTo>
                    <a:pt x="542" y="30"/>
                  </a:lnTo>
                  <a:lnTo>
                    <a:pt x="542" y="32"/>
                  </a:lnTo>
                  <a:lnTo>
                    <a:pt x="540" y="36"/>
                  </a:lnTo>
                  <a:lnTo>
                    <a:pt x="536" y="34"/>
                  </a:lnTo>
                  <a:lnTo>
                    <a:pt x="536" y="32"/>
                  </a:lnTo>
                  <a:lnTo>
                    <a:pt x="536" y="28"/>
                  </a:lnTo>
                  <a:lnTo>
                    <a:pt x="528" y="20"/>
                  </a:lnTo>
                  <a:lnTo>
                    <a:pt x="526" y="14"/>
                  </a:lnTo>
                  <a:lnTo>
                    <a:pt x="522" y="14"/>
                  </a:lnTo>
                  <a:lnTo>
                    <a:pt x="520" y="14"/>
                  </a:lnTo>
                  <a:lnTo>
                    <a:pt x="518" y="14"/>
                  </a:lnTo>
                  <a:lnTo>
                    <a:pt x="518" y="16"/>
                  </a:lnTo>
                  <a:lnTo>
                    <a:pt x="516" y="18"/>
                  </a:lnTo>
                  <a:lnTo>
                    <a:pt x="520" y="18"/>
                  </a:lnTo>
                  <a:lnTo>
                    <a:pt x="520" y="24"/>
                  </a:lnTo>
                  <a:lnTo>
                    <a:pt x="522" y="30"/>
                  </a:lnTo>
                  <a:lnTo>
                    <a:pt x="524" y="30"/>
                  </a:lnTo>
                  <a:lnTo>
                    <a:pt x="526" y="36"/>
                  </a:lnTo>
                  <a:lnTo>
                    <a:pt x="524" y="38"/>
                  </a:lnTo>
                  <a:lnTo>
                    <a:pt x="522" y="38"/>
                  </a:lnTo>
                  <a:lnTo>
                    <a:pt x="522" y="36"/>
                  </a:lnTo>
                  <a:lnTo>
                    <a:pt x="510" y="38"/>
                  </a:lnTo>
                  <a:lnTo>
                    <a:pt x="512" y="38"/>
                  </a:lnTo>
                  <a:lnTo>
                    <a:pt x="514" y="40"/>
                  </a:lnTo>
                  <a:lnTo>
                    <a:pt x="512" y="42"/>
                  </a:lnTo>
                  <a:lnTo>
                    <a:pt x="508" y="42"/>
                  </a:lnTo>
                  <a:lnTo>
                    <a:pt x="508" y="48"/>
                  </a:lnTo>
                  <a:lnTo>
                    <a:pt x="510" y="50"/>
                  </a:lnTo>
                  <a:lnTo>
                    <a:pt x="514" y="50"/>
                  </a:lnTo>
                  <a:lnTo>
                    <a:pt x="520" y="48"/>
                  </a:lnTo>
                  <a:lnTo>
                    <a:pt x="524" y="44"/>
                  </a:lnTo>
                  <a:lnTo>
                    <a:pt x="528" y="44"/>
                  </a:lnTo>
                  <a:lnTo>
                    <a:pt x="536" y="44"/>
                  </a:lnTo>
                  <a:lnTo>
                    <a:pt x="542" y="40"/>
                  </a:lnTo>
                  <a:lnTo>
                    <a:pt x="542" y="44"/>
                  </a:lnTo>
                  <a:lnTo>
                    <a:pt x="540" y="44"/>
                  </a:lnTo>
                  <a:lnTo>
                    <a:pt x="538" y="46"/>
                  </a:lnTo>
                  <a:lnTo>
                    <a:pt x="532" y="50"/>
                  </a:lnTo>
                  <a:lnTo>
                    <a:pt x="532" y="56"/>
                  </a:lnTo>
                  <a:lnTo>
                    <a:pt x="536" y="58"/>
                  </a:lnTo>
                  <a:lnTo>
                    <a:pt x="540" y="58"/>
                  </a:lnTo>
                  <a:lnTo>
                    <a:pt x="546" y="58"/>
                  </a:lnTo>
                  <a:lnTo>
                    <a:pt x="554" y="60"/>
                  </a:lnTo>
                  <a:lnTo>
                    <a:pt x="564" y="58"/>
                  </a:lnTo>
                  <a:lnTo>
                    <a:pt x="576" y="58"/>
                  </a:lnTo>
                  <a:lnTo>
                    <a:pt x="578" y="56"/>
                  </a:lnTo>
                  <a:lnTo>
                    <a:pt x="576" y="52"/>
                  </a:lnTo>
                  <a:lnTo>
                    <a:pt x="578" y="52"/>
                  </a:lnTo>
                  <a:lnTo>
                    <a:pt x="580" y="50"/>
                  </a:lnTo>
                  <a:lnTo>
                    <a:pt x="578" y="48"/>
                  </a:lnTo>
                  <a:lnTo>
                    <a:pt x="576" y="46"/>
                  </a:lnTo>
                  <a:lnTo>
                    <a:pt x="574" y="46"/>
                  </a:lnTo>
                  <a:lnTo>
                    <a:pt x="574" y="40"/>
                  </a:lnTo>
                  <a:lnTo>
                    <a:pt x="576" y="40"/>
                  </a:lnTo>
                  <a:lnTo>
                    <a:pt x="576" y="36"/>
                  </a:lnTo>
                  <a:lnTo>
                    <a:pt x="570" y="36"/>
                  </a:lnTo>
                  <a:lnTo>
                    <a:pt x="572" y="32"/>
                  </a:lnTo>
                  <a:lnTo>
                    <a:pt x="572" y="28"/>
                  </a:lnTo>
                  <a:lnTo>
                    <a:pt x="570" y="24"/>
                  </a:lnTo>
                  <a:lnTo>
                    <a:pt x="568" y="20"/>
                  </a:lnTo>
                  <a:lnTo>
                    <a:pt x="570" y="14"/>
                  </a:lnTo>
                  <a:lnTo>
                    <a:pt x="560" y="12"/>
                  </a:lnTo>
                  <a:lnTo>
                    <a:pt x="562" y="12"/>
                  </a:lnTo>
                  <a:lnTo>
                    <a:pt x="562" y="10"/>
                  </a:lnTo>
                  <a:lnTo>
                    <a:pt x="558" y="8"/>
                  </a:lnTo>
                  <a:lnTo>
                    <a:pt x="554" y="6"/>
                  </a:lnTo>
                  <a:lnTo>
                    <a:pt x="552" y="12"/>
                  </a:lnTo>
                  <a:lnTo>
                    <a:pt x="552" y="12"/>
                  </a:lnTo>
                  <a:close/>
                  <a:moveTo>
                    <a:pt x="488" y="24"/>
                  </a:moveTo>
                  <a:lnTo>
                    <a:pt x="488" y="26"/>
                  </a:lnTo>
                  <a:lnTo>
                    <a:pt x="502" y="24"/>
                  </a:lnTo>
                  <a:lnTo>
                    <a:pt x="500" y="26"/>
                  </a:lnTo>
                  <a:lnTo>
                    <a:pt x="490" y="30"/>
                  </a:lnTo>
                  <a:lnTo>
                    <a:pt x="488" y="32"/>
                  </a:lnTo>
                  <a:lnTo>
                    <a:pt x="500" y="30"/>
                  </a:lnTo>
                  <a:lnTo>
                    <a:pt x="502" y="32"/>
                  </a:lnTo>
                  <a:lnTo>
                    <a:pt x="498" y="34"/>
                  </a:lnTo>
                  <a:lnTo>
                    <a:pt x="496" y="38"/>
                  </a:lnTo>
                  <a:lnTo>
                    <a:pt x="492" y="38"/>
                  </a:lnTo>
                  <a:lnTo>
                    <a:pt x="492" y="42"/>
                  </a:lnTo>
                  <a:lnTo>
                    <a:pt x="498" y="42"/>
                  </a:lnTo>
                  <a:lnTo>
                    <a:pt x="504" y="40"/>
                  </a:lnTo>
                  <a:lnTo>
                    <a:pt x="506" y="38"/>
                  </a:lnTo>
                  <a:lnTo>
                    <a:pt x="508" y="36"/>
                  </a:lnTo>
                  <a:lnTo>
                    <a:pt x="514" y="32"/>
                  </a:lnTo>
                  <a:lnTo>
                    <a:pt x="514" y="30"/>
                  </a:lnTo>
                  <a:lnTo>
                    <a:pt x="512" y="30"/>
                  </a:lnTo>
                  <a:lnTo>
                    <a:pt x="512" y="28"/>
                  </a:lnTo>
                  <a:lnTo>
                    <a:pt x="514" y="26"/>
                  </a:lnTo>
                  <a:lnTo>
                    <a:pt x="514" y="24"/>
                  </a:lnTo>
                  <a:lnTo>
                    <a:pt x="514" y="22"/>
                  </a:lnTo>
                  <a:lnTo>
                    <a:pt x="510" y="20"/>
                  </a:lnTo>
                  <a:lnTo>
                    <a:pt x="504" y="22"/>
                  </a:lnTo>
                  <a:lnTo>
                    <a:pt x="508" y="16"/>
                  </a:lnTo>
                  <a:lnTo>
                    <a:pt x="508" y="14"/>
                  </a:lnTo>
                  <a:lnTo>
                    <a:pt x="504" y="14"/>
                  </a:lnTo>
                  <a:lnTo>
                    <a:pt x="496" y="14"/>
                  </a:lnTo>
                  <a:lnTo>
                    <a:pt x="490" y="16"/>
                  </a:lnTo>
                  <a:lnTo>
                    <a:pt x="486" y="18"/>
                  </a:lnTo>
                  <a:lnTo>
                    <a:pt x="484" y="18"/>
                  </a:lnTo>
                  <a:lnTo>
                    <a:pt x="484" y="20"/>
                  </a:lnTo>
                  <a:lnTo>
                    <a:pt x="484" y="22"/>
                  </a:lnTo>
                  <a:lnTo>
                    <a:pt x="488" y="24"/>
                  </a:lnTo>
                  <a:lnTo>
                    <a:pt x="488" y="24"/>
                  </a:lnTo>
                  <a:close/>
                  <a:moveTo>
                    <a:pt x="596" y="62"/>
                  </a:moveTo>
                  <a:lnTo>
                    <a:pt x="596" y="62"/>
                  </a:lnTo>
                  <a:lnTo>
                    <a:pt x="608" y="66"/>
                  </a:lnTo>
                  <a:lnTo>
                    <a:pt x="608" y="64"/>
                  </a:lnTo>
                  <a:lnTo>
                    <a:pt x="610" y="64"/>
                  </a:lnTo>
                  <a:lnTo>
                    <a:pt x="614" y="68"/>
                  </a:lnTo>
                  <a:lnTo>
                    <a:pt x="620" y="68"/>
                  </a:lnTo>
                  <a:lnTo>
                    <a:pt x="622" y="56"/>
                  </a:lnTo>
                  <a:lnTo>
                    <a:pt x="622" y="50"/>
                  </a:lnTo>
                  <a:lnTo>
                    <a:pt x="622" y="46"/>
                  </a:lnTo>
                  <a:lnTo>
                    <a:pt x="618" y="44"/>
                  </a:lnTo>
                  <a:lnTo>
                    <a:pt x="616" y="42"/>
                  </a:lnTo>
                  <a:lnTo>
                    <a:pt x="614" y="38"/>
                  </a:lnTo>
                  <a:lnTo>
                    <a:pt x="612" y="38"/>
                  </a:lnTo>
                  <a:lnTo>
                    <a:pt x="608" y="36"/>
                  </a:lnTo>
                  <a:lnTo>
                    <a:pt x="600" y="36"/>
                  </a:lnTo>
                  <a:lnTo>
                    <a:pt x="598" y="42"/>
                  </a:lnTo>
                  <a:lnTo>
                    <a:pt x="594" y="46"/>
                  </a:lnTo>
                  <a:lnTo>
                    <a:pt x="592" y="48"/>
                  </a:lnTo>
                  <a:lnTo>
                    <a:pt x="590" y="48"/>
                  </a:lnTo>
                  <a:lnTo>
                    <a:pt x="590" y="52"/>
                  </a:lnTo>
                  <a:lnTo>
                    <a:pt x="588" y="54"/>
                  </a:lnTo>
                  <a:lnTo>
                    <a:pt x="588" y="58"/>
                  </a:lnTo>
                  <a:lnTo>
                    <a:pt x="588" y="60"/>
                  </a:lnTo>
                  <a:lnTo>
                    <a:pt x="590" y="60"/>
                  </a:lnTo>
                  <a:lnTo>
                    <a:pt x="590" y="58"/>
                  </a:lnTo>
                  <a:lnTo>
                    <a:pt x="594" y="60"/>
                  </a:lnTo>
                  <a:lnTo>
                    <a:pt x="596" y="62"/>
                  </a:lnTo>
                  <a:lnTo>
                    <a:pt x="596" y="62"/>
                  </a:lnTo>
                  <a:close/>
                  <a:moveTo>
                    <a:pt x="660" y="72"/>
                  </a:moveTo>
                  <a:lnTo>
                    <a:pt x="660" y="72"/>
                  </a:lnTo>
                  <a:lnTo>
                    <a:pt x="658" y="70"/>
                  </a:lnTo>
                  <a:lnTo>
                    <a:pt x="658" y="68"/>
                  </a:lnTo>
                  <a:lnTo>
                    <a:pt x="654" y="68"/>
                  </a:lnTo>
                  <a:lnTo>
                    <a:pt x="654" y="72"/>
                  </a:lnTo>
                  <a:lnTo>
                    <a:pt x="650" y="72"/>
                  </a:lnTo>
                  <a:lnTo>
                    <a:pt x="648" y="72"/>
                  </a:lnTo>
                  <a:lnTo>
                    <a:pt x="648" y="66"/>
                  </a:lnTo>
                  <a:lnTo>
                    <a:pt x="648" y="64"/>
                  </a:lnTo>
                  <a:lnTo>
                    <a:pt x="646" y="56"/>
                  </a:lnTo>
                  <a:lnTo>
                    <a:pt x="648" y="54"/>
                  </a:lnTo>
                  <a:lnTo>
                    <a:pt x="648" y="50"/>
                  </a:lnTo>
                  <a:lnTo>
                    <a:pt x="646" y="46"/>
                  </a:lnTo>
                  <a:lnTo>
                    <a:pt x="650" y="42"/>
                  </a:lnTo>
                  <a:lnTo>
                    <a:pt x="650" y="38"/>
                  </a:lnTo>
                  <a:lnTo>
                    <a:pt x="648" y="34"/>
                  </a:lnTo>
                  <a:lnTo>
                    <a:pt x="644" y="32"/>
                  </a:lnTo>
                  <a:lnTo>
                    <a:pt x="644" y="30"/>
                  </a:lnTo>
                  <a:lnTo>
                    <a:pt x="642" y="26"/>
                  </a:lnTo>
                  <a:lnTo>
                    <a:pt x="638" y="26"/>
                  </a:lnTo>
                  <a:lnTo>
                    <a:pt x="628" y="24"/>
                  </a:lnTo>
                  <a:lnTo>
                    <a:pt x="628" y="20"/>
                  </a:lnTo>
                  <a:lnTo>
                    <a:pt x="626" y="20"/>
                  </a:lnTo>
                  <a:lnTo>
                    <a:pt x="624" y="22"/>
                  </a:lnTo>
                  <a:lnTo>
                    <a:pt x="622" y="26"/>
                  </a:lnTo>
                  <a:lnTo>
                    <a:pt x="620" y="26"/>
                  </a:lnTo>
                  <a:lnTo>
                    <a:pt x="614" y="22"/>
                  </a:lnTo>
                  <a:lnTo>
                    <a:pt x="608" y="20"/>
                  </a:lnTo>
                  <a:lnTo>
                    <a:pt x="602" y="20"/>
                  </a:lnTo>
                  <a:lnTo>
                    <a:pt x="598" y="18"/>
                  </a:lnTo>
                  <a:lnTo>
                    <a:pt x="596" y="16"/>
                  </a:lnTo>
                  <a:lnTo>
                    <a:pt x="594" y="14"/>
                  </a:lnTo>
                  <a:lnTo>
                    <a:pt x="588" y="10"/>
                  </a:lnTo>
                  <a:lnTo>
                    <a:pt x="588" y="8"/>
                  </a:lnTo>
                  <a:lnTo>
                    <a:pt x="590" y="8"/>
                  </a:lnTo>
                  <a:lnTo>
                    <a:pt x="594" y="2"/>
                  </a:lnTo>
                  <a:lnTo>
                    <a:pt x="600" y="4"/>
                  </a:lnTo>
                  <a:lnTo>
                    <a:pt x="604" y="2"/>
                  </a:lnTo>
                  <a:lnTo>
                    <a:pt x="604" y="4"/>
                  </a:lnTo>
                  <a:lnTo>
                    <a:pt x="614" y="6"/>
                  </a:lnTo>
                  <a:lnTo>
                    <a:pt x="620" y="6"/>
                  </a:lnTo>
                  <a:lnTo>
                    <a:pt x="624" y="6"/>
                  </a:lnTo>
                  <a:lnTo>
                    <a:pt x="630" y="10"/>
                  </a:lnTo>
                  <a:lnTo>
                    <a:pt x="630" y="14"/>
                  </a:lnTo>
                  <a:lnTo>
                    <a:pt x="640" y="14"/>
                  </a:lnTo>
                  <a:lnTo>
                    <a:pt x="652" y="10"/>
                  </a:lnTo>
                  <a:lnTo>
                    <a:pt x="654" y="14"/>
                  </a:lnTo>
                  <a:lnTo>
                    <a:pt x="658" y="14"/>
                  </a:lnTo>
                  <a:lnTo>
                    <a:pt x="662" y="14"/>
                  </a:lnTo>
                  <a:lnTo>
                    <a:pt x="664" y="18"/>
                  </a:lnTo>
                  <a:lnTo>
                    <a:pt x="674" y="20"/>
                  </a:lnTo>
                  <a:lnTo>
                    <a:pt x="674" y="24"/>
                  </a:lnTo>
                  <a:lnTo>
                    <a:pt x="668" y="26"/>
                  </a:lnTo>
                  <a:lnTo>
                    <a:pt x="660" y="26"/>
                  </a:lnTo>
                  <a:lnTo>
                    <a:pt x="660" y="28"/>
                  </a:lnTo>
                  <a:lnTo>
                    <a:pt x="664" y="30"/>
                  </a:lnTo>
                  <a:lnTo>
                    <a:pt x="662" y="34"/>
                  </a:lnTo>
                  <a:lnTo>
                    <a:pt x="664" y="34"/>
                  </a:lnTo>
                  <a:lnTo>
                    <a:pt x="666" y="30"/>
                  </a:lnTo>
                  <a:lnTo>
                    <a:pt x="672" y="30"/>
                  </a:lnTo>
                  <a:lnTo>
                    <a:pt x="678" y="32"/>
                  </a:lnTo>
                  <a:lnTo>
                    <a:pt x="678" y="38"/>
                  </a:lnTo>
                  <a:lnTo>
                    <a:pt x="680" y="36"/>
                  </a:lnTo>
                  <a:lnTo>
                    <a:pt x="680" y="34"/>
                  </a:lnTo>
                  <a:lnTo>
                    <a:pt x="694" y="38"/>
                  </a:lnTo>
                  <a:lnTo>
                    <a:pt x="694" y="40"/>
                  </a:lnTo>
                  <a:lnTo>
                    <a:pt x="696" y="40"/>
                  </a:lnTo>
                  <a:lnTo>
                    <a:pt x="696" y="38"/>
                  </a:lnTo>
                  <a:lnTo>
                    <a:pt x="700" y="40"/>
                  </a:lnTo>
                  <a:lnTo>
                    <a:pt x="704" y="42"/>
                  </a:lnTo>
                  <a:lnTo>
                    <a:pt x="704" y="36"/>
                  </a:lnTo>
                  <a:lnTo>
                    <a:pt x="712" y="40"/>
                  </a:lnTo>
                  <a:lnTo>
                    <a:pt x="720" y="40"/>
                  </a:lnTo>
                  <a:lnTo>
                    <a:pt x="720" y="38"/>
                  </a:lnTo>
                  <a:lnTo>
                    <a:pt x="724" y="36"/>
                  </a:lnTo>
                  <a:lnTo>
                    <a:pt x="732" y="36"/>
                  </a:lnTo>
                  <a:lnTo>
                    <a:pt x="738" y="36"/>
                  </a:lnTo>
                  <a:lnTo>
                    <a:pt x="738" y="32"/>
                  </a:lnTo>
                  <a:lnTo>
                    <a:pt x="744" y="32"/>
                  </a:lnTo>
                  <a:lnTo>
                    <a:pt x="746" y="30"/>
                  </a:lnTo>
                  <a:lnTo>
                    <a:pt x="750" y="30"/>
                  </a:lnTo>
                  <a:lnTo>
                    <a:pt x="752" y="32"/>
                  </a:lnTo>
                  <a:lnTo>
                    <a:pt x="756" y="34"/>
                  </a:lnTo>
                  <a:lnTo>
                    <a:pt x="760" y="32"/>
                  </a:lnTo>
                  <a:lnTo>
                    <a:pt x="762" y="32"/>
                  </a:lnTo>
                  <a:lnTo>
                    <a:pt x="776" y="32"/>
                  </a:lnTo>
                  <a:lnTo>
                    <a:pt x="776" y="36"/>
                  </a:lnTo>
                  <a:lnTo>
                    <a:pt x="780" y="38"/>
                  </a:lnTo>
                  <a:lnTo>
                    <a:pt x="784" y="38"/>
                  </a:lnTo>
                  <a:lnTo>
                    <a:pt x="786" y="36"/>
                  </a:lnTo>
                  <a:lnTo>
                    <a:pt x="790" y="36"/>
                  </a:lnTo>
                  <a:lnTo>
                    <a:pt x="794" y="38"/>
                  </a:lnTo>
                  <a:lnTo>
                    <a:pt x="800" y="42"/>
                  </a:lnTo>
                  <a:lnTo>
                    <a:pt x="804" y="42"/>
                  </a:lnTo>
                  <a:lnTo>
                    <a:pt x="806" y="48"/>
                  </a:lnTo>
                  <a:lnTo>
                    <a:pt x="806" y="50"/>
                  </a:lnTo>
                  <a:lnTo>
                    <a:pt x="804" y="52"/>
                  </a:lnTo>
                  <a:lnTo>
                    <a:pt x="796" y="58"/>
                  </a:lnTo>
                  <a:lnTo>
                    <a:pt x="796" y="56"/>
                  </a:lnTo>
                  <a:lnTo>
                    <a:pt x="796" y="58"/>
                  </a:lnTo>
                  <a:lnTo>
                    <a:pt x="796" y="62"/>
                  </a:lnTo>
                  <a:lnTo>
                    <a:pt x="796" y="64"/>
                  </a:lnTo>
                  <a:lnTo>
                    <a:pt x="796" y="62"/>
                  </a:lnTo>
                  <a:lnTo>
                    <a:pt x="794" y="66"/>
                  </a:lnTo>
                  <a:lnTo>
                    <a:pt x="780" y="68"/>
                  </a:lnTo>
                  <a:lnTo>
                    <a:pt x="770" y="68"/>
                  </a:lnTo>
                  <a:lnTo>
                    <a:pt x="768" y="66"/>
                  </a:lnTo>
                  <a:lnTo>
                    <a:pt x="768" y="68"/>
                  </a:lnTo>
                  <a:lnTo>
                    <a:pt x="766" y="68"/>
                  </a:lnTo>
                  <a:lnTo>
                    <a:pt x="764" y="68"/>
                  </a:lnTo>
                  <a:lnTo>
                    <a:pt x="760" y="66"/>
                  </a:lnTo>
                  <a:lnTo>
                    <a:pt x="758" y="62"/>
                  </a:lnTo>
                  <a:lnTo>
                    <a:pt x="756" y="62"/>
                  </a:lnTo>
                  <a:lnTo>
                    <a:pt x="756" y="68"/>
                  </a:lnTo>
                  <a:lnTo>
                    <a:pt x="754" y="68"/>
                  </a:lnTo>
                  <a:lnTo>
                    <a:pt x="738" y="70"/>
                  </a:lnTo>
                  <a:lnTo>
                    <a:pt x="730" y="68"/>
                  </a:lnTo>
                  <a:lnTo>
                    <a:pt x="726" y="70"/>
                  </a:lnTo>
                  <a:lnTo>
                    <a:pt x="726" y="68"/>
                  </a:lnTo>
                  <a:lnTo>
                    <a:pt x="724" y="66"/>
                  </a:lnTo>
                  <a:lnTo>
                    <a:pt x="724" y="70"/>
                  </a:lnTo>
                  <a:lnTo>
                    <a:pt x="712" y="70"/>
                  </a:lnTo>
                  <a:lnTo>
                    <a:pt x="712" y="68"/>
                  </a:lnTo>
                  <a:lnTo>
                    <a:pt x="712" y="66"/>
                  </a:lnTo>
                  <a:lnTo>
                    <a:pt x="708" y="66"/>
                  </a:lnTo>
                  <a:lnTo>
                    <a:pt x="708" y="70"/>
                  </a:lnTo>
                  <a:lnTo>
                    <a:pt x="702" y="70"/>
                  </a:lnTo>
                  <a:lnTo>
                    <a:pt x="700" y="68"/>
                  </a:lnTo>
                  <a:lnTo>
                    <a:pt x="694" y="72"/>
                  </a:lnTo>
                  <a:lnTo>
                    <a:pt x="690" y="72"/>
                  </a:lnTo>
                  <a:lnTo>
                    <a:pt x="688" y="70"/>
                  </a:lnTo>
                  <a:lnTo>
                    <a:pt x="684" y="60"/>
                  </a:lnTo>
                  <a:lnTo>
                    <a:pt x="678" y="64"/>
                  </a:lnTo>
                  <a:lnTo>
                    <a:pt x="678" y="66"/>
                  </a:lnTo>
                  <a:lnTo>
                    <a:pt x="678" y="68"/>
                  </a:lnTo>
                  <a:lnTo>
                    <a:pt x="660" y="72"/>
                  </a:lnTo>
                  <a:lnTo>
                    <a:pt x="660" y="72"/>
                  </a:lnTo>
                  <a:close/>
                  <a:moveTo>
                    <a:pt x="338" y="34"/>
                  </a:moveTo>
                  <a:lnTo>
                    <a:pt x="338" y="34"/>
                  </a:lnTo>
                  <a:lnTo>
                    <a:pt x="332" y="36"/>
                  </a:lnTo>
                  <a:lnTo>
                    <a:pt x="326" y="36"/>
                  </a:lnTo>
                  <a:lnTo>
                    <a:pt x="324" y="38"/>
                  </a:lnTo>
                  <a:lnTo>
                    <a:pt x="326" y="42"/>
                  </a:lnTo>
                  <a:lnTo>
                    <a:pt x="334" y="40"/>
                  </a:lnTo>
                  <a:lnTo>
                    <a:pt x="336" y="42"/>
                  </a:lnTo>
                  <a:lnTo>
                    <a:pt x="334" y="42"/>
                  </a:lnTo>
                  <a:lnTo>
                    <a:pt x="332" y="44"/>
                  </a:lnTo>
                  <a:lnTo>
                    <a:pt x="324" y="46"/>
                  </a:lnTo>
                  <a:lnTo>
                    <a:pt x="322" y="48"/>
                  </a:lnTo>
                  <a:lnTo>
                    <a:pt x="322" y="50"/>
                  </a:lnTo>
                  <a:lnTo>
                    <a:pt x="326" y="52"/>
                  </a:lnTo>
                  <a:lnTo>
                    <a:pt x="330" y="52"/>
                  </a:lnTo>
                  <a:lnTo>
                    <a:pt x="338" y="50"/>
                  </a:lnTo>
                  <a:lnTo>
                    <a:pt x="340" y="50"/>
                  </a:lnTo>
                  <a:lnTo>
                    <a:pt x="340" y="54"/>
                  </a:lnTo>
                  <a:lnTo>
                    <a:pt x="342" y="54"/>
                  </a:lnTo>
                  <a:lnTo>
                    <a:pt x="342" y="48"/>
                  </a:lnTo>
                  <a:lnTo>
                    <a:pt x="346" y="48"/>
                  </a:lnTo>
                  <a:lnTo>
                    <a:pt x="346" y="52"/>
                  </a:lnTo>
                  <a:lnTo>
                    <a:pt x="346" y="56"/>
                  </a:lnTo>
                  <a:lnTo>
                    <a:pt x="348" y="56"/>
                  </a:lnTo>
                  <a:lnTo>
                    <a:pt x="350" y="52"/>
                  </a:lnTo>
                  <a:lnTo>
                    <a:pt x="352" y="52"/>
                  </a:lnTo>
                  <a:lnTo>
                    <a:pt x="352" y="50"/>
                  </a:lnTo>
                  <a:lnTo>
                    <a:pt x="352" y="46"/>
                  </a:lnTo>
                  <a:lnTo>
                    <a:pt x="352" y="44"/>
                  </a:lnTo>
                  <a:lnTo>
                    <a:pt x="354" y="44"/>
                  </a:lnTo>
                  <a:lnTo>
                    <a:pt x="352" y="42"/>
                  </a:lnTo>
                  <a:lnTo>
                    <a:pt x="352" y="40"/>
                  </a:lnTo>
                  <a:lnTo>
                    <a:pt x="352" y="36"/>
                  </a:lnTo>
                  <a:lnTo>
                    <a:pt x="356" y="36"/>
                  </a:lnTo>
                  <a:lnTo>
                    <a:pt x="356" y="50"/>
                  </a:lnTo>
                  <a:lnTo>
                    <a:pt x="366" y="50"/>
                  </a:lnTo>
                  <a:lnTo>
                    <a:pt x="370" y="50"/>
                  </a:lnTo>
                  <a:lnTo>
                    <a:pt x="376" y="48"/>
                  </a:lnTo>
                  <a:lnTo>
                    <a:pt x="378" y="44"/>
                  </a:lnTo>
                  <a:lnTo>
                    <a:pt x="382" y="44"/>
                  </a:lnTo>
                  <a:lnTo>
                    <a:pt x="384" y="48"/>
                  </a:lnTo>
                  <a:lnTo>
                    <a:pt x="388" y="48"/>
                  </a:lnTo>
                  <a:lnTo>
                    <a:pt x="388" y="46"/>
                  </a:lnTo>
                  <a:lnTo>
                    <a:pt x="394" y="48"/>
                  </a:lnTo>
                  <a:lnTo>
                    <a:pt x="400" y="46"/>
                  </a:lnTo>
                  <a:lnTo>
                    <a:pt x="400" y="42"/>
                  </a:lnTo>
                  <a:lnTo>
                    <a:pt x="402" y="42"/>
                  </a:lnTo>
                  <a:lnTo>
                    <a:pt x="402" y="46"/>
                  </a:lnTo>
                  <a:lnTo>
                    <a:pt x="398" y="50"/>
                  </a:lnTo>
                  <a:lnTo>
                    <a:pt x="394" y="54"/>
                  </a:lnTo>
                  <a:lnTo>
                    <a:pt x="390" y="56"/>
                  </a:lnTo>
                  <a:lnTo>
                    <a:pt x="386" y="56"/>
                  </a:lnTo>
                  <a:lnTo>
                    <a:pt x="376" y="56"/>
                  </a:lnTo>
                  <a:lnTo>
                    <a:pt x="370" y="58"/>
                  </a:lnTo>
                  <a:lnTo>
                    <a:pt x="368" y="62"/>
                  </a:lnTo>
                  <a:lnTo>
                    <a:pt x="364" y="62"/>
                  </a:lnTo>
                  <a:lnTo>
                    <a:pt x="360" y="62"/>
                  </a:lnTo>
                  <a:lnTo>
                    <a:pt x="358" y="66"/>
                  </a:lnTo>
                  <a:lnTo>
                    <a:pt x="358" y="68"/>
                  </a:lnTo>
                  <a:lnTo>
                    <a:pt x="360" y="72"/>
                  </a:lnTo>
                  <a:lnTo>
                    <a:pt x="364" y="72"/>
                  </a:lnTo>
                  <a:lnTo>
                    <a:pt x="374" y="72"/>
                  </a:lnTo>
                  <a:lnTo>
                    <a:pt x="380" y="72"/>
                  </a:lnTo>
                  <a:lnTo>
                    <a:pt x="384" y="68"/>
                  </a:lnTo>
                  <a:lnTo>
                    <a:pt x="388" y="68"/>
                  </a:lnTo>
                  <a:lnTo>
                    <a:pt x="392" y="66"/>
                  </a:lnTo>
                  <a:lnTo>
                    <a:pt x="394" y="62"/>
                  </a:lnTo>
                  <a:lnTo>
                    <a:pt x="398" y="58"/>
                  </a:lnTo>
                  <a:lnTo>
                    <a:pt x="402" y="58"/>
                  </a:lnTo>
                  <a:lnTo>
                    <a:pt x="406" y="60"/>
                  </a:lnTo>
                  <a:lnTo>
                    <a:pt x="408" y="56"/>
                  </a:lnTo>
                  <a:lnTo>
                    <a:pt x="414" y="56"/>
                  </a:lnTo>
                  <a:lnTo>
                    <a:pt x="420" y="54"/>
                  </a:lnTo>
                  <a:lnTo>
                    <a:pt x="422" y="52"/>
                  </a:lnTo>
                  <a:lnTo>
                    <a:pt x="426" y="52"/>
                  </a:lnTo>
                  <a:lnTo>
                    <a:pt x="426" y="54"/>
                  </a:lnTo>
                  <a:lnTo>
                    <a:pt x="426" y="56"/>
                  </a:lnTo>
                  <a:lnTo>
                    <a:pt x="428" y="58"/>
                  </a:lnTo>
                  <a:lnTo>
                    <a:pt x="434" y="58"/>
                  </a:lnTo>
                  <a:lnTo>
                    <a:pt x="438" y="54"/>
                  </a:lnTo>
                  <a:lnTo>
                    <a:pt x="440" y="50"/>
                  </a:lnTo>
                  <a:lnTo>
                    <a:pt x="442" y="52"/>
                  </a:lnTo>
                  <a:lnTo>
                    <a:pt x="444" y="52"/>
                  </a:lnTo>
                  <a:lnTo>
                    <a:pt x="454" y="52"/>
                  </a:lnTo>
                  <a:lnTo>
                    <a:pt x="456" y="52"/>
                  </a:lnTo>
                  <a:lnTo>
                    <a:pt x="460" y="52"/>
                  </a:lnTo>
                  <a:lnTo>
                    <a:pt x="464" y="48"/>
                  </a:lnTo>
                  <a:lnTo>
                    <a:pt x="466" y="48"/>
                  </a:lnTo>
                  <a:lnTo>
                    <a:pt x="464" y="34"/>
                  </a:lnTo>
                  <a:lnTo>
                    <a:pt x="464" y="28"/>
                  </a:lnTo>
                  <a:lnTo>
                    <a:pt x="462" y="24"/>
                  </a:lnTo>
                  <a:lnTo>
                    <a:pt x="456" y="20"/>
                  </a:lnTo>
                  <a:lnTo>
                    <a:pt x="456" y="18"/>
                  </a:lnTo>
                  <a:lnTo>
                    <a:pt x="454" y="20"/>
                  </a:lnTo>
                  <a:lnTo>
                    <a:pt x="454" y="26"/>
                  </a:lnTo>
                  <a:lnTo>
                    <a:pt x="456" y="28"/>
                  </a:lnTo>
                  <a:lnTo>
                    <a:pt x="454" y="30"/>
                  </a:lnTo>
                  <a:lnTo>
                    <a:pt x="452" y="32"/>
                  </a:lnTo>
                  <a:lnTo>
                    <a:pt x="452" y="36"/>
                  </a:lnTo>
                  <a:lnTo>
                    <a:pt x="450" y="38"/>
                  </a:lnTo>
                  <a:lnTo>
                    <a:pt x="448" y="28"/>
                  </a:lnTo>
                  <a:lnTo>
                    <a:pt x="442" y="30"/>
                  </a:lnTo>
                  <a:lnTo>
                    <a:pt x="442" y="34"/>
                  </a:lnTo>
                  <a:lnTo>
                    <a:pt x="440" y="34"/>
                  </a:lnTo>
                  <a:lnTo>
                    <a:pt x="440" y="32"/>
                  </a:lnTo>
                  <a:lnTo>
                    <a:pt x="442" y="30"/>
                  </a:lnTo>
                  <a:lnTo>
                    <a:pt x="442" y="26"/>
                  </a:lnTo>
                  <a:lnTo>
                    <a:pt x="442" y="20"/>
                  </a:lnTo>
                  <a:lnTo>
                    <a:pt x="442" y="18"/>
                  </a:lnTo>
                  <a:lnTo>
                    <a:pt x="438" y="18"/>
                  </a:lnTo>
                  <a:lnTo>
                    <a:pt x="436" y="20"/>
                  </a:lnTo>
                  <a:lnTo>
                    <a:pt x="432" y="22"/>
                  </a:lnTo>
                  <a:lnTo>
                    <a:pt x="426" y="14"/>
                  </a:lnTo>
                  <a:lnTo>
                    <a:pt x="422" y="14"/>
                  </a:lnTo>
                  <a:lnTo>
                    <a:pt x="420" y="14"/>
                  </a:lnTo>
                  <a:lnTo>
                    <a:pt x="420" y="10"/>
                  </a:lnTo>
                  <a:lnTo>
                    <a:pt x="418" y="6"/>
                  </a:lnTo>
                  <a:lnTo>
                    <a:pt x="418" y="2"/>
                  </a:lnTo>
                  <a:lnTo>
                    <a:pt x="414" y="0"/>
                  </a:lnTo>
                  <a:lnTo>
                    <a:pt x="414" y="4"/>
                  </a:lnTo>
                  <a:lnTo>
                    <a:pt x="412" y="4"/>
                  </a:lnTo>
                  <a:lnTo>
                    <a:pt x="408" y="2"/>
                  </a:lnTo>
                  <a:lnTo>
                    <a:pt x="412" y="12"/>
                  </a:lnTo>
                  <a:lnTo>
                    <a:pt x="410" y="12"/>
                  </a:lnTo>
                  <a:lnTo>
                    <a:pt x="408" y="14"/>
                  </a:lnTo>
                  <a:lnTo>
                    <a:pt x="410" y="14"/>
                  </a:lnTo>
                  <a:lnTo>
                    <a:pt x="410" y="16"/>
                  </a:lnTo>
                  <a:lnTo>
                    <a:pt x="408" y="22"/>
                  </a:lnTo>
                  <a:lnTo>
                    <a:pt x="418" y="26"/>
                  </a:lnTo>
                  <a:lnTo>
                    <a:pt x="414" y="34"/>
                  </a:lnTo>
                  <a:lnTo>
                    <a:pt x="420" y="34"/>
                  </a:lnTo>
                  <a:lnTo>
                    <a:pt x="422" y="36"/>
                  </a:lnTo>
                  <a:lnTo>
                    <a:pt x="422" y="40"/>
                  </a:lnTo>
                  <a:lnTo>
                    <a:pt x="404" y="38"/>
                  </a:lnTo>
                  <a:lnTo>
                    <a:pt x="398" y="38"/>
                  </a:lnTo>
                  <a:lnTo>
                    <a:pt x="392" y="38"/>
                  </a:lnTo>
                  <a:lnTo>
                    <a:pt x="392" y="34"/>
                  </a:lnTo>
                  <a:lnTo>
                    <a:pt x="386" y="34"/>
                  </a:lnTo>
                  <a:lnTo>
                    <a:pt x="382" y="30"/>
                  </a:lnTo>
                  <a:lnTo>
                    <a:pt x="378" y="28"/>
                  </a:lnTo>
                  <a:lnTo>
                    <a:pt x="372" y="28"/>
                  </a:lnTo>
                  <a:lnTo>
                    <a:pt x="368" y="26"/>
                  </a:lnTo>
                  <a:lnTo>
                    <a:pt x="366" y="24"/>
                  </a:lnTo>
                  <a:lnTo>
                    <a:pt x="358" y="22"/>
                  </a:lnTo>
                  <a:lnTo>
                    <a:pt x="352" y="24"/>
                  </a:lnTo>
                  <a:lnTo>
                    <a:pt x="348" y="20"/>
                  </a:lnTo>
                  <a:lnTo>
                    <a:pt x="342" y="20"/>
                  </a:lnTo>
                  <a:lnTo>
                    <a:pt x="342" y="24"/>
                  </a:lnTo>
                  <a:lnTo>
                    <a:pt x="332" y="22"/>
                  </a:lnTo>
                  <a:lnTo>
                    <a:pt x="332" y="30"/>
                  </a:lnTo>
                  <a:lnTo>
                    <a:pt x="334" y="32"/>
                  </a:lnTo>
                  <a:lnTo>
                    <a:pt x="338" y="34"/>
                  </a:lnTo>
                  <a:lnTo>
                    <a:pt x="338" y="34"/>
                  </a:lnTo>
                  <a:close/>
                  <a:moveTo>
                    <a:pt x="772" y="322"/>
                  </a:moveTo>
                  <a:lnTo>
                    <a:pt x="772" y="322"/>
                  </a:lnTo>
                  <a:lnTo>
                    <a:pt x="768" y="322"/>
                  </a:lnTo>
                  <a:lnTo>
                    <a:pt x="766" y="326"/>
                  </a:lnTo>
                  <a:lnTo>
                    <a:pt x="764" y="320"/>
                  </a:lnTo>
                  <a:lnTo>
                    <a:pt x="762" y="312"/>
                  </a:lnTo>
                  <a:lnTo>
                    <a:pt x="760" y="312"/>
                  </a:lnTo>
                  <a:lnTo>
                    <a:pt x="760" y="310"/>
                  </a:lnTo>
                  <a:lnTo>
                    <a:pt x="752" y="304"/>
                  </a:lnTo>
                  <a:lnTo>
                    <a:pt x="752" y="302"/>
                  </a:lnTo>
                  <a:lnTo>
                    <a:pt x="750" y="302"/>
                  </a:lnTo>
                  <a:lnTo>
                    <a:pt x="750" y="300"/>
                  </a:lnTo>
                  <a:lnTo>
                    <a:pt x="748" y="300"/>
                  </a:lnTo>
                  <a:lnTo>
                    <a:pt x="744" y="300"/>
                  </a:lnTo>
                  <a:lnTo>
                    <a:pt x="738" y="300"/>
                  </a:lnTo>
                  <a:lnTo>
                    <a:pt x="738" y="298"/>
                  </a:lnTo>
                  <a:lnTo>
                    <a:pt x="736" y="298"/>
                  </a:lnTo>
                  <a:lnTo>
                    <a:pt x="734" y="298"/>
                  </a:lnTo>
                  <a:lnTo>
                    <a:pt x="734" y="300"/>
                  </a:lnTo>
                  <a:lnTo>
                    <a:pt x="732" y="300"/>
                  </a:lnTo>
                  <a:lnTo>
                    <a:pt x="730" y="300"/>
                  </a:lnTo>
                  <a:lnTo>
                    <a:pt x="728" y="296"/>
                  </a:lnTo>
                  <a:lnTo>
                    <a:pt x="732" y="292"/>
                  </a:lnTo>
                  <a:lnTo>
                    <a:pt x="730" y="290"/>
                  </a:lnTo>
                  <a:lnTo>
                    <a:pt x="726" y="290"/>
                  </a:lnTo>
                  <a:lnTo>
                    <a:pt x="724" y="302"/>
                  </a:lnTo>
                  <a:lnTo>
                    <a:pt x="726" y="318"/>
                  </a:lnTo>
                  <a:lnTo>
                    <a:pt x="712" y="328"/>
                  </a:lnTo>
                  <a:lnTo>
                    <a:pt x="712" y="330"/>
                  </a:lnTo>
                  <a:lnTo>
                    <a:pt x="712" y="332"/>
                  </a:lnTo>
                  <a:lnTo>
                    <a:pt x="712" y="334"/>
                  </a:lnTo>
                  <a:lnTo>
                    <a:pt x="716" y="336"/>
                  </a:lnTo>
                  <a:lnTo>
                    <a:pt x="718" y="334"/>
                  </a:lnTo>
                  <a:lnTo>
                    <a:pt x="724" y="332"/>
                  </a:lnTo>
                  <a:lnTo>
                    <a:pt x="726" y="334"/>
                  </a:lnTo>
                  <a:lnTo>
                    <a:pt x="724" y="334"/>
                  </a:lnTo>
                  <a:lnTo>
                    <a:pt x="726" y="342"/>
                  </a:lnTo>
                  <a:lnTo>
                    <a:pt x="732" y="342"/>
                  </a:lnTo>
                  <a:lnTo>
                    <a:pt x="738" y="340"/>
                  </a:lnTo>
                  <a:lnTo>
                    <a:pt x="738" y="338"/>
                  </a:lnTo>
                  <a:lnTo>
                    <a:pt x="740" y="334"/>
                  </a:lnTo>
                  <a:lnTo>
                    <a:pt x="740" y="328"/>
                  </a:lnTo>
                  <a:lnTo>
                    <a:pt x="740" y="322"/>
                  </a:lnTo>
                  <a:lnTo>
                    <a:pt x="746" y="316"/>
                  </a:lnTo>
                  <a:lnTo>
                    <a:pt x="750" y="316"/>
                  </a:lnTo>
                  <a:lnTo>
                    <a:pt x="750" y="314"/>
                  </a:lnTo>
                  <a:lnTo>
                    <a:pt x="754" y="314"/>
                  </a:lnTo>
                  <a:lnTo>
                    <a:pt x="756" y="320"/>
                  </a:lnTo>
                  <a:lnTo>
                    <a:pt x="756" y="324"/>
                  </a:lnTo>
                  <a:lnTo>
                    <a:pt x="752" y="326"/>
                  </a:lnTo>
                  <a:lnTo>
                    <a:pt x="752" y="328"/>
                  </a:lnTo>
                  <a:lnTo>
                    <a:pt x="756" y="328"/>
                  </a:lnTo>
                  <a:lnTo>
                    <a:pt x="758" y="332"/>
                  </a:lnTo>
                  <a:lnTo>
                    <a:pt x="766" y="332"/>
                  </a:lnTo>
                  <a:lnTo>
                    <a:pt x="772" y="336"/>
                  </a:lnTo>
                  <a:lnTo>
                    <a:pt x="776" y="332"/>
                  </a:lnTo>
                  <a:lnTo>
                    <a:pt x="776" y="326"/>
                  </a:lnTo>
                  <a:lnTo>
                    <a:pt x="778" y="326"/>
                  </a:lnTo>
                  <a:lnTo>
                    <a:pt x="778" y="322"/>
                  </a:lnTo>
                  <a:lnTo>
                    <a:pt x="772" y="322"/>
                  </a:lnTo>
                  <a:lnTo>
                    <a:pt x="772" y="322"/>
                  </a:lnTo>
                  <a:close/>
                  <a:moveTo>
                    <a:pt x="1048" y="260"/>
                  </a:moveTo>
                  <a:lnTo>
                    <a:pt x="1048" y="260"/>
                  </a:lnTo>
                  <a:lnTo>
                    <a:pt x="1046" y="260"/>
                  </a:lnTo>
                  <a:lnTo>
                    <a:pt x="1046" y="258"/>
                  </a:lnTo>
                  <a:lnTo>
                    <a:pt x="1042" y="258"/>
                  </a:lnTo>
                  <a:lnTo>
                    <a:pt x="1044" y="260"/>
                  </a:lnTo>
                  <a:lnTo>
                    <a:pt x="1044" y="262"/>
                  </a:lnTo>
                  <a:lnTo>
                    <a:pt x="1044" y="264"/>
                  </a:lnTo>
                  <a:lnTo>
                    <a:pt x="1044" y="266"/>
                  </a:lnTo>
                  <a:lnTo>
                    <a:pt x="1044" y="268"/>
                  </a:lnTo>
                  <a:lnTo>
                    <a:pt x="1044" y="266"/>
                  </a:lnTo>
                  <a:lnTo>
                    <a:pt x="1042" y="266"/>
                  </a:lnTo>
                  <a:lnTo>
                    <a:pt x="1038" y="266"/>
                  </a:lnTo>
                  <a:lnTo>
                    <a:pt x="1038" y="262"/>
                  </a:lnTo>
                  <a:lnTo>
                    <a:pt x="1034" y="262"/>
                  </a:lnTo>
                  <a:lnTo>
                    <a:pt x="1032" y="266"/>
                  </a:lnTo>
                  <a:lnTo>
                    <a:pt x="1034" y="266"/>
                  </a:lnTo>
                  <a:lnTo>
                    <a:pt x="1034" y="270"/>
                  </a:lnTo>
                  <a:lnTo>
                    <a:pt x="1028" y="270"/>
                  </a:lnTo>
                  <a:lnTo>
                    <a:pt x="1028" y="274"/>
                  </a:lnTo>
                  <a:lnTo>
                    <a:pt x="1030" y="276"/>
                  </a:lnTo>
                  <a:lnTo>
                    <a:pt x="1030" y="278"/>
                  </a:lnTo>
                  <a:lnTo>
                    <a:pt x="1026" y="278"/>
                  </a:lnTo>
                  <a:lnTo>
                    <a:pt x="1026" y="280"/>
                  </a:lnTo>
                  <a:lnTo>
                    <a:pt x="1028" y="282"/>
                  </a:lnTo>
                  <a:lnTo>
                    <a:pt x="1030" y="282"/>
                  </a:lnTo>
                  <a:lnTo>
                    <a:pt x="1030" y="284"/>
                  </a:lnTo>
                  <a:lnTo>
                    <a:pt x="1024" y="284"/>
                  </a:lnTo>
                  <a:lnTo>
                    <a:pt x="1024" y="286"/>
                  </a:lnTo>
                  <a:lnTo>
                    <a:pt x="1020" y="286"/>
                  </a:lnTo>
                  <a:lnTo>
                    <a:pt x="1020" y="284"/>
                  </a:lnTo>
                  <a:lnTo>
                    <a:pt x="1018" y="282"/>
                  </a:lnTo>
                  <a:lnTo>
                    <a:pt x="1018" y="284"/>
                  </a:lnTo>
                  <a:lnTo>
                    <a:pt x="1016" y="286"/>
                  </a:lnTo>
                  <a:lnTo>
                    <a:pt x="1020" y="288"/>
                  </a:lnTo>
                  <a:lnTo>
                    <a:pt x="1020" y="292"/>
                  </a:lnTo>
                  <a:lnTo>
                    <a:pt x="1022" y="296"/>
                  </a:lnTo>
                  <a:lnTo>
                    <a:pt x="1022" y="298"/>
                  </a:lnTo>
                  <a:lnTo>
                    <a:pt x="1020" y="300"/>
                  </a:lnTo>
                  <a:lnTo>
                    <a:pt x="1018" y="300"/>
                  </a:lnTo>
                  <a:lnTo>
                    <a:pt x="1016" y="300"/>
                  </a:lnTo>
                  <a:lnTo>
                    <a:pt x="1016" y="300"/>
                  </a:lnTo>
                  <a:lnTo>
                    <a:pt x="1014" y="300"/>
                  </a:lnTo>
                  <a:lnTo>
                    <a:pt x="1012" y="300"/>
                  </a:lnTo>
                  <a:lnTo>
                    <a:pt x="1010" y="298"/>
                  </a:lnTo>
                  <a:lnTo>
                    <a:pt x="1010" y="294"/>
                  </a:lnTo>
                  <a:lnTo>
                    <a:pt x="1006" y="298"/>
                  </a:lnTo>
                  <a:lnTo>
                    <a:pt x="1004" y="296"/>
                  </a:lnTo>
                  <a:lnTo>
                    <a:pt x="1006" y="294"/>
                  </a:lnTo>
                  <a:lnTo>
                    <a:pt x="1008" y="290"/>
                  </a:lnTo>
                  <a:lnTo>
                    <a:pt x="1006" y="290"/>
                  </a:lnTo>
                  <a:lnTo>
                    <a:pt x="998" y="292"/>
                  </a:lnTo>
                  <a:lnTo>
                    <a:pt x="998" y="290"/>
                  </a:lnTo>
                  <a:lnTo>
                    <a:pt x="1000" y="290"/>
                  </a:lnTo>
                  <a:lnTo>
                    <a:pt x="1000" y="288"/>
                  </a:lnTo>
                  <a:lnTo>
                    <a:pt x="1002" y="284"/>
                  </a:lnTo>
                  <a:lnTo>
                    <a:pt x="1000" y="284"/>
                  </a:lnTo>
                  <a:lnTo>
                    <a:pt x="998" y="286"/>
                  </a:lnTo>
                  <a:lnTo>
                    <a:pt x="996" y="286"/>
                  </a:lnTo>
                  <a:lnTo>
                    <a:pt x="996" y="282"/>
                  </a:lnTo>
                  <a:lnTo>
                    <a:pt x="990" y="282"/>
                  </a:lnTo>
                  <a:lnTo>
                    <a:pt x="990" y="280"/>
                  </a:lnTo>
                  <a:lnTo>
                    <a:pt x="994" y="280"/>
                  </a:lnTo>
                  <a:lnTo>
                    <a:pt x="996" y="276"/>
                  </a:lnTo>
                  <a:lnTo>
                    <a:pt x="990" y="278"/>
                  </a:lnTo>
                  <a:lnTo>
                    <a:pt x="984" y="278"/>
                  </a:lnTo>
                  <a:lnTo>
                    <a:pt x="980" y="276"/>
                  </a:lnTo>
                  <a:lnTo>
                    <a:pt x="978" y="276"/>
                  </a:lnTo>
                  <a:lnTo>
                    <a:pt x="976" y="274"/>
                  </a:lnTo>
                  <a:lnTo>
                    <a:pt x="974" y="272"/>
                  </a:lnTo>
                  <a:lnTo>
                    <a:pt x="974" y="268"/>
                  </a:lnTo>
                  <a:lnTo>
                    <a:pt x="970" y="266"/>
                  </a:lnTo>
                  <a:lnTo>
                    <a:pt x="972" y="264"/>
                  </a:lnTo>
                  <a:lnTo>
                    <a:pt x="972" y="262"/>
                  </a:lnTo>
                  <a:lnTo>
                    <a:pt x="970" y="262"/>
                  </a:lnTo>
                  <a:lnTo>
                    <a:pt x="968" y="262"/>
                  </a:lnTo>
                  <a:lnTo>
                    <a:pt x="966" y="260"/>
                  </a:lnTo>
                  <a:lnTo>
                    <a:pt x="964" y="260"/>
                  </a:lnTo>
                  <a:lnTo>
                    <a:pt x="966" y="262"/>
                  </a:lnTo>
                  <a:lnTo>
                    <a:pt x="966" y="268"/>
                  </a:lnTo>
                  <a:lnTo>
                    <a:pt x="966" y="270"/>
                  </a:lnTo>
                  <a:lnTo>
                    <a:pt x="964" y="270"/>
                  </a:lnTo>
                  <a:lnTo>
                    <a:pt x="962" y="264"/>
                  </a:lnTo>
                  <a:lnTo>
                    <a:pt x="958" y="264"/>
                  </a:lnTo>
                  <a:lnTo>
                    <a:pt x="960" y="268"/>
                  </a:lnTo>
                  <a:lnTo>
                    <a:pt x="962" y="274"/>
                  </a:lnTo>
                  <a:lnTo>
                    <a:pt x="964" y="274"/>
                  </a:lnTo>
                  <a:lnTo>
                    <a:pt x="964" y="276"/>
                  </a:lnTo>
                  <a:lnTo>
                    <a:pt x="964" y="278"/>
                  </a:lnTo>
                  <a:lnTo>
                    <a:pt x="960" y="278"/>
                  </a:lnTo>
                  <a:lnTo>
                    <a:pt x="958" y="276"/>
                  </a:lnTo>
                  <a:lnTo>
                    <a:pt x="956" y="276"/>
                  </a:lnTo>
                  <a:lnTo>
                    <a:pt x="954" y="276"/>
                  </a:lnTo>
                  <a:lnTo>
                    <a:pt x="958" y="284"/>
                  </a:lnTo>
                  <a:lnTo>
                    <a:pt x="960" y="286"/>
                  </a:lnTo>
                  <a:lnTo>
                    <a:pt x="966" y="286"/>
                  </a:lnTo>
                  <a:lnTo>
                    <a:pt x="966" y="292"/>
                  </a:lnTo>
                  <a:lnTo>
                    <a:pt x="968" y="296"/>
                  </a:lnTo>
                  <a:lnTo>
                    <a:pt x="972" y="298"/>
                  </a:lnTo>
                  <a:lnTo>
                    <a:pt x="972" y="300"/>
                  </a:lnTo>
                  <a:lnTo>
                    <a:pt x="974" y="300"/>
                  </a:lnTo>
                  <a:lnTo>
                    <a:pt x="976" y="300"/>
                  </a:lnTo>
                  <a:lnTo>
                    <a:pt x="978" y="300"/>
                  </a:lnTo>
                  <a:lnTo>
                    <a:pt x="982" y="304"/>
                  </a:lnTo>
                  <a:lnTo>
                    <a:pt x="982" y="308"/>
                  </a:lnTo>
                  <a:lnTo>
                    <a:pt x="984" y="306"/>
                  </a:lnTo>
                  <a:lnTo>
                    <a:pt x="988" y="306"/>
                  </a:lnTo>
                  <a:lnTo>
                    <a:pt x="988" y="308"/>
                  </a:lnTo>
                  <a:lnTo>
                    <a:pt x="990" y="310"/>
                  </a:lnTo>
                  <a:lnTo>
                    <a:pt x="992" y="310"/>
                  </a:lnTo>
                  <a:lnTo>
                    <a:pt x="990" y="308"/>
                  </a:lnTo>
                  <a:lnTo>
                    <a:pt x="990" y="306"/>
                  </a:lnTo>
                  <a:lnTo>
                    <a:pt x="988" y="306"/>
                  </a:lnTo>
                  <a:lnTo>
                    <a:pt x="990" y="306"/>
                  </a:lnTo>
                  <a:lnTo>
                    <a:pt x="990" y="304"/>
                  </a:lnTo>
                  <a:lnTo>
                    <a:pt x="992" y="306"/>
                  </a:lnTo>
                  <a:lnTo>
                    <a:pt x="994" y="306"/>
                  </a:lnTo>
                  <a:lnTo>
                    <a:pt x="998" y="316"/>
                  </a:lnTo>
                  <a:lnTo>
                    <a:pt x="998" y="318"/>
                  </a:lnTo>
                  <a:lnTo>
                    <a:pt x="996" y="320"/>
                  </a:lnTo>
                  <a:lnTo>
                    <a:pt x="992" y="318"/>
                  </a:lnTo>
                  <a:lnTo>
                    <a:pt x="992" y="320"/>
                  </a:lnTo>
                  <a:lnTo>
                    <a:pt x="994" y="326"/>
                  </a:lnTo>
                  <a:lnTo>
                    <a:pt x="988" y="326"/>
                  </a:lnTo>
                  <a:lnTo>
                    <a:pt x="988" y="330"/>
                  </a:lnTo>
                  <a:lnTo>
                    <a:pt x="992" y="330"/>
                  </a:lnTo>
                  <a:lnTo>
                    <a:pt x="994" y="338"/>
                  </a:lnTo>
                  <a:lnTo>
                    <a:pt x="998" y="336"/>
                  </a:lnTo>
                  <a:lnTo>
                    <a:pt x="998" y="338"/>
                  </a:lnTo>
                  <a:lnTo>
                    <a:pt x="994" y="340"/>
                  </a:lnTo>
                  <a:lnTo>
                    <a:pt x="990" y="334"/>
                  </a:lnTo>
                  <a:lnTo>
                    <a:pt x="986" y="332"/>
                  </a:lnTo>
                  <a:lnTo>
                    <a:pt x="984" y="334"/>
                  </a:lnTo>
                  <a:lnTo>
                    <a:pt x="984" y="330"/>
                  </a:lnTo>
                  <a:lnTo>
                    <a:pt x="982" y="330"/>
                  </a:lnTo>
                  <a:lnTo>
                    <a:pt x="978" y="328"/>
                  </a:lnTo>
                  <a:lnTo>
                    <a:pt x="972" y="330"/>
                  </a:lnTo>
                  <a:lnTo>
                    <a:pt x="970" y="330"/>
                  </a:lnTo>
                  <a:lnTo>
                    <a:pt x="970" y="332"/>
                  </a:lnTo>
                  <a:lnTo>
                    <a:pt x="966" y="328"/>
                  </a:lnTo>
                  <a:lnTo>
                    <a:pt x="962" y="326"/>
                  </a:lnTo>
                  <a:lnTo>
                    <a:pt x="960" y="326"/>
                  </a:lnTo>
                  <a:lnTo>
                    <a:pt x="960" y="330"/>
                  </a:lnTo>
                  <a:lnTo>
                    <a:pt x="956" y="330"/>
                  </a:lnTo>
                  <a:lnTo>
                    <a:pt x="954" y="326"/>
                  </a:lnTo>
                  <a:lnTo>
                    <a:pt x="950" y="324"/>
                  </a:lnTo>
                  <a:lnTo>
                    <a:pt x="944" y="324"/>
                  </a:lnTo>
                  <a:lnTo>
                    <a:pt x="942" y="328"/>
                  </a:lnTo>
                  <a:lnTo>
                    <a:pt x="942" y="326"/>
                  </a:lnTo>
                  <a:lnTo>
                    <a:pt x="942" y="328"/>
                  </a:lnTo>
                  <a:lnTo>
                    <a:pt x="942" y="330"/>
                  </a:lnTo>
                  <a:lnTo>
                    <a:pt x="950" y="336"/>
                  </a:lnTo>
                  <a:lnTo>
                    <a:pt x="958" y="342"/>
                  </a:lnTo>
                  <a:lnTo>
                    <a:pt x="960" y="342"/>
                  </a:lnTo>
                  <a:lnTo>
                    <a:pt x="960" y="344"/>
                  </a:lnTo>
                  <a:lnTo>
                    <a:pt x="962" y="344"/>
                  </a:lnTo>
                  <a:lnTo>
                    <a:pt x="968" y="344"/>
                  </a:lnTo>
                  <a:lnTo>
                    <a:pt x="972" y="348"/>
                  </a:lnTo>
                  <a:lnTo>
                    <a:pt x="974" y="348"/>
                  </a:lnTo>
                  <a:lnTo>
                    <a:pt x="974" y="354"/>
                  </a:lnTo>
                  <a:lnTo>
                    <a:pt x="980" y="354"/>
                  </a:lnTo>
                  <a:lnTo>
                    <a:pt x="986" y="356"/>
                  </a:lnTo>
                  <a:lnTo>
                    <a:pt x="988" y="356"/>
                  </a:lnTo>
                  <a:lnTo>
                    <a:pt x="988" y="358"/>
                  </a:lnTo>
                  <a:lnTo>
                    <a:pt x="986" y="358"/>
                  </a:lnTo>
                  <a:lnTo>
                    <a:pt x="986" y="358"/>
                  </a:lnTo>
                  <a:lnTo>
                    <a:pt x="986" y="362"/>
                  </a:lnTo>
                  <a:lnTo>
                    <a:pt x="984" y="364"/>
                  </a:lnTo>
                  <a:lnTo>
                    <a:pt x="976" y="362"/>
                  </a:lnTo>
                  <a:lnTo>
                    <a:pt x="974" y="362"/>
                  </a:lnTo>
                  <a:lnTo>
                    <a:pt x="966" y="358"/>
                  </a:lnTo>
                  <a:lnTo>
                    <a:pt x="962" y="358"/>
                  </a:lnTo>
                  <a:lnTo>
                    <a:pt x="956" y="360"/>
                  </a:lnTo>
                  <a:lnTo>
                    <a:pt x="954" y="358"/>
                  </a:lnTo>
                  <a:lnTo>
                    <a:pt x="952" y="358"/>
                  </a:lnTo>
                  <a:lnTo>
                    <a:pt x="952" y="360"/>
                  </a:lnTo>
                  <a:lnTo>
                    <a:pt x="940" y="358"/>
                  </a:lnTo>
                  <a:lnTo>
                    <a:pt x="938" y="358"/>
                  </a:lnTo>
                  <a:lnTo>
                    <a:pt x="934" y="356"/>
                  </a:lnTo>
                  <a:lnTo>
                    <a:pt x="932" y="360"/>
                  </a:lnTo>
                  <a:lnTo>
                    <a:pt x="924" y="360"/>
                  </a:lnTo>
                  <a:lnTo>
                    <a:pt x="922" y="358"/>
                  </a:lnTo>
                  <a:lnTo>
                    <a:pt x="922" y="358"/>
                  </a:lnTo>
                  <a:lnTo>
                    <a:pt x="918" y="358"/>
                  </a:lnTo>
                  <a:lnTo>
                    <a:pt x="916" y="360"/>
                  </a:lnTo>
                  <a:lnTo>
                    <a:pt x="910" y="358"/>
                  </a:lnTo>
                  <a:lnTo>
                    <a:pt x="906" y="358"/>
                  </a:lnTo>
                  <a:lnTo>
                    <a:pt x="906" y="356"/>
                  </a:lnTo>
                  <a:lnTo>
                    <a:pt x="916" y="352"/>
                  </a:lnTo>
                  <a:lnTo>
                    <a:pt x="916" y="350"/>
                  </a:lnTo>
                  <a:lnTo>
                    <a:pt x="918" y="350"/>
                  </a:lnTo>
                  <a:lnTo>
                    <a:pt x="916" y="348"/>
                  </a:lnTo>
                  <a:lnTo>
                    <a:pt x="912" y="348"/>
                  </a:lnTo>
                  <a:lnTo>
                    <a:pt x="912" y="346"/>
                  </a:lnTo>
                  <a:lnTo>
                    <a:pt x="910" y="346"/>
                  </a:lnTo>
                  <a:lnTo>
                    <a:pt x="910" y="350"/>
                  </a:lnTo>
                  <a:lnTo>
                    <a:pt x="908" y="350"/>
                  </a:lnTo>
                  <a:lnTo>
                    <a:pt x="904" y="348"/>
                  </a:lnTo>
                  <a:lnTo>
                    <a:pt x="904" y="346"/>
                  </a:lnTo>
                  <a:lnTo>
                    <a:pt x="902" y="348"/>
                  </a:lnTo>
                  <a:lnTo>
                    <a:pt x="900" y="348"/>
                  </a:lnTo>
                  <a:lnTo>
                    <a:pt x="898" y="336"/>
                  </a:lnTo>
                  <a:lnTo>
                    <a:pt x="894" y="336"/>
                  </a:lnTo>
                  <a:lnTo>
                    <a:pt x="892" y="324"/>
                  </a:lnTo>
                  <a:lnTo>
                    <a:pt x="888" y="324"/>
                  </a:lnTo>
                  <a:lnTo>
                    <a:pt x="886" y="328"/>
                  </a:lnTo>
                  <a:lnTo>
                    <a:pt x="886" y="324"/>
                  </a:lnTo>
                  <a:lnTo>
                    <a:pt x="880" y="322"/>
                  </a:lnTo>
                  <a:lnTo>
                    <a:pt x="880" y="318"/>
                  </a:lnTo>
                  <a:lnTo>
                    <a:pt x="878" y="318"/>
                  </a:lnTo>
                  <a:lnTo>
                    <a:pt x="878" y="320"/>
                  </a:lnTo>
                  <a:lnTo>
                    <a:pt x="878" y="322"/>
                  </a:lnTo>
                  <a:lnTo>
                    <a:pt x="874" y="324"/>
                  </a:lnTo>
                  <a:lnTo>
                    <a:pt x="870" y="318"/>
                  </a:lnTo>
                  <a:lnTo>
                    <a:pt x="870" y="314"/>
                  </a:lnTo>
                  <a:lnTo>
                    <a:pt x="868" y="314"/>
                  </a:lnTo>
                  <a:lnTo>
                    <a:pt x="868" y="316"/>
                  </a:lnTo>
                  <a:lnTo>
                    <a:pt x="866" y="318"/>
                  </a:lnTo>
                  <a:lnTo>
                    <a:pt x="866" y="320"/>
                  </a:lnTo>
                  <a:lnTo>
                    <a:pt x="872" y="324"/>
                  </a:lnTo>
                  <a:lnTo>
                    <a:pt x="872" y="328"/>
                  </a:lnTo>
                  <a:lnTo>
                    <a:pt x="870" y="328"/>
                  </a:lnTo>
                  <a:lnTo>
                    <a:pt x="870" y="330"/>
                  </a:lnTo>
                  <a:lnTo>
                    <a:pt x="862" y="328"/>
                  </a:lnTo>
                  <a:lnTo>
                    <a:pt x="860" y="324"/>
                  </a:lnTo>
                  <a:lnTo>
                    <a:pt x="858" y="328"/>
                  </a:lnTo>
                  <a:lnTo>
                    <a:pt x="856" y="328"/>
                  </a:lnTo>
                  <a:lnTo>
                    <a:pt x="856" y="332"/>
                  </a:lnTo>
                  <a:lnTo>
                    <a:pt x="852" y="332"/>
                  </a:lnTo>
                  <a:lnTo>
                    <a:pt x="850" y="332"/>
                  </a:lnTo>
                  <a:lnTo>
                    <a:pt x="848" y="336"/>
                  </a:lnTo>
                  <a:lnTo>
                    <a:pt x="840" y="336"/>
                  </a:lnTo>
                  <a:lnTo>
                    <a:pt x="838" y="334"/>
                  </a:lnTo>
                  <a:lnTo>
                    <a:pt x="836" y="334"/>
                  </a:lnTo>
                  <a:lnTo>
                    <a:pt x="834" y="336"/>
                  </a:lnTo>
                  <a:lnTo>
                    <a:pt x="834" y="334"/>
                  </a:lnTo>
                  <a:lnTo>
                    <a:pt x="832" y="332"/>
                  </a:lnTo>
                  <a:lnTo>
                    <a:pt x="830" y="332"/>
                  </a:lnTo>
                  <a:lnTo>
                    <a:pt x="828" y="326"/>
                  </a:lnTo>
                  <a:lnTo>
                    <a:pt x="830" y="322"/>
                  </a:lnTo>
                  <a:lnTo>
                    <a:pt x="832" y="318"/>
                  </a:lnTo>
                  <a:lnTo>
                    <a:pt x="830" y="318"/>
                  </a:lnTo>
                  <a:lnTo>
                    <a:pt x="830" y="314"/>
                  </a:lnTo>
                  <a:lnTo>
                    <a:pt x="832" y="304"/>
                  </a:lnTo>
                  <a:lnTo>
                    <a:pt x="844" y="304"/>
                  </a:lnTo>
                  <a:lnTo>
                    <a:pt x="848" y="306"/>
                  </a:lnTo>
                  <a:lnTo>
                    <a:pt x="852" y="306"/>
                  </a:lnTo>
                  <a:lnTo>
                    <a:pt x="852" y="304"/>
                  </a:lnTo>
                  <a:lnTo>
                    <a:pt x="858" y="304"/>
                  </a:lnTo>
                  <a:lnTo>
                    <a:pt x="860" y="302"/>
                  </a:lnTo>
                  <a:lnTo>
                    <a:pt x="862" y="302"/>
                  </a:lnTo>
                  <a:lnTo>
                    <a:pt x="864" y="304"/>
                  </a:lnTo>
                  <a:lnTo>
                    <a:pt x="864" y="302"/>
                  </a:lnTo>
                  <a:lnTo>
                    <a:pt x="868" y="300"/>
                  </a:lnTo>
                  <a:lnTo>
                    <a:pt x="870" y="302"/>
                  </a:lnTo>
                  <a:lnTo>
                    <a:pt x="874" y="302"/>
                  </a:lnTo>
                  <a:lnTo>
                    <a:pt x="878" y="300"/>
                  </a:lnTo>
                  <a:lnTo>
                    <a:pt x="888" y="300"/>
                  </a:lnTo>
                  <a:lnTo>
                    <a:pt x="894" y="300"/>
                  </a:lnTo>
                  <a:lnTo>
                    <a:pt x="894" y="294"/>
                  </a:lnTo>
                  <a:lnTo>
                    <a:pt x="890" y="292"/>
                  </a:lnTo>
                  <a:lnTo>
                    <a:pt x="888" y="290"/>
                  </a:lnTo>
                  <a:lnTo>
                    <a:pt x="886" y="284"/>
                  </a:lnTo>
                  <a:lnTo>
                    <a:pt x="882" y="284"/>
                  </a:lnTo>
                  <a:lnTo>
                    <a:pt x="878" y="278"/>
                  </a:lnTo>
                  <a:lnTo>
                    <a:pt x="878" y="274"/>
                  </a:lnTo>
                  <a:lnTo>
                    <a:pt x="886" y="272"/>
                  </a:lnTo>
                  <a:lnTo>
                    <a:pt x="886" y="268"/>
                  </a:lnTo>
                  <a:lnTo>
                    <a:pt x="888" y="266"/>
                  </a:lnTo>
                  <a:lnTo>
                    <a:pt x="894" y="260"/>
                  </a:lnTo>
                  <a:lnTo>
                    <a:pt x="900" y="258"/>
                  </a:lnTo>
                  <a:lnTo>
                    <a:pt x="894" y="254"/>
                  </a:lnTo>
                  <a:lnTo>
                    <a:pt x="894" y="250"/>
                  </a:lnTo>
                  <a:lnTo>
                    <a:pt x="894" y="246"/>
                  </a:lnTo>
                  <a:lnTo>
                    <a:pt x="894" y="244"/>
                  </a:lnTo>
                  <a:lnTo>
                    <a:pt x="896" y="244"/>
                  </a:lnTo>
                  <a:lnTo>
                    <a:pt x="898" y="244"/>
                  </a:lnTo>
                  <a:lnTo>
                    <a:pt x="900" y="244"/>
                  </a:lnTo>
                  <a:lnTo>
                    <a:pt x="902" y="244"/>
                  </a:lnTo>
                  <a:lnTo>
                    <a:pt x="902" y="242"/>
                  </a:lnTo>
                  <a:lnTo>
                    <a:pt x="898" y="240"/>
                  </a:lnTo>
                  <a:lnTo>
                    <a:pt x="898" y="236"/>
                  </a:lnTo>
                  <a:lnTo>
                    <a:pt x="896" y="236"/>
                  </a:lnTo>
                  <a:lnTo>
                    <a:pt x="896" y="230"/>
                  </a:lnTo>
                  <a:lnTo>
                    <a:pt x="896" y="224"/>
                  </a:lnTo>
                  <a:lnTo>
                    <a:pt x="894" y="224"/>
                  </a:lnTo>
                  <a:lnTo>
                    <a:pt x="894" y="224"/>
                  </a:lnTo>
                  <a:lnTo>
                    <a:pt x="892" y="220"/>
                  </a:lnTo>
                  <a:lnTo>
                    <a:pt x="894" y="220"/>
                  </a:lnTo>
                  <a:lnTo>
                    <a:pt x="892" y="218"/>
                  </a:lnTo>
                  <a:lnTo>
                    <a:pt x="886" y="218"/>
                  </a:lnTo>
                  <a:lnTo>
                    <a:pt x="886" y="216"/>
                  </a:lnTo>
                  <a:lnTo>
                    <a:pt x="886" y="214"/>
                  </a:lnTo>
                  <a:lnTo>
                    <a:pt x="886" y="212"/>
                  </a:lnTo>
                  <a:lnTo>
                    <a:pt x="884" y="212"/>
                  </a:lnTo>
                  <a:lnTo>
                    <a:pt x="884" y="210"/>
                  </a:lnTo>
                  <a:lnTo>
                    <a:pt x="888" y="208"/>
                  </a:lnTo>
                  <a:lnTo>
                    <a:pt x="888" y="204"/>
                  </a:lnTo>
                  <a:lnTo>
                    <a:pt x="888" y="202"/>
                  </a:lnTo>
                  <a:lnTo>
                    <a:pt x="886" y="202"/>
                  </a:lnTo>
                  <a:lnTo>
                    <a:pt x="886" y="204"/>
                  </a:lnTo>
                  <a:lnTo>
                    <a:pt x="884" y="206"/>
                  </a:lnTo>
                  <a:lnTo>
                    <a:pt x="882" y="206"/>
                  </a:lnTo>
                  <a:lnTo>
                    <a:pt x="880" y="204"/>
                  </a:lnTo>
                  <a:lnTo>
                    <a:pt x="874" y="210"/>
                  </a:lnTo>
                  <a:lnTo>
                    <a:pt x="868" y="216"/>
                  </a:lnTo>
                  <a:lnTo>
                    <a:pt x="866" y="216"/>
                  </a:lnTo>
                  <a:lnTo>
                    <a:pt x="866" y="212"/>
                  </a:lnTo>
                  <a:lnTo>
                    <a:pt x="866" y="210"/>
                  </a:lnTo>
                  <a:lnTo>
                    <a:pt x="862" y="210"/>
                  </a:lnTo>
                  <a:lnTo>
                    <a:pt x="860" y="206"/>
                  </a:lnTo>
                  <a:lnTo>
                    <a:pt x="862" y="204"/>
                  </a:lnTo>
                  <a:lnTo>
                    <a:pt x="864" y="200"/>
                  </a:lnTo>
                  <a:lnTo>
                    <a:pt x="864" y="198"/>
                  </a:lnTo>
                  <a:lnTo>
                    <a:pt x="868" y="198"/>
                  </a:lnTo>
                  <a:lnTo>
                    <a:pt x="868" y="200"/>
                  </a:lnTo>
                  <a:lnTo>
                    <a:pt x="870" y="198"/>
                  </a:lnTo>
                  <a:lnTo>
                    <a:pt x="868" y="196"/>
                  </a:lnTo>
                  <a:lnTo>
                    <a:pt x="862" y="194"/>
                  </a:lnTo>
                  <a:lnTo>
                    <a:pt x="860" y="192"/>
                  </a:lnTo>
                  <a:lnTo>
                    <a:pt x="860" y="186"/>
                  </a:lnTo>
                  <a:lnTo>
                    <a:pt x="860" y="186"/>
                  </a:lnTo>
                  <a:lnTo>
                    <a:pt x="866" y="186"/>
                  </a:lnTo>
                  <a:lnTo>
                    <a:pt x="864" y="182"/>
                  </a:lnTo>
                  <a:lnTo>
                    <a:pt x="858" y="182"/>
                  </a:lnTo>
                  <a:lnTo>
                    <a:pt x="856" y="186"/>
                  </a:lnTo>
                  <a:lnTo>
                    <a:pt x="852" y="186"/>
                  </a:lnTo>
                  <a:lnTo>
                    <a:pt x="854" y="182"/>
                  </a:lnTo>
                  <a:lnTo>
                    <a:pt x="850" y="182"/>
                  </a:lnTo>
                  <a:lnTo>
                    <a:pt x="850" y="180"/>
                  </a:lnTo>
                  <a:lnTo>
                    <a:pt x="848" y="178"/>
                  </a:lnTo>
                  <a:lnTo>
                    <a:pt x="846" y="178"/>
                  </a:lnTo>
                  <a:lnTo>
                    <a:pt x="844" y="176"/>
                  </a:lnTo>
                  <a:lnTo>
                    <a:pt x="844" y="178"/>
                  </a:lnTo>
                  <a:lnTo>
                    <a:pt x="840" y="178"/>
                  </a:lnTo>
                  <a:lnTo>
                    <a:pt x="840" y="184"/>
                  </a:lnTo>
                  <a:lnTo>
                    <a:pt x="838" y="184"/>
                  </a:lnTo>
                  <a:lnTo>
                    <a:pt x="834" y="168"/>
                  </a:lnTo>
                  <a:lnTo>
                    <a:pt x="832" y="168"/>
                  </a:lnTo>
                  <a:lnTo>
                    <a:pt x="832" y="172"/>
                  </a:lnTo>
                  <a:lnTo>
                    <a:pt x="828" y="170"/>
                  </a:lnTo>
                  <a:lnTo>
                    <a:pt x="824" y="162"/>
                  </a:lnTo>
                  <a:lnTo>
                    <a:pt x="816" y="166"/>
                  </a:lnTo>
                  <a:lnTo>
                    <a:pt x="816" y="170"/>
                  </a:lnTo>
                  <a:lnTo>
                    <a:pt x="820" y="170"/>
                  </a:lnTo>
                  <a:lnTo>
                    <a:pt x="822" y="166"/>
                  </a:lnTo>
                  <a:lnTo>
                    <a:pt x="824" y="166"/>
                  </a:lnTo>
                  <a:lnTo>
                    <a:pt x="826" y="174"/>
                  </a:lnTo>
                  <a:lnTo>
                    <a:pt x="824" y="176"/>
                  </a:lnTo>
                  <a:lnTo>
                    <a:pt x="820" y="176"/>
                  </a:lnTo>
                  <a:lnTo>
                    <a:pt x="814" y="178"/>
                  </a:lnTo>
                  <a:lnTo>
                    <a:pt x="812" y="176"/>
                  </a:lnTo>
                  <a:lnTo>
                    <a:pt x="808" y="174"/>
                  </a:lnTo>
                  <a:lnTo>
                    <a:pt x="806" y="172"/>
                  </a:lnTo>
                  <a:lnTo>
                    <a:pt x="804" y="170"/>
                  </a:lnTo>
                  <a:lnTo>
                    <a:pt x="802" y="170"/>
                  </a:lnTo>
                  <a:lnTo>
                    <a:pt x="798" y="168"/>
                  </a:lnTo>
                  <a:lnTo>
                    <a:pt x="798" y="170"/>
                  </a:lnTo>
                  <a:lnTo>
                    <a:pt x="790" y="170"/>
                  </a:lnTo>
                  <a:lnTo>
                    <a:pt x="788" y="172"/>
                  </a:lnTo>
                  <a:lnTo>
                    <a:pt x="788" y="174"/>
                  </a:lnTo>
                  <a:lnTo>
                    <a:pt x="792" y="176"/>
                  </a:lnTo>
                  <a:lnTo>
                    <a:pt x="792" y="178"/>
                  </a:lnTo>
                  <a:lnTo>
                    <a:pt x="796" y="180"/>
                  </a:lnTo>
                  <a:lnTo>
                    <a:pt x="796" y="184"/>
                  </a:lnTo>
                  <a:lnTo>
                    <a:pt x="796" y="186"/>
                  </a:lnTo>
                  <a:lnTo>
                    <a:pt x="792" y="186"/>
                  </a:lnTo>
                  <a:lnTo>
                    <a:pt x="790" y="182"/>
                  </a:lnTo>
                  <a:lnTo>
                    <a:pt x="786" y="178"/>
                  </a:lnTo>
                  <a:lnTo>
                    <a:pt x="782" y="178"/>
                  </a:lnTo>
                  <a:lnTo>
                    <a:pt x="778" y="174"/>
                  </a:lnTo>
                  <a:lnTo>
                    <a:pt x="774" y="168"/>
                  </a:lnTo>
                  <a:lnTo>
                    <a:pt x="772" y="168"/>
                  </a:lnTo>
                  <a:lnTo>
                    <a:pt x="772" y="170"/>
                  </a:lnTo>
                  <a:lnTo>
                    <a:pt x="776" y="176"/>
                  </a:lnTo>
                  <a:lnTo>
                    <a:pt x="778" y="178"/>
                  </a:lnTo>
                  <a:lnTo>
                    <a:pt x="782" y="182"/>
                  </a:lnTo>
                  <a:lnTo>
                    <a:pt x="782" y="184"/>
                  </a:lnTo>
                  <a:lnTo>
                    <a:pt x="776" y="184"/>
                  </a:lnTo>
                  <a:lnTo>
                    <a:pt x="770" y="182"/>
                  </a:lnTo>
                  <a:lnTo>
                    <a:pt x="768" y="178"/>
                  </a:lnTo>
                  <a:lnTo>
                    <a:pt x="762" y="180"/>
                  </a:lnTo>
                  <a:lnTo>
                    <a:pt x="758" y="180"/>
                  </a:lnTo>
                  <a:lnTo>
                    <a:pt x="752" y="180"/>
                  </a:lnTo>
                  <a:lnTo>
                    <a:pt x="750" y="178"/>
                  </a:lnTo>
                  <a:lnTo>
                    <a:pt x="746" y="178"/>
                  </a:lnTo>
                  <a:lnTo>
                    <a:pt x="740" y="178"/>
                  </a:lnTo>
                  <a:lnTo>
                    <a:pt x="736" y="174"/>
                  </a:lnTo>
                  <a:lnTo>
                    <a:pt x="734" y="174"/>
                  </a:lnTo>
                  <a:lnTo>
                    <a:pt x="734" y="176"/>
                  </a:lnTo>
                  <a:lnTo>
                    <a:pt x="736" y="178"/>
                  </a:lnTo>
                  <a:lnTo>
                    <a:pt x="726" y="178"/>
                  </a:lnTo>
                  <a:lnTo>
                    <a:pt x="726" y="176"/>
                  </a:lnTo>
                  <a:lnTo>
                    <a:pt x="726" y="174"/>
                  </a:lnTo>
                  <a:lnTo>
                    <a:pt x="718" y="168"/>
                  </a:lnTo>
                  <a:lnTo>
                    <a:pt x="718" y="166"/>
                  </a:lnTo>
                  <a:lnTo>
                    <a:pt x="714" y="164"/>
                  </a:lnTo>
                  <a:lnTo>
                    <a:pt x="712" y="166"/>
                  </a:lnTo>
                  <a:lnTo>
                    <a:pt x="710" y="170"/>
                  </a:lnTo>
                  <a:lnTo>
                    <a:pt x="704" y="168"/>
                  </a:lnTo>
                  <a:lnTo>
                    <a:pt x="704" y="166"/>
                  </a:lnTo>
                  <a:lnTo>
                    <a:pt x="706" y="166"/>
                  </a:lnTo>
                  <a:lnTo>
                    <a:pt x="700" y="162"/>
                  </a:lnTo>
                  <a:lnTo>
                    <a:pt x="698" y="162"/>
                  </a:lnTo>
                  <a:lnTo>
                    <a:pt x="694" y="156"/>
                  </a:lnTo>
                  <a:lnTo>
                    <a:pt x="694" y="152"/>
                  </a:lnTo>
                  <a:lnTo>
                    <a:pt x="702" y="152"/>
                  </a:lnTo>
                  <a:lnTo>
                    <a:pt x="702" y="148"/>
                  </a:lnTo>
                  <a:lnTo>
                    <a:pt x="692" y="150"/>
                  </a:lnTo>
                  <a:lnTo>
                    <a:pt x="682" y="148"/>
                  </a:lnTo>
                  <a:lnTo>
                    <a:pt x="680" y="144"/>
                  </a:lnTo>
                  <a:lnTo>
                    <a:pt x="678" y="142"/>
                  </a:lnTo>
                  <a:lnTo>
                    <a:pt x="680" y="142"/>
                  </a:lnTo>
                  <a:lnTo>
                    <a:pt x="680" y="140"/>
                  </a:lnTo>
                  <a:lnTo>
                    <a:pt x="670" y="134"/>
                  </a:lnTo>
                  <a:lnTo>
                    <a:pt x="670" y="130"/>
                  </a:lnTo>
                  <a:lnTo>
                    <a:pt x="676" y="126"/>
                  </a:lnTo>
                  <a:lnTo>
                    <a:pt x="674" y="122"/>
                  </a:lnTo>
                  <a:lnTo>
                    <a:pt x="674" y="120"/>
                  </a:lnTo>
                  <a:lnTo>
                    <a:pt x="680" y="114"/>
                  </a:lnTo>
                  <a:lnTo>
                    <a:pt x="686" y="106"/>
                  </a:lnTo>
                  <a:lnTo>
                    <a:pt x="686" y="102"/>
                  </a:lnTo>
                  <a:lnTo>
                    <a:pt x="692" y="98"/>
                  </a:lnTo>
                  <a:lnTo>
                    <a:pt x="692" y="92"/>
                  </a:lnTo>
                  <a:lnTo>
                    <a:pt x="698" y="86"/>
                  </a:lnTo>
                  <a:lnTo>
                    <a:pt x="698" y="84"/>
                  </a:lnTo>
                  <a:lnTo>
                    <a:pt x="702" y="86"/>
                  </a:lnTo>
                  <a:lnTo>
                    <a:pt x="706" y="86"/>
                  </a:lnTo>
                  <a:lnTo>
                    <a:pt x="712" y="82"/>
                  </a:lnTo>
                  <a:lnTo>
                    <a:pt x="716" y="84"/>
                  </a:lnTo>
                  <a:lnTo>
                    <a:pt x="720" y="84"/>
                  </a:lnTo>
                  <a:lnTo>
                    <a:pt x="724" y="82"/>
                  </a:lnTo>
                  <a:lnTo>
                    <a:pt x="734" y="82"/>
                  </a:lnTo>
                  <a:lnTo>
                    <a:pt x="744" y="82"/>
                  </a:lnTo>
                  <a:lnTo>
                    <a:pt x="754" y="84"/>
                  </a:lnTo>
                  <a:lnTo>
                    <a:pt x="754" y="86"/>
                  </a:lnTo>
                  <a:lnTo>
                    <a:pt x="752" y="86"/>
                  </a:lnTo>
                  <a:lnTo>
                    <a:pt x="752" y="88"/>
                  </a:lnTo>
                  <a:lnTo>
                    <a:pt x="742" y="90"/>
                  </a:lnTo>
                  <a:lnTo>
                    <a:pt x="732" y="92"/>
                  </a:lnTo>
                  <a:lnTo>
                    <a:pt x="724" y="96"/>
                  </a:lnTo>
                  <a:lnTo>
                    <a:pt x="722" y="100"/>
                  </a:lnTo>
                  <a:lnTo>
                    <a:pt x="720" y="104"/>
                  </a:lnTo>
                  <a:lnTo>
                    <a:pt x="718" y="120"/>
                  </a:lnTo>
                  <a:lnTo>
                    <a:pt x="720" y="128"/>
                  </a:lnTo>
                  <a:lnTo>
                    <a:pt x="722" y="132"/>
                  </a:lnTo>
                  <a:lnTo>
                    <a:pt x="724" y="134"/>
                  </a:lnTo>
                  <a:lnTo>
                    <a:pt x="728" y="136"/>
                  </a:lnTo>
                  <a:lnTo>
                    <a:pt x="730" y="142"/>
                  </a:lnTo>
                  <a:lnTo>
                    <a:pt x="726" y="142"/>
                  </a:lnTo>
                  <a:lnTo>
                    <a:pt x="722" y="144"/>
                  </a:lnTo>
                  <a:lnTo>
                    <a:pt x="718" y="148"/>
                  </a:lnTo>
                  <a:lnTo>
                    <a:pt x="728" y="146"/>
                  </a:lnTo>
                  <a:lnTo>
                    <a:pt x="738" y="148"/>
                  </a:lnTo>
                  <a:lnTo>
                    <a:pt x="736" y="138"/>
                  </a:lnTo>
                  <a:lnTo>
                    <a:pt x="740" y="134"/>
                  </a:lnTo>
                  <a:lnTo>
                    <a:pt x="738" y="132"/>
                  </a:lnTo>
                  <a:lnTo>
                    <a:pt x="736" y="130"/>
                  </a:lnTo>
                  <a:lnTo>
                    <a:pt x="730" y="130"/>
                  </a:lnTo>
                  <a:lnTo>
                    <a:pt x="730" y="124"/>
                  </a:lnTo>
                  <a:lnTo>
                    <a:pt x="738" y="124"/>
                  </a:lnTo>
                  <a:lnTo>
                    <a:pt x="744" y="128"/>
                  </a:lnTo>
                  <a:lnTo>
                    <a:pt x="744" y="122"/>
                  </a:lnTo>
                  <a:lnTo>
                    <a:pt x="744" y="118"/>
                  </a:lnTo>
                  <a:lnTo>
                    <a:pt x="742" y="118"/>
                  </a:lnTo>
                  <a:lnTo>
                    <a:pt x="740" y="118"/>
                  </a:lnTo>
                  <a:lnTo>
                    <a:pt x="734" y="118"/>
                  </a:lnTo>
                  <a:lnTo>
                    <a:pt x="732" y="116"/>
                  </a:lnTo>
                  <a:lnTo>
                    <a:pt x="732" y="106"/>
                  </a:lnTo>
                  <a:lnTo>
                    <a:pt x="732" y="104"/>
                  </a:lnTo>
                  <a:lnTo>
                    <a:pt x="736" y="102"/>
                  </a:lnTo>
                  <a:lnTo>
                    <a:pt x="738" y="104"/>
                  </a:lnTo>
                  <a:lnTo>
                    <a:pt x="742" y="104"/>
                  </a:lnTo>
                  <a:lnTo>
                    <a:pt x="742" y="102"/>
                  </a:lnTo>
                  <a:lnTo>
                    <a:pt x="740" y="102"/>
                  </a:lnTo>
                  <a:lnTo>
                    <a:pt x="742" y="98"/>
                  </a:lnTo>
                  <a:lnTo>
                    <a:pt x="742" y="96"/>
                  </a:lnTo>
                  <a:lnTo>
                    <a:pt x="740" y="96"/>
                  </a:lnTo>
                  <a:lnTo>
                    <a:pt x="746" y="94"/>
                  </a:lnTo>
                  <a:lnTo>
                    <a:pt x="748" y="94"/>
                  </a:lnTo>
                  <a:lnTo>
                    <a:pt x="748" y="92"/>
                  </a:lnTo>
                  <a:lnTo>
                    <a:pt x="758" y="90"/>
                  </a:lnTo>
                  <a:lnTo>
                    <a:pt x="758" y="88"/>
                  </a:lnTo>
                  <a:lnTo>
                    <a:pt x="758" y="86"/>
                  </a:lnTo>
                  <a:lnTo>
                    <a:pt x="764" y="86"/>
                  </a:lnTo>
                  <a:lnTo>
                    <a:pt x="768" y="82"/>
                  </a:lnTo>
                  <a:lnTo>
                    <a:pt x="772" y="82"/>
                  </a:lnTo>
                  <a:lnTo>
                    <a:pt x="778" y="84"/>
                  </a:lnTo>
                  <a:lnTo>
                    <a:pt x="782" y="86"/>
                  </a:lnTo>
                  <a:lnTo>
                    <a:pt x="784" y="88"/>
                  </a:lnTo>
                  <a:lnTo>
                    <a:pt x="780" y="96"/>
                  </a:lnTo>
                  <a:lnTo>
                    <a:pt x="780" y="98"/>
                  </a:lnTo>
                  <a:lnTo>
                    <a:pt x="782" y="98"/>
                  </a:lnTo>
                  <a:lnTo>
                    <a:pt x="782" y="100"/>
                  </a:lnTo>
                  <a:lnTo>
                    <a:pt x="778" y="102"/>
                  </a:lnTo>
                  <a:lnTo>
                    <a:pt x="778" y="106"/>
                  </a:lnTo>
                  <a:lnTo>
                    <a:pt x="778" y="110"/>
                  </a:lnTo>
                  <a:lnTo>
                    <a:pt x="780" y="110"/>
                  </a:lnTo>
                  <a:lnTo>
                    <a:pt x="782" y="112"/>
                  </a:lnTo>
                  <a:lnTo>
                    <a:pt x="782" y="114"/>
                  </a:lnTo>
                  <a:lnTo>
                    <a:pt x="784" y="114"/>
                  </a:lnTo>
                  <a:lnTo>
                    <a:pt x="782" y="120"/>
                  </a:lnTo>
                  <a:lnTo>
                    <a:pt x="782" y="122"/>
                  </a:lnTo>
                  <a:lnTo>
                    <a:pt x="786" y="122"/>
                  </a:lnTo>
                  <a:lnTo>
                    <a:pt x="786" y="124"/>
                  </a:lnTo>
                  <a:lnTo>
                    <a:pt x="786" y="126"/>
                  </a:lnTo>
                  <a:lnTo>
                    <a:pt x="784" y="128"/>
                  </a:lnTo>
                  <a:lnTo>
                    <a:pt x="784" y="130"/>
                  </a:lnTo>
                  <a:lnTo>
                    <a:pt x="778" y="130"/>
                  </a:lnTo>
                  <a:lnTo>
                    <a:pt x="778" y="132"/>
                  </a:lnTo>
                  <a:lnTo>
                    <a:pt x="784" y="134"/>
                  </a:lnTo>
                  <a:lnTo>
                    <a:pt x="790" y="134"/>
                  </a:lnTo>
                  <a:lnTo>
                    <a:pt x="792" y="130"/>
                  </a:lnTo>
                  <a:lnTo>
                    <a:pt x="788" y="128"/>
                  </a:lnTo>
                  <a:lnTo>
                    <a:pt x="792" y="124"/>
                  </a:lnTo>
                  <a:lnTo>
                    <a:pt x="796" y="120"/>
                  </a:lnTo>
                  <a:lnTo>
                    <a:pt x="798" y="118"/>
                  </a:lnTo>
                  <a:lnTo>
                    <a:pt x="800" y="120"/>
                  </a:lnTo>
                  <a:lnTo>
                    <a:pt x="802" y="120"/>
                  </a:lnTo>
                  <a:lnTo>
                    <a:pt x="802" y="122"/>
                  </a:lnTo>
                  <a:lnTo>
                    <a:pt x="800" y="122"/>
                  </a:lnTo>
                  <a:lnTo>
                    <a:pt x="802" y="126"/>
                  </a:lnTo>
                  <a:lnTo>
                    <a:pt x="810" y="122"/>
                  </a:lnTo>
                  <a:lnTo>
                    <a:pt x="812" y="124"/>
                  </a:lnTo>
                  <a:lnTo>
                    <a:pt x="810" y="130"/>
                  </a:lnTo>
                  <a:lnTo>
                    <a:pt x="810" y="132"/>
                  </a:lnTo>
                  <a:lnTo>
                    <a:pt x="810" y="134"/>
                  </a:lnTo>
                  <a:lnTo>
                    <a:pt x="812" y="134"/>
                  </a:lnTo>
                  <a:lnTo>
                    <a:pt x="814" y="134"/>
                  </a:lnTo>
                  <a:lnTo>
                    <a:pt x="814" y="132"/>
                  </a:lnTo>
                  <a:lnTo>
                    <a:pt x="812" y="132"/>
                  </a:lnTo>
                  <a:lnTo>
                    <a:pt x="812" y="130"/>
                  </a:lnTo>
                  <a:lnTo>
                    <a:pt x="812" y="130"/>
                  </a:lnTo>
                  <a:lnTo>
                    <a:pt x="812" y="130"/>
                  </a:lnTo>
                  <a:lnTo>
                    <a:pt x="814" y="128"/>
                  </a:lnTo>
                  <a:lnTo>
                    <a:pt x="818" y="128"/>
                  </a:lnTo>
                  <a:lnTo>
                    <a:pt x="818" y="126"/>
                  </a:lnTo>
                  <a:lnTo>
                    <a:pt x="816" y="124"/>
                  </a:lnTo>
                  <a:lnTo>
                    <a:pt x="816" y="120"/>
                  </a:lnTo>
                  <a:lnTo>
                    <a:pt x="822" y="120"/>
                  </a:lnTo>
                  <a:lnTo>
                    <a:pt x="824" y="122"/>
                  </a:lnTo>
                  <a:lnTo>
                    <a:pt x="828" y="124"/>
                  </a:lnTo>
                  <a:lnTo>
                    <a:pt x="832" y="124"/>
                  </a:lnTo>
                  <a:lnTo>
                    <a:pt x="832" y="124"/>
                  </a:lnTo>
                  <a:lnTo>
                    <a:pt x="832" y="126"/>
                  </a:lnTo>
                  <a:lnTo>
                    <a:pt x="834" y="124"/>
                  </a:lnTo>
                  <a:lnTo>
                    <a:pt x="832" y="122"/>
                  </a:lnTo>
                  <a:lnTo>
                    <a:pt x="824" y="118"/>
                  </a:lnTo>
                  <a:lnTo>
                    <a:pt x="820" y="116"/>
                  </a:lnTo>
                  <a:lnTo>
                    <a:pt x="818" y="112"/>
                  </a:lnTo>
                  <a:lnTo>
                    <a:pt x="820" y="110"/>
                  </a:lnTo>
                  <a:lnTo>
                    <a:pt x="826" y="108"/>
                  </a:lnTo>
                  <a:lnTo>
                    <a:pt x="832" y="108"/>
                  </a:lnTo>
                  <a:lnTo>
                    <a:pt x="836" y="108"/>
                  </a:lnTo>
                  <a:lnTo>
                    <a:pt x="838" y="112"/>
                  </a:lnTo>
                  <a:lnTo>
                    <a:pt x="848" y="114"/>
                  </a:lnTo>
                  <a:lnTo>
                    <a:pt x="852" y="116"/>
                  </a:lnTo>
                  <a:lnTo>
                    <a:pt x="856" y="118"/>
                  </a:lnTo>
                  <a:lnTo>
                    <a:pt x="860" y="116"/>
                  </a:lnTo>
                  <a:lnTo>
                    <a:pt x="864" y="114"/>
                  </a:lnTo>
                  <a:lnTo>
                    <a:pt x="868" y="116"/>
                  </a:lnTo>
                  <a:lnTo>
                    <a:pt x="876" y="114"/>
                  </a:lnTo>
                  <a:lnTo>
                    <a:pt x="880" y="120"/>
                  </a:lnTo>
                  <a:lnTo>
                    <a:pt x="880" y="126"/>
                  </a:lnTo>
                  <a:lnTo>
                    <a:pt x="876" y="126"/>
                  </a:lnTo>
                  <a:lnTo>
                    <a:pt x="882" y="126"/>
                  </a:lnTo>
                  <a:lnTo>
                    <a:pt x="884" y="128"/>
                  </a:lnTo>
                  <a:lnTo>
                    <a:pt x="886" y="136"/>
                  </a:lnTo>
                  <a:lnTo>
                    <a:pt x="878" y="138"/>
                  </a:lnTo>
                  <a:lnTo>
                    <a:pt x="878" y="140"/>
                  </a:lnTo>
                  <a:lnTo>
                    <a:pt x="878" y="142"/>
                  </a:lnTo>
                  <a:lnTo>
                    <a:pt x="882" y="142"/>
                  </a:lnTo>
                  <a:lnTo>
                    <a:pt x="882" y="144"/>
                  </a:lnTo>
                  <a:lnTo>
                    <a:pt x="880" y="146"/>
                  </a:lnTo>
                  <a:lnTo>
                    <a:pt x="882" y="148"/>
                  </a:lnTo>
                  <a:lnTo>
                    <a:pt x="886" y="148"/>
                  </a:lnTo>
                  <a:lnTo>
                    <a:pt x="888" y="142"/>
                  </a:lnTo>
                  <a:lnTo>
                    <a:pt x="890" y="138"/>
                  </a:lnTo>
                  <a:lnTo>
                    <a:pt x="892" y="140"/>
                  </a:lnTo>
                  <a:lnTo>
                    <a:pt x="894" y="150"/>
                  </a:lnTo>
                  <a:lnTo>
                    <a:pt x="894" y="146"/>
                  </a:lnTo>
                  <a:lnTo>
                    <a:pt x="896" y="148"/>
                  </a:lnTo>
                  <a:lnTo>
                    <a:pt x="898" y="148"/>
                  </a:lnTo>
                  <a:lnTo>
                    <a:pt x="898" y="150"/>
                  </a:lnTo>
                  <a:lnTo>
                    <a:pt x="900" y="150"/>
                  </a:lnTo>
                  <a:lnTo>
                    <a:pt x="900" y="144"/>
                  </a:lnTo>
                  <a:lnTo>
                    <a:pt x="900" y="140"/>
                  </a:lnTo>
                  <a:lnTo>
                    <a:pt x="904" y="140"/>
                  </a:lnTo>
                  <a:lnTo>
                    <a:pt x="906" y="140"/>
                  </a:lnTo>
                  <a:lnTo>
                    <a:pt x="908" y="144"/>
                  </a:lnTo>
                  <a:lnTo>
                    <a:pt x="910" y="146"/>
                  </a:lnTo>
                  <a:lnTo>
                    <a:pt x="916" y="148"/>
                  </a:lnTo>
                  <a:lnTo>
                    <a:pt x="918" y="148"/>
                  </a:lnTo>
                  <a:lnTo>
                    <a:pt x="918" y="150"/>
                  </a:lnTo>
                  <a:lnTo>
                    <a:pt x="912" y="152"/>
                  </a:lnTo>
                  <a:lnTo>
                    <a:pt x="910" y="156"/>
                  </a:lnTo>
                  <a:lnTo>
                    <a:pt x="916" y="156"/>
                  </a:lnTo>
                  <a:lnTo>
                    <a:pt x="918" y="154"/>
                  </a:lnTo>
                  <a:lnTo>
                    <a:pt x="920" y="154"/>
                  </a:lnTo>
                  <a:lnTo>
                    <a:pt x="918" y="150"/>
                  </a:lnTo>
                  <a:lnTo>
                    <a:pt x="920" y="150"/>
                  </a:lnTo>
                  <a:lnTo>
                    <a:pt x="922" y="150"/>
                  </a:lnTo>
                  <a:lnTo>
                    <a:pt x="920" y="152"/>
                  </a:lnTo>
                  <a:lnTo>
                    <a:pt x="924" y="152"/>
                  </a:lnTo>
                  <a:lnTo>
                    <a:pt x="926" y="150"/>
                  </a:lnTo>
                  <a:lnTo>
                    <a:pt x="928" y="156"/>
                  </a:lnTo>
                  <a:lnTo>
                    <a:pt x="924" y="158"/>
                  </a:lnTo>
                  <a:lnTo>
                    <a:pt x="922" y="158"/>
                  </a:lnTo>
                  <a:lnTo>
                    <a:pt x="922" y="164"/>
                  </a:lnTo>
                  <a:lnTo>
                    <a:pt x="924" y="164"/>
                  </a:lnTo>
                  <a:lnTo>
                    <a:pt x="924" y="162"/>
                  </a:lnTo>
                  <a:lnTo>
                    <a:pt x="924" y="158"/>
                  </a:lnTo>
                  <a:lnTo>
                    <a:pt x="928" y="158"/>
                  </a:lnTo>
                  <a:lnTo>
                    <a:pt x="934" y="158"/>
                  </a:lnTo>
                  <a:lnTo>
                    <a:pt x="932" y="162"/>
                  </a:lnTo>
                  <a:lnTo>
                    <a:pt x="930" y="162"/>
                  </a:lnTo>
                  <a:lnTo>
                    <a:pt x="932" y="162"/>
                  </a:lnTo>
                  <a:lnTo>
                    <a:pt x="936" y="158"/>
                  </a:lnTo>
                  <a:lnTo>
                    <a:pt x="942" y="158"/>
                  </a:lnTo>
                  <a:lnTo>
                    <a:pt x="944" y="164"/>
                  </a:lnTo>
                  <a:lnTo>
                    <a:pt x="948" y="164"/>
                  </a:lnTo>
                  <a:lnTo>
                    <a:pt x="952" y="164"/>
                  </a:lnTo>
                  <a:lnTo>
                    <a:pt x="952" y="168"/>
                  </a:lnTo>
                  <a:lnTo>
                    <a:pt x="946" y="166"/>
                  </a:lnTo>
                  <a:lnTo>
                    <a:pt x="946" y="170"/>
                  </a:lnTo>
                  <a:lnTo>
                    <a:pt x="942" y="170"/>
                  </a:lnTo>
                  <a:lnTo>
                    <a:pt x="940" y="172"/>
                  </a:lnTo>
                  <a:lnTo>
                    <a:pt x="946" y="172"/>
                  </a:lnTo>
                  <a:lnTo>
                    <a:pt x="948" y="174"/>
                  </a:lnTo>
                  <a:lnTo>
                    <a:pt x="948" y="176"/>
                  </a:lnTo>
                  <a:lnTo>
                    <a:pt x="950" y="176"/>
                  </a:lnTo>
                  <a:lnTo>
                    <a:pt x="954" y="170"/>
                  </a:lnTo>
                  <a:lnTo>
                    <a:pt x="954" y="168"/>
                  </a:lnTo>
                  <a:lnTo>
                    <a:pt x="956" y="168"/>
                  </a:lnTo>
                  <a:lnTo>
                    <a:pt x="958" y="172"/>
                  </a:lnTo>
                  <a:lnTo>
                    <a:pt x="962" y="174"/>
                  </a:lnTo>
                  <a:lnTo>
                    <a:pt x="962" y="178"/>
                  </a:lnTo>
                  <a:lnTo>
                    <a:pt x="962" y="182"/>
                  </a:lnTo>
                  <a:lnTo>
                    <a:pt x="956" y="182"/>
                  </a:lnTo>
                  <a:lnTo>
                    <a:pt x="954" y="186"/>
                  </a:lnTo>
                  <a:lnTo>
                    <a:pt x="952" y="186"/>
                  </a:lnTo>
                  <a:lnTo>
                    <a:pt x="948" y="186"/>
                  </a:lnTo>
                  <a:lnTo>
                    <a:pt x="954" y="188"/>
                  </a:lnTo>
                  <a:lnTo>
                    <a:pt x="954" y="190"/>
                  </a:lnTo>
                  <a:lnTo>
                    <a:pt x="958" y="190"/>
                  </a:lnTo>
                  <a:lnTo>
                    <a:pt x="966" y="194"/>
                  </a:lnTo>
                  <a:lnTo>
                    <a:pt x="968" y="196"/>
                  </a:lnTo>
                  <a:lnTo>
                    <a:pt x="966" y="198"/>
                  </a:lnTo>
                  <a:lnTo>
                    <a:pt x="956" y="198"/>
                  </a:lnTo>
                  <a:lnTo>
                    <a:pt x="954" y="196"/>
                  </a:lnTo>
                  <a:lnTo>
                    <a:pt x="954" y="196"/>
                  </a:lnTo>
                  <a:lnTo>
                    <a:pt x="954" y="196"/>
                  </a:lnTo>
                  <a:lnTo>
                    <a:pt x="954" y="200"/>
                  </a:lnTo>
                  <a:lnTo>
                    <a:pt x="960" y="204"/>
                  </a:lnTo>
                  <a:lnTo>
                    <a:pt x="960" y="206"/>
                  </a:lnTo>
                  <a:lnTo>
                    <a:pt x="956" y="206"/>
                  </a:lnTo>
                  <a:lnTo>
                    <a:pt x="956" y="210"/>
                  </a:lnTo>
                  <a:lnTo>
                    <a:pt x="948" y="210"/>
                  </a:lnTo>
                  <a:lnTo>
                    <a:pt x="948" y="212"/>
                  </a:lnTo>
                  <a:lnTo>
                    <a:pt x="950" y="212"/>
                  </a:lnTo>
                  <a:lnTo>
                    <a:pt x="954" y="214"/>
                  </a:lnTo>
                  <a:lnTo>
                    <a:pt x="952" y="216"/>
                  </a:lnTo>
                  <a:lnTo>
                    <a:pt x="954" y="216"/>
                  </a:lnTo>
                  <a:lnTo>
                    <a:pt x="958" y="218"/>
                  </a:lnTo>
                  <a:lnTo>
                    <a:pt x="962" y="218"/>
                  </a:lnTo>
                  <a:lnTo>
                    <a:pt x="962" y="224"/>
                  </a:lnTo>
                  <a:lnTo>
                    <a:pt x="964" y="222"/>
                  </a:lnTo>
                  <a:lnTo>
                    <a:pt x="964" y="220"/>
                  </a:lnTo>
                  <a:lnTo>
                    <a:pt x="970" y="222"/>
                  </a:lnTo>
                  <a:lnTo>
                    <a:pt x="966" y="228"/>
                  </a:lnTo>
                  <a:lnTo>
                    <a:pt x="972" y="226"/>
                  </a:lnTo>
                  <a:lnTo>
                    <a:pt x="972" y="230"/>
                  </a:lnTo>
                  <a:lnTo>
                    <a:pt x="974" y="230"/>
                  </a:lnTo>
                  <a:lnTo>
                    <a:pt x="974" y="232"/>
                  </a:lnTo>
                  <a:lnTo>
                    <a:pt x="976" y="232"/>
                  </a:lnTo>
                  <a:lnTo>
                    <a:pt x="976" y="230"/>
                  </a:lnTo>
                  <a:lnTo>
                    <a:pt x="978" y="230"/>
                  </a:lnTo>
                  <a:lnTo>
                    <a:pt x="978" y="232"/>
                  </a:lnTo>
                  <a:lnTo>
                    <a:pt x="976" y="240"/>
                  </a:lnTo>
                  <a:lnTo>
                    <a:pt x="978" y="240"/>
                  </a:lnTo>
                  <a:lnTo>
                    <a:pt x="980" y="234"/>
                  </a:lnTo>
                  <a:lnTo>
                    <a:pt x="982" y="234"/>
                  </a:lnTo>
                  <a:lnTo>
                    <a:pt x="984" y="238"/>
                  </a:lnTo>
                  <a:lnTo>
                    <a:pt x="986" y="236"/>
                  </a:lnTo>
                  <a:lnTo>
                    <a:pt x="986" y="234"/>
                  </a:lnTo>
                  <a:lnTo>
                    <a:pt x="988" y="232"/>
                  </a:lnTo>
                  <a:lnTo>
                    <a:pt x="990" y="232"/>
                  </a:lnTo>
                  <a:lnTo>
                    <a:pt x="990" y="238"/>
                  </a:lnTo>
                  <a:lnTo>
                    <a:pt x="992" y="236"/>
                  </a:lnTo>
                  <a:lnTo>
                    <a:pt x="992" y="232"/>
                  </a:lnTo>
                  <a:lnTo>
                    <a:pt x="996" y="228"/>
                  </a:lnTo>
                  <a:lnTo>
                    <a:pt x="998" y="228"/>
                  </a:lnTo>
                  <a:lnTo>
                    <a:pt x="998" y="230"/>
                  </a:lnTo>
                  <a:lnTo>
                    <a:pt x="996" y="240"/>
                  </a:lnTo>
                  <a:lnTo>
                    <a:pt x="1000" y="240"/>
                  </a:lnTo>
                  <a:lnTo>
                    <a:pt x="1000" y="234"/>
                  </a:lnTo>
                  <a:lnTo>
                    <a:pt x="1004" y="236"/>
                  </a:lnTo>
                  <a:lnTo>
                    <a:pt x="1008" y="238"/>
                  </a:lnTo>
                  <a:lnTo>
                    <a:pt x="1008" y="242"/>
                  </a:lnTo>
                  <a:lnTo>
                    <a:pt x="1010" y="244"/>
                  </a:lnTo>
                  <a:lnTo>
                    <a:pt x="1004" y="244"/>
                  </a:lnTo>
                  <a:lnTo>
                    <a:pt x="1006" y="246"/>
                  </a:lnTo>
                  <a:lnTo>
                    <a:pt x="1010" y="246"/>
                  </a:lnTo>
                  <a:lnTo>
                    <a:pt x="1010" y="248"/>
                  </a:lnTo>
                  <a:lnTo>
                    <a:pt x="1016" y="248"/>
                  </a:lnTo>
                  <a:lnTo>
                    <a:pt x="1020" y="250"/>
                  </a:lnTo>
                  <a:lnTo>
                    <a:pt x="1020" y="244"/>
                  </a:lnTo>
                  <a:lnTo>
                    <a:pt x="1020" y="244"/>
                  </a:lnTo>
                  <a:lnTo>
                    <a:pt x="1024" y="244"/>
                  </a:lnTo>
                  <a:lnTo>
                    <a:pt x="1026" y="244"/>
                  </a:lnTo>
                  <a:lnTo>
                    <a:pt x="1022" y="248"/>
                  </a:lnTo>
                  <a:lnTo>
                    <a:pt x="1022" y="256"/>
                  </a:lnTo>
                  <a:lnTo>
                    <a:pt x="1026" y="256"/>
                  </a:lnTo>
                  <a:lnTo>
                    <a:pt x="1026" y="250"/>
                  </a:lnTo>
                  <a:lnTo>
                    <a:pt x="1028" y="248"/>
                  </a:lnTo>
                  <a:lnTo>
                    <a:pt x="1030" y="248"/>
                  </a:lnTo>
                  <a:lnTo>
                    <a:pt x="1030" y="250"/>
                  </a:lnTo>
                  <a:lnTo>
                    <a:pt x="1034" y="248"/>
                  </a:lnTo>
                  <a:lnTo>
                    <a:pt x="1036" y="250"/>
                  </a:lnTo>
                  <a:lnTo>
                    <a:pt x="1036" y="246"/>
                  </a:lnTo>
                  <a:lnTo>
                    <a:pt x="1036" y="244"/>
                  </a:lnTo>
                  <a:lnTo>
                    <a:pt x="1038" y="244"/>
                  </a:lnTo>
                  <a:lnTo>
                    <a:pt x="1044" y="246"/>
                  </a:lnTo>
                  <a:lnTo>
                    <a:pt x="1046" y="252"/>
                  </a:lnTo>
                  <a:lnTo>
                    <a:pt x="1048" y="254"/>
                  </a:lnTo>
                  <a:lnTo>
                    <a:pt x="1048" y="256"/>
                  </a:lnTo>
                  <a:lnTo>
                    <a:pt x="1048" y="258"/>
                  </a:lnTo>
                  <a:lnTo>
                    <a:pt x="1048" y="260"/>
                  </a:lnTo>
                  <a:lnTo>
                    <a:pt x="1048" y="260"/>
                  </a:lnTo>
                  <a:close/>
                  <a:moveTo>
                    <a:pt x="1040" y="704"/>
                  </a:moveTo>
                  <a:lnTo>
                    <a:pt x="1040" y="704"/>
                  </a:lnTo>
                  <a:lnTo>
                    <a:pt x="1038" y="704"/>
                  </a:lnTo>
                  <a:lnTo>
                    <a:pt x="1034" y="712"/>
                  </a:lnTo>
                  <a:lnTo>
                    <a:pt x="1030" y="716"/>
                  </a:lnTo>
                  <a:lnTo>
                    <a:pt x="1022" y="718"/>
                  </a:lnTo>
                  <a:lnTo>
                    <a:pt x="1016" y="720"/>
                  </a:lnTo>
                  <a:lnTo>
                    <a:pt x="1014" y="722"/>
                  </a:lnTo>
                  <a:lnTo>
                    <a:pt x="1014" y="724"/>
                  </a:lnTo>
                  <a:lnTo>
                    <a:pt x="1014" y="728"/>
                  </a:lnTo>
                  <a:lnTo>
                    <a:pt x="1008" y="722"/>
                  </a:lnTo>
                  <a:lnTo>
                    <a:pt x="1008" y="724"/>
                  </a:lnTo>
                  <a:lnTo>
                    <a:pt x="1008" y="726"/>
                  </a:lnTo>
                  <a:lnTo>
                    <a:pt x="1006" y="726"/>
                  </a:lnTo>
                  <a:lnTo>
                    <a:pt x="1004" y="724"/>
                  </a:lnTo>
                  <a:lnTo>
                    <a:pt x="1004" y="728"/>
                  </a:lnTo>
                  <a:lnTo>
                    <a:pt x="1004" y="734"/>
                  </a:lnTo>
                  <a:lnTo>
                    <a:pt x="1004" y="736"/>
                  </a:lnTo>
                  <a:lnTo>
                    <a:pt x="1002" y="736"/>
                  </a:lnTo>
                  <a:lnTo>
                    <a:pt x="1004" y="734"/>
                  </a:lnTo>
                  <a:lnTo>
                    <a:pt x="1002" y="734"/>
                  </a:lnTo>
                  <a:lnTo>
                    <a:pt x="1000" y="734"/>
                  </a:lnTo>
                  <a:lnTo>
                    <a:pt x="998" y="738"/>
                  </a:lnTo>
                  <a:lnTo>
                    <a:pt x="994" y="742"/>
                  </a:lnTo>
                  <a:lnTo>
                    <a:pt x="992" y="740"/>
                  </a:lnTo>
                  <a:lnTo>
                    <a:pt x="994" y="738"/>
                  </a:lnTo>
                  <a:lnTo>
                    <a:pt x="992" y="738"/>
                  </a:lnTo>
                  <a:lnTo>
                    <a:pt x="990" y="742"/>
                  </a:lnTo>
                  <a:lnTo>
                    <a:pt x="988" y="740"/>
                  </a:lnTo>
                  <a:lnTo>
                    <a:pt x="986" y="738"/>
                  </a:lnTo>
                  <a:lnTo>
                    <a:pt x="982" y="736"/>
                  </a:lnTo>
                  <a:lnTo>
                    <a:pt x="978" y="736"/>
                  </a:lnTo>
                  <a:lnTo>
                    <a:pt x="976" y="728"/>
                  </a:lnTo>
                  <a:lnTo>
                    <a:pt x="980" y="724"/>
                  </a:lnTo>
                  <a:lnTo>
                    <a:pt x="982" y="720"/>
                  </a:lnTo>
                  <a:lnTo>
                    <a:pt x="986" y="718"/>
                  </a:lnTo>
                  <a:lnTo>
                    <a:pt x="988" y="718"/>
                  </a:lnTo>
                  <a:lnTo>
                    <a:pt x="988" y="716"/>
                  </a:lnTo>
                  <a:lnTo>
                    <a:pt x="990" y="712"/>
                  </a:lnTo>
                  <a:lnTo>
                    <a:pt x="994" y="710"/>
                  </a:lnTo>
                  <a:lnTo>
                    <a:pt x="1000" y="708"/>
                  </a:lnTo>
                  <a:lnTo>
                    <a:pt x="1002" y="708"/>
                  </a:lnTo>
                  <a:lnTo>
                    <a:pt x="1002" y="710"/>
                  </a:lnTo>
                  <a:lnTo>
                    <a:pt x="1006" y="712"/>
                  </a:lnTo>
                  <a:lnTo>
                    <a:pt x="1012" y="704"/>
                  </a:lnTo>
                  <a:lnTo>
                    <a:pt x="1016" y="704"/>
                  </a:lnTo>
                  <a:lnTo>
                    <a:pt x="1006" y="702"/>
                  </a:lnTo>
                  <a:lnTo>
                    <a:pt x="1002" y="702"/>
                  </a:lnTo>
                  <a:lnTo>
                    <a:pt x="996" y="704"/>
                  </a:lnTo>
                  <a:lnTo>
                    <a:pt x="996" y="706"/>
                  </a:lnTo>
                  <a:lnTo>
                    <a:pt x="996" y="702"/>
                  </a:lnTo>
                  <a:lnTo>
                    <a:pt x="998" y="700"/>
                  </a:lnTo>
                  <a:lnTo>
                    <a:pt x="998" y="698"/>
                  </a:lnTo>
                  <a:lnTo>
                    <a:pt x="1000" y="696"/>
                  </a:lnTo>
                  <a:lnTo>
                    <a:pt x="1000" y="694"/>
                  </a:lnTo>
                  <a:lnTo>
                    <a:pt x="998" y="694"/>
                  </a:lnTo>
                  <a:lnTo>
                    <a:pt x="996" y="694"/>
                  </a:lnTo>
                  <a:lnTo>
                    <a:pt x="994" y="692"/>
                  </a:lnTo>
                  <a:lnTo>
                    <a:pt x="994" y="698"/>
                  </a:lnTo>
                  <a:lnTo>
                    <a:pt x="994" y="700"/>
                  </a:lnTo>
                  <a:lnTo>
                    <a:pt x="992" y="700"/>
                  </a:lnTo>
                  <a:lnTo>
                    <a:pt x="990" y="702"/>
                  </a:lnTo>
                  <a:lnTo>
                    <a:pt x="988" y="704"/>
                  </a:lnTo>
                  <a:lnTo>
                    <a:pt x="986" y="708"/>
                  </a:lnTo>
                  <a:lnTo>
                    <a:pt x="982" y="708"/>
                  </a:lnTo>
                  <a:lnTo>
                    <a:pt x="982" y="704"/>
                  </a:lnTo>
                  <a:lnTo>
                    <a:pt x="982" y="702"/>
                  </a:lnTo>
                  <a:lnTo>
                    <a:pt x="982" y="700"/>
                  </a:lnTo>
                  <a:lnTo>
                    <a:pt x="980" y="700"/>
                  </a:lnTo>
                  <a:lnTo>
                    <a:pt x="980" y="704"/>
                  </a:lnTo>
                  <a:lnTo>
                    <a:pt x="976" y="704"/>
                  </a:lnTo>
                  <a:lnTo>
                    <a:pt x="976" y="706"/>
                  </a:lnTo>
                  <a:lnTo>
                    <a:pt x="980" y="708"/>
                  </a:lnTo>
                  <a:lnTo>
                    <a:pt x="980" y="710"/>
                  </a:lnTo>
                  <a:lnTo>
                    <a:pt x="976" y="710"/>
                  </a:lnTo>
                  <a:lnTo>
                    <a:pt x="976" y="712"/>
                  </a:lnTo>
                  <a:lnTo>
                    <a:pt x="974" y="712"/>
                  </a:lnTo>
                  <a:lnTo>
                    <a:pt x="970" y="710"/>
                  </a:lnTo>
                  <a:lnTo>
                    <a:pt x="968" y="708"/>
                  </a:lnTo>
                  <a:lnTo>
                    <a:pt x="964" y="708"/>
                  </a:lnTo>
                  <a:lnTo>
                    <a:pt x="962" y="708"/>
                  </a:lnTo>
                  <a:lnTo>
                    <a:pt x="962" y="706"/>
                  </a:lnTo>
                  <a:lnTo>
                    <a:pt x="960" y="704"/>
                  </a:lnTo>
                  <a:lnTo>
                    <a:pt x="962" y="700"/>
                  </a:lnTo>
                  <a:lnTo>
                    <a:pt x="960" y="700"/>
                  </a:lnTo>
                  <a:lnTo>
                    <a:pt x="958" y="700"/>
                  </a:lnTo>
                  <a:lnTo>
                    <a:pt x="956" y="700"/>
                  </a:lnTo>
                  <a:lnTo>
                    <a:pt x="956" y="694"/>
                  </a:lnTo>
                  <a:lnTo>
                    <a:pt x="956" y="680"/>
                  </a:lnTo>
                  <a:lnTo>
                    <a:pt x="956" y="676"/>
                  </a:lnTo>
                  <a:lnTo>
                    <a:pt x="954" y="674"/>
                  </a:lnTo>
                  <a:lnTo>
                    <a:pt x="950" y="670"/>
                  </a:lnTo>
                  <a:lnTo>
                    <a:pt x="946" y="670"/>
                  </a:lnTo>
                  <a:lnTo>
                    <a:pt x="944" y="674"/>
                  </a:lnTo>
                  <a:lnTo>
                    <a:pt x="942" y="676"/>
                  </a:lnTo>
                  <a:lnTo>
                    <a:pt x="942" y="674"/>
                  </a:lnTo>
                  <a:lnTo>
                    <a:pt x="940" y="670"/>
                  </a:lnTo>
                  <a:lnTo>
                    <a:pt x="938" y="670"/>
                  </a:lnTo>
                  <a:lnTo>
                    <a:pt x="936" y="672"/>
                  </a:lnTo>
                  <a:lnTo>
                    <a:pt x="934" y="680"/>
                  </a:lnTo>
                  <a:lnTo>
                    <a:pt x="930" y="684"/>
                  </a:lnTo>
                  <a:lnTo>
                    <a:pt x="930" y="690"/>
                  </a:lnTo>
                  <a:lnTo>
                    <a:pt x="928" y="692"/>
                  </a:lnTo>
                  <a:lnTo>
                    <a:pt x="924" y="696"/>
                  </a:lnTo>
                  <a:lnTo>
                    <a:pt x="918" y="700"/>
                  </a:lnTo>
                  <a:lnTo>
                    <a:pt x="914" y="702"/>
                  </a:lnTo>
                  <a:lnTo>
                    <a:pt x="914" y="704"/>
                  </a:lnTo>
                  <a:lnTo>
                    <a:pt x="896" y="708"/>
                  </a:lnTo>
                  <a:lnTo>
                    <a:pt x="876" y="710"/>
                  </a:lnTo>
                  <a:lnTo>
                    <a:pt x="874" y="708"/>
                  </a:lnTo>
                  <a:lnTo>
                    <a:pt x="876" y="706"/>
                  </a:lnTo>
                  <a:lnTo>
                    <a:pt x="872" y="708"/>
                  </a:lnTo>
                  <a:lnTo>
                    <a:pt x="862" y="714"/>
                  </a:lnTo>
                  <a:lnTo>
                    <a:pt x="852" y="720"/>
                  </a:lnTo>
                  <a:lnTo>
                    <a:pt x="850" y="722"/>
                  </a:lnTo>
                  <a:lnTo>
                    <a:pt x="850" y="724"/>
                  </a:lnTo>
                  <a:lnTo>
                    <a:pt x="844" y="728"/>
                  </a:lnTo>
                  <a:lnTo>
                    <a:pt x="838" y="726"/>
                  </a:lnTo>
                  <a:lnTo>
                    <a:pt x="834" y="726"/>
                  </a:lnTo>
                  <a:lnTo>
                    <a:pt x="828" y="726"/>
                  </a:lnTo>
                  <a:lnTo>
                    <a:pt x="828" y="728"/>
                  </a:lnTo>
                  <a:lnTo>
                    <a:pt x="830" y="728"/>
                  </a:lnTo>
                  <a:lnTo>
                    <a:pt x="832" y="730"/>
                  </a:lnTo>
                  <a:lnTo>
                    <a:pt x="832" y="732"/>
                  </a:lnTo>
                  <a:lnTo>
                    <a:pt x="836" y="732"/>
                  </a:lnTo>
                  <a:lnTo>
                    <a:pt x="838" y="732"/>
                  </a:lnTo>
                  <a:lnTo>
                    <a:pt x="836" y="734"/>
                  </a:lnTo>
                  <a:lnTo>
                    <a:pt x="834" y="736"/>
                  </a:lnTo>
                  <a:lnTo>
                    <a:pt x="832" y="736"/>
                  </a:lnTo>
                  <a:lnTo>
                    <a:pt x="830" y="734"/>
                  </a:lnTo>
                  <a:lnTo>
                    <a:pt x="822" y="732"/>
                  </a:lnTo>
                  <a:lnTo>
                    <a:pt x="814" y="734"/>
                  </a:lnTo>
                  <a:lnTo>
                    <a:pt x="808" y="738"/>
                  </a:lnTo>
                  <a:lnTo>
                    <a:pt x="802" y="740"/>
                  </a:lnTo>
                  <a:lnTo>
                    <a:pt x="802" y="742"/>
                  </a:lnTo>
                  <a:lnTo>
                    <a:pt x="806" y="742"/>
                  </a:lnTo>
                  <a:lnTo>
                    <a:pt x="808" y="744"/>
                  </a:lnTo>
                  <a:lnTo>
                    <a:pt x="808" y="746"/>
                  </a:lnTo>
                  <a:lnTo>
                    <a:pt x="806" y="748"/>
                  </a:lnTo>
                  <a:lnTo>
                    <a:pt x="800" y="748"/>
                  </a:lnTo>
                  <a:lnTo>
                    <a:pt x="796" y="748"/>
                  </a:lnTo>
                  <a:lnTo>
                    <a:pt x="794" y="750"/>
                  </a:lnTo>
                  <a:lnTo>
                    <a:pt x="792" y="754"/>
                  </a:lnTo>
                  <a:lnTo>
                    <a:pt x="786" y="754"/>
                  </a:lnTo>
                  <a:lnTo>
                    <a:pt x="782" y="754"/>
                  </a:lnTo>
                  <a:lnTo>
                    <a:pt x="778" y="758"/>
                  </a:lnTo>
                  <a:lnTo>
                    <a:pt x="774" y="758"/>
                  </a:lnTo>
                  <a:lnTo>
                    <a:pt x="772" y="762"/>
                  </a:lnTo>
                  <a:lnTo>
                    <a:pt x="768" y="764"/>
                  </a:lnTo>
                  <a:lnTo>
                    <a:pt x="762" y="764"/>
                  </a:lnTo>
                  <a:lnTo>
                    <a:pt x="762" y="760"/>
                  </a:lnTo>
                  <a:lnTo>
                    <a:pt x="764" y="758"/>
                  </a:lnTo>
                  <a:lnTo>
                    <a:pt x="766" y="756"/>
                  </a:lnTo>
                  <a:lnTo>
                    <a:pt x="768" y="746"/>
                  </a:lnTo>
                  <a:lnTo>
                    <a:pt x="772" y="744"/>
                  </a:lnTo>
                  <a:lnTo>
                    <a:pt x="774" y="740"/>
                  </a:lnTo>
                  <a:lnTo>
                    <a:pt x="774" y="732"/>
                  </a:lnTo>
                  <a:lnTo>
                    <a:pt x="774" y="728"/>
                  </a:lnTo>
                  <a:lnTo>
                    <a:pt x="774" y="724"/>
                  </a:lnTo>
                  <a:lnTo>
                    <a:pt x="782" y="714"/>
                  </a:lnTo>
                  <a:lnTo>
                    <a:pt x="786" y="716"/>
                  </a:lnTo>
                  <a:lnTo>
                    <a:pt x="786" y="720"/>
                  </a:lnTo>
                  <a:lnTo>
                    <a:pt x="790" y="720"/>
                  </a:lnTo>
                  <a:lnTo>
                    <a:pt x="794" y="720"/>
                  </a:lnTo>
                  <a:lnTo>
                    <a:pt x="794" y="722"/>
                  </a:lnTo>
                  <a:lnTo>
                    <a:pt x="796" y="724"/>
                  </a:lnTo>
                  <a:lnTo>
                    <a:pt x="800" y="724"/>
                  </a:lnTo>
                  <a:lnTo>
                    <a:pt x="800" y="722"/>
                  </a:lnTo>
                  <a:lnTo>
                    <a:pt x="800" y="720"/>
                  </a:lnTo>
                  <a:lnTo>
                    <a:pt x="800" y="718"/>
                  </a:lnTo>
                  <a:lnTo>
                    <a:pt x="798" y="718"/>
                  </a:lnTo>
                  <a:lnTo>
                    <a:pt x="804" y="718"/>
                  </a:lnTo>
                  <a:lnTo>
                    <a:pt x="806" y="714"/>
                  </a:lnTo>
                  <a:lnTo>
                    <a:pt x="804" y="712"/>
                  </a:lnTo>
                  <a:lnTo>
                    <a:pt x="800" y="708"/>
                  </a:lnTo>
                  <a:lnTo>
                    <a:pt x="800" y="700"/>
                  </a:lnTo>
                  <a:lnTo>
                    <a:pt x="794" y="700"/>
                  </a:lnTo>
                  <a:lnTo>
                    <a:pt x="794" y="698"/>
                  </a:lnTo>
                  <a:lnTo>
                    <a:pt x="792" y="696"/>
                  </a:lnTo>
                  <a:lnTo>
                    <a:pt x="788" y="694"/>
                  </a:lnTo>
                  <a:lnTo>
                    <a:pt x="788" y="692"/>
                  </a:lnTo>
                  <a:lnTo>
                    <a:pt x="786" y="692"/>
                  </a:lnTo>
                  <a:lnTo>
                    <a:pt x="782" y="694"/>
                  </a:lnTo>
                  <a:lnTo>
                    <a:pt x="780" y="694"/>
                  </a:lnTo>
                  <a:lnTo>
                    <a:pt x="776" y="694"/>
                  </a:lnTo>
                  <a:lnTo>
                    <a:pt x="774" y="692"/>
                  </a:lnTo>
                  <a:lnTo>
                    <a:pt x="772" y="692"/>
                  </a:lnTo>
                  <a:lnTo>
                    <a:pt x="768" y="692"/>
                  </a:lnTo>
                  <a:lnTo>
                    <a:pt x="766" y="690"/>
                  </a:lnTo>
                  <a:lnTo>
                    <a:pt x="756" y="688"/>
                  </a:lnTo>
                  <a:lnTo>
                    <a:pt x="754" y="690"/>
                  </a:lnTo>
                  <a:lnTo>
                    <a:pt x="750" y="686"/>
                  </a:lnTo>
                  <a:lnTo>
                    <a:pt x="746" y="682"/>
                  </a:lnTo>
                  <a:lnTo>
                    <a:pt x="740" y="682"/>
                  </a:lnTo>
                  <a:lnTo>
                    <a:pt x="738" y="668"/>
                  </a:lnTo>
                  <a:lnTo>
                    <a:pt x="740" y="666"/>
                  </a:lnTo>
                  <a:lnTo>
                    <a:pt x="734" y="662"/>
                  </a:lnTo>
                  <a:lnTo>
                    <a:pt x="734" y="656"/>
                  </a:lnTo>
                  <a:lnTo>
                    <a:pt x="732" y="654"/>
                  </a:lnTo>
                  <a:lnTo>
                    <a:pt x="730" y="654"/>
                  </a:lnTo>
                  <a:lnTo>
                    <a:pt x="726" y="654"/>
                  </a:lnTo>
                  <a:lnTo>
                    <a:pt x="720" y="652"/>
                  </a:lnTo>
                  <a:lnTo>
                    <a:pt x="716" y="646"/>
                  </a:lnTo>
                  <a:lnTo>
                    <a:pt x="712" y="636"/>
                  </a:lnTo>
                  <a:lnTo>
                    <a:pt x="712" y="636"/>
                  </a:lnTo>
                  <a:lnTo>
                    <a:pt x="710" y="638"/>
                  </a:lnTo>
                  <a:lnTo>
                    <a:pt x="708" y="636"/>
                  </a:lnTo>
                  <a:lnTo>
                    <a:pt x="706" y="634"/>
                  </a:lnTo>
                  <a:lnTo>
                    <a:pt x="704" y="636"/>
                  </a:lnTo>
                  <a:lnTo>
                    <a:pt x="702" y="636"/>
                  </a:lnTo>
                  <a:lnTo>
                    <a:pt x="698" y="636"/>
                  </a:lnTo>
                  <a:lnTo>
                    <a:pt x="696" y="634"/>
                  </a:lnTo>
                  <a:lnTo>
                    <a:pt x="694" y="636"/>
                  </a:lnTo>
                  <a:lnTo>
                    <a:pt x="694" y="640"/>
                  </a:lnTo>
                  <a:lnTo>
                    <a:pt x="694" y="642"/>
                  </a:lnTo>
                  <a:lnTo>
                    <a:pt x="692" y="642"/>
                  </a:lnTo>
                  <a:lnTo>
                    <a:pt x="692" y="640"/>
                  </a:lnTo>
                  <a:lnTo>
                    <a:pt x="692" y="638"/>
                  </a:lnTo>
                  <a:lnTo>
                    <a:pt x="690" y="638"/>
                  </a:lnTo>
                  <a:lnTo>
                    <a:pt x="690" y="640"/>
                  </a:lnTo>
                  <a:lnTo>
                    <a:pt x="690" y="642"/>
                  </a:lnTo>
                  <a:lnTo>
                    <a:pt x="688" y="642"/>
                  </a:lnTo>
                  <a:lnTo>
                    <a:pt x="686" y="644"/>
                  </a:lnTo>
                  <a:lnTo>
                    <a:pt x="680" y="644"/>
                  </a:lnTo>
                  <a:lnTo>
                    <a:pt x="678" y="650"/>
                  </a:lnTo>
                  <a:lnTo>
                    <a:pt x="674" y="652"/>
                  </a:lnTo>
                  <a:lnTo>
                    <a:pt x="672" y="652"/>
                  </a:lnTo>
                  <a:lnTo>
                    <a:pt x="668" y="650"/>
                  </a:lnTo>
                  <a:lnTo>
                    <a:pt x="666" y="648"/>
                  </a:lnTo>
                  <a:lnTo>
                    <a:pt x="664" y="648"/>
                  </a:lnTo>
                  <a:lnTo>
                    <a:pt x="660" y="648"/>
                  </a:lnTo>
                  <a:lnTo>
                    <a:pt x="652" y="648"/>
                  </a:lnTo>
                  <a:lnTo>
                    <a:pt x="650" y="648"/>
                  </a:lnTo>
                  <a:lnTo>
                    <a:pt x="646" y="648"/>
                  </a:lnTo>
                  <a:lnTo>
                    <a:pt x="642" y="644"/>
                  </a:lnTo>
                  <a:lnTo>
                    <a:pt x="636" y="644"/>
                  </a:lnTo>
                  <a:lnTo>
                    <a:pt x="632" y="644"/>
                  </a:lnTo>
                  <a:lnTo>
                    <a:pt x="630" y="644"/>
                  </a:lnTo>
                  <a:lnTo>
                    <a:pt x="630" y="644"/>
                  </a:lnTo>
                  <a:lnTo>
                    <a:pt x="628" y="646"/>
                  </a:lnTo>
                  <a:lnTo>
                    <a:pt x="626" y="646"/>
                  </a:lnTo>
                  <a:lnTo>
                    <a:pt x="620" y="644"/>
                  </a:lnTo>
                  <a:lnTo>
                    <a:pt x="616" y="644"/>
                  </a:lnTo>
                  <a:lnTo>
                    <a:pt x="614" y="644"/>
                  </a:lnTo>
                  <a:lnTo>
                    <a:pt x="612" y="638"/>
                  </a:lnTo>
                  <a:lnTo>
                    <a:pt x="610" y="632"/>
                  </a:lnTo>
                  <a:lnTo>
                    <a:pt x="608" y="630"/>
                  </a:lnTo>
                  <a:lnTo>
                    <a:pt x="606" y="632"/>
                  </a:lnTo>
                  <a:lnTo>
                    <a:pt x="606" y="634"/>
                  </a:lnTo>
                  <a:lnTo>
                    <a:pt x="604" y="638"/>
                  </a:lnTo>
                  <a:lnTo>
                    <a:pt x="248" y="632"/>
                  </a:lnTo>
                  <a:lnTo>
                    <a:pt x="246" y="630"/>
                  </a:lnTo>
                  <a:lnTo>
                    <a:pt x="244" y="628"/>
                  </a:lnTo>
                  <a:lnTo>
                    <a:pt x="244" y="624"/>
                  </a:lnTo>
                  <a:lnTo>
                    <a:pt x="240" y="624"/>
                  </a:lnTo>
                  <a:lnTo>
                    <a:pt x="240" y="622"/>
                  </a:lnTo>
                  <a:lnTo>
                    <a:pt x="236" y="620"/>
                  </a:lnTo>
                  <a:lnTo>
                    <a:pt x="236" y="618"/>
                  </a:lnTo>
                  <a:lnTo>
                    <a:pt x="236" y="616"/>
                  </a:lnTo>
                  <a:lnTo>
                    <a:pt x="238" y="616"/>
                  </a:lnTo>
                  <a:lnTo>
                    <a:pt x="236" y="614"/>
                  </a:lnTo>
                  <a:lnTo>
                    <a:pt x="234" y="614"/>
                  </a:lnTo>
                  <a:lnTo>
                    <a:pt x="232" y="616"/>
                  </a:lnTo>
                  <a:lnTo>
                    <a:pt x="230" y="618"/>
                  </a:lnTo>
                  <a:lnTo>
                    <a:pt x="228" y="618"/>
                  </a:lnTo>
                  <a:lnTo>
                    <a:pt x="228" y="616"/>
                  </a:lnTo>
                  <a:lnTo>
                    <a:pt x="228" y="614"/>
                  </a:lnTo>
                  <a:lnTo>
                    <a:pt x="228" y="610"/>
                  </a:lnTo>
                  <a:lnTo>
                    <a:pt x="228" y="608"/>
                  </a:lnTo>
                  <a:lnTo>
                    <a:pt x="224" y="608"/>
                  </a:lnTo>
                  <a:lnTo>
                    <a:pt x="218" y="606"/>
                  </a:lnTo>
                  <a:lnTo>
                    <a:pt x="218" y="604"/>
                  </a:lnTo>
                  <a:lnTo>
                    <a:pt x="214" y="602"/>
                  </a:lnTo>
                  <a:lnTo>
                    <a:pt x="214" y="598"/>
                  </a:lnTo>
                  <a:lnTo>
                    <a:pt x="210" y="600"/>
                  </a:lnTo>
                  <a:lnTo>
                    <a:pt x="204" y="602"/>
                  </a:lnTo>
                  <a:lnTo>
                    <a:pt x="196" y="602"/>
                  </a:lnTo>
                  <a:lnTo>
                    <a:pt x="194" y="602"/>
                  </a:lnTo>
                  <a:lnTo>
                    <a:pt x="194" y="600"/>
                  </a:lnTo>
                  <a:lnTo>
                    <a:pt x="196" y="596"/>
                  </a:lnTo>
                  <a:lnTo>
                    <a:pt x="194" y="596"/>
                  </a:lnTo>
                  <a:lnTo>
                    <a:pt x="192" y="594"/>
                  </a:lnTo>
                  <a:lnTo>
                    <a:pt x="184" y="596"/>
                  </a:lnTo>
                  <a:lnTo>
                    <a:pt x="178" y="598"/>
                  </a:lnTo>
                  <a:lnTo>
                    <a:pt x="192" y="604"/>
                  </a:lnTo>
                  <a:lnTo>
                    <a:pt x="198" y="604"/>
                  </a:lnTo>
                  <a:lnTo>
                    <a:pt x="204" y="604"/>
                  </a:lnTo>
                  <a:lnTo>
                    <a:pt x="208" y="606"/>
                  </a:lnTo>
                  <a:lnTo>
                    <a:pt x="210" y="606"/>
                  </a:lnTo>
                  <a:lnTo>
                    <a:pt x="212" y="606"/>
                  </a:lnTo>
                  <a:lnTo>
                    <a:pt x="210" y="608"/>
                  </a:lnTo>
                  <a:lnTo>
                    <a:pt x="212" y="612"/>
                  </a:lnTo>
                  <a:lnTo>
                    <a:pt x="216" y="612"/>
                  </a:lnTo>
                  <a:lnTo>
                    <a:pt x="216" y="618"/>
                  </a:lnTo>
                  <a:lnTo>
                    <a:pt x="220" y="620"/>
                  </a:lnTo>
                  <a:lnTo>
                    <a:pt x="224" y="622"/>
                  </a:lnTo>
                  <a:lnTo>
                    <a:pt x="230" y="624"/>
                  </a:lnTo>
                  <a:lnTo>
                    <a:pt x="236" y="630"/>
                  </a:lnTo>
                  <a:lnTo>
                    <a:pt x="236" y="632"/>
                  </a:lnTo>
                  <a:lnTo>
                    <a:pt x="240" y="636"/>
                  </a:lnTo>
                  <a:lnTo>
                    <a:pt x="244" y="638"/>
                  </a:lnTo>
                  <a:lnTo>
                    <a:pt x="244" y="644"/>
                  </a:lnTo>
                  <a:lnTo>
                    <a:pt x="236" y="642"/>
                  </a:lnTo>
                  <a:lnTo>
                    <a:pt x="224" y="642"/>
                  </a:lnTo>
                  <a:lnTo>
                    <a:pt x="224" y="640"/>
                  </a:lnTo>
                  <a:lnTo>
                    <a:pt x="222" y="640"/>
                  </a:lnTo>
                  <a:lnTo>
                    <a:pt x="218" y="638"/>
                  </a:lnTo>
                  <a:lnTo>
                    <a:pt x="216" y="636"/>
                  </a:lnTo>
                  <a:lnTo>
                    <a:pt x="216" y="630"/>
                  </a:lnTo>
                  <a:lnTo>
                    <a:pt x="206" y="628"/>
                  </a:lnTo>
                  <a:lnTo>
                    <a:pt x="208" y="624"/>
                  </a:lnTo>
                  <a:lnTo>
                    <a:pt x="204" y="624"/>
                  </a:lnTo>
                  <a:lnTo>
                    <a:pt x="204" y="622"/>
                  </a:lnTo>
                  <a:lnTo>
                    <a:pt x="194" y="622"/>
                  </a:lnTo>
                  <a:lnTo>
                    <a:pt x="196" y="614"/>
                  </a:lnTo>
                  <a:lnTo>
                    <a:pt x="182" y="614"/>
                  </a:lnTo>
                  <a:lnTo>
                    <a:pt x="182" y="610"/>
                  </a:lnTo>
                  <a:lnTo>
                    <a:pt x="178" y="614"/>
                  </a:lnTo>
                  <a:lnTo>
                    <a:pt x="176" y="614"/>
                  </a:lnTo>
                  <a:lnTo>
                    <a:pt x="174" y="612"/>
                  </a:lnTo>
                  <a:lnTo>
                    <a:pt x="174" y="604"/>
                  </a:lnTo>
                  <a:lnTo>
                    <a:pt x="170" y="602"/>
                  </a:lnTo>
                  <a:lnTo>
                    <a:pt x="172" y="596"/>
                  </a:lnTo>
                  <a:lnTo>
                    <a:pt x="178" y="598"/>
                  </a:lnTo>
                  <a:lnTo>
                    <a:pt x="178" y="592"/>
                  </a:lnTo>
                  <a:lnTo>
                    <a:pt x="178" y="590"/>
                  </a:lnTo>
                  <a:lnTo>
                    <a:pt x="178" y="588"/>
                  </a:lnTo>
                  <a:lnTo>
                    <a:pt x="182" y="588"/>
                  </a:lnTo>
                  <a:lnTo>
                    <a:pt x="182" y="586"/>
                  </a:lnTo>
                  <a:lnTo>
                    <a:pt x="180" y="586"/>
                  </a:lnTo>
                  <a:lnTo>
                    <a:pt x="184" y="586"/>
                  </a:lnTo>
                  <a:lnTo>
                    <a:pt x="180" y="584"/>
                  </a:lnTo>
                  <a:lnTo>
                    <a:pt x="180" y="578"/>
                  </a:lnTo>
                  <a:lnTo>
                    <a:pt x="182" y="578"/>
                  </a:lnTo>
                  <a:lnTo>
                    <a:pt x="182" y="576"/>
                  </a:lnTo>
                  <a:lnTo>
                    <a:pt x="178" y="576"/>
                  </a:lnTo>
                  <a:lnTo>
                    <a:pt x="180" y="572"/>
                  </a:lnTo>
                  <a:lnTo>
                    <a:pt x="176" y="572"/>
                  </a:lnTo>
                  <a:lnTo>
                    <a:pt x="174" y="570"/>
                  </a:lnTo>
                  <a:lnTo>
                    <a:pt x="172" y="566"/>
                  </a:lnTo>
                  <a:lnTo>
                    <a:pt x="172" y="562"/>
                  </a:lnTo>
                  <a:lnTo>
                    <a:pt x="170" y="564"/>
                  </a:lnTo>
                  <a:lnTo>
                    <a:pt x="166" y="564"/>
                  </a:lnTo>
                  <a:lnTo>
                    <a:pt x="166" y="566"/>
                  </a:lnTo>
                  <a:lnTo>
                    <a:pt x="164" y="568"/>
                  </a:lnTo>
                  <a:lnTo>
                    <a:pt x="164" y="562"/>
                  </a:lnTo>
                  <a:lnTo>
                    <a:pt x="162" y="560"/>
                  </a:lnTo>
                  <a:lnTo>
                    <a:pt x="162" y="556"/>
                  </a:lnTo>
                  <a:lnTo>
                    <a:pt x="164" y="556"/>
                  </a:lnTo>
                  <a:lnTo>
                    <a:pt x="164" y="548"/>
                  </a:lnTo>
                  <a:lnTo>
                    <a:pt x="166" y="546"/>
                  </a:lnTo>
                  <a:lnTo>
                    <a:pt x="164" y="546"/>
                  </a:lnTo>
                  <a:lnTo>
                    <a:pt x="162" y="546"/>
                  </a:lnTo>
                  <a:lnTo>
                    <a:pt x="160" y="550"/>
                  </a:lnTo>
                  <a:lnTo>
                    <a:pt x="162" y="550"/>
                  </a:lnTo>
                  <a:lnTo>
                    <a:pt x="162" y="552"/>
                  </a:lnTo>
                  <a:lnTo>
                    <a:pt x="160" y="552"/>
                  </a:lnTo>
                  <a:lnTo>
                    <a:pt x="158" y="554"/>
                  </a:lnTo>
                  <a:lnTo>
                    <a:pt x="154" y="548"/>
                  </a:lnTo>
                  <a:lnTo>
                    <a:pt x="150" y="542"/>
                  </a:lnTo>
                  <a:lnTo>
                    <a:pt x="150" y="540"/>
                  </a:lnTo>
                  <a:lnTo>
                    <a:pt x="154" y="540"/>
                  </a:lnTo>
                  <a:lnTo>
                    <a:pt x="154" y="538"/>
                  </a:lnTo>
                  <a:lnTo>
                    <a:pt x="150" y="536"/>
                  </a:lnTo>
                  <a:lnTo>
                    <a:pt x="150" y="534"/>
                  </a:lnTo>
                  <a:lnTo>
                    <a:pt x="150" y="532"/>
                  </a:lnTo>
                  <a:lnTo>
                    <a:pt x="148" y="530"/>
                  </a:lnTo>
                  <a:lnTo>
                    <a:pt x="146" y="528"/>
                  </a:lnTo>
                  <a:lnTo>
                    <a:pt x="150" y="522"/>
                  </a:lnTo>
                  <a:lnTo>
                    <a:pt x="152" y="520"/>
                  </a:lnTo>
                  <a:lnTo>
                    <a:pt x="154" y="516"/>
                  </a:lnTo>
                  <a:lnTo>
                    <a:pt x="158" y="516"/>
                  </a:lnTo>
                  <a:lnTo>
                    <a:pt x="158" y="512"/>
                  </a:lnTo>
                  <a:lnTo>
                    <a:pt x="156" y="512"/>
                  </a:lnTo>
                  <a:lnTo>
                    <a:pt x="154" y="512"/>
                  </a:lnTo>
                  <a:lnTo>
                    <a:pt x="158" y="508"/>
                  </a:lnTo>
                  <a:lnTo>
                    <a:pt x="158" y="504"/>
                  </a:lnTo>
                  <a:lnTo>
                    <a:pt x="158" y="502"/>
                  </a:lnTo>
                  <a:lnTo>
                    <a:pt x="158" y="500"/>
                  </a:lnTo>
                  <a:lnTo>
                    <a:pt x="158" y="498"/>
                  </a:lnTo>
                  <a:lnTo>
                    <a:pt x="160" y="496"/>
                  </a:lnTo>
                  <a:lnTo>
                    <a:pt x="160" y="494"/>
                  </a:lnTo>
                  <a:lnTo>
                    <a:pt x="158" y="494"/>
                  </a:lnTo>
                  <a:lnTo>
                    <a:pt x="158" y="492"/>
                  </a:lnTo>
                  <a:lnTo>
                    <a:pt x="156" y="488"/>
                  </a:lnTo>
                  <a:lnTo>
                    <a:pt x="156" y="486"/>
                  </a:lnTo>
                  <a:lnTo>
                    <a:pt x="152" y="486"/>
                  </a:lnTo>
                  <a:lnTo>
                    <a:pt x="150" y="482"/>
                  </a:lnTo>
                  <a:lnTo>
                    <a:pt x="148" y="476"/>
                  </a:lnTo>
                  <a:lnTo>
                    <a:pt x="146" y="472"/>
                  </a:lnTo>
                  <a:lnTo>
                    <a:pt x="146" y="470"/>
                  </a:lnTo>
                  <a:lnTo>
                    <a:pt x="144" y="472"/>
                  </a:lnTo>
                  <a:lnTo>
                    <a:pt x="142" y="472"/>
                  </a:lnTo>
                  <a:lnTo>
                    <a:pt x="138" y="472"/>
                  </a:lnTo>
                  <a:lnTo>
                    <a:pt x="134" y="470"/>
                  </a:lnTo>
                  <a:lnTo>
                    <a:pt x="132" y="466"/>
                  </a:lnTo>
                  <a:lnTo>
                    <a:pt x="130" y="464"/>
                  </a:lnTo>
                  <a:lnTo>
                    <a:pt x="128" y="462"/>
                  </a:lnTo>
                  <a:lnTo>
                    <a:pt x="124" y="458"/>
                  </a:lnTo>
                  <a:lnTo>
                    <a:pt x="122" y="456"/>
                  </a:lnTo>
                  <a:lnTo>
                    <a:pt x="120" y="448"/>
                  </a:lnTo>
                  <a:lnTo>
                    <a:pt x="104" y="430"/>
                  </a:lnTo>
                  <a:lnTo>
                    <a:pt x="100" y="422"/>
                  </a:lnTo>
                  <a:lnTo>
                    <a:pt x="98" y="420"/>
                  </a:lnTo>
                  <a:lnTo>
                    <a:pt x="94" y="418"/>
                  </a:lnTo>
                  <a:lnTo>
                    <a:pt x="90" y="418"/>
                  </a:lnTo>
                  <a:lnTo>
                    <a:pt x="88" y="416"/>
                  </a:lnTo>
                  <a:lnTo>
                    <a:pt x="88" y="412"/>
                  </a:lnTo>
                  <a:lnTo>
                    <a:pt x="86" y="410"/>
                  </a:lnTo>
                  <a:lnTo>
                    <a:pt x="84" y="410"/>
                  </a:lnTo>
                  <a:lnTo>
                    <a:pt x="82" y="408"/>
                  </a:lnTo>
                  <a:lnTo>
                    <a:pt x="78" y="406"/>
                  </a:lnTo>
                  <a:lnTo>
                    <a:pt x="76" y="404"/>
                  </a:lnTo>
                  <a:lnTo>
                    <a:pt x="74" y="404"/>
                  </a:lnTo>
                  <a:lnTo>
                    <a:pt x="68" y="406"/>
                  </a:lnTo>
                  <a:lnTo>
                    <a:pt x="66" y="406"/>
                  </a:lnTo>
                  <a:lnTo>
                    <a:pt x="66" y="408"/>
                  </a:lnTo>
                  <a:lnTo>
                    <a:pt x="68" y="410"/>
                  </a:lnTo>
                  <a:lnTo>
                    <a:pt x="68" y="414"/>
                  </a:lnTo>
                  <a:lnTo>
                    <a:pt x="66" y="414"/>
                  </a:lnTo>
                  <a:lnTo>
                    <a:pt x="62" y="414"/>
                  </a:lnTo>
                  <a:lnTo>
                    <a:pt x="56" y="418"/>
                  </a:lnTo>
                  <a:lnTo>
                    <a:pt x="52" y="422"/>
                  </a:lnTo>
                  <a:lnTo>
                    <a:pt x="50" y="420"/>
                  </a:lnTo>
                  <a:lnTo>
                    <a:pt x="50" y="418"/>
                  </a:lnTo>
                  <a:lnTo>
                    <a:pt x="50" y="414"/>
                  </a:lnTo>
                  <a:lnTo>
                    <a:pt x="46" y="412"/>
                  </a:lnTo>
                  <a:lnTo>
                    <a:pt x="42" y="410"/>
                  </a:lnTo>
                  <a:lnTo>
                    <a:pt x="40" y="406"/>
                  </a:lnTo>
                  <a:lnTo>
                    <a:pt x="36" y="402"/>
                  </a:lnTo>
                  <a:lnTo>
                    <a:pt x="32" y="394"/>
                  </a:lnTo>
                  <a:lnTo>
                    <a:pt x="32" y="386"/>
                  </a:lnTo>
                  <a:lnTo>
                    <a:pt x="32" y="384"/>
                  </a:lnTo>
                  <a:lnTo>
                    <a:pt x="30" y="384"/>
                  </a:lnTo>
                  <a:lnTo>
                    <a:pt x="26" y="388"/>
                  </a:lnTo>
                  <a:lnTo>
                    <a:pt x="24" y="390"/>
                  </a:lnTo>
                  <a:lnTo>
                    <a:pt x="22" y="388"/>
                  </a:lnTo>
                  <a:lnTo>
                    <a:pt x="18" y="386"/>
                  </a:lnTo>
                  <a:lnTo>
                    <a:pt x="14" y="386"/>
                  </a:lnTo>
                  <a:lnTo>
                    <a:pt x="10" y="386"/>
                  </a:lnTo>
                  <a:lnTo>
                    <a:pt x="6" y="388"/>
                  </a:lnTo>
                  <a:lnTo>
                    <a:pt x="0" y="180"/>
                  </a:lnTo>
                  <a:lnTo>
                    <a:pt x="10" y="182"/>
                  </a:lnTo>
                  <a:lnTo>
                    <a:pt x="12" y="184"/>
                  </a:lnTo>
                  <a:lnTo>
                    <a:pt x="20" y="184"/>
                  </a:lnTo>
                  <a:lnTo>
                    <a:pt x="28" y="182"/>
                  </a:lnTo>
                  <a:lnTo>
                    <a:pt x="32" y="186"/>
                  </a:lnTo>
                  <a:lnTo>
                    <a:pt x="36" y="188"/>
                  </a:lnTo>
                  <a:lnTo>
                    <a:pt x="40" y="188"/>
                  </a:lnTo>
                  <a:lnTo>
                    <a:pt x="42" y="192"/>
                  </a:lnTo>
                  <a:lnTo>
                    <a:pt x="48" y="192"/>
                  </a:lnTo>
                  <a:lnTo>
                    <a:pt x="50" y="194"/>
                  </a:lnTo>
                  <a:lnTo>
                    <a:pt x="54" y="198"/>
                  </a:lnTo>
                  <a:lnTo>
                    <a:pt x="58" y="198"/>
                  </a:lnTo>
                  <a:lnTo>
                    <a:pt x="72" y="204"/>
                  </a:lnTo>
                  <a:lnTo>
                    <a:pt x="76" y="208"/>
                  </a:lnTo>
                  <a:lnTo>
                    <a:pt x="78" y="214"/>
                  </a:lnTo>
                  <a:lnTo>
                    <a:pt x="80" y="214"/>
                  </a:lnTo>
                  <a:lnTo>
                    <a:pt x="80" y="208"/>
                  </a:lnTo>
                  <a:lnTo>
                    <a:pt x="80" y="206"/>
                  </a:lnTo>
                  <a:lnTo>
                    <a:pt x="76" y="204"/>
                  </a:lnTo>
                  <a:lnTo>
                    <a:pt x="72" y="202"/>
                  </a:lnTo>
                  <a:lnTo>
                    <a:pt x="72" y="196"/>
                  </a:lnTo>
                  <a:lnTo>
                    <a:pt x="80" y="196"/>
                  </a:lnTo>
                  <a:lnTo>
                    <a:pt x="80" y="198"/>
                  </a:lnTo>
                  <a:lnTo>
                    <a:pt x="80" y="200"/>
                  </a:lnTo>
                  <a:lnTo>
                    <a:pt x="84" y="200"/>
                  </a:lnTo>
                  <a:lnTo>
                    <a:pt x="84" y="194"/>
                  </a:lnTo>
                  <a:lnTo>
                    <a:pt x="86" y="194"/>
                  </a:lnTo>
                  <a:lnTo>
                    <a:pt x="90" y="194"/>
                  </a:lnTo>
                  <a:lnTo>
                    <a:pt x="90" y="192"/>
                  </a:lnTo>
                  <a:lnTo>
                    <a:pt x="92" y="190"/>
                  </a:lnTo>
                  <a:lnTo>
                    <a:pt x="92" y="184"/>
                  </a:lnTo>
                  <a:lnTo>
                    <a:pt x="92" y="186"/>
                  </a:lnTo>
                  <a:lnTo>
                    <a:pt x="94" y="186"/>
                  </a:lnTo>
                  <a:lnTo>
                    <a:pt x="100" y="188"/>
                  </a:lnTo>
                  <a:lnTo>
                    <a:pt x="100" y="192"/>
                  </a:lnTo>
                  <a:lnTo>
                    <a:pt x="108" y="190"/>
                  </a:lnTo>
                  <a:lnTo>
                    <a:pt x="108" y="186"/>
                  </a:lnTo>
                  <a:lnTo>
                    <a:pt x="110" y="184"/>
                  </a:lnTo>
                  <a:lnTo>
                    <a:pt x="112" y="184"/>
                  </a:lnTo>
                  <a:lnTo>
                    <a:pt x="114" y="184"/>
                  </a:lnTo>
                  <a:lnTo>
                    <a:pt x="116" y="182"/>
                  </a:lnTo>
                  <a:lnTo>
                    <a:pt x="122" y="182"/>
                  </a:lnTo>
                  <a:lnTo>
                    <a:pt x="124" y="180"/>
                  </a:lnTo>
                  <a:lnTo>
                    <a:pt x="128" y="180"/>
                  </a:lnTo>
                  <a:lnTo>
                    <a:pt x="134" y="182"/>
                  </a:lnTo>
                  <a:lnTo>
                    <a:pt x="138" y="170"/>
                  </a:lnTo>
                  <a:lnTo>
                    <a:pt x="154" y="170"/>
                  </a:lnTo>
                  <a:lnTo>
                    <a:pt x="154" y="176"/>
                  </a:lnTo>
                  <a:lnTo>
                    <a:pt x="148" y="178"/>
                  </a:lnTo>
                  <a:lnTo>
                    <a:pt x="144" y="186"/>
                  </a:lnTo>
                  <a:lnTo>
                    <a:pt x="140" y="186"/>
                  </a:lnTo>
                  <a:lnTo>
                    <a:pt x="138" y="186"/>
                  </a:lnTo>
                  <a:lnTo>
                    <a:pt x="120" y="188"/>
                  </a:lnTo>
                  <a:lnTo>
                    <a:pt x="120" y="196"/>
                  </a:lnTo>
                  <a:lnTo>
                    <a:pt x="116" y="196"/>
                  </a:lnTo>
                  <a:lnTo>
                    <a:pt x="112" y="198"/>
                  </a:lnTo>
                  <a:lnTo>
                    <a:pt x="114" y="204"/>
                  </a:lnTo>
                  <a:lnTo>
                    <a:pt x="110" y="208"/>
                  </a:lnTo>
                  <a:lnTo>
                    <a:pt x="108" y="214"/>
                  </a:lnTo>
                  <a:lnTo>
                    <a:pt x="116" y="212"/>
                  </a:lnTo>
                  <a:lnTo>
                    <a:pt x="116" y="210"/>
                  </a:lnTo>
                  <a:lnTo>
                    <a:pt x="116" y="206"/>
                  </a:lnTo>
                  <a:lnTo>
                    <a:pt x="120" y="204"/>
                  </a:lnTo>
                  <a:lnTo>
                    <a:pt x="120" y="200"/>
                  </a:lnTo>
                  <a:lnTo>
                    <a:pt x="122" y="200"/>
                  </a:lnTo>
                  <a:lnTo>
                    <a:pt x="124" y="200"/>
                  </a:lnTo>
                  <a:lnTo>
                    <a:pt x="124" y="198"/>
                  </a:lnTo>
                  <a:lnTo>
                    <a:pt x="128" y="198"/>
                  </a:lnTo>
                  <a:lnTo>
                    <a:pt x="128" y="196"/>
                  </a:lnTo>
                  <a:lnTo>
                    <a:pt x="128" y="194"/>
                  </a:lnTo>
                  <a:lnTo>
                    <a:pt x="130" y="192"/>
                  </a:lnTo>
                  <a:lnTo>
                    <a:pt x="132" y="192"/>
                  </a:lnTo>
                  <a:lnTo>
                    <a:pt x="134" y="196"/>
                  </a:lnTo>
                  <a:lnTo>
                    <a:pt x="144" y="192"/>
                  </a:lnTo>
                  <a:lnTo>
                    <a:pt x="144" y="190"/>
                  </a:lnTo>
                  <a:lnTo>
                    <a:pt x="144" y="188"/>
                  </a:lnTo>
                  <a:lnTo>
                    <a:pt x="146" y="186"/>
                  </a:lnTo>
                  <a:lnTo>
                    <a:pt x="150" y="184"/>
                  </a:lnTo>
                  <a:lnTo>
                    <a:pt x="154" y="182"/>
                  </a:lnTo>
                  <a:lnTo>
                    <a:pt x="162" y="180"/>
                  </a:lnTo>
                  <a:lnTo>
                    <a:pt x="168" y="174"/>
                  </a:lnTo>
                  <a:lnTo>
                    <a:pt x="170" y="166"/>
                  </a:lnTo>
                  <a:lnTo>
                    <a:pt x="170" y="164"/>
                  </a:lnTo>
                  <a:lnTo>
                    <a:pt x="168" y="164"/>
                  </a:lnTo>
                  <a:lnTo>
                    <a:pt x="168" y="160"/>
                  </a:lnTo>
                  <a:lnTo>
                    <a:pt x="168" y="156"/>
                  </a:lnTo>
                  <a:lnTo>
                    <a:pt x="172" y="152"/>
                  </a:lnTo>
                  <a:lnTo>
                    <a:pt x="176" y="156"/>
                  </a:lnTo>
                  <a:lnTo>
                    <a:pt x="180" y="160"/>
                  </a:lnTo>
                  <a:lnTo>
                    <a:pt x="184" y="166"/>
                  </a:lnTo>
                  <a:lnTo>
                    <a:pt x="194" y="174"/>
                  </a:lnTo>
                  <a:lnTo>
                    <a:pt x="198" y="174"/>
                  </a:lnTo>
                  <a:lnTo>
                    <a:pt x="200" y="176"/>
                  </a:lnTo>
                  <a:lnTo>
                    <a:pt x="202" y="178"/>
                  </a:lnTo>
                  <a:lnTo>
                    <a:pt x="202" y="182"/>
                  </a:lnTo>
                  <a:lnTo>
                    <a:pt x="204" y="180"/>
                  </a:lnTo>
                  <a:lnTo>
                    <a:pt x="206" y="184"/>
                  </a:lnTo>
                  <a:lnTo>
                    <a:pt x="216" y="190"/>
                  </a:lnTo>
                  <a:lnTo>
                    <a:pt x="224" y="198"/>
                  </a:lnTo>
                  <a:lnTo>
                    <a:pt x="226" y="198"/>
                  </a:lnTo>
                  <a:lnTo>
                    <a:pt x="224" y="196"/>
                  </a:lnTo>
                  <a:lnTo>
                    <a:pt x="224" y="194"/>
                  </a:lnTo>
                  <a:lnTo>
                    <a:pt x="228" y="192"/>
                  </a:lnTo>
                  <a:lnTo>
                    <a:pt x="226" y="186"/>
                  </a:lnTo>
                  <a:lnTo>
                    <a:pt x="226" y="186"/>
                  </a:lnTo>
                  <a:lnTo>
                    <a:pt x="228" y="186"/>
                  </a:lnTo>
                  <a:lnTo>
                    <a:pt x="226" y="184"/>
                  </a:lnTo>
                  <a:lnTo>
                    <a:pt x="226" y="182"/>
                  </a:lnTo>
                  <a:lnTo>
                    <a:pt x="230" y="178"/>
                  </a:lnTo>
                  <a:lnTo>
                    <a:pt x="234" y="178"/>
                  </a:lnTo>
                  <a:lnTo>
                    <a:pt x="232" y="180"/>
                  </a:lnTo>
                  <a:lnTo>
                    <a:pt x="230" y="182"/>
                  </a:lnTo>
                  <a:lnTo>
                    <a:pt x="236" y="196"/>
                  </a:lnTo>
                  <a:lnTo>
                    <a:pt x="246" y="190"/>
                  </a:lnTo>
                  <a:lnTo>
                    <a:pt x="246" y="186"/>
                  </a:lnTo>
                  <a:lnTo>
                    <a:pt x="252" y="186"/>
                  </a:lnTo>
                  <a:lnTo>
                    <a:pt x="260" y="186"/>
                  </a:lnTo>
                  <a:lnTo>
                    <a:pt x="266" y="188"/>
                  </a:lnTo>
                  <a:lnTo>
                    <a:pt x="272" y="190"/>
                  </a:lnTo>
                  <a:lnTo>
                    <a:pt x="276" y="190"/>
                  </a:lnTo>
                  <a:lnTo>
                    <a:pt x="278" y="194"/>
                  </a:lnTo>
                  <a:lnTo>
                    <a:pt x="288" y="200"/>
                  </a:lnTo>
                  <a:lnTo>
                    <a:pt x="300" y="202"/>
                  </a:lnTo>
                  <a:lnTo>
                    <a:pt x="300" y="206"/>
                  </a:lnTo>
                  <a:lnTo>
                    <a:pt x="306" y="206"/>
                  </a:lnTo>
                  <a:lnTo>
                    <a:pt x="312" y="206"/>
                  </a:lnTo>
                  <a:lnTo>
                    <a:pt x="318" y="212"/>
                  </a:lnTo>
                  <a:lnTo>
                    <a:pt x="322" y="212"/>
                  </a:lnTo>
                  <a:lnTo>
                    <a:pt x="326" y="212"/>
                  </a:lnTo>
                  <a:lnTo>
                    <a:pt x="328" y="214"/>
                  </a:lnTo>
                  <a:lnTo>
                    <a:pt x="334" y="216"/>
                  </a:lnTo>
                  <a:lnTo>
                    <a:pt x="336" y="216"/>
                  </a:lnTo>
                  <a:lnTo>
                    <a:pt x="336" y="214"/>
                  </a:lnTo>
                  <a:lnTo>
                    <a:pt x="334" y="212"/>
                  </a:lnTo>
                  <a:lnTo>
                    <a:pt x="332" y="212"/>
                  </a:lnTo>
                  <a:lnTo>
                    <a:pt x="332" y="210"/>
                  </a:lnTo>
                  <a:lnTo>
                    <a:pt x="338" y="210"/>
                  </a:lnTo>
                  <a:lnTo>
                    <a:pt x="340" y="208"/>
                  </a:lnTo>
                  <a:lnTo>
                    <a:pt x="342" y="208"/>
                  </a:lnTo>
                  <a:lnTo>
                    <a:pt x="344" y="212"/>
                  </a:lnTo>
                  <a:lnTo>
                    <a:pt x="346" y="212"/>
                  </a:lnTo>
                  <a:lnTo>
                    <a:pt x="346" y="212"/>
                  </a:lnTo>
                  <a:lnTo>
                    <a:pt x="354" y="216"/>
                  </a:lnTo>
                  <a:lnTo>
                    <a:pt x="354" y="220"/>
                  </a:lnTo>
                  <a:lnTo>
                    <a:pt x="356" y="222"/>
                  </a:lnTo>
                  <a:lnTo>
                    <a:pt x="358" y="224"/>
                  </a:lnTo>
                  <a:lnTo>
                    <a:pt x="356" y="226"/>
                  </a:lnTo>
                  <a:lnTo>
                    <a:pt x="346" y="226"/>
                  </a:lnTo>
                  <a:lnTo>
                    <a:pt x="346" y="230"/>
                  </a:lnTo>
                  <a:lnTo>
                    <a:pt x="346" y="232"/>
                  </a:lnTo>
                  <a:lnTo>
                    <a:pt x="344" y="240"/>
                  </a:lnTo>
                  <a:lnTo>
                    <a:pt x="356" y="242"/>
                  </a:lnTo>
                  <a:lnTo>
                    <a:pt x="372" y="240"/>
                  </a:lnTo>
                  <a:lnTo>
                    <a:pt x="374" y="238"/>
                  </a:lnTo>
                  <a:lnTo>
                    <a:pt x="376" y="240"/>
                  </a:lnTo>
                  <a:lnTo>
                    <a:pt x="378" y="240"/>
                  </a:lnTo>
                  <a:lnTo>
                    <a:pt x="384" y="236"/>
                  </a:lnTo>
                  <a:lnTo>
                    <a:pt x="392" y="236"/>
                  </a:lnTo>
                  <a:lnTo>
                    <a:pt x="396" y="232"/>
                  </a:lnTo>
                  <a:lnTo>
                    <a:pt x="402" y="230"/>
                  </a:lnTo>
                  <a:lnTo>
                    <a:pt x="404" y="236"/>
                  </a:lnTo>
                  <a:lnTo>
                    <a:pt x="408" y="238"/>
                  </a:lnTo>
                  <a:lnTo>
                    <a:pt x="412" y="238"/>
                  </a:lnTo>
                  <a:lnTo>
                    <a:pt x="414" y="244"/>
                  </a:lnTo>
                  <a:lnTo>
                    <a:pt x="414" y="244"/>
                  </a:lnTo>
                  <a:lnTo>
                    <a:pt x="412" y="244"/>
                  </a:lnTo>
                  <a:lnTo>
                    <a:pt x="414" y="250"/>
                  </a:lnTo>
                  <a:lnTo>
                    <a:pt x="416" y="250"/>
                  </a:lnTo>
                  <a:lnTo>
                    <a:pt x="420" y="242"/>
                  </a:lnTo>
                  <a:lnTo>
                    <a:pt x="422" y="254"/>
                  </a:lnTo>
                  <a:lnTo>
                    <a:pt x="424" y="260"/>
                  </a:lnTo>
                  <a:lnTo>
                    <a:pt x="428" y="264"/>
                  </a:lnTo>
                  <a:lnTo>
                    <a:pt x="430" y="258"/>
                  </a:lnTo>
                  <a:lnTo>
                    <a:pt x="434" y="258"/>
                  </a:lnTo>
                  <a:lnTo>
                    <a:pt x="434" y="256"/>
                  </a:lnTo>
                  <a:lnTo>
                    <a:pt x="432" y="254"/>
                  </a:lnTo>
                  <a:lnTo>
                    <a:pt x="428" y="252"/>
                  </a:lnTo>
                  <a:lnTo>
                    <a:pt x="430" y="250"/>
                  </a:lnTo>
                  <a:lnTo>
                    <a:pt x="430" y="246"/>
                  </a:lnTo>
                  <a:lnTo>
                    <a:pt x="426" y="240"/>
                  </a:lnTo>
                  <a:lnTo>
                    <a:pt x="430" y="238"/>
                  </a:lnTo>
                  <a:lnTo>
                    <a:pt x="430" y="234"/>
                  </a:lnTo>
                  <a:lnTo>
                    <a:pt x="434" y="234"/>
                  </a:lnTo>
                  <a:lnTo>
                    <a:pt x="436" y="232"/>
                  </a:lnTo>
                  <a:lnTo>
                    <a:pt x="438" y="230"/>
                  </a:lnTo>
                  <a:lnTo>
                    <a:pt x="440" y="230"/>
                  </a:lnTo>
                  <a:lnTo>
                    <a:pt x="444" y="230"/>
                  </a:lnTo>
                  <a:lnTo>
                    <a:pt x="444" y="228"/>
                  </a:lnTo>
                  <a:lnTo>
                    <a:pt x="448" y="224"/>
                  </a:lnTo>
                  <a:lnTo>
                    <a:pt x="454" y="224"/>
                  </a:lnTo>
                  <a:lnTo>
                    <a:pt x="454" y="222"/>
                  </a:lnTo>
                  <a:lnTo>
                    <a:pt x="456" y="220"/>
                  </a:lnTo>
                  <a:lnTo>
                    <a:pt x="460" y="220"/>
                  </a:lnTo>
                  <a:lnTo>
                    <a:pt x="462" y="218"/>
                  </a:lnTo>
                  <a:lnTo>
                    <a:pt x="460" y="216"/>
                  </a:lnTo>
                  <a:lnTo>
                    <a:pt x="456" y="214"/>
                  </a:lnTo>
                  <a:lnTo>
                    <a:pt x="454" y="214"/>
                  </a:lnTo>
                  <a:lnTo>
                    <a:pt x="452" y="214"/>
                  </a:lnTo>
                  <a:lnTo>
                    <a:pt x="452" y="216"/>
                  </a:lnTo>
                  <a:lnTo>
                    <a:pt x="454" y="216"/>
                  </a:lnTo>
                  <a:lnTo>
                    <a:pt x="454" y="220"/>
                  </a:lnTo>
                  <a:lnTo>
                    <a:pt x="444" y="220"/>
                  </a:lnTo>
                  <a:lnTo>
                    <a:pt x="438" y="226"/>
                  </a:lnTo>
                  <a:lnTo>
                    <a:pt x="432" y="224"/>
                  </a:lnTo>
                  <a:lnTo>
                    <a:pt x="430" y="224"/>
                  </a:lnTo>
                  <a:lnTo>
                    <a:pt x="430" y="226"/>
                  </a:lnTo>
                  <a:lnTo>
                    <a:pt x="432" y="226"/>
                  </a:lnTo>
                  <a:lnTo>
                    <a:pt x="430" y="230"/>
                  </a:lnTo>
                  <a:lnTo>
                    <a:pt x="428" y="228"/>
                  </a:lnTo>
                  <a:lnTo>
                    <a:pt x="426" y="228"/>
                  </a:lnTo>
                  <a:lnTo>
                    <a:pt x="424" y="230"/>
                  </a:lnTo>
                  <a:lnTo>
                    <a:pt x="422" y="228"/>
                  </a:lnTo>
                  <a:lnTo>
                    <a:pt x="422" y="224"/>
                  </a:lnTo>
                  <a:lnTo>
                    <a:pt x="426" y="224"/>
                  </a:lnTo>
                  <a:lnTo>
                    <a:pt x="428" y="216"/>
                  </a:lnTo>
                  <a:lnTo>
                    <a:pt x="428" y="210"/>
                  </a:lnTo>
                  <a:lnTo>
                    <a:pt x="440" y="212"/>
                  </a:lnTo>
                  <a:lnTo>
                    <a:pt x="444" y="208"/>
                  </a:lnTo>
                  <a:lnTo>
                    <a:pt x="448" y="210"/>
                  </a:lnTo>
                  <a:lnTo>
                    <a:pt x="456" y="208"/>
                  </a:lnTo>
                  <a:lnTo>
                    <a:pt x="460" y="208"/>
                  </a:lnTo>
                  <a:lnTo>
                    <a:pt x="464" y="210"/>
                  </a:lnTo>
                  <a:lnTo>
                    <a:pt x="466" y="214"/>
                  </a:lnTo>
                  <a:lnTo>
                    <a:pt x="466" y="218"/>
                  </a:lnTo>
                  <a:lnTo>
                    <a:pt x="468" y="226"/>
                  </a:lnTo>
                  <a:lnTo>
                    <a:pt x="470" y="228"/>
                  </a:lnTo>
                  <a:lnTo>
                    <a:pt x="474" y="228"/>
                  </a:lnTo>
                  <a:lnTo>
                    <a:pt x="478" y="224"/>
                  </a:lnTo>
                  <a:lnTo>
                    <a:pt x="482" y="228"/>
                  </a:lnTo>
                  <a:lnTo>
                    <a:pt x="478" y="232"/>
                  </a:lnTo>
                  <a:lnTo>
                    <a:pt x="484" y="232"/>
                  </a:lnTo>
                  <a:lnTo>
                    <a:pt x="490" y="232"/>
                  </a:lnTo>
                  <a:lnTo>
                    <a:pt x="490" y="230"/>
                  </a:lnTo>
                  <a:lnTo>
                    <a:pt x="492" y="228"/>
                  </a:lnTo>
                  <a:lnTo>
                    <a:pt x="492" y="230"/>
                  </a:lnTo>
                  <a:lnTo>
                    <a:pt x="494" y="230"/>
                  </a:lnTo>
                  <a:lnTo>
                    <a:pt x="496" y="230"/>
                  </a:lnTo>
                  <a:lnTo>
                    <a:pt x="496" y="232"/>
                  </a:lnTo>
                  <a:lnTo>
                    <a:pt x="496" y="234"/>
                  </a:lnTo>
                  <a:lnTo>
                    <a:pt x="500" y="234"/>
                  </a:lnTo>
                  <a:lnTo>
                    <a:pt x="500" y="236"/>
                  </a:lnTo>
                  <a:lnTo>
                    <a:pt x="504" y="236"/>
                  </a:lnTo>
                  <a:lnTo>
                    <a:pt x="508" y="236"/>
                  </a:lnTo>
                  <a:lnTo>
                    <a:pt x="508" y="240"/>
                  </a:lnTo>
                  <a:lnTo>
                    <a:pt x="512" y="240"/>
                  </a:lnTo>
                  <a:lnTo>
                    <a:pt x="512" y="238"/>
                  </a:lnTo>
                  <a:lnTo>
                    <a:pt x="514" y="238"/>
                  </a:lnTo>
                  <a:lnTo>
                    <a:pt x="516" y="242"/>
                  </a:lnTo>
                  <a:lnTo>
                    <a:pt x="518" y="242"/>
                  </a:lnTo>
                  <a:lnTo>
                    <a:pt x="526" y="238"/>
                  </a:lnTo>
                  <a:lnTo>
                    <a:pt x="528" y="236"/>
                  </a:lnTo>
                  <a:lnTo>
                    <a:pt x="544" y="238"/>
                  </a:lnTo>
                  <a:lnTo>
                    <a:pt x="548" y="240"/>
                  </a:lnTo>
                  <a:lnTo>
                    <a:pt x="552" y="240"/>
                  </a:lnTo>
                  <a:lnTo>
                    <a:pt x="554" y="238"/>
                  </a:lnTo>
                  <a:lnTo>
                    <a:pt x="556" y="236"/>
                  </a:lnTo>
                  <a:lnTo>
                    <a:pt x="558" y="236"/>
                  </a:lnTo>
                  <a:lnTo>
                    <a:pt x="560" y="238"/>
                  </a:lnTo>
                  <a:lnTo>
                    <a:pt x="560" y="236"/>
                  </a:lnTo>
                  <a:lnTo>
                    <a:pt x="558" y="234"/>
                  </a:lnTo>
                  <a:lnTo>
                    <a:pt x="558" y="230"/>
                  </a:lnTo>
                  <a:lnTo>
                    <a:pt x="558" y="222"/>
                  </a:lnTo>
                  <a:lnTo>
                    <a:pt x="560" y="224"/>
                  </a:lnTo>
                  <a:lnTo>
                    <a:pt x="560" y="220"/>
                  </a:lnTo>
                  <a:lnTo>
                    <a:pt x="560" y="218"/>
                  </a:lnTo>
                  <a:lnTo>
                    <a:pt x="564" y="220"/>
                  </a:lnTo>
                  <a:lnTo>
                    <a:pt x="568" y="224"/>
                  </a:lnTo>
                  <a:lnTo>
                    <a:pt x="570" y="224"/>
                  </a:lnTo>
                  <a:lnTo>
                    <a:pt x="570" y="226"/>
                  </a:lnTo>
                  <a:lnTo>
                    <a:pt x="574" y="228"/>
                  </a:lnTo>
                  <a:lnTo>
                    <a:pt x="578" y="230"/>
                  </a:lnTo>
                  <a:lnTo>
                    <a:pt x="578" y="228"/>
                  </a:lnTo>
                  <a:lnTo>
                    <a:pt x="580" y="224"/>
                  </a:lnTo>
                  <a:lnTo>
                    <a:pt x="582" y="230"/>
                  </a:lnTo>
                  <a:lnTo>
                    <a:pt x="580" y="230"/>
                  </a:lnTo>
                  <a:lnTo>
                    <a:pt x="582" y="232"/>
                  </a:lnTo>
                  <a:lnTo>
                    <a:pt x="582" y="230"/>
                  </a:lnTo>
                  <a:lnTo>
                    <a:pt x="584" y="230"/>
                  </a:lnTo>
                  <a:lnTo>
                    <a:pt x="582" y="238"/>
                  </a:lnTo>
                  <a:lnTo>
                    <a:pt x="580" y="244"/>
                  </a:lnTo>
                  <a:lnTo>
                    <a:pt x="582" y="248"/>
                  </a:lnTo>
                  <a:lnTo>
                    <a:pt x="586" y="250"/>
                  </a:lnTo>
                  <a:lnTo>
                    <a:pt x="588" y="250"/>
                  </a:lnTo>
                  <a:lnTo>
                    <a:pt x="588" y="252"/>
                  </a:lnTo>
                  <a:lnTo>
                    <a:pt x="592" y="256"/>
                  </a:lnTo>
                  <a:lnTo>
                    <a:pt x="598" y="258"/>
                  </a:lnTo>
                  <a:lnTo>
                    <a:pt x="598" y="256"/>
                  </a:lnTo>
                  <a:lnTo>
                    <a:pt x="600" y="256"/>
                  </a:lnTo>
                  <a:lnTo>
                    <a:pt x="600" y="254"/>
                  </a:lnTo>
                  <a:lnTo>
                    <a:pt x="594" y="252"/>
                  </a:lnTo>
                  <a:lnTo>
                    <a:pt x="596" y="246"/>
                  </a:lnTo>
                  <a:lnTo>
                    <a:pt x="594" y="246"/>
                  </a:lnTo>
                  <a:lnTo>
                    <a:pt x="590" y="244"/>
                  </a:lnTo>
                  <a:lnTo>
                    <a:pt x="590" y="244"/>
                  </a:lnTo>
                  <a:lnTo>
                    <a:pt x="594" y="242"/>
                  </a:lnTo>
                  <a:lnTo>
                    <a:pt x="594" y="238"/>
                  </a:lnTo>
                  <a:lnTo>
                    <a:pt x="598" y="236"/>
                  </a:lnTo>
                  <a:lnTo>
                    <a:pt x="596" y="236"/>
                  </a:lnTo>
                  <a:lnTo>
                    <a:pt x="596" y="234"/>
                  </a:lnTo>
                  <a:lnTo>
                    <a:pt x="602" y="234"/>
                  </a:lnTo>
                  <a:lnTo>
                    <a:pt x="604" y="232"/>
                  </a:lnTo>
                  <a:lnTo>
                    <a:pt x="606" y="228"/>
                  </a:lnTo>
                  <a:lnTo>
                    <a:pt x="608" y="226"/>
                  </a:lnTo>
                  <a:lnTo>
                    <a:pt x="610" y="224"/>
                  </a:lnTo>
                  <a:lnTo>
                    <a:pt x="614" y="224"/>
                  </a:lnTo>
                  <a:lnTo>
                    <a:pt x="624" y="218"/>
                  </a:lnTo>
                  <a:lnTo>
                    <a:pt x="624" y="216"/>
                  </a:lnTo>
                  <a:lnTo>
                    <a:pt x="624" y="212"/>
                  </a:lnTo>
                  <a:lnTo>
                    <a:pt x="618" y="216"/>
                  </a:lnTo>
                  <a:lnTo>
                    <a:pt x="614" y="216"/>
                  </a:lnTo>
                  <a:lnTo>
                    <a:pt x="612" y="214"/>
                  </a:lnTo>
                  <a:lnTo>
                    <a:pt x="612" y="210"/>
                  </a:lnTo>
                  <a:lnTo>
                    <a:pt x="614" y="208"/>
                  </a:lnTo>
                  <a:lnTo>
                    <a:pt x="612" y="204"/>
                  </a:lnTo>
                  <a:lnTo>
                    <a:pt x="612" y="202"/>
                  </a:lnTo>
                  <a:lnTo>
                    <a:pt x="616" y="198"/>
                  </a:lnTo>
                  <a:lnTo>
                    <a:pt x="628" y="200"/>
                  </a:lnTo>
                  <a:lnTo>
                    <a:pt x="626" y="196"/>
                  </a:lnTo>
                  <a:lnTo>
                    <a:pt x="626" y="192"/>
                  </a:lnTo>
                  <a:lnTo>
                    <a:pt x="630" y="188"/>
                  </a:lnTo>
                  <a:lnTo>
                    <a:pt x="636" y="188"/>
                  </a:lnTo>
                  <a:lnTo>
                    <a:pt x="636" y="186"/>
                  </a:lnTo>
                  <a:lnTo>
                    <a:pt x="634" y="186"/>
                  </a:lnTo>
                  <a:lnTo>
                    <a:pt x="632" y="186"/>
                  </a:lnTo>
                  <a:lnTo>
                    <a:pt x="626" y="188"/>
                  </a:lnTo>
                  <a:lnTo>
                    <a:pt x="622" y="192"/>
                  </a:lnTo>
                  <a:lnTo>
                    <a:pt x="614" y="194"/>
                  </a:lnTo>
                  <a:lnTo>
                    <a:pt x="610" y="186"/>
                  </a:lnTo>
                  <a:lnTo>
                    <a:pt x="606" y="184"/>
                  </a:lnTo>
                  <a:lnTo>
                    <a:pt x="600" y="182"/>
                  </a:lnTo>
                  <a:lnTo>
                    <a:pt x="598" y="182"/>
                  </a:lnTo>
                  <a:lnTo>
                    <a:pt x="598" y="186"/>
                  </a:lnTo>
                  <a:lnTo>
                    <a:pt x="600" y="186"/>
                  </a:lnTo>
                  <a:lnTo>
                    <a:pt x="598" y="188"/>
                  </a:lnTo>
                  <a:lnTo>
                    <a:pt x="596" y="190"/>
                  </a:lnTo>
                  <a:lnTo>
                    <a:pt x="596" y="188"/>
                  </a:lnTo>
                  <a:lnTo>
                    <a:pt x="594" y="186"/>
                  </a:lnTo>
                  <a:lnTo>
                    <a:pt x="594" y="188"/>
                  </a:lnTo>
                  <a:lnTo>
                    <a:pt x="592" y="188"/>
                  </a:lnTo>
                  <a:lnTo>
                    <a:pt x="592" y="184"/>
                  </a:lnTo>
                  <a:lnTo>
                    <a:pt x="594" y="182"/>
                  </a:lnTo>
                  <a:lnTo>
                    <a:pt x="594" y="180"/>
                  </a:lnTo>
                  <a:lnTo>
                    <a:pt x="590" y="180"/>
                  </a:lnTo>
                  <a:lnTo>
                    <a:pt x="588" y="176"/>
                  </a:lnTo>
                  <a:lnTo>
                    <a:pt x="588" y="172"/>
                  </a:lnTo>
                  <a:lnTo>
                    <a:pt x="586" y="172"/>
                  </a:lnTo>
                  <a:lnTo>
                    <a:pt x="586" y="168"/>
                  </a:lnTo>
                  <a:lnTo>
                    <a:pt x="592" y="168"/>
                  </a:lnTo>
                  <a:lnTo>
                    <a:pt x="590" y="164"/>
                  </a:lnTo>
                  <a:lnTo>
                    <a:pt x="588" y="158"/>
                  </a:lnTo>
                  <a:lnTo>
                    <a:pt x="590" y="156"/>
                  </a:lnTo>
                  <a:lnTo>
                    <a:pt x="590" y="154"/>
                  </a:lnTo>
                  <a:lnTo>
                    <a:pt x="588" y="154"/>
                  </a:lnTo>
                  <a:lnTo>
                    <a:pt x="590" y="150"/>
                  </a:lnTo>
                  <a:lnTo>
                    <a:pt x="592" y="148"/>
                  </a:lnTo>
                  <a:lnTo>
                    <a:pt x="592" y="144"/>
                  </a:lnTo>
                  <a:lnTo>
                    <a:pt x="596" y="144"/>
                  </a:lnTo>
                  <a:lnTo>
                    <a:pt x="600" y="148"/>
                  </a:lnTo>
                  <a:lnTo>
                    <a:pt x="602" y="148"/>
                  </a:lnTo>
                  <a:lnTo>
                    <a:pt x="596" y="140"/>
                  </a:lnTo>
                  <a:lnTo>
                    <a:pt x="598" y="136"/>
                  </a:lnTo>
                  <a:lnTo>
                    <a:pt x="604" y="134"/>
                  </a:lnTo>
                  <a:lnTo>
                    <a:pt x="604" y="132"/>
                  </a:lnTo>
                  <a:lnTo>
                    <a:pt x="604" y="130"/>
                  </a:lnTo>
                  <a:lnTo>
                    <a:pt x="604" y="128"/>
                  </a:lnTo>
                  <a:lnTo>
                    <a:pt x="604" y="120"/>
                  </a:lnTo>
                  <a:lnTo>
                    <a:pt x="600" y="116"/>
                  </a:lnTo>
                  <a:lnTo>
                    <a:pt x="600" y="114"/>
                  </a:lnTo>
                  <a:lnTo>
                    <a:pt x="602" y="114"/>
                  </a:lnTo>
                  <a:lnTo>
                    <a:pt x="602" y="108"/>
                  </a:lnTo>
                  <a:lnTo>
                    <a:pt x="600" y="108"/>
                  </a:lnTo>
                  <a:lnTo>
                    <a:pt x="600" y="100"/>
                  </a:lnTo>
                  <a:lnTo>
                    <a:pt x="596" y="96"/>
                  </a:lnTo>
                  <a:lnTo>
                    <a:pt x="598" y="92"/>
                  </a:lnTo>
                  <a:lnTo>
                    <a:pt x="596" y="92"/>
                  </a:lnTo>
                  <a:lnTo>
                    <a:pt x="596" y="86"/>
                  </a:lnTo>
                  <a:lnTo>
                    <a:pt x="600" y="86"/>
                  </a:lnTo>
                  <a:lnTo>
                    <a:pt x="598" y="78"/>
                  </a:lnTo>
                  <a:lnTo>
                    <a:pt x="612" y="78"/>
                  </a:lnTo>
                  <a:lnTo>
                    <a:pt x="612" y="80"/>
                  </a:lnTo>
                  <a:lnTo>
                    <a:pt x="614" y="80"/>
                  </a:lnTo>
                  <a:lnTo>
                    <a:pt x="620" y="72"/>
                  </a:lnTo>
                  <a:lnTo>
                    <a:pt x="632" y="74"/>
                  </a:lnTo>
                  <a:lnTo>
                    <a:pt x="642" y="78"/>
                  </a:lnTo>
                  <a:lnTo>
                    <a:pt x="644" y="82"/>
                  </a:lnTo>
                  <a:lnTo>
                    <a:pt x="646" y="80"/>
                  </a:lnTo>
                  <a:lnTo>
                    <a:pt x="646" y="78"/>
                  </a:lnTo>
                  <a:lnTo>
                    <a:pt x="656" y="80"/>
                  </a:lnTo>
                  <a:lnTo>
                    <a:pt x="666" y="82"/>
                  </a:lnTo>
                  <a:lnTo>
                    <a:pt x="666" y="86"/>
                  </a:lnTo>
                  <a:lnTo>
                    <a:pt x="664" y="92"/>
                  </a:lnTo>
                  <a:lnTo>
                    <a:pt x="662" y="92"/>
                  </a:lnTo>
                  <a:lnTo>
                    <a:pt x="662" y="98"/>
                  </a:lnTo>
                  <a:lnTo>
                    <a:pt x="660" y="98"/>
                  </a:lnTo>
                  <a:lnTo>
                    <a:pt x="658" y="100"/>
                  </a:lnTo>
                  <a:lnTo>
                    <a:pt x="654" y="104"/>
                  </a:lnTo>
                  <a:lnTo>
                    <a:pt x="652" y="108"/>
                  </a:lnTo>
                  <a:lnTo>
                    <a:pt x="642" y="110"/>
                  </a:lnTo>
                  <a:lnTo>
                    <a:pt x="632" y="112"/>
                  </a:lnTo>
                  <a:lnTo>
                    <a:pt x="624" y="112"/>
                  </a:lnTo>
                  <a:lnTo>
                    <a:pt x="618" y="112"/>
                  </a:lnTo>
                  <a:lnTo>
                    <a:pt x="616" y="114"/>
                  </a:lnTo>
                  <a:lnTo>
                    <a:pt x="614" y="114"/>
                  </a:lnTo>
                  <a:lnTo>
                    <a:pt x="614" y="116"/>
                  </a:lnTo>
                  <a:lnTo>
                    <a:pt x="614" y="118"/>
                  </a:lnTo>
                  <a:lnTo>
                    <a:pt x="620" y="122"/>
                  </a:lnTo>
                  <a:lnTo>
                    <a:pt x="620" y="124"/>
                  </a:lnTo>
                  <a:lnTo>
                    <a:pt x="620" y="126"/>
                  </a:lnTo>
                  <a:lnTo>
                    <a:pt x="614" y="128"/>
                  </a:lnTo>
                  <a:lnTo>
                    <a:pt x="612" y="130"/>
                  </a:lnTo>
                  <a:lnTo>
                    <a:pt x="614" y="130"/>
                  </a:lnTo>
                  <a:lnTo>
                    <a:pt x="614" y="132"/>
                  </a:lnTo>
                  <a:lnTo>
                    <a:pt x="610" y="132"/>
                  </a:lnTo>
                  <a:lnTo>
                    <a:pt x="610" y="136"/>
                  </a:lnTo>
                  <a:lnTo>
                    <a:pt x="612" y="136"/>
                  </a:lnTo>
                  <a:lnTo>
                    <a:pt x="614" y="136"/>
                  </a:lnTo>
                  <a:lnTo>
                    <a:pt x="614" y="138"/>
                  </a:lnTo>
                  <a:lnTo>
                    <a:pt x="614" y="140"/>
                  </a:lnTo>
                  <a:lnTo>
                    <a:pt x="616" y="138"/>
                  </a:lnTo>
                  <a:lnTo>
                    <a:pt x="624" y="144"/>
                  </a:lnTo>
                  <a:lnTo>
                    <a:pt x="624" y="146"/>
                  </a:lnTo>
                  <a:lnTo>
                    <a:pt x="628" y="146"/>
                  </a:lnTo>
                  <a:lnTo>
                    <a:pt x="632" y="150"/>
                  </a:lnTo>
                  <a:lnTo>
                    <a:pt x="632" y="152"/>
                  </a:lnTo>
                  <a:lnTo>
                    <a:pt x="636" y="152"/>
                  </a:lnTo>
                  <a:lnTo>
                    <a:pt x="638" y="152"/>
                  </a:lnTo>
                  <a:lnTo>
                    <a:pt x="642" y="156"/>
                  </a:lnTo>
                  <a:lnTo>
                    <a:pt x="644" y="160"/>
                  </a:lnTo>
                  <a:lnTo>
                    <a:pt x="648" y="160"/>
                  </a:lnTo>
                  <a:lnTo>
                    <a:pt x="650" y="160"/>
                  </a:lnTo>
                  <a:lnTo>
                    <a:pt x="652" y="166"/>
                  </a:lnTo>
                  <a:lnTo>
                    <a:pt x="656" y="164"/>
                  </a:lnTo>
                  <a:lnTo>
                    <a:pt x="656" y="172"/>
                  </a:lnTo>
                  <a:lnTo>
                    <a:pt x="650" y="172"/>
                  </a:lnTo>
                  <a:lnTo>
                    <a:pt x="648" y="170"/>
                  </a:lnTo>
                  <a:lnTo>
                    <a:pt x="646" y="168"/>
                  </a:lnTo>
                  <a:lnTo>
                    <a:pt x="644" y="178"/>
                  </a:lnTo>
                  <a:lnTo>
                    <a:pt x="648" y="176"/>
                  </a:lnTo>
                  <a:lnTo>
                    <a:pt x="650" y="174"/>
                  </a:lnTo>
                  <a:lnTo>
                    <a:pt x="650" y="174"/>
                  </a:lnTo>
                  <a:lnTo>
                    <a:pt x="650" y="180"/>
                  </a:lnTo>
                  <a:lnTo>
                    <a:pt x="646" y="184"/>
                  </a:lnTo>
                  <a:lnTo>
                    <a:pt x="642" y="184"/>
                  </a:lnTo>
                  <a:lnTo>
                    <a:pt x="640" y="186"/>
                  </a:lnTo>
                  <a:lnTo>
                    <a:pt x="642" y="190"/>
                  </a:lnTo>
                  <a:lnTo>
                    <a:pt x="646" y="190"/>
                  </a:lnTo>
                  <a:lnTo>
                    <a:pt x="648" y="194"/>
                  </a:lnTo>
                  <a:lnTo>
                    <a:pt x="654" y="196"/>
                  </a:lnTo>
                  <a:lnTo>
                    <a:pt x="660" y="196"/>
                  </a:lnTo>
                  <a:lnTo>
                    <a:pt x="662" y="202"/>
                  </a:lnTo>
                  <a:lnTo>
                    <a:pt x="664" y="206"/>
                  </a:lnTo>
                  <a:lnTo>
                    <a:pt x="666" y="210"/>
                  </a:lnTo>
                  <a:lnTo>
                    <a:pt x="664" y="210"/>
                  </a:lnTo>
                  <a:lnTo>
                    <a:pt x="666" y="214"/>
                  </a:lnTo>
                  <a:lnTo>
                    <a:pt x="670" y="222"/>
                  </a:lnTo>
                  <a:lnTo>
                    <a:pt x="668" y="226"/>
                  </a:lnTo>
                  <a:lnTo>
                    <a:pt x="668" y="228"/>
                  </a:lnTo>
                  <a:lnTo>
                    <a:pt x="674" y="228"/>
                  </a:lnTo>
                  <a:lnTo>
                    <a:pt x="674" y="222"/>
                  </a:lnTo>
                  <a:lnTo>
                    <a:pt x="678" y="220"/>
                  </a:lnTo>
                  <a:lnTo>
                    <a:pt x="678" y="218"/>
                  </a:lnTo>
                  <a:lnTo>
                    <a:pt x="680" y="218"/>
                  </a:lnTo>
                  <a:lnTo>
                    <a:pt x="682" y="214"/>
                  </a:lnTo>
                  <a:lnTo>
                    <a:pt x="680" y="212"/>
                  </a:lnTo>
                  <a:lnTo>
                    <a:pt x="680" y="210"/>
                  </a:lnTo>
                  <a:lnTo>
                    <a:pt x="682" y="200"/>
                  </a:lnTo>
                  <a:lnTo>
                    <a:pt x="688" y="198"/>
                  </a:lnTo>
                  <a:lnTo>
                    <a:pt x="694" y="196"/>
                  </a:lnTo>
                  <a:lnTo>
                    <a:pt x="700" y="206"/>
                  </a:lnTo>
                  <a:lnTo>
                    <a:pt x="700" y="210"/>
                  </a:lnTo>
                  <a:lnTo>
                    <a:pt x="698" y="212"/>
                  </a:lnTo>
                  <a:lnTo>
                    <a:pt x="696" y="216"/>
                  </a:lnTo>
                  <a:lnTo>
                    <a:pt x="696" y="222"/>
                  </a:lnTo>
                  <a:lnTo>
                    <a:pt x="696" y="226"/>
                  </a:lnTo>
                  <a:lnTo>
                    <a:pt x="694" y="226"/>
                  </a:lnTo>
                  <a:lnTo>
                    <a:pt x="692" y="228"/>
                  </a:lnTo>
                  <a:lnTo>
                    <a:pt x="690" y="230"/>
                  </a:lnTo>
                  <a:lnTo>
                    <a:pt x="692" y="236"/>
                  </a:lnTo>
                  <a:lnTo>
                    <a:pt x="696" y="242"/>
                  </a:lnTo>
                  <a:lnTo>
                    <a:pt x="700" y="244"/>
                  </a:lnTo>
                  <a:lnTo>
                    <a:pt x="706" y="252"/>
                  </a:lnTo>
                  <a:lnTo>
                    <a:pt x="710" y="252"/>
                  </a:lnTo>
                  <a:lnTo>
                    <a:pt x="712" y="254"/>
                  </a:lnTo>
                  <a:lnTo>
                    <a:pt x="712" y="254"/>
                  </a:lnTo>
                  <a:lnTo>
                    <a:pt x="712" y="250"/>
                  </a:lnTo>
                  <a:lnTo>
                    <a:pt x="722" y="246"/>
                  </a:lnTo>
                  <a:lnTo>
                    <a:pt x="720" y="244"/>
                  </a:lnTo>
                  <a:lnTo>
                    <a:pt x="720" y="242"/>
                  </a:lnTo>
                  <a:lnTo>
                    <a:pt x="722" y="240"/>
                  </a:lnTo>
                  <a:lnTo>
                    <a:pt x="726" y="234"/>
                  </a:lnTo>
                  <a:lnTo>
                    <a:pt x="726" y="230"/>
                  </a:lnTo>
                  <a:lnTo>
                    <a:pt x="730" y="230"/>
                  </a:lnTo>
                  <a:lnTo>
                    <a:pt x="730" y="228"/>
                  </a:lnTo>
                  <a:lnTo>
                    <a:pt x="728" y="226"/>
                  </a:lnTo>
                  <a:lnTo>
                    <a:pt x="730" y="224"/>
                  </a:lnTo>
                  <a:lnTo>
                    <a:pt x="732" y="214"/>
                  </a:lnTo>
                  <a:lnTo>
                    <a:pt x="740" y="214"/>
                  </a:lnTo>
                  <a:lnTo>
                    <a:pt x="740" y="212"/>
                  </a:lnTo>
                  <a:lnTo>
                    <a:pt x="740" y="210"/>
                  </a:lnTo>
                  <a:lnTo>
                    <a:pt x="742" y="210"/>
                  </a:lnTo>
                  <a:lnTo>
                    <a:pt x="740" y="208"/>
                  </a:lnTo>
                  <a:lnTo>
                    <a:pt x="740" y="206"/>
                  </a:lnTo>
                  <a:lnTo>
                    <a:pt x="742" y="204"/>
                  </a:lnTo>
                  <a:lnTo>
                    <a:pt x="740" y="200"/>
                  </a:lnTo>
                  <a:lnTo>
                    <a:pt x="736" y="200"/>
                  </a:lnTo>
                  <a:lnTo>
                    <a:pt x="736" y="192"/>
                  </a:lnTo>
                  <a:lnTo>
                    <a:pt x="736" y="186"/>
                  </a:lnTo>
                  <a:lnTo>
                    <a:pt x="732" y="184"/>
                  </a:lnTo>
                  <a:lnTo>
                    <a:pt x="742" y="184"/>
                  </a:lnTo>
                  <a:lnTo>
                    <a:pt x="752" y="186"/>
                  </a:lnTo>
                  <a:lnTo>
                    <a:pt x="756" y="188"/>
                  </a:lnTo>
                  <a:lnTo>
                    <a:pt x="756" y="186"/>
                  </a:lnTo>
                  <a:lnTo>
                    <a:pt x="758" y="186"/>
                  </a:lnTo>
                  <a:lnTo>
                    <a:pt x="768" y="186"/>
                  </a:lnTo>
                  <a:lnTo>
                    <a:pt x="768" y="186"/>
                  </a:lnTo>
                  <a:lnTo>
                    <a:pt x="766" y="188"/>
                  </a:lnTo>
                  <a:lnTo>
                    <a:pt x="772" y="192"/>
                  </a:lnTo>
                  <a:lnTo>
                    <a:pt x="770" y="192"/>
                  </a:lnTo>
                  <a:lnTo>
                    <a:pt x="770" y="194"/>
                  </a:lnTo>
                  <a:lnTo>
                    <a:pt x="772" y="200"/>
                  </a:lnTo>
                  <a:lnTo>
                    <a:pt x="776" y="198"/>
                  </a:lnTo>
                  <a:lnTo>
                    <a:pt x="782" y="198"/>
                  </a:lnTo>
                  <a:lnTo>
                    <a:pt x="784" y="198"/>
                  </a:lnTo>
                  <a:lnTo>
                    <a:pt x="784" y="200"/>
                  </a:lnTo>
                  <a:lnTo>
                    <a:pt x="782" y="204"/>
                  </a:lnTo>
                  <a:lnTo>
                    <a:pt x="776" y="212"/>
                  </a:lnTo>
                  <a:lnTo>
                    <a:pt x="776" y="214"/>
                  </a:lnTo>
                  <a:lnTo>
                    <a:pt x="782" y="214"/>
                  </a:lnTo>
                  <a:lnTo>
                    <a:pt x="780" y="220"/>
                  </a:lnTo>
                  <a:lnTo>
                    <a:pt x="778" y="220"/>
                  </a:lnTo>
                  <a:lnTo>
                    <a:pt x="774" y="222"/>
                  </a:lnTo>
                  <a:lnTo>
                    <a:pt x="774" y="224"/>
                  </a:lnTo>
                  <a:lnTo>
                    <a:pt x="774" y="226"/>
                  </a:lnTo>
                  <a:lnTo>
                    <a:pt x="774" y="228"/>
                  </a:lnTo>
                  <a:lnTo>
                    <a:pt x="774" y="230"/>
                  </a:lnTo>
                  <a:lnTo>
                    <a:pt x="780" y="240"/>
                  </a:lnTo>
                  <a:lnTo>
                    <a:pt x="782" y="242"/>
                  </a:lnTo>
                  <a:lnTo>
                    <a:pt x="784" y="242"/>
                  </a:lnTo>
                  <a:lnTo>
                    <a:pt x="786" y="242"/>
                  </a:lnTo>
                  <a:lnTo>
                    <a:pt x="788" y="244"/>
                  </a:lnTo>
                  <a:lnTo>
                    <a:pt x="790" y="244"/>
                  </a:lnTo>
                  <a:lnTo>
                    <a:pt x="790" y="248"/>
                  </a:lnTo>
                  <a:lnTo>
                    <a:pt x="788" y="254"/>
                  </a:lnTo>
                  <a:lnTo>
                    <a:pt x="784" y="258"/>
                  </a:lnTo>
                  <a:lnTo>
                    <a:pt x="780" y="258"/>
                  </a:lnTo>
                  <a:lnTo>
                    <a:pt x="776" y="258"/>
                  </a:lnTo>
                  <a:lnTo>
                    <a:pt x="770" y="264"/>
                  </a:lnTo>
                  <a:lnTo>
                    <a:pt x="766" y="264"/>
                  </a:lnTo>
                  <a:lnTo>
                    <a:pt x="764" y="266"/>
                  </a:lnTo>
                  <a:lnTo>
                    <a:pt x="760" y="272"/>
                  </a:lnTo>
                  <a:lnTo>
                    <a:pt x="756" y="276"/>
                  </a:lnTo>
                  <a:lnTo>
                    <a:pt x="754" y="276"/>
                  </a:lnTo>
                  <a:lnTo>
                    <a:pt x="752" y="272"/>
                  </a:lnTo>
                  <a:lnTo>
                    <a:pt x="750" y="272"/>
                  </a:lnTo>
                  <a:lnTo>
                    <a:pt x="746" y="270"/>
                  </a:lnTo>
                  <a:lnTo>
                    <a:pt x="746" y="268"/>
                  </a:lnTo>
                  <a:lnTo>
                    <a:pt x="744" y="264"/>
                  </a:lnTo>
                  <a:lnTo>
                    <a:pt x="742" y="266"/>
                  </a:lnTo>
                  <a:lnTo>
                    <a:pt x="740" y="262"/>
                  </a:lnTo>
                  <a:lnTo>
                    <a:pt x="738" y="262"/>
                  </a:lnTo>
                  <a:lnTo>
                    <a:pt x="738" y="264"/>
                  </a:lnTo>
                  <a:lnTo>
                    <a:pt x="734" y="266"/>
                  </a:lnTo>
                  <a:lnTo>
                    <a:pt x="736" y="266"/>
                  </a:lnTo>
                  <a:lnTo>
                    <a:pt x="738" y="266"/>
                  </a:lnTo>
                  <a:lnTo>
                    <a:pt x="740" y="268"/>
                  </a:lnTo>
                  <a:lnTo>
                    <a:pt x="740" y="270"/>
                  </a:lnTo>
                  <a:lnTo>
                    <a:pt x="742" y="272"/>
                  </a:lnTo>
                  <a:lnTo>
                    <a:pt x="744" y="272"/>
                  </a:lnTo>
                  <a:lnTo>
                    <a:pt x="746" y="274"/>
                  </a:lnTo>
                  <a:lnTo>
                    <a:pt x="746" y="276"/>
                  </a:lnTo>
                  <a:lnTo>
                    <a:pt x="748" y="276"/>
                  </a:lnTo>
                  <a:lnTo>
                    <a:pt x="750" y="278"/>
                  </a:lnTo>
                  <a:lnTo>
                    <a:pt x="742" y="280"/>
                  </a:lnTo>
                  <a:lnTo>
                    <a:pt x="742" y="282"/>
                  </a:lnTo>
                  <a:lnTo>
                    <a:pt x="736" y="280"/>
                  </a:lnTo>
                  <a:lnTo>
                    <a:pt x="726" y="272"/>
                  </a:lnTo>
                  <a:lnTo>
                    <a:pt x="714" y="274"/>
                  </a:lnTo>
                  <a:lnTo>
                    <a:pt x="720" y="280"/>
                  </a:lnTo>
                  <a:lnTo>
                    <a:pt x="720" y="284"/>
                  </a:lnTo>
                  <a:lnTo>
                    <a:pt x="718" y="286"/>
                  </a:lnTo>
                  <a:lnTo>
                    <a:pt x="714" y="292"/>
                  </a:lnTo>
                  <a:lnTo>
                    <a:pt x="714" y="294"/>
                  </a:lnTo>
                  <a:lnTo>
                    <a:pt x="714" y="296"/>
                  </a:lnTo>
                  <a:lnTo>
                    <a:pt x="712" y="298"/>
                  </a:lnTo>
                  <a:lnTo>
                    <a:pt x="702" y="288"/>
                  </a:lnTo>
                  <a:lnTo>
                    <a:pt x="700" y="288"/>
                  </a:lnTo>
                  <a:lnTo>
                    <a:pt x="698" y="290"/>
                  </a:lnTo>
                  <a:lnTo>
                    <a:pt x="692" y="286"/>
                  </a:lnTo>
                  <a:lnTo>
                    <a:pt x="690" y="286"/>
                  </a:lnTo>
                  <a:lnTo>
                    <a:pt x="688" y="288"/>
                  </a:lnTo>
                  <a:lnTo>
                    <a:pt x="684" y="288"/>
                  </a:lnTo>
                  <a:lnTo>
                    <a:pt x="682" y="286"/>
                  </a:lnTo>
                  <a:lnTo>
                    <a:pt x="678" y="284"/>
                  </a:lnTo>
                  <a:lnTo>
                    <a:pt x="676" y="290"/>
                  </a:lnTo>
                  <a:lnTo>
                    <a:pt x="678" y="290"/>
                  </a:lnTo>
                  <a:lnTo>
                    <a:pt x="678" y="292"/>
                  </a:lnTo>
                  <a:lnTo>
                    <a:pt x="672" y="294"/>
                  </a:lnTo>
                  <a:lnTo>
                    <a:pt x="666" y="294"/>
                  </a:lnTo>
                  <a:lnTo>
                    <a:pt x="664" y="296"/>
                  </a:lnTo>
                  <a:lnTo>
                    <a:pt x="678" y="296"/>
                  </a:lnTo>
                  <a:lnTo>
                    <a:pt x="694" y="296"/>
                  </a:lnTo>
                  <a:lnTo>
                    <a:pt x="702" y="298"/>
                  </a:lnTo>
                  <a:lnTo>
                    <a:pt x="710" y="300"/>
                  </a:lnTo>
                  <a:lnTo>
                    <a:pt x="708" y="300"/>
                  </a:lnTo>
                  <a:lnTo>
                    <a:pt x="706" y="304"/>
                  </a:lnTo>
                  <a:lnTo>
                    <a:pt x="706" y="312"/>
                  </a:lnTo>
                  <a:lnTo>
                    <a:pt x="700" y="316"/>
                  </a:lnTo>
                  <a:lnTo>
                    <a:pt x="696" y="318"/>
                  </a:lnTo>
                  <a:lnTo>
                    <a:pt x="694" y="318"/>
                  </a:lnTo>
                  <a:lnTo>
                    <a:pt x="692" y="322"/>
                  </a:lnTo>
                  <a:lnTo>
                    <a:pt x="692" y="320"/>
                  </a:lnTo>
                  <a:lnTo>
                    <a:pt x="690" y="320"/>
                  </a:lnTo>
                  <a:lnTo>
                    <a:pt x="690" y="318"/>
                  </a:lnTo>
                  <a:lnTo>
                    <a:pt x="678" y="314"/>
                  </a:lnTo>
                  <a:lnTo>
                    <a:pt x="676" y="316"/>
                  </a:lnTo>
                  <a:lnTo>
                    <a:pt x="676" y="318"/>
                  </a:lnTo>
                  <a:lnTo>
                    <a:pt x="670" y="318"/>
                  </a:lnTo>
                  <a:lnTo>
                    <a:pt x="668" y="324"/>
                  </a:lnTo>
                  <a:lnTo>
                    <a:pt x="668" y="326"/>
                  </a:lnTo>
                  <a:lnTo>
                    <a:pt x="670" y="328"/>
                  </a:lnTo>
                  <a:lnTo>
                    <a:pt x="670" y="330"/>
                  </a:lnTo>
                  <a:lnTo>
                    <a:pt x="670" y="332"/>
                  </a:lnTo>
                  <a:lnTo>
                    <a:pt x="668" y="332"/>
                  </a:lnTo>
                  <a:lnTo>
                    <a:pt x="666" y="334"/>
                  </a:lnTo>
                  <a:lnTo>
                    <a:pt x="660" y="334"/>
                  </a:lnTo>
                  <a:lnTo>
                    <a:pt x="660" y="340"/>
                  </a:lnTo>
                  <a:lnTo>
                    <a:pt x="664" y="340"/>
                  </a:lnTo>
                  <a:lnTo>
                    <a:pt x="664" y="346"/>
                  </a:lnTo>
                  <a:lnTo>
                    <a:pt x="664" y="348"/>
                  </a:lnTo>
                  <a:lnTo>
                    <a:pt x="662" y="350"/>
                  </a:lnTo>
                  <a:lnTo>
                    <a:pt x="654" y="352"/>
                  </a:lnTo>
                  <a:lnTo>
                    <a:pt x="646" y="350"/>
                  </a:lnTo>
                  <a:lnTo>
                    <a:pt x="646" y="354"/>
                  </a:lnTo>
                  <a:lnTo>
                    <a:pt x="650" y="354"/>
                  </a:lnTo>
                  <a:lnTo>
                    <a:pt x="648" y="358"/>
                  </a:lnTo>
                  <a:lnTo>
                    <a:pt x="642" y="358"/>
                  </a:lnTo>
                  <a:lnTo>
                    <a:pt x="644" y="358"/>
                  </a:lnTo>
                  <a:lnTo>
                    <a:pt x="646" y="358"/>
                  </a:lnTo>
                  <a:lnTo>
                    <a:pt x="646" y="360"/>
                  </a:lnTo>
                  <a:lnTo>
                    <a:pt x="640" y="360"/>
                  </a:lnTo>
                  <a:lnTo>
                    <a:pt x="642" y="358"/>
                  </a:lnTo>
                  <a:lnTo>
                    <a:pt x="640" y="358"/>
                  </a:lnTo>
                  <a:lnTo>
                    <a:pt x="638" y="358"/>
                  </a:lnTo>
                  <a:lnTo>
                    <a:pt x="638" y="362"/>
                  </a:lnTo>
                  <a:lnTo>
                    <a:pt x="634" y="362"/>
                  </a:lnTo>
                  <a:lnTo>
                    <a:pt x="634" y="372"/>
                  </a:lnTo>
                  <a:lnTo>
                    <a:pt x="626" y="372"/>
                  </a:lnTo>
                  <a:lnTo>
                    <a:pt x="626" y="376"/>
                  </a:lnTo>
                  <a:lnTo>
                    <a:pt x="622" y="380"/>
                  </a:lnTo>
                  <a:lnTo>
                    <a:pt x="616" y="384"/>
                  </a:lnTo>
                  <a:lnTo>
                    <a:pt x="618" y="388"/>
                  </a:lnTo>
                  <a:lnTo>
                    <a:pt x="620" y="392"/>
                  </a:lnTo>
                  <a:lnTo>
                    <a:pt x="610" y="392"/>
                  </a:lnTo>
                  <a:lnTo>
                    <a:pt x="608" y="394"/>
                  </a:lnTo>
                  <a:lnTo>
                    <a:pt x="612" y="396"/>
                  </a:lnTo>
                  <a:lnTo>
                    <a:pt x="612" y="400"/>
                  </a:lnTo>
                  <a:lnTo>
                    <a:pt x="606" y="406"/>
                  </a:lnTo>
                  <a:lnTo>
                    <a:pt x="606" y="410"/>
                  </a:lnTo>
                  <a:lnTo>
                    <a:pt x="606" y="414"/>
                  </a:lnTo>
                  <a:lnTo>
                    <a:pt x="602" y="414"/>
                  </a:lnTo>
                  <a:lnTo>
                    <a:pt x="606" y="420"/>
                  </a:lnTo>
                  <a:lnTo>
                    <a:pt x="608" y="424"/>
                  </a:lnTo>
                  <a:lnTo>
                    <a:pt x="608" y="430"/>
                  </a:lnTo>
                  <a:lnTo>
                    <a:pt x="610" y="432"/>
                  </a:lnTo>
                  <a:lnTo>
                    <a:pt x="616" y="432"/>
                  </a:lnTo>
                  <a:lnTo>
                    <a:pt x="628" y="432"/>
                  </a:lnTo>
                  <a:lnTo>
                    <a:pt x="634" y="440"/>
                  </a:lnTo>
                  <a:lnTo>
                    <a:pt x="634" y="444"/>
                  </a:lnTo>
                  <a:lnTo>
                    <a:pt x="636" y="446"/>
                  </a:lnTo>
                  <a:lnTo>
                    <a:pt x="636" y="452"/>
                  </a:lnTo>
                  <a:lnTo>
                    <a:pt x="640" y="458"/>
                  </a:lnTo>
                  <a:lnTo>
                    <a:pt x="642" y="464"/>
                  </a:lnTo>
                  <a:lnTo>
                    <a:pt x="642" y="470"/>
                  </a:lnTo>
                  <a:lnTo>
                    <a:pt x="650" y="466"/>
                  </a:lnTo>
                  <a:lnTo>
                    <a:pt x="656" y="464"/>
                  </a:lnTo>
                  <a:lnTo>
                    <a:pt x="660" y="464"/>
                  </a:lnTo>
                  <a:lnTo>
                    <a:pt x="668" y="470"/>
                  </a:lnTo>
                  <a:lnTo>
                    <a:pt x="672" y="470"/>
                  </a:lnTo>
                  <a:lnTo>
                    <a:pt x="676" y="472"/>
                  </a:lnTo>
                  <a:lnTo>
                    <a:pt x="680" y="474"/>
                  </a:lnTo>
                  <a:lnTo>
                    <a:pt x="686" y="474"/>
                  </a:lnTo>
                  <a:lnTo>
                    <a:pt x="688" y="476"/>
                  </a:lnTo>
                  <a:lnTo>
                    <a:pt x="690" y="478"/>
                  </a:lnTo>
                  <a:lnTo>
                    <a:pt x="694" y="480"/>
                  </a:lnTo>
                  <a:lnTo>
                    <a:pt x="698" y="480"/>
                  </a:lnTo>
                  <a:lnTo>
                    <a:pt x="698" y="482"/>
                  </a:lnTo>
                  <a:lnTo>
                    <a:pt x="700" y="486"/>
                  </a:lnTo>
                  <a:lnTo>
                    <a:pt x="702" y="488"/>
                  </a:lnTo>
                  <a:lnTo>
                    <a:pt x="702" y="494"/>
                  </a:lnTo>
                  <a:lnTo>
                    <a:pt x="706" y="494"/>
                  </a:lnTo>
                  <a:lnTo>
                    <a:pt x="710" y="494"/>
                  </a:lnTo>
                  <a:lnTo>
                    <a:pt x="712" y="498"/>
                  </a:lnTo>
                  <a:lnTo>
                    <a:pt x="714" y="500"/>
                  </a:lnTo>
                  <a:lnTo>
                    <a:pt x="718" y="500"/>
                  </a:lnTo>
                  <a:lnTo>
                    <a:pt x="724" y="500"/>
                  </a:lnTo>
                  <a:lnTo>
                    <a:pt x="726" y="504"/>
                  </a:lnTo>
                  <a:lnTo>
                    <a:pt x="728" y="506"/>
                  </a:lnTo>
                  <a:lnTo>
                    <a:pt x="732" y="506"/>
                  </a:lnTo>
                  <a:lnTo>
                    <a:pt x="732" y="508"/>
                  </a:lnTo>
                  <a:lnTo>
                    <a:pt x="738" y="510"/>
                  </a:lnTo>
                  <a:lnTo>
                    <a:pt x="742" y="512"/>
                  </a:lnTo>
                  <a:lnTo>
                    <a:pt x="746" y="510"/>
                  </a:lnTo>
                  <a:lnTo>
                    <a:pt x="754" y="510"/>
                  </a:lnTo>
                  <a:lnTo>
                    <a:pt x="758" y="512"/>
                  </a:lnTo>
                  <a:lnTo>
                    <a:pt x="760" y="512"/>
                  </a:lnTo>
                  <a:lnTo>
                    <a:pt x="764" y="512"/>
                  </a:lnTo>
                  <a:lnTo>
                    <a:pt x="772" y="516"/>
                  </a:lnTo>
                  <a:lnTo>
                    <a:pt x="772" y="526"/>
                  </a:lnTo>
                  <a:lnTo>
                    <a:pt x="772" y="528"/>
                  </a:lnTo>
                  <a:lnTo>
                    <a:pt x="770" y="532"/>
                  </a:lnTo>
                  <a:lnTo>
                    <a:pt x="772" y="536"/>
                  </a:lnTo>
                  <a:lnTo>
                    <a:pt x="772" y="548"/>
                  </a:lnTo>
                  <a:lnTo>
                    <a:pt x="772" y="560"/>
                  </a:lnTo>
                  <a:lnTo>
                    <a:pt x="774" y="560"/>
                  </a:lnTo>
                  <a:lnTo>
                    <a:pt x="778" y="564"/>
                  </a:lnTo>
                  <a:lnTo>
                    <a:pt x="780" y="570"/>
                  </a:lnTo>
                  <a:lnTo>
                    <a:pt x="778" y="572"/>
                  </a:lnTo>
                  <a:lnTo>
                    <a:pt x="778" y="574"/>
                  </a:lnTo>
                  <a:lnTo>
                    <a:pt x="788" y="580"/>
                  </a:lnTo>
                  <a:lnTo>
                    <a:pt x="790" y="584"/>
                  </a:lnTo>
                  <a:lnTo>
                    <a:pt x="792" y="586"/>
                  </a:lnTo>
                  <a:lnTo>
                    <a:pt x="792" y="588"/>
                  </a:lnTo>
                  <a:lnTo>
                    <a:pt x="804" y="588"/>
                  </a:lnTo>
                  <a:lnTo>
                    <a:pt x="804" y="586"/>
                  </a:lnTo>
                  <a:lnTo>
                    <a:pt x="806" y="586"/>
                  </a:lnTo>
                  <a:lnTo>
                    <a:pt x="808" y="584"/>
                  </a:lnTo>
                  <a:lnTo>
                    <a:pt x="810" y="584"/>
                  </a:lnTo>
                  <a:lnTo>
                    <a:pt x="814" y="584"/>
                  </a:lnTo>
                  <a:lnTo>
                    <a:pt x="814" y="582"/>
                  </a:lnTo>
                  <a:lnTo>
                    <a:pt x="812" y="578"/>
                  </a:lnTo>
                  <a:lnTo>
                    <a:pt x="818" y="568"/>
                  </a:lnTo>
                  <a:lnTo>
                    <a:pt x="820" y="568"/>
                  </a:lnTo>
                  <a:lnTo>
                    <a:pt x="818" y="568"/>
                  </a:lnTo>
                  <a:lnTo>
                    <a:pt x="816" y="568"/>
                  </a:lnTo>
                  <a:lnTo>
                    <a:pt x="816" y="566"/>
                  </a:lnTo>
                  <a:lnTo>
                    <a:pt x="816" y="564"/>
                  </a:lnTo>
                  <a:lnTo>
                    <a:pt x="816" y="562"/>
                  </a:lnTo>
                  <a:lnTo>
                    <a:pt x="816" y="560"/>
                  </a:lnTo>
                  <a:lnTo>
                    <a:pt x="814" y="560"/>
                  </a:lnTo>
                  <a:lnTo>
                    <a:pt x="814" y="548"/>
                  </a:lnTo>
                  <a:lnTo>
                    <a:pt x="814" y="544"/>
                  </a:lnTo>
                  <a:lnTo>
                    <a:pt x="814" y="538"/>
                  </a:lnTo>
                  <a:lnTo>
                    <a:pt x="808" y="534"/>
                  </a:lnTo>
                  <a:lnTo>
                    <a:pt x="808" y="528"/>
                  </a:lnTo>
                  <a:lnTo>
                    <a:pt x="808" y="524"/>
                  </a:lnTo>
                  <a:lnTo>
                    <a:pt x="808" y="522"/>
                  </a:lnTo>
                  <a:lnTo>
                    <a:pt x="812" y="520"/>
                  </a:lnTo>
                  <a:lnTo>
                    <a:pt x="816" y="520"/>
                  </a:lnTo>
                  <a:lnTo>
                    <a:pt x="820" y="516"/>
                  </a:lnTo>
                  <a:lnTo>
                    <a:pt x="822" y="516"/>
                  </a:lnTo>
                  <a:lnTo>
                    <a:pt x="824" y="514"/>
                  </a:lnTo>
                  <a:lnTo>
                    <a:pt x="826" y="512"/>
                  </a:lnTo>
                  <a:lnTo>
                    <a:pt x="828" y="510"/>
                  </a:lnTo>
                  <a:lnTo>
                    <a:pt x="832" y="506"/>
                  </a:lnTo>
                  <a:lnTo>
                    <a:pt x="832" y="502"/>
                  </a:lnTo>
                  <a:lnTo>
                    <a:pt x="836" y="498"/>
                  </a:lnTo>
                  <a:lnTo>
                    <a:pt x="838" y="496"/>
                  </a:lnTo>
                  <a:lnTo>
                    <a:pt x="840" y="492"/>
                  </a:lnTo>
                  <a:lnTo>
                    <a:pt x="846" y="490"/>
                  </a:lnTo>
                  <a:lnTo>
                    <a:pt x="844" y="482"/>
                  </a:lnTo>
                  <a:lnTo>
                    <a:pt x="844" y="484"/>
                  </a:lnTo>
                  <a:lnTo>
                    <a:pt x="842" y="488"/>
                  </a:lnTo>
                  <a:lnTo>
                    <a:pt x="840" y="488"/>
                  </a:lnTo>
                  <a:lnTo>
                    <a:pt x="842" y="478"/>
                  </a:lnTo>
                  <a:lnTo>
                    <a:pt x="844" y="472"/>
                  </a:lnTo>
                  <a:lnTo>
                    <a:pt x="842" y="470"/>
                  </a:lnTo>
                  <a:lnTo>
                    <a:pt x="838" y="468"/>
                  </a:lnTo>
                  <a:lnTo>
                    <a:pt x="836" y="462"/>
                  </a:lnTo>
                  <a:lnTo>
                    <a:pt x="836" y="456"/>
                  </a:lnTo>
                  <a:lnTo>
                    <a:pt x="832" y="454"/>
                  </a:lnTo>
                  <a:lnTo>
                    <a:pt x="832" y="448"/>
                  </a:lnTo>
                  <a:lnTo>
                    <a:pt x="832" y="446"/>
                  </a:lnTo>
                  <a:lnTo>
                    <a:pt x="830" y="442"/>
                  </a:lnTo>
                  <a:lnTo>
                    <a:pt x="828" y="442"/>
                  </a:lnTo>
                  <a:lnTo>
                    <a:pt x="826" y="440"/>
                  </a:lnTo>
                  <a:lnTo>
                    <a:pt x="824" y="438"/>
                  </a:lnTo>
                  <a:lnTo>
                    <a:pt x="822" y="436"/>
                  </a:lnTo>
                  <a:lnTo>
                    <a:pt x="820" y="434"/>
                  </a:lnTo>
                  <a:lnTo>
                    <a:pt x="816" y="434"/>
                  </a:lnTo>
                  <a:lnTo>
                    <a:pt x="816" y="432"/>
                  </a:lnTo>
                  <a:lnTo>
                    <a:pt x="814" y="432"/>
                  </a:lnTo>
                  <a:lnTo>
                    <a:pt x="816" y="426"/>
                  </a:lnTo>
                  <a:lnTo>
                    <a:pt x="820" y="422"/>
                  </a:lnTo>
                  <a:lnTo>
                    <a:pt x="822" y="420"/>
                  </a:lnTo>
                  <a:lnTo>
                    <a:pt x="828" y="420"/>
                  </a:lnTo>
                  <a:lnTo>
                    <a:pt x="828" y="414"/>
                  </a:lnTo>
                  <a:lnTo>
                    <a:pt x="828" y="414"/>
                  </a:lnTo>
                  <a:lnTo>
                    <a:pt x="828" y="412"/>
                  </a:lnTo>
                  <a:lnTo>
                    <a:pt x="832" y="414"/>
                  </a:lnTo>
                  <a:lnTo>
                    <a:pt x="832" y="412"/>
                  </a:lnTo>
                  <a:lnTo>
                    <a:pt x="832" y="410"/>
                  </a:lnTo>
                  <a:lnTo>
                    <a:pt x="832" y="410"/>
                  </a:lnTo>
                  <a:lnTo>
                    <a:pt x="832" y="406"/>
                  </a:lnTo>
                  <a:lnTo>
                    <a:pt x="830" y="404"/>
                  </a:lnTo>
                  <a:lnTo>
                    <a:pt x="832" y="402"/>
                  </a:lnTo>
                  <a:lnTo>
                    <a:pt x="830" y="396"/>
                  </a:lnTo>
                  <a:lnTo>
                    <a:pt x="828" y="392"/>
                  </a:lnTo>
                  <a:lnTo>
                    <a:pt x="832" y="388"/>
                  </a:lnTo>
                  <a:lnTo>
                    <a:pt x="828" y="388"/>
                  </a:lnTo>
                  <a:lnTo>
                    <a:pt x="826" y="384"/>
                  </a:lnTo>
                  <a:lnTo>
                    <a:pt x="832" y="374"/>
                  </a:lnTo>
                  <a:lnTo>
                    <a:pt x="832" y="370"/>
                  </a:lnTo>
                  <a:lnTo>
                    <a:pt x="832" y="370"/>
                  </a:lnTo>
                  <a:lnTo>
                    <a:pt x="832" y="366"/>
                  </a:lnTo>
                  <a:lnTo>
                    <a:pt x="830" y="366"/>
                  </a:lnTo>
                  <a:lnTo>
                    <a:pt x="828" y="362"/>
                  </a:lnTo>
                  <a:lnTo>
                    <a:pt x="828" y="360"/>
                  </a:lnTo>
                  <a:lnTo>
                    <a:pt x="828" y="358"/>
                  </a:lnTo>
                  <a:lnTo>
                    <a:pt x="832" y="358"/>
                  </a:lnTo>
                  <a:lnTo>
                    <a:pt x="834" y="358"/>
                  </a:lnTo>
                  <a:lnTo>
                    <a:pt x="838" y="358"/>
                  </a:lnTo>
                  <a:lnTo>
                    <a:pt x="842" y="358"/>
                  </a:lnTo>
                  <a:lnTo>
                    <a:pt x="846" y="358"/>
                  </a:lnTo>
                  <a:lnTo>
                    <a:pt x="850" y="360"/>
                  </a:lnTo>
                  <a:lnTo>
                    <a:pt x="856" y="358"/>
                  </a:lnTo>
                  <a:lnTo>
                    <a:pt x="862" y="358"/>
                  </a:lnTo>
                  <a:lnTo>
                    <a:pt x="866" y="360"/>
                  </a:lnTo>
                  <a:lnTo>
                    <a:pt x="872" y="360"/>
                  </a:lnTo>
                  <a:lnTo>
                    <a:pt x="878" y="358"/>
                  </a:lnTo>
                  <a:lnTo>
                    <a:pt x="886" y="352"/>
                  </a:lnTo>
                  <a:lnTo>
                    <a:pt x="886" y="356"/>
                  </a:lnTo>
                  <a:lnTo>
                    <a:pt x="890" y="356"/>
                  </a:lnTo>
                  <a:lnTo>
                    <a:pt x="894" y="358"/>
                  </a:lnTo>
                  <a:lnTo>
                    <a:pt x="896" y="360"/>
                  </a:lnTo>
                  <a:lnTo>
                    <a:pt x="898" y="360"/>
                  </a:lnTo>
                  <a:lnTo>
                    <a:pt x="898" y="364"/>
                  </a:lnTo>
                  <a:lnTo>
                    <a:pt x="902" y="366"/>
                  </a:lnTo>
                  <a:lnTo>
                    <a:pt x="904" y="366"/>
                  </a:lnTo>
                  <a:lnTo>
                    <a:pt x="906" y="372"/>
                  </a:lnTo>
                  <a:lnTo>
                    <a:pt x="908" y="372"/>
                  </a:lnTo>
                  <a:lnTo>
                    <a:pt x="910" y="378"/>
                  </a:lnTo>
                  <a:lnTo>
                    <a:pt x="930" y="378"/>
                  </a:lnTo>
                  <a:lnTo>
                    <a:pt x="930" y="380"/>
                  </a:lnTo>
                  <a:lnTo>
                    <a:pt x="926" y="384"/>
                  </a:lnTo>
                  <a:lnTo>
                    <a:pt x="934" y="386"/>
                  </a:lnTo>
                  <a:lnTo>
                    <a:pt x="936" y="388"/>
                  </a:lnTo>
                  <a:lnTo>
                    <a:pt x="938" y="384"/>
                  </a:lnTo>
                  <a:lnTo>
                    <a:pt x="942" y="384"/>
                  </a:lnTo>
                  <a:lnTo>
                    <a:pt x="936" y="392"/>
                  </a:lnTo>
                  <a:lnTo>
                    <a:pt x="936" y="396"/>
                  </a:lnTo>
                  <a:lnTo>
                    <a:pt x="936" y="398"/>
                  </a:lnTo>
                  <a:lnTo>
                    <a:pt x="938" y="398"/>
                  </a:lnTo>
                  <a:lnTo>
                    <a:pt x="938" y="400"/>
                  </a:lnTo>
                  <a:lnTo>
                    <a:pt x="932" y="402"/>
                  </a:lnTo>
                  <a:lnTo>
                    <a:pt x="932" y="404"/>
                  </a:lnTo>
                  <a:lnTo>
                    <a:pt x="932" y="408"/>
                  </a:lnTo>
                  <a:lnTo>
                    <a:pt x="936" y="410"/>
                  </a:lnTo>
                  <a:lnTo>
                    <a:pt x="936" y="414"/>
                  </a:lnTo>
                  <a:lnTo>
                    <a:pt x="936" y="416"/>
                  </a:lnTo>
                  <a:lnTo>
                    <a:pt x="934" y="418"/>
                  </a:lnTo>
                  <a:lnTo>
                    <a:pt x="934" y="420"/>
                  </a:lnTo>
                  <a:lnTo>
                    <a:pt x="934" y="422"/>
                  </a:lnTo>
                  <a:lnTo>
                    <a:pt x="940" y="426"/>
                  </a:lnTo>
                  <a:lnTo>
                    <a:pt x="942" y="426"/>
                  </a:lnTo>
                  <a:lnTo>
                    <a:pt x="944" y="426"/>
                  </a:lnTo>
                  <a:lnTo>
                    <a:pt x="944" y="428"/>
                  </a:lnTo>
                  <a:lnTo>
                    <a:pt x="954" y="428"/>
                  </a:lnTo>
                  <a:lnTo>
                    <a:pt x="954" y="438"/>
                  </a:lnTo>
                  <a:lnTo>
                    <a:pt x="958" y="436"/>
                  </a:lnTo>
                  <a:lnTo>
                    <a:pt x="958" y="434"/>
                  </a:lnTo>
                  <a:lnTo>
                    <a:pt x="960" y="434"/>
                  </a:lnTo>
                  <a:lnTo>
                    <a:pt x="960" y="438"/>
                  </a:lnTo>
                  <a:lnTo>
                    <a:pt x="962" y="438"/>
                  </a:lnTo>
                  <a:lnTo>
                    <a:pt x="966" y="444"/>
                  </a:lnTo>
                  <a:lnTo>
                    <a:pt x="968" y="442"/>
                  </a:lnTo>
                  <a:lnTo>
                    <a:pt x="972" y="442"/>
                  </a:lnTo>
                  <a:lnTo>
                    <a:pt x="974" y="440"/>
                  </a:lnTo>
                  <a:lnTo>
                    <a:pt x="976" y="438"/>
                  </a:lnTo>
                  <a:lnTo>
                    <a:pt x="978" y="432"/>
                  </a:lnTo>
                  <a:lnTo>
                    <a:pt x="980" y="432"/>
                  </a:lnTo>
                  <a:lnTo>
                    <a:pt x="982" y="434"/>
                  </a:lnTo>
                  <a:lnTo>
                    <a:pt x="982" y="428"/>
                  </a:lnTo>
                  <a:lnTo>
                    <a:pt x="986" y="424"/>
                  </a:lnTo>
                  <a:lnTo>
                    <a:pt x="990" y="420"/>
                  </a:lnTo>
                  <a:lnTo>
                    <a:pt x="992" y="418"/>
                  </a:lnTo>
                  <a:lnTo>
                    <a:pt x="990" y="416"/>
                  </a:lnTo>
                  <a:lnTo>
                    <a:pt x="990" y="414"/>
                  </a:lnTo>
                  <a:lnTo>
                    <a:pt x="990" y="414"/>
                  </a:lnTo>
                  <a:lnTo>
                    <a:pt x="994" y="412"/>
                  </a:lnTo>
                  <a:lnTo>
                    <a:pt x="994" y="410"/>
                  </a:lnTo>
                  <a:lnTo>
                    <a:pt x="994" y="406"/>
                  </a:lnTo>
                  <a:lnTo>
                    <a:pt x="996" y="406"/>
                  </a:lnTo>
                  <a:lnTo>
                    <a:pt x="998" y="398"/>
                  </a:lnTo>
                  <a:lnTo>
                    <a:pt x="1004" y="398"/>
                  </a:lnTo>
                  <a:lnTo>
                    <a:pt x="1004" y="408"/>
                  </a:lnTo>
                  <a:lnTo>
                    <a:pt x="1006" y="408"/>
                  </a:lnTo>
                  <a:lnTo>
                    <a:pt x="1006" y="412"/>
                  </a:lnTo>
                  <a:lnTo>
                    <a:pt x="1004" y="414"/>
                  </a:lnTo>
                  <a:lnTo>
                    <a:pt x="1006" y="418"/>
                  </a:lnTo>
                  <a:lnTo>
                    <a:pt x="1006" y="424"/>
                  </a:lnTo>
                  <a:lnTo>
                    <a:pt x="1008" y="424"/>
                  </a:lnTo>
                  <a:lnTo>
                    <a:pt x="1008" y="428"/>
                  </a:lnTo>
                  <a:lnTo>
                    <a:pt x="1012" y="426"/>
                  </a:lnTo>
                  <a:lnTo>
                    <a:pt x="1014" y="426"/>
                  </a:lnTo>
                  <a:lnTo>
                    <a:pt x="1016" y="426"/>
                  </a:lnTo>
                  <a:lnTo>
                    <a:pt x="1016" y="430"/>
                  </a:lnTo>
                  <a:lnTo>
                    <a:pt x="1018" y="430"/>
                  </a:lnTo>
                  <a:lnTo>
                    <a:pt x="1018" y="432"/>
                  </a:lnTo>
                  <a:lnTo>
                    <a:pt x="1016" y="432"/>
                  </a:lnTo>
                  <a:lnTo>
                    <a:pt x="1016" y="434"/>
                  </a:lnTo>
                  <a:lnTo>
                    <a:pt x="1020" y="436"/>
                  </a:lnTo>
                  <a:lnTo>
                    <a:pt x="1020" y="438"/>
                  </a:lnTo>
                  <a:lnTo>
                    <a:pt x="1018" y="440"/>
                  </a:lnTo>
                  <a:lnTo>
                    <a:pt x="1014" y="442"/>
                  </a:lnTo>
                  <a:lnTo>
                    <a:pt x="1014" y="444"/>
                  </a:lnTo>
                  <a:lnTo>
                    <a:pt x="1024" y="444"/>
                  </a:lnTo>
                  <a:lnTo>
                    <a:pt x="1026" y="446"/>
                  </a:lnTo>
                  <a:lnTo>
                    <a:pt x="1022" y="452"/>
                  </a:lnTo>
                  <a:lnTo>
                    <a:pt x="1024" y="452"/>
                  </a:lnTo>
                  <a:lnTo>
                    <a:pt x="1026" y="454"/>
                  </a:lnTo>
                  <a:lnTo>
                    <a:pt x="1024" y="456"/>
                  </a:lnTo>
                  <a:lnTo>
                    <a:pt x="1028" y="456"/>
                  </a:lnTo>
                  <a:lnTo>
                    <a:pt x="1030" y="460"/>
                  </a:lnTo>
                  <a:lnTo>
                    <a:pt x="1034" y="460"/>
                  </a:lnTo>
                  <a:lnTo>
                    <a:pt x="1032" y="466"/>
                  </a:lnTo>
                  <a:lnTo>
                    <a:pt x="1028" y="470"/>
                  </a:lnTo>
                  <a:lnTo>
                    <a:pt x="1034" y="470"/>
                  </a:lnTo>
                  <a:lnTo>
                    <a:pt x="1034" y="472"/>
                  </a:lnTo>
                  <a:lnTo>
                    <a:pt x="1036" y="472"/>
                  </a:lnTo>
                  <a:lnTo>
                    <a:pt x="1040" y="472"/>
                  </a:lnTo>
                  <a:lnTo>
                    <a:pt x="1042" y="476"/>
                  </a:lnTo>
                  <a:lnTo>
                    <a:pt x="1042" y="478"/>
                  </a:lnTo>
                  <a:lnTo>
                    <a:pt x="1042" y="480"/>
                  </a:lnTo>
                  <a:lnTo>
                    <a:pt x="1040" y="480"/>
                  </a:lnTo>
                  <a:lnTo>
                    <a:pt x="1040" y="478"/>
                  </a:lnTo>
                  <a:lnTo>
                    <a:pt x="1038" y="480"/>
                  </a:lnTo>
                  <a:lnTo>
                    <a:pt x="1032" y="480"/>
                  </a:lnTo>
                  <a:lnTo>
                    <a:pt x="1028" y="480"/>
                  </a:lnTo>
                  <a:lnTo>
                    <a:pt x="1028" y="482"/>
                  </a:lnTo>
                  <a:lnTo>
                    <a:pt x="1032" y="484"/>
                  </a:lnTo>
                  <a:lnTo>
                    <a:pt x="1030" y="490"/>
                  </a:lnTo>
                  <a:lnTo>
                    <a:pt x="1034" y="488"/>
                  </a:lnTo>
                  <a:lnTo>
                    <a:pt x="1036" y="488"/>
                  </a:lnTo>
                  <a:lnTo>
                    <a:pt x="1036" y="492"/>
                  </a:lnTo>
                  <a:lnTo>
                    <a:pt x="1034" y="492"/>
                  </a:lnTo>
                  <a:lnTo>
                    <a:pt x="1038" y="492"/>
                  </a:lnTo>
                  <a:lnTo>
                    <a:pt x="1038" y="500"/>
                  </a:lnTo>
                  <a:lnTo>
                    <a:pt x="1044" y="500"/>
                  </a:lnTo>
                  <a:lnTo>
                    <a:pt x="1048" y="500"/>
                  </a:lnTo>
                  <a:lnTo>
                    <a:pt x="1052" y="504"/>
                  </a:lnTo>
                  <a:lnTo>
                    <a:pt x="1054" y="504"/>
                  </a:lnTo>
                  <a:lnTo>
                    <a:pt x="1054" y="510"/>
                  </a:lnTo>
                  <a:lnTo>
                    <a:pt x="1054" y="512"/>
                  </a:lnTo>
                  <a:lnTo>
                    <a:pt x="1054" y="516"/>
                  </a:lnTo>
                  <a:lnTo>
                    <a:pt x="1066" y="516"/>
                  </a:lnTo>
                  <a:lnTo>
                    <a:pt x="1066" y="520"/>
                  </a:lnTo>
                  <a:lnTo>
                    <a:pt x="1070" y="516"/>
                  </a:lnTo>
                  <a:lnTo>
                    <a:pt x="1070" y="518"/>
                  </a:lnTo>
                  <a:lnTo>
                    <a:pt x="1072" y="518"/>
                  </a:lnTo>
                  <a:lnTo>
                    <a:pt x="1072" y="516"/>
                  </a:lnTo>
                  <a:lnTo>
                    <a:pt x="1074" y="516"/>
                  </a:lnTo>
                  <a:lnTo>
                    <a:pt x="1074" y="522"/>
                  </a:lnTo>
                  <a:lnTo>
                    <a:pt x="1076" y="522"/>
                  </a:lnTo>
                  <a:lnTo>
                    <a:pt x="1078" y="526"/>
                  </a:lnTo>
                  <a:lnTo>
                    <a:pt x="1082" y="528"/>
                  </a:lnTo>
                  <a:lnTo>
                    <a:pt x="1084" y="524"/>
                  </a:lnTo>
                  <a:lnTo>
                    <a:pt x="1086" y="522"/>
                  </a:lnTo>
                  <a:lnTo>
                    <a:pt x="1088" y="528"/>
                  </a:lnTo>
                  <a:lnTo>
                    <a:pt x="1090" y="528"/>
                  </a:lnTo>
                  <a:lnTo>
                    <a:pt x="1094" y="528"/>
                  </a:lnTo>
                  <a:lnTo>
                    <a:pt x="1090" y="530"/>
                  </a:lnTo>
                  <a:lnTo>
                    <a:pt x="1088" y="534"/>
                  </a:lnTo>
                  <a:lnTo>
                    <a:pt x="1084" y="534"/>
                  </a:lnTo>
                  <a:lnTo>
                    <a:pt x="1082" y="536"/>
                  </a:lnTo>
                  <a:lnTo>
                    <a:pt x="1078" y="536"/>
                  </a:lnTo>
                  <a:lnTo>
                    <a:pt x="1078" y="536"/>
                  </a:lnTo>
                  <a:lnTo>
                    <a:pt x="1076" y="540"/>
                  </a:lnTo>
                  <a:lnTo>
                    <a:pt x="1072" y="540"/>
                  </a:lnTo>
                  <a:lnTo>
                    <a:pt x="1064" y="546"/>
                  </a:lnTo>
                  <a:lnTo>
                    <a:pt x="1054" y="546"/>
                  </a:lnTo>
                  <a:lnTo>
                    <a:pt x="1056" y="556"/>
                  </a:lnTo>
                  <a:lnTo>
                    <a:pt x="1060" y="556"/>
                  </a:lnTo>
                  <a:lnTo>
                    <a:pt x="1060" y="552"/>
                  </a:lnTo>
                  <a:lnTo>
                    <a:pt x="1062" y="550"/>
                  </a:lnTo>
                  <a:lnTo>
                    <a:pt x="1064" y="550"/>
                  </a:lnTo>
                  <a:lnTo>
                    <a:pt x="1068" y="548"/>
                  </a:lnTo>
                  <a:lnTo>
                    <a:pt x="1074" y="544"/>
                  </a:lnTo>
                  <a:lnTo>
                    <a:pt x="1078" y="540"/>
                  </a:lnTo>
                  <a:lnTo>
                    <a:pt x="1082" y="540"/>
                  </a:lnTo>
                  <a:lnTo>
                    <a:pt x="1086" y="540"/>
                  </a:lnTo>
                  <a:lnTo>
                    <a:pt x="1086" y="536"/>
                  </a:lnTo>
                  <a:lnTo>
                    <a:pt x="1090" y="536"/>
                  </a:lnTo>
                  <a:lnTo>
                    <a:pt x="1096" y="536"/>
                  </a:lnTo>
                  <a:lnTo>
                    <a:pt x="1098" y="540"/>
                  </a:lnTo>
                  <a:lnTo>
                    <a:pt x="1106" y="544"/>
                  </a:lnTo>
                  <a:lnTo>
                    <a:pt x="1106" y="548"/>
                  </a:lnTo>
                  <a:lnTo>
                    <a:pt x="1108" y="548"/>
                  </a:lnTo>
                  <a:lnTo>
                    <a:pt x="1108" y="546"/>
                  </a:lnTo>
                  <a:lnTo>
                    <a:pt x="1112" y="544"/>
                  </a:lnTo>
                  <a:lnTo>
                    <a:pt x="1112" y="546"/>
                  </a:lnTo>
                  <a:lnTo>
                    <a:pt x="1114" y="546"/>
                  </a:lnTo>
                  <a:lnTo>
                    <a:pt x="1114" y="552"/>
                  </a:lnTo>
                  <a:lnTo>
                    <a:pt x="1114" y="554"/>
                  </a:lnTo>
                  <a:lnTo>
                    <a:pt x="1112" y="556"/>
                  </a:lnTo>
                  <a:lnTo>
                    <a:pt x="1112" y="558"/>
                  </a:lnTo>
                  <a:lnTo>
                    <a:pt x="1114" y="558"/>
                  </a:lnTo>
                  <a:lnTo>
                    <a:pt x="1112" y="558"/>
                  </a:lnTo>
                  <a:lnTo>
                    <a:pt x="1114" y="562"/>
                  </a:lnTo>
                  <a:lnTo>
                    <a:pt x="1112" y="568"/>
                  </a:lnTo>
                  <a:lnTo>
                    <a:pt x="1110" y="568"/>
                  </a:lnTo>
                  <a:lnTo>
                    <a:pt x="1110" y="570"/>
                  </a:lnTo>
                  <a:lnTo>
                    <a:pt x="1108" y="570"/>
                  </a:lnTo>
                  <a:lnTo>
                    <a:pt x="1106" y="574"/>
                  </a:lnTo>
                  <a:lnTo>
                    <a:pt x="1102" y="574"/>
                  </a:lnTo>
                  <a:lnTo>
                    <a:pt x="1098" y="578"/>
                  </a:lnTo>
                  <a:lnTo>
                    <a:pt x="1096" y="578"/>
                  </a:lnTo>
                  <a:lnTo>
                    <a:pt x="1094" y="578"/>
                  </a:lnTo>
                  <a:lnTo>
                    <a:pt x="1090" y="578"/>
                  </a:lnTo>
                  <a:lnTo>
                    <a:pt x="1088" y="580"/>
                  </a:lnTo>
                  <a:lnTo>
                    <a:pt x="1086" y="582"/>
                  </a:lnTo>
                  <a:lnTo>
                    <a:pt x="1082" y="580"/>
                  </a:lnTo>
                  <a:lnTo>
                    <a:pt x="1080" y="580"/>
                  </a:lnTo>
                  <a:lnTo>
                    <a:pt x="1080" y="582"/>
                  </a:lnTo>
                  <a:lnTo>
                    <a:pt x="1078" y="584"/>
                  </a:lnTo>
                  <a:lnTo>
                    <a:pt x="1078" y="586"/>
                  </a:lnTo>
                  <a:lnTo>
                    <a:pt x="1074" y="590"/>
                  </a:lnTo>
                  <a:lnTo>
                    <a:pt x="1074" y="592"/>
                  </a:lnTo>
                  <a:lnTo>
                    <a:pt x="1074" y="594"/>
                  </a:lnTo>
                  <a:lnTo>
                    <a:pt x="1072" y="596"/>
                  </a:lnTo>
                  <a:lnTo>
                    <a:pt x="1070" y="598"/>
                  </a:lnTo>
                  <a:lnTo>
                    <a:pt x="1066" y="598"/>
                  </a:lnTo>
                  <a:lnTo>
                    <a:pt x="1066" y="602"/>
                  </a:lnTo>
                  <a:lnTo>
                    <a:pt x="1064" y="604"/>
                  </a:lnTo>
                  <a:lnTo>
                    <a:pt x="1056" y="604"/>
                  </a:lnTo>
                  <a:lnTo>
                    <a:pt x="1054" y="608"/>
                  </a:lnTo>
                  <a:lnTo>
                    <a:pt x="1052" y="608"/>
                  </a:lnTo>
                  <a:lnTo>
                    <a:pt x="1050" y="608"/>
                  </a:lnTo>
                  <a:lnTo>
                    <a:pt x="1048" y="606"/>
                  </a:lnTo>
                  <a:lnTo>
                    <a:pt x="1044" y="606"/>
                  </a:lnTo>
                  <a:lnTo>
                    <a:pt x="1044" y="608"/>
                  </a:lnTo>
                  <a:lnTo>
                    <a:pt x="1044" y="610"/>
                  </a:lnTo>
                  <a:lnTo>
                    <a:pt x="1042" y="610"/>
                  </a:lnTo>
                  <a:lnTo>
                    <a:pt x="1042" y="608"/>
                  </a:lnTo>
                  <a:lnTo>
                    <a:pt x="1038" y="610"/>
                  </a:lnTo>
                  <a:lnTo>
                    <a:pt x="1036" y="604"/>
                  </a:lnTo>
                  <a:lnTo>
                    <a:pt x="1030" y="606"/>
                  </a:lnTo>
                  <a:lnTo>
                    <a:pt x="1026" y="606"/>
                  </a:lnTo>
                  <a:lnTo>
                    <a:pt x="1024" y="606"/>
                  </a:lnTo>
                  <a:lnTo>
                    <a:pt x="1018" y="604"/>
                  </a:lnTo>
                  <a:lnTo>
                    <a:pt x="1016" y="608"/>
                  </a:lnTo>
                  <a:lnTo>
                    <a:pt x="1014" y="608"/>
                  </a:lnTo>
                  <a:lnTo>
                    <a:pt x="1010" y="606"/>
                  </a:lnTo>
                  <a:lnTo>
                    <a:pt x="1008" y="608"/>
                  </a:lnTo>
                  <a:lnTo>
                    <a:pt x="1004" y="608"/>
                  </a:lnTo>
                  <a:lnTo>
                    <a:pt x="1002" y="608"/>
                  </a:lnTo>
                  <a:lnTo>
                    <a:pt x="1000" y="606"/>
                  </a:lnTo>
                  <a:lnTo>
                    <a:pt x="998" y="608"/>
                  </a:lnTo>
                  <a:lnTo>
                    <a:pt x="988" y="608"/>
                  </a:lnTo>
                  <a:lnTo>
                    <a:pt x="974" y="606"/>
                  </a:lnTo>
                  <a:lnTo>
                    <a:pt x="974" y="608"/>
                  </a:lnTo>
                  <a:lnTo>
                    <a:pt x="970" y="612"/>
                  </a:lnTo>
                  <a:lnTo>
                    <a:pt x="968" y="610"/>
                  </a:lnTo>
                  <a:lnTo>
                    <a:pt x="968" y="612"/>
                  </a:lnTo>
                  <a:lnTo>
                    <a:pt x="966" y="612"/>
                  </a:lnTo>
                  <a:lnTo>
                    <a:pt x="966" y="616"/>
                  </a:lnTo>
                  <a:lnTo>
                    <a:pt x="964" y="622"/>
                  </a:lnTo>
                  <a:lnTo>
                    <a:pt x="960" y="624"/>
                  </a:lnTo>
                  <a:lnTo>
                    <a:pt x="958" y="624"/>
                  </a:lnTo>
                  <a:lnTo>
                    <a:pt x="956" y="626"/>
                  </a:lnTo>
                  <a:lnTo>
                    <a:pt x="956" y="628"/>
                  </a:lnTo>
                  <a:lnTo>
                    <a:pt x="954" y="630"/>
                  </a:lnTo>
                  <a:lnTo>
                    <a:pt x="954" y="630"/>
                  </a:lnTo>
                  <a:lnTo>
                    <a:pt x="952" y="632"/>
                  </a:lnTo>
                  <a:lnTo>
                    <a:pt x="952" y="634"/>
                  </a:lnTo>
                  <a:lnTo>
                    <a:pt x="950" y="636"/>
                  </a:lnTo>
                  <a:lnTo>
                    <a:pt x="946" y="636"/>
                  </a:lnTo>
                  <a:lnTo>
                    <a:pt x="944" y="638"/>
                  </a:lnTo>
                  <a:lnTo>
                    <a:pt x="942" y="640"/>
                  </a:lnTo>
                  <a:lnTo>
                    <a:pt x="938" y="644"/>
                  </a:lnTo>
                  <a:lnTo>
                    <a:pt x="938" y="644"/>
                  </a:lnTo>
                  <a:lnTo>
                    <a:pt x="936" y="646"/>
                  </a:lnTo>
                  <a:lnTo>
                    <a:pt x="930" y="646"/>
                  </a:lnTo>
                  <a:lnTo>
                    <a:pt x="934" y="648"/>
                  </a:lnTo>
                  <a:lnTo>
                    <a:pt x="930" y="660"/>
                  </a:lnTo>
                  <a:lnTo>
                    <a:pt x="924" y="670"/>
                  </a:lnTo>
                  <a:lnTo>
                    <a:pt x="926" y="670"/>
                  </a:lnTo>
                  <a:lnTo>
                    <a:pt x="926" y="668"/>
                  </a:lnTo>
                  <a:lnTo>
                    <a:pt x="928" y="668"/>
                  </a:lnTo>
                  <a:lnTo>
                    <a:pt x="934" y="660"/>
                  </a:lnTo>
                  <a:lnTo>
                    <a:pt x="934" y="656"/>
                  </a:lnTo>
                  <a:lnTo>
                    <a:pt x="936" y="654"/>
                  </a:lnTo>
                  <a:lnTo>
                    <a:pt x="940" y="652"/>
                  </a:lnTo>
                  <a:lnTo>
                    <a:pt x="944" y="652"/>
                  </a:lnTo>
                  <a:lnTo>
                    <a:pt x="944" y="648"/>
                  </a:lnTo>
                  <a:lnTo>
                    <a:pt x="944" y="646"/>
                  </a:lnTo>
                  <a:lnTo>
                    <a:pt x="948" y="644"/>
                  </a:lnTo>
                  <a:lnTo>
                    <a:pt x="954" y="644"/>
                  </a:lnTo>
                  <a:lnTo>
                    <a:pt x="956" y="638"/>
                  </a:lnTo>
                  <a:lnTo>
                    <a:pt x="958" y="638"/>
                  </a:lnTo>
                  <a:lnTo>
                    <a:pt x="960" y="634"/>
                  </a:lnTo>
                  <a:lnTo>
                    <a:pt x="966" y="634"/>
                  </a:lnTo>
                  <a:lnTo>
                    <a:pt x="968" y="630"/>
                  </a:lnTo>
                  <a:lnTo>
                    <a:pt x="974" y="628"/>
                  </a:lnTo>
                  <a:lnTo>
                    <a:pt x="982" y="626"/>
                  </a:lnTo>
                  <a:lnTo>
                    <a:pt x="986" y="624"/>
                  </a:lnTo>
                  <a:lnTo>
                    <a:pt x="988" y="624"/>
                  </a:lnTo>
                  <a:lnTo>
                    <a:pt x="988" y="626"/>
                  </a:lnTo>
                  <a:lnTo>
                    <a:pt x="994" y="626"/>
                  </a:lnTo>
                  <a:lnTo>
                    <a:pt x="1000" y="626"/>
                  </a:lnTo>
                  <a:lnTo>
                    <a:pt x="1002" y="626"/>
                  </a:lnTo>
                  <a:lnTo>
                    <a:pt x="1002" y="628"/>
                  </a:lnTo>
                  <a:lnTo>
                    <a:pt x="1004" y="630"/>
                  </a:lnTo>
                  <a:lnTo>
                    <a:pt x="1006" y="632"/>
                  </a:lnTo>
                  <a:lnTo>
                    <a:pt x="1006" y="636"/>
                  </a:lnTo>
                  <a:lnTo>
                    <a:pt x="1002" y="634"/>
                  </a:lnTo>
                  <a:lnTo>
                    <a:pt x="1004" y="640"/>
                  </a:lnTo>
                  <a:lnTo>
                    <a:pt x="1002" y="644"/>
                  </a:lnTo>
                  <a:lnTo>
                    <a:pt x="996" y="644"/>
                  </a:lnTo>
                  <a:lnTo>
                    <a:pt x="996" y="652"/>
                  </a:lnTo>
                  <a:lnTo>
                    <a:pt x="990" y="652"/>
                  </a:lnTo>
                  <a:lnTo>
                    <a:pt x="990" y="654"/>
                  </a:lnTo>
                  <a:lnTo>
                    <a:pt x="986" y="654"/>
                  </a:lnTo>
                  <a:lnTo>
                    <a:pt x="986" y="650"/>
                  </a:lnTo>
                  <a:lnTo>
                    <a:pt x="986" y="648"/>
                  </a:lnTo>
                  <a:lnTo>
                    <a:pt x="982" y="646"/>
                  </a:lnTo>
                  <a:lnTo>
                    <a:pt x="982" y="648"/>
                  </a:lnTo>
                  <a:lnTo>
                    <a:pt x="980" y="650"/>
                  </a:lnTo>
                  <a:lnTo>
                    <a:pt x="980" y="652"/>
                  </a:lnTo>
                  <a:lnTo>
                    <a:pt x="984" y="654"/>
                  </a:lnTo>
                  <a:lnTo>
                    <a:pt x="984" y="656"/>
                  </a:lnTo>
                  <a:lnTo>
                    <a:pt x="982" y="656"/>
                  </a:lnTo>
                  <a:lnTo>
                    <a:pt x="982" y="658"/>
                  </a:lnTo>
                  <a:lnTo>
                    <a:pt x="984" y="660"/>
                  </a:lnTo>
                  <a:lnTo>
                    <a:pt x="988" y="660"/>
                  </a:lnTo>
                  <a:lnTo>
                    <a:pt x="992" y="656"/>
                  </a:lnTo>
                  <a:lnTo>
                    <a:pt x="996" y="656"/>
                  </a:lnTo>
                  <a:lnTo>
                    <a:pt x="1000" y="656"/>
                  </a:lnTo>
                  <a:lnTo>
                    <a:pt x="1000" y="658"/>
                  </a:lnTo>
                  <a:lnTo>
                    <a:pt x="1000" y="660"/>
                  </a:lnTo>
                  <a:lnTo>
                    <a:pt x="998" y="662"/>
                  </a:lnTo>
                  <a:lnTo>
                    <a:pt x="998" y="666"/>
                  </a:lnTo>
                  <a:lnTo>
                    <a:pt x="998" y="668"/>
                  </a:lnTo>
                  <a:lnTo>
                    <a:pt x="996" y="668"/>
                  </a:lnTo>
                  <a:lnTo>
                    <a:pt x="994" y="672"/>
                  </a:lnTo>
                  <a:lnTo>
                    <a:pt x="992" y="672"/>
                  </a:lnTo>
                  <a:lnTo>
                    <a:pt x="994" y="672"/>
                  </a:lnTo>
                  <a:lnTo>
                    <a:pt x="996" y="674"/>
                  </a:lnTo>
                  <a:lnTo>
                    <a:pt x="1002" y="672"/>
                  </a:lnTo>
                  <a:lnTo>
                    <a:pt x="1002" y="676"/>
                  </a:lnTo>
                  <a:lnTo>
                    <a:pt x="1000" y="676"/>
                  </a:lnTo>
                  <a:lnTo>
                    <a:pt x="1000" y="686"/>
                  </a:lnTo>
                  <a:lnTo>
                    <a:pt x="1002" y="686"/>
                  </a:lnTo>
                  <a:lnTo>
                    <a:pt x="1002" y="690"/>
                  </a:lnTo>
                  <a:lnTo>
                    <a:pt x="1014" y="692"/>
                  </a:lnTo>
                  <a:lnTo>
                    <a:pt x="1012" y="694"/>
                  </a:lnTo>
                  <a:lnTo>
                    <a:pt x="1008" y="696"/>
                  </a:lnTo>
                  <a:lnTo>
                    <a:pt x="1010" y="698"/>
                  </a:lnTo>
                  <a:lnTo>
                    <a:pt x="1012" y="698"/>
                  </a:lnTo>
                  <a:lnTo>
                    <a:pt x="1012" y="696"/>
                  </a:lnTo>
                  <a:lnTo>
                    <a:pt x="1014" y="696"/>
                  </a:lnTo>
                  <a:lnTo>
                    <a:pt x="1018" y="700"/>
                  </a:lnTo>
                  <a:lnTo>
                    <a:pt x="1022" y="700"/>
                  </a:lnTo>
                  <a:lnTo>
                    <a:pt x="1022" y="702"/>
                  </a:lnTo>
                  <a:lnTo>
                    <a:pt x="1026" y="702"/>
                  </a:lnTo>
                  <a:lnTo>
                    <a:pt x="1030" y="700"/>
                  </a:lnTo>
                  <a:lnTo>
                    <a:pt x="1034" y="696"/>
                  </a:lnTo>
                  <a:lnTo>
                    <a:pt x="1036" y="696"/>
                  </a:lnTo>
                  <a:lnTo>
                    <a:pt x="1036" y="702"/>
                  </a:lnTo>
                  <a:lnTo>
                    <a:pt x="1040" y="702"/>
                  </a:lnTo>
                  <a:lnTo>
                    <a:pt x="1040" y="704"/>
                  </a:lnTo>
                  <a:lnTo>
                    <a:pt x="1040" y="704"/>
                  </a:lnTo>
                  <a:close/>
                  <a:moveTo>
                    <a:pt x="1168" y="654"/>
                  </a:moveTo>
                  <a:lnTo>
                    <a:pt x="1168" y="654"/>
                  </a:lnTo>
                  <a:lnTo>
                    <a:pt x="1168" y="658"/>
                  </a:lnTo>
                  <a:lnTo>
                    <a:pt x="1164" y="658"/>
                  </a:lnTo>
                  <a:lnTo>
                    <a:pt x="1162" y="656"/>
                  </a:lnTo>
                  <a:lnTo>
                    <a:pt x="1162" y="652"/>
                  </a:lnTo>
                  <a:lnTo>
                    <a:pt x="1168" y="646"/>
                  </a:lnTo>
                  <a:lnTo>
                    <a:pt x="1168" y="644"/>
                  </a:lnTo>
                  <a:lnTo>
                    <a:pt x="1164" y="644"/>
                  </a:lnTo>
                  <a:lnTo>
                    <a:pt x="1164" y="646"/>
                  </a:lnTo>
                  <a:lnTo>
                    <a:pt x="1162" y="648"/>
                  </a:lnTo>
                  <a:lnTo>
                    <a:pt x="1160" y="652"/>
                  </a:lnTo>
                  <a:lnTo>
                    <a:pt x="1160" y="656"/>
                  </a:lnTo>
                  <a:lnTo>
                    <a:pt x="1154" y="656"/>
                  </a:lnTo>
                  <a:lnTo>
                    <a:pt x="1154" y="652"/>
                  </a:lnTo>
                  <a:lnTo>
                    <a:pt x="1158" y="652"/>
                  </a:lnTo>
                  <a:lnTo>
                    <a:pt x="1158" y="648"/>
                  </a:lnTo>
                  <a:lnTo>
                    <a:pt x="1154" y="646"/>
                  </a:lnTo>
                  <a:lnTo>
                    <a:pt x="1154" y="644"/>
                  </a:lnTo>
                  <a:lnTo>
                    <a:pt x="1158" y="644"/>
                  </a:lnTo>
                  <a:lnTo>
                    <a:pt x="1158" y="640"/>
                  </a:lnTo>
                  <a:lnTo>
                    <a:pt x="1160" y="636"/>
                  </a:lnTo>
                  <a:lnTo>
                    <a:pt x="1156" y="638"/>
                  </a:lnTo>
                  <a:lnTo>
                    <a:pt x="1156" y="640"/>
                  </a:lnTo>
                  <a:lnTo>
                    <a:pt x="1152" y="640"/>
                  </a:lnTo>
                  <a:lnTo>
                    <a:pt x="1148" y="642"/>
                  </a:lnTo>
                  <a:lnTo>
                    <a:pt x="1146" y="642"/>
                  </a:lnTo>
                  <a:lnTo>
                    <a:pt x="1144" y="642"/>
                  </a:lnTo>
                  <a:lnTo>
                    <a:pt x="1148" y="634"/>
                  </a:lnTo>
                  <a:lnTo>
                    <a:pt x="1146" y="636"/>
                  </a:lnTo>
                  <a:lnTo>
                    <a:pt x="1142" y="636"/>
                  </a:lnTo>
                  <a:lnTo>
                    <a:pt x="1144" y="634"/>
                  </a:lnTo>
                  <a:lnTo>
                    <a:pt x="1140" y="632"/>
                  </a:lnTo>
                  <a:lnTo>
                    <a:pt x="1142" y="630"/>
                  </a:lnTo>
                  <a:lnTo>
                    <a:pt x="1146" y="624"/>
                  </a:lnTo>
                  <a:lnTo>
                    <a:pt x="1142" y="620"/>
                  </a:lnTo>
                  <a:lnTo>
                    <a:pt x="1140" y="620"/>
                  </a:lnTo>
                  <a:lnTo>
                    <a:pt x="1138" y="622"/>
                  </a:lnTo>
                  <a:lnTo>
                    <a:pt x="1138" y="622"/>
                  </a:lnTo>
                  <a:lnTo>
                    <a:pt x="1136" y="622"/>
                  </a:lnTo>
                  <a:lnTo>
                    <a:pt x="1134" y="618"/>
                  </a:lnTo>
                  <a:lnTo>
                    <a:pt x="1132" y="620"/>
                  </a:lnTo>
                  <a:lnTo>
                    <a:pt x="1126" y="622"/>
                  </a:lnTo>
                  <a:lnTo>
                    <a:pt x="1126" y="624"/>
                  </a:lnTo>
                  <a:lnTo>
                    <a:pt x="1126" y="626"/>
                  </a:lnTo>
                  <a:lnTo>
                    <a:pt x="1124" y="624"/>
                  </a:lnTo>
                  <a:lnTo>
                    <a:pt x="1124" y="622"/>
                  </a:lnTo>
                  <a:lnTo>
                    <a:pt x="1118" y="624"/>
                  </a:lnTo>
                  <a:lnTo>
                    <a:pt x="1120" y="622"/>
                  </a:lnTo>
                  <a:lnTo>
                    <a:pt x="1120" y="620"/>
                  </a:lnTo>
                  <a:lnTo>
                    <a:pt x="1112" y="622"/>
                  </a:lnTo>
                  <a:lnTo>
                    <a:pt x="1118" y="618"/>
                  </a:lnTo>
                  <a:lnTo>
                    <a:pt x="1118" y="614"/>
                  </a:lnTo>
                  <a:lnTo>
                    <a:pt x="1116" y="612"/>
                  </a:lnTo>
                  <a:lnTo>
                    <a:pt x="1110" y="610"/>
                  </a:lnTo>
                  <a:lnTo>
                    <a:pt x="1110" y="612"/>
                  </a:lnTo>
                  <a:lnTo>
                    <a:pt x="1108" y="612"/>
                  </a:lnTo>
                  <a:lnTo>
                    <a:pt x="1102" y="622"/>
                  </a:lnTo>
                  <a:lnTo>
                    <a:pt x="1104" y="616"/>
                  </a:lnTo>
                  <a:lnTo>
                    <a:pt x="1102" y="616"/>
                  </a:lnTo>
                  <a:lnTo>
                    <a:pt x="1102" y="614"/>
                  </a:lnTo>
                  <a:lnTo>
                    <a:pt x="1102" y="612"/>
                  </a:lnTo>
                  <a:lnTo>
                    <a:pt x="1102" y="610"/>
                  </a:lnTo>
                  <a:lnTo>
                    <a:pt x="1104" y="606"/>
                  </a:lnTo>
                  <a:lnTo>
                    <a:pt x="1106" y="604"/>
                  </a:lnTo>
                  <a:lnTo>
                    <a:pt x="1106" y="594"/>
                  </a:lnTo>
                  <a:lnTo>
                    <a:pt x="1108" y="594"/>
                  </a:lnTo>
                  <a:lnTo>
                    <a:pt x="1112" y="594"/>
                  </a:lnTo>
                  <a:lnTo>
                    <a:pt x="1114" y="590"/>
                  </a:lnTo>
                  <a:lnTo>
                    <a:pt x="1114" y="588"/>
                  </a:lnTo>
                  <a:lnTo>
                    <a:pt x="1110" y="588"/>
                  </a:lnTo>
                  <a:lnTo>
                    <a:pt x="1110" y="586"/>
                  </a:lnTo>
                  <a:lnTo>
                    <a:pt x="1114" y="586"/>
                  </a:lnTo>
                  <a:lnTo>
                    <a:pt x="1114" y="586"/>
                  </a:lnTo>
                  <a:lnTo>
                    <a:pt x="1118" y="586"/>
                  </a:lnTo>
                  <a:lnTo>
                    <a:pt x="1118" y="582"/>
                  </a:lnTo>
                  <a:lnTo>
                    <a:pt x="1112" y="584"/>
                  </a:lnTo>
                  <a:lnTo>
                    <a:pt x="1108" y="582"/>
                  </a:lnTo>
                  <a:lnTo>
                    <a:pt x="1102" y="584"/>
                  </a:lnTo>
                  <a:lnTo>
                    <a:pt x="1098" y="588"/>
                  </a:lnTo>
                  <a:lnTo>
                    <a:pt x="1100" y="592"/>
                  </a:lnTo>
                  <a:lnTo>
                    <a:pt x="1096" y="592"/>
                  </a:lnTo>
                  <a:lnTo>
                    <a:pt x="1094" y="594"/>
                  </a:lnTo>
                  <a:lnTo>
                    <a:pt x="1094" y="602"/>
                  </a:lnTo>
                  <a:lnTo>
                    <a:pt x="1092" y="604"/>
                  </a:lnTo>
                  <a:lnTo>
                    <a:pt x="1092" y="612"/>
                  </a:lnTo>
                  <a:lnTo>
                    <a:pt x="1092" y="614"/>
                  </a:lnTo>
                  <a:lnTo>
                    <a:pt x="1092" y="618"/>
                  </a:lnTo>
                  <a:lnTo>
                    <a:pt x="1088" y="622"/>
                  </a:lnTo>
                  <a:lnTo>
                    <a:pt x="1088" y="624"/>
                  </a:lnTo>
                  <a:lnTo>
                    <a:pt x="1094" y="624"/>
                  </a:lnTo>
                  <a:lnTo>
                    <a:pt x="1092" y="628"/>
                  </a:lnTo>
                  <a:lnTo>
                    <a:pt x="1092" y="630"/>
                  </a:lnTo>
                  <a:lnTo>
                    <a:pt x="1090" y="630"/>
                  </a:lnTo>
                  <a:lnTo>
                    <a:pt x="1088" y="628"/>
                  </a:lnTo>
                  <a:lnTo>
                    <a:pt x="1086" y="628"/>
                  </a:lnTo>
                  <a:lnTo>
                    <a:pt x="1084" y="628"/>
                  </a:lnTo>
                  <a:lnTo>
                    <a:pt x="1084" y="630"/>
                  </a:lnTo>
                  <a:lnTo>
                    <a:pt x="1082" y="630"/>
                  </a:lnTo>
                  <a:lnTo>
                    <a:pt x="1082" y="632"/>
                  </a:lnTo>
                  <a:lnTo>
                    <a:pt x="1084" y="632"/>
                  </a:lnTo>
                  <a:lnTo>
                    <a:pt x="1084" y="634"/>
                  </a:lnTo>
                  <a:lnTo>
                    <a:pt x="1080" y="634"/>
                  </a:lnTo>
                  <a:lnTo>
                    <a:pt x="1078" y="634"/>
                  </a:lnTo>
                  <a:lnTo>
                    <a:pt x="1078" y="638"/>
                  </a:lnTo>
                  <a:lnTo>
                    <a:pt x="1078" y="638"/>
                  </a:lnTo>
                  <a:lnTo>
                    <a:pt x="1078" y="636"/>
                  </a:lnTo>
                  <a:lnTo>
                    <a:pt x="1086" y="638"/>
                  </a:lnTo>
                  <a:lnTo>
                    <a:pt x="1084" y="640"/>
                  </a:lnTo>
                  <a:lnTo>
                    <a:pt x="1084" y="638"/>
                  </a:lnTo>
                  <a:lnTo>
                    <a:pt x="1080" y="640"/>
                  </a:lnTo>
                  <a:lnTo>
                    <a:pt x="1080" y="644"/>
                  </a:lnTo>
                  <a:lnTo>
                    <a:pt x="1076" y="646"/>
                  </a:lnTo>
                  <a:lnTo>
                    <a:pt x="1074" y="648"/>
                  </a:lnTo>
                  <a:lnTo>
                    <a:pt x="1076" y="654"/>
                  </a:lnTo>
                  <a:lnTo>
                    <a:pt x="1080" y="654"/>
                  </a:lnTo>
                  <a:lnTo>
                    <a:pt x="1082" y="652"/>
                  </a:lnTo>
                  <a:lnTo>
                    <a:pt x="1096" y="652"/>
                  </a:lnTo>
                  <a:lnTo>
                    <a:pt x="1104" y="652"/>
                  </a:lnTo>
                  <a:lnTo>
                    <a:pt x="1104" y="654"/>
                  </a:lnTo>
                  <a:lnTo>
                    <a:pt x="1106" y="654"/>
                  </a:lnTo>
                  <a:lnTo>
                    <a:pt x="1110" y="652"/>
                  </a:lnTo>
                  <a:lnTo>
                    <a:pt x="1112" y="650"/>
                  </a:lnTo>
                  <a:lnTo>
                    <a:pt x="1112" y="654"/>
                  </a:lnTo>
                  <a:lnTo>
                    <a:pt x="1132" y="650"/>
                  </a:lnTo>
                  <a:lnTo>
                    <a:pt x="1130" y="656"/>
                  </a:lnTo>
                  <a:lnTo>
                    <a:pt x="1136" y="656"/>
                  </a:lnTo>
                  <a:lnTo>
                    <a:pt x="1138" y="650"/>
                  </a:lnTo>
                  <a:lnTo>
                    <a:pt x="1140" y="650"/>
                  </a:lnTo>
                  <a:lnTo>
                    <a:pt x="1138" y="654"/>
                  </a:lnTo>
                  <a:lnTo>
                    <a:pt x="1138" y="656"/>
                  </a:lnTo>
                  <a:lnTo>
                    <a:pt x="1136" y="658"/>
                  </a:lnTo>
                  <a:lnTo>
                    <a:pt x="1134" y="662"/>
                  </a:lnTo>
                  <a:lnTo>
                    <a:pt x="1130" y="664"/>
                  </a:lnTo>
                  <a:lnTo>
                    <a:pt x="1130" y="668"/>
                  </a:lnTo>
                  <a:lnTo>
                    <a:pt x="1134" y="668"/>
                  </a:lnTo>
                  <a:lnTo>
                    <a:pt x="1138" y="664"/>
                  </a:lnTo>
                  <a:lnTo>
                    <a:pt x="1138" y="660"/>
                  </a:lnTo>
                  <a:lnTo>
                    <a:pt x="1138" y="658"/>
                  </a:lnTo>
                  <a:lnTo>
                    <a:pt x="1140" y="656"/>
                  </a:lnTo>
                  <a:lnTo>
                    <a:pt x="1144" y="656"/>
                  </a:lnTo>
                  <a:lnTo>
                    <a:pt x="1146" y="650"/>
                  </a:lnTo>
                  <a:lnTo>
                    <a:pt x="1150" y="650"/>
                  </a:lnTo>
                  <a:lnTo>
                    <a:pt x="1150" y="654"/>
                  </a:lnTo>
                  <a:lnTo>
                    <a:pt x="1154" y="656"/>
                  </a:lnTo>
                  <a:lnTo>
                    <a:pt x="1154" y="660"/>
                  </a:lnTo>
                  <a:lnTo>
                    <a:pt x="1152" y="660"/>
                  </a:lnTo>
                  <a:lnTo>
                    <a:pt x="1150" y="660"/>
                  </a:lnTo>
                  <a:lnTo>
                    <a:pt x="1150" y="668"/>
                  </a:lnTo>
                  <a:lnTo>
                    <a:pt x="1154" y="666"/>
                  </a:lnTo>
                  <a:lnTo>
                    <a:pt x="1154" y="662"/>
                  </a:lnTo>
                  <a:lnTo>
                    <a:pt x="1158" y="664"/>
                  </a:lnTo>
                  <a:lnTo>
                    <a:pt x="1158" y="670"/>
                  </a:lnTo>
                  <a:lnTo>
                    <a:pt x="1164" y="670"/>
                  </a:lnTo>
                  <a:lnTo>
                    <a:pt x="1166" y="664"/>
                  </a:lnTo>
                  <a:lnTo>
                    <a:pt x="1170" y="656"/>
                  </a:lnTo>
                  <a:lnTo>
                    <a:pt x="1170" y="652"/>
                  </a:lnTo>
                  <a:lnTo>
                    <a:pt x="1168" y="654"/>
                  </a:lnTo>
                  <a:lnTo>
                    <a:pt x="1168" y="654"/>
                  </a:lnTo>
                  <a:close/>
                  <a:moveTo>
                    <a:pt x="1054" y="690"/>
                  </a:moveTo>
                  <a:lnTo>
                    <a:pt x="1054" y="688"/>
                  </a:lnTo>
                  <a:lnTo>
                    <a:pt x="1050" y="688"/>
                  </a:lnTo>
                  <a:lnTo>
                    <a:pt x="1052" y="680"/>
                  </a:lnTo>
                  <a:lnTo>
                    <a:pt x="1056" y="676"/>
                  </a:lnTo>
                  <a:lnTo>
                    <a:pt x="1062" y="676"/>
                  </a:lnTo>
                  <a:lnTo>
                    <a:pt x="1064" y="674"/>
                  </a:lnTo>
                  <a:lnTo>
                    <a:pt x="1066" y="672"/>
                  </a:lnTo>
                  <a:lnTo>
                    <a:pt x="1064" y="670"/>
                  </a:lnTo>
                  <a:lnTo>
                    <a:pt x="1062" y="670"/>
                  </a:lnTo>
                  <a:lnTo>
                    <a:pt x="1062" y="672"/>
                  </a:lnTo>
                  <a:lnTo>
                    <a:pt x="1058" y="674"/>
                  </a:lnTo>
                  <a:lnTo>
                    <a:pt x="1056" y="674"/>
                  </a:lnTo>
                  <a:lnTo>
                    <a:pt x="1052" y="672"/>
                  </a:lnTo>
                  <a:lnTo>
                    <a:pt x="1046" y="676"/>
                  </a:lnTo>
                  <a:lnTo>
                    <a:pt x="1048" y="680"/>
                  </a:lnTo>
                  <a:lnTo>
                    <a:pt x="1046" y="682"/>
                  </a:lnTo>
                  <a:lnTo>
                    <a:pt x="1044" y="682"/>
                  </a:lnTo>
                  <a:lnTo>
                    <a:pt x="1042" y="686"/>
                  </a:lnTo>
                  <a:lnTo>
                    <a:pt x="1042" y="688"/>
                  </a:lnTo>
                  <a:lnTo>
                    <a:pt x="1042" y="690"/>
                  </a:lnTo>
                  <a:lnTo>
                    <a:pt x="1040" y="692"/>
                  </a:lnTo>
                  <a:lnTo>
                    <a:pt x="1040" y="698"/>
                  </a:lnTo>
                  <a:lnTo>
                    <a:pt x="1040" y="700"/>
                  </a:lnTo>
                  <a:lnTo>
                    <a:pt x="1042" y="700"/>
                  </a:lnTo>
                  <a:lnTo>
                    <a:pt x="1048" y="702"/>
                  </a:lnTo>
                  <a:lnTo>
                    <a:pt x="1048" y="700"/>
                  </a:lnTo>
                  <a:lnTo>
                    <a:pt x="1048" y="700"/>
                  </a:lnTo>
                  <a:lnTo>
                    <a:pt x="1046" y="698"/>
                  </a:lnTo>
                  <a:lnTo>
                    <a:pt x="1048" y="694"/>
                  </a:lnTo>
                  <a:lnTo>
                    <a:pt x="1054" y="690"/>
                  </a:lnTo>
                  <a:lnTo>
                    <a:pt x="1054" y="690"/>
                  </a:lnTo>
                  <a:close/>
                  <a:moveTo>
                    <a:pt x="1036" y="632"/>
                  </a:moveTo>
                  <a:lnTo>
                    <a:pt x="1030" y="628"/>
                  </a:lnTo>
                  <a:lnTo>
                    <a:pt x="1028" y="628"/>
                  </a:lnTo>
                  <a:lnTo>
                    <a:pt x="1024" y="624"/>
                  </a:lnTo>
                  <a:lnTo>
                    <a:pt x="1022" y="620"/>
                  </a:lnTo>
                  <a:lnTo>
                    <a:pt x="1018" y="620"/>
                  </a:lnTo>
                  <a:lnTo>
                    <a:pt x="1014" y="618"/>
                  </a:lnTo>
                  <a:lnTo>
                    <a:pt x="1010" y="614"/>
                  </a:lnTo>
                  <a:lnTo>
                    <a:pt x="1002" y="614"/>
                  </a:lnTo>
                  <a:lnTo>
                    <a:pt x="1002" y="620"/>
                  </a:lnTo>
                  <a:lnTo>
                    <a:pt x="1008" y="620"/>
                  </a:lnTo>
                  <a:lnTo>
                    <a:pt x="1012" y="624"/>
                  </a:lnTo>
                  <a:lnTo>
                    <a:pt x="1012" y="628"/>
                  </a:lnTo>
                  <a:lnTo>
                    <a:pt x="1016" y="628"/>
                  </a:lnTo>
                  <a:lnTo>
                    <a:pt x="1020" y="630"/>
                  </a:lnTo>
                  <a:lnTo>
                    <a:pt x="1024" y="632"/>
                  </a:lnTo>
                  <a:lnTo>
                    <a:pt x="1028" y="634"/>
                  </a:lnTo>
                  <a:lnTo>
                    <a:pt x="1034" y="636"/>
                  </a:lnTo>
                  <a:lnTo>
                    <a:pt x="1034" y="634"/>
                  </a:lnTo>
                  <a:lnTo>
                    <a:pt x="1036" y="632"/>
                  </a:lnTo>
                  <a:lnTo>
                    <a:pt x="1036" y="632"/>
                  </a:lnTo>
                  <a:close/>
                  <a:moveTo>
                    <a:pt x="124" y="548"/>
                  </a:moveTo>
                  <a:lnTo>
                    <a:pt x="124" y="548"/>
                  </a:lnTo>
                  <a:lnTo>
                    <a:pt x="124" y="546"/>
                  </a:lnTo>
                  <a:lnTo>
                    <a:pt x="124" y="542"/>
                  </a:lnTo>
                  <a:lnTo>
                    <a:pt x="128" y="534"/>
                  </a:lnTo>
                  <a:lnTo>
                    <a:pt x="118" y="536"/>
                  </a:lnTo>
                  <a:lnTo>
                    <a:pt x="114" y="536"/>
                  </a:lnTo>
                  <a:lnTo>
                    <a:pt x="110" y="534"/>
                  </a:lnTo>
                  <a:lnTo>
                    <a:pt x="112" y="544"/>
                  </a:lnTo>
                  <a:lnTo>
                    <a:pt x="112" y="546"/>
                  </a:lnTo>
                  <a:lnTo>
                    <a:pt x="112" y="548"/>
                  </a:lnTo>
                  <a:lnTo>
                    <a:pt x="114" y="548"/>
                  </a:lnTo>
                  <a:lnTo>
                    <a:pt x="114" y="550"/>
                  </a:lnTo>
                  <a:lnTo>
                    <a:pt x="114" y="554"/>
                  </a:lnTo>
                  <a:lnTo>
                    <a:pt x="118" y="552"/>
                  </a:lnTo>
                  <a:lnTo>
                    <a:pt x="120" y="552"/>
                  </a:lnTo>
                  <a:lnTo>
                    <a:pt x="124" y="548"/>
                  </a:lnTo>
                  <a:lnTo>
                    <a:pt x="124" y="548"/>
                  </a:lnTo>
                  <a:close/>
                  <a:moveTo>
                    <a:pt x="534" y="186"/>
                  </a:moveTo>
                  <a:lnTo>
                    <a:pt x="534" y="186"/>
                  </a:lnTo>
                  <a:lnTo>
                    <a:pt x="532" y="186"/>
                  </a:lnTo>
                  <a:lnTo>
                    <a:pt x="532" y="182"/>
                  </a:lnTo>
                  <a:lnTo>
                    <a:pt x="532" y="176"/>
                  </a:lnTo>
                  <a:lnTo>
                    <a:pt x="530" y="174"/>
                  </a:lnTo>
                  <a:lnTo>
                    <a:pt x="528" y="174"/>
                  </a:lnTo>
                  <a:lnTo>
                    <a:pt x="526" y="176"/>
                  </a:lnTo>
                  <a:lnTo>
                    <a:pt x="516" y="174"/>
                  </a:lnTo>
                  <a:lnTo>
                    <a:pt x="510" y="172"/>
                  </a:lnTo>
                  <a:lnTo>
                    <a:pt x="506" y="166"/>
                  </a:lnTo>
                  <a:lnTo>
                    <a:pt x="504" y="160"/>
                  </a:lnTo>
                  <a:lnTo>
                    <a:pt x="502" y="160"/>
                  </a:lnTo>
                  <a:lnTo>
                    <a:pt x="502" y="168"/>
                  </a:lnTo>
                  <a:lnTo>
                    <a:pt x="500" y="166"/>
                  </a:lnTo>
                  <a:lnTo>
                    <a:pt x="494" y="166"/>
                  </a:lnTo>
                  <a:lnTo>
                    <a:pt x="492" y="166"/>
                  </a:lnTo>
                  <a:lnTo>
                    <a:pt x="490" y="162"/>
                  </a:lnTo>
                  <a:lnTo>
                    <a:pt x="486" y="158"/>
                  </a:lnTo>
                  <a:lnTo>
                    <a:pt x="482" y="152"/>
                  </a:lnTo>
                  <a:lnTo>
                    <a:pt x="482" y="148"/>
                  </a:lnTo>
                  <a:lnTo>
                    <a:pt x="480" y="142"/>
                  </a:lnTo>
                  <a:lnTo>
                    <a:pt x="478" y="142"/>
                  </a:lnTo>
                  <a:lnTo>
                    <a:pt x="474" y="140"/>
                  </a:lnTo>
                  <a:lnTo>
                    <a:pt x="474" y="136"/>
                  </a:lnTo>
                  <a:lnTo>
                    <a:pt x="474" y="132"/>
                  </a:lnTo>
                  <a:lnTo>
                    <a:pt x="472" y="130"/>
                  </a:lnTo>
                  <a:lnTo>
                    <a:pt x="470" y="128"/>
                  </a:lnTo>
                  <a:lnTo>
                    <a:pt x="470" y="126"/>
                  </a:lnTo>
                  <a:lnTo>
                    <a:pt x="466" y="124"/>
                  </a:lnTo>
                  <a:lnTo>
                    <a:pt x="464" y="126"/>
                  </a:lnTo>
                  <a:lnTo>
                    <a:pt x="460" y="124"/>
                  </a:lnTo>
                  <a:lnTo>
                    <a:pt x="456" y="124"/>
                  </a:lnTo>
                  <a:lnTo>
                    <a:pt x="454" y="126"/>
                  </a:lnTo>
                  <a:lnTo>
                    <a:pt x="452" y="126"/>
                  </a:lnTo>
                  <a:lnTo>
                    <a:pt x="448" y="126"/>
                  </a:lnTo>
                  <a:lnTo>
                    <a:pt x="446" y="122"/>
                  </a:lnTo>
                  <a:lnTo>
                    <a:pt x="444" y="122"/>
                  </a:lnTo>
                  <a:lnTo>
                    <a:pt x="440" y="130"/>
                  </a:lnTo>
                  <a:lnTo>
                    <a:pt x="440" y="130"/>
                  </a:lnTo>
                  <a:lnTo>
                    <a:pt x="440" y="134"/>
                  </a:lnTo>
                  <a:lnTo>
                    <a:pt x="436" y="136"/>
                  </a:lnTo>
                  <a:lnTo>
                    <a:pt x="432" y="138"/>
                  </a:lnTo>
                  <a:lnTo>
                    <a:pt x="430" y="132"/>
                  </a:lnTo>
                  <a:lnTo>
                    <a:pt x="432" y="128"/>
                  </a:lnTo>
                  <a:lnTo>
                    <a:pt x="436" y="116"/>
                  </a:lnTo>
                  <a:lnTo>
                    <a:pt x="434" y="116"/>
                  </a:lnTo>
                  <a:lnTo>
                    <a:pt x="428" y="108"/>
                  </a:lnTo>
                  <a:lnTo>
                    <a:pt x="428" y="106"/>
                  </a:lnTo>
                  <a:lnTo>
                    <a:pt x="426" y="104"/>
                  </a:lnTo>
                  <a:lnTo>
                    <a:pt x="424" y="104"/>
                  </a:lnTo>
                  <a:lnTo>
                    <a:pt x="424" y="106"/>
                  </a:lnTo>
                  <a:lnTo>
                    <a:pt x="420" y="102"/>
                  </a:lnTo>
                  <a:lnTo>
                    <a:pt x="414" y="102"/>
                  </a:lnTo>
                  <a:lnTo>
                    <a:pt x="414" y="106"/>
                  </a:lnTo>
                  <a:lnTo>
                    <a:pt x="412" y="108"/>
                  </a:lnTo>
                  <a:lnTo>
                    <a:pt x="408" y="110"/>
                  </a:lnTo>
                  <a:lnTo>
                    <a:pt x="408" y="116"/>
                  </a:lnTo>
                  <a:lnTo>
                    <a:pt x="406" y="116"/>
                  </a:lnTo>
                  <a:lnTo>
                    <a:pt x="406" y="114"/>
                  </a:lnTo>
                  <a:lnTo>
                    <a:pt x="404" y="114"/>
                  </a:lnTo>
                  <a:lnTo>
                    <a:pt x="404" y="110"/>
                  </a:lnTo>
                  <a:lnTo>
                    <a:pt x="400" y="106"/>
                  </a:lnTo>
                  <a:lnTo>
                    <a:pt x="394" y="102"/>
                  </a:lnTo>
                  <a:lnTo>
                    <a:pt x="384" y="100"/>
                  </a:lnTo>
                  <a:lnTo>
                    <a:pt x="382" y="112"/>
                  </a:lnTo>
                  <a:lnTo>
                    <a:pt x="382" y="114"/>
                  </a:lnTo>
                  <a:lnTo>
                    <a:pt x="384" y="116"/>
                  </a:lnTo>
                  <a:lnTo>
                    <a:pt x="384" y="126"/>
                  </a:lnTo>
                  <a:lnTo>
                    <a:pt x="380" y="128"/>
                  </a:lnTo>
                  <a:lnTo>
                    <a:pt x="378" y="124"/>
                  </a:lnTo>
                  <a:lnTo>
                    <a:pt x="372" y="124"/>
                  </a:lnTo>
                  <a:lnTo>
                    <a:pt x="362" y="114"/>
                  </a:lnTo>
                  <a:lnTo>
                    <a:pt x="362" y="112"/>
                  </a:lnTo>
                  <a:lnTo>
                    <a:pt x="362" y="110"/>
                  </a:lnTo>
                  <a:lnTo>
                    <a:pt x="364" y="106"/>
                  </a:lnTo>
                  <a:lnTo>
                    <a:pt x="362" y="98"/>
                  </a:lnTo>
                  <a:lnTo>
                    <a:pt x="362" y="92"/>
                  </a:lnTo>
                  <a:lnTo>
                    <a:pt x="352" y="90"/>
                  </a:lnTo>
                  <a:lnTo>
                    <a:pt x="346" y="96"/>
                  </a:lnTo>
                  <a:lnTo>
                    <a:pt x="340" y="102"/>
                  </a:lnTo>
                  <a:lnTo>
                    <a:pt x="338" y="104"/>
                  </a:lnTo>
                  <a:lnTo>
                    <a:pt x="330" y="104"/>
                  </a:lnTo>
                  <a:lnTo>
                    <a:pt x="326" y="104"/>
                  </a:lnTo>
                  <a:lnTo>
                    <a:pt x="320" y="106"/>
                  </a:lnTo>
                  <a:lnTo>
                    <a:pt x="316" y="108"/>
                  </a:lnTo>
                  <a:lnTo>
                    <a:pt x="314" y="110"/>
                  </a:lnTo>
                  <a:lnTo>
                    <a:pt x="310" y="110"/>
                  </a:lnTo>
                  <a:lnTo>
                    <a:pt x="308" y="112"/>
                  </a:lnTo>
                  <a:lnTo>
                    <a:pt x="306" y="116"/>
                  </a:lnTo>
                  <a:lnTo>
                    <a:pt x="306" y="126"/>
                  </a:lnTo>
                  <a:lnTo>
                    <a:pt x="300" y="126"/>
                  </a:lnTo>
                  <a:lnTo>
                    <a:pt x="300" y="128"/>
                  </a:lnTo>
                  <a:lnTo>
                    <a:pt x="300" y="130"/>
                  </a:lnTo>
                  <a:lnTo>
                    <a:pt x="296" y="132"/>
                  </a:lnTo>
                  <a:lnTo>
                    <a:pt x="292" y="136"/>
                  </a:lnTo>
                  <a:lnTo>
                    <a:pt x="290" y="136"/>
                  </a:lnTo>
                  <a:lnTo>
                    <a:pt x="292" y="140"/>
                  </a:lnTo>
                  <a:lnTo>
                    <a:pt x="294" y="142"/>
                  </a:lnTo>
                  <a:lnTo>
                    <a:pt x="298" y="142"/>
                  </a:lnTo>
                  <a:lnTo>
                    <a:pt x="302" y="142"/>
                  </a:lnTo>
                  <a:lnTo>
                    <a:pt x="304" y="142"/>
                  </a:lnTo>
                  <a:lnTo>
                    <a:pt x="304" y="140"/>
                  </a:lnTo>
                  <a:lnTo>
                    <a:pt x="306" y="138"/>
                  </a:lnTo>
                  <a:lnTo>
                    <a:pt x="308" y="138"/>
                  </a:lnTo>
                  <a:lnTo>
                    <a:pt x="310" y="140"/>
                  </a:lnTo>
                  <a:lnTo>
                    <a:pt x="308" y="140"/>
                  </a:lnTo>
                  <a:lnTo>
                    <a:pt x="308" y="142"/>
                  </a:lnTo>
                  <a:lnTo>
                    <a:pt x="312" y="144"/>
                  </a:lnTo>
                  <a:lnTo>
                    <a:pt x="304" y="144"/>
                  </a:lnTo>
                  <a:lnTo>
                    <a:pt x="304" y="148"/>
                  </a:lnTo>
                  <a:lnTo>
                    <a:pt x="316" y="148"/>
                  </a:lnTo>
                  <a:lnTo>
                    <a:pt x="318" y="142"/>
                  </a:lnTo>
                  <a:lnTo>
                    <a:pt x="324" y="144"/>
                  </a:lnTo>
                  <a:lnTo>
                    <a:pt x="330" y="146"/>
                  </a:lnTo>
                  <a:lnTo>
                    <a:pt x="334" y="142"/>
                  </a:lnTo>
                  <a:lnTo>
                    <a:pt x="342" y="140"/>
                  </a:lnTo>
                  <a:lnTo>
                    <a:pt x="348" y="142"/>
                  </a:lnTo>
                  <a:lnTo>
                    <a:pt x="348" y="144"/>
                  </a:lnTo>
                  <a:lnTo>
                    <a:pt x="342" y="144"/>
                  </a:lnTo>
                  <a:lnTo>
                    <a:pt x="334" y="146"/>
                  </a:lnTo>
                  <a:lnTo>
                    <a:pt x="334" y="150"/>
                  </a:lnTo>
                  <a:lnTo>
                    <a:pt x="332" y="150"/>
                  </a:lnTo>
                  <a:lnTo>
                    <a:pt x="330" y="148"/>
                  </a:lnTo>
                  <a:lnTo>
                    <a:pt x="326" y="150"/>
                  </a:lnTo>
                  <a:lnTo>
                    <a:pt x="324" y="150"/>
                  </a:lnTo>
                  <a:lnTo>
                    <a:pt x="312" y="154"/>
                  </a:lnTo>
                  <a:lnTo>
                    <a:pt x="308" y="156"/>
                  </a:lnTo>
                  <a:lnTo>
                    <a:pt x="308" y="158"/>
                  </a:lnTo>
                  <a:lnTo>
                    <a:pt x="310" y="160"/>
                  </a:lnTo>
                  <a:lnTo>
                    <a:pt x="314" y="162"/>
                  </a:lnTo>
                  <a:lnTo>
                    <a:pt x="320" y="164"/>
                  </a:lnTo>
                  <a:lnTo>
                    <a:pt x="320" y="162"/>
                  </a:lnTo>
                  <a:lnTo>
                    <a:pt x="322" y="160"/>
                  </a:lnTo>
                  <a:lnTo>
                    <a:pt x="324" y="162"/>
                  </a:lnTo>
                  <a:lnTo>
                    <a:pt x="328" y="164"/>
                  </a:lnTo>
                  <a:lnTo>
                    <a:pt x="336" y="162"/>
                  </a:lnTo>
                  <a:lnTo>
                    <a:pt x="346" y="162"/>
                  </a:lnTo>
                  <a:lnTo>
                    <a:pt x="348" y="162"/>
                  </a:lnTo>
                  <a:lnTo>
                    <a:pt x="352" y="164"/>
                  </a:lnTo>
                  <a:lnTo>
                    <a:pt x="356" y="162"/>
                  </a:lnTo>
                  <a:lnTo>
                    <a:pt x="362" y="160"/>
                  </a:lnTo>
                  <a:lnTo>
                    <a:pt x="364" y="162"/>
                  </a:lnTo>
                  <a:lnTo>
                    <a:pt x="368" y="164"/>
                  </a:lnTo>
                  <a:lnTo>
                    <a:pt x="372" y="162"/>
                  </a:lnTo>
                  <a:lnTo>
                    <a:pt x="374" y="158"/>
                  </a:lnTo>
                  <a:lnTo>
                    <a:pt x="378" y="160"/>
                  </a:lnTo>
                  <a:lnTo>
                    <a:pt x="380" y="162"/>
                  </a:lnTo>
                  <a:lnTo>
                    <a:pt x="380" y="164"/>
                  </a:lnTo>
                  <a:lnTo>
                    <a:pt x="386" y="164"/>
                  </a:lnTo>
                  <a:lnTo>
                    <a:pt x="388" y="162"/>
                  </a:lnTo>
                  <a:lnTo>
                    <a:pt x="392" y="160"/>
                  </a:lnTo>
                  <a:lnTo>
                    <a:pt x="394" y="162"/>
                  </a:lnTo>
                  <a:lnTo>
                    <a:pt x="394" y="164"/>
                  </a:lnTo>
                  <a:lnTo>
                    <a:pt x="390" y="164"/>
                  </a:lnTo>
                  <a:lnTo>
                    <a:pt x="390" y="168"/>
                  </a:lnTo>
                  <a:lnTo>
                    <a:pt x="384" y="170"/>
                  </a:lnTo>
                  <a:lnTo>
                    <a:pt x="384" y="174"/>
                  </a:lnTo>
                  <a:lnTo>
                    <a:pt x="376" y="174"/>
                  </a:lnTo>
                  <a:lnTo>
                    <a:pt x="366" y="174"/>
                  </a:lnTo>
                  <a:lnTo>
                    <a:pt x="362" y="170"/>
                  </a:lnTo>
                  <a:lnTo>
                    <a:pt x="346" y="174"/>
                  </a:lnTo>
                  <a:lnTo>
                    <a:pt x="346" y="176"/>
                  </a:lnTo>
                  <a:lnTo>
                    <a:pt x="342" y="178"/>
                  </a:lnTo>
                  <a:lnTo>
                    <a:pt x="334" y="178"/>
                  </a:lnTo>
                  <a:lnTo>
                    <a:pt x="322" y="176"/>
                  </a:lnTo>
                  <a:lnTo>
                    <a:pt x="324" y="178"/>
                  </a:lnTo>
                  <a:lnTo>
                    <a:pt x="322" y="182"/>
                  </a:lnTo>
                  <a:lnTo>
                    <a:pt x="322" y="184"/>
                  </a:lnTo>
                  <a:lnTo>
                    <a:pt x="322" y="186"/>
                  </a:lnTo>
                  <a:lnTo>
                    <a:pt x="324" y="186"/>
                  </a:lnTo>
                  <a:lnTo>
                    <a:pt x="324" y="190"/>
                  </a:lnTo>
                  <a:lnTo>
                    <a:pt x="330" y="192"/>
                  </a:lnTo>
                  <a:lnTo>
                    <a:pt x="330" y="196"/>
                  </a:lnTo>
                  <a:lnTo>
                    <a:pt x="336" y="198"/>
                  </a:lnTo>
                  <a:lnTo>
                    <a:pt x="344" y="200"/>
                  </a:lnTo>
                  <a:lnTo>
                    <a:pt x="346" y="200"/>
                  </a:lnTo>
                  <a:lnTo>
                    <a:pt x="352" y="200"/>
                  </a:lnTo>
                  <a:lnTo>
                    <a:pt x="358" y="202"/>
                  </a:lnTo>
                  <a:lnTo>
                    <a:pt x="360" y="208"/>
                  </a:lnTo>
                  <a:lnTo>
                    <a:pt x="362" y="214"/>
                  </a:lnTo>
                  <a:lnTo>
                    <a:pt x="364" y="214"/>
                  </a:lnTo>
                  <a:lnTo>
                    <a:pt x="368" y="214"/>
                  </a:lnTo>
                  <a:lnTo>
                    <a:pt x="370" y="216"/>
                  </a:lnTo>
                  <a:lnTo>
                    <a:pt x="372" y="216"/>
                  </a:lnTo>
                  <a:lnTo>
                    <a:pt x="372" y="218"/>
                  </a:lnTo>
                  <a:lnTo>
                    <a:pt x="378" y="218"/>
                  </a:lnTo>
                  <a:lnTo>
                    <a:pt x="384" y="216"/>
                  </a:lnTo>
                  <a:lnTo>
                    <a:pt x="384" y="214"/>
                  </a:lnTo>
                  <a:lnTo>
                    <a:pt x="388" y="212"/>
                  </a:lnTo>
                  <a:lnTo>
                    <a:pt x="392" y="212"/>
                  </a:lnTo>
                  <a:lnTo>
                    <a:pt x="394" y="214"/>
                  </a:lnTo>
                  <a:lnTo>
                    <a:pt x="406" y="214"/>
                  </a:lnTo>
                  <a:lnTo>
                    <a:pt x="406" y="212"/>
                  </a:lnTo>
                  <a:lnTo>
                    <a:pt x="414" y="210"/>
                  </a:lnTo>
                  <a:lnTo>
                    <a:pt x="420" y="210"/>
                  </a:lnTo>
                  <a:lnTo>
                    <a:pt x="422" y="206"/>
                  </a:lnTo>
                  <a:lnTo>
                    <a:pt x="426" y="206"/>
                  </a:lnTo>
                  <a:lnTo>
                    <a:pt x="432" y="204"/>
                  </a:lnTo>
                  <a:lnTo>
                    <a:pt x="438" y="200"/>
                  </a:lnTo>
                  <a:lnTo>
                    <a:pt x="444" y="200"/>
                  </a:lnTo>
                  <a:lnTo>
                    <a:pt x="448" y="198"/>
                  </a:lnTo>
                  <a:lnTo>
                    <a:pt x="452" y="192"/>
                  </a:lnTo>
                  <a:lnTo>
                    <a:pt x="454" y="192"/>
                  </a:lnTo>
                  <a:lnTo>
                    <a:pt x="458" y="192"/>
                  </a:lnTo>
                  <a:lnTo>
                    <a:pt x="464" y="186"/>
                  </a:lnTo>
                  <a:lnTo>
                    <a:pt x="464" y="186"/>
                  </a:lnTo>
                  <a:lnTo>
                    <a:pt x="466" y="186"/>
                  </a:lnTo>
                  <a:lnTo>
                    <a:pt x="468" y="186"/>
                  </a:lnTo>
                  <a:lnTo>
                    <a:pt x="466" y="196"/>
                  </a:lnTo>
                  <a:lnTo>
                    <a:pt x="466" y="198"/>
                  </a:lnTo>
                  <a:lnTo>
                    <a:pt x="476" y="200"/>
                  </a:lnTo>
                  <a:lnTo>
                    <a:pt x="476" y="204"/>
                  </a:lnTo>
                  <a:lnTo>
                    <a:pt x="480" y="204"/>
                  </a:lnTo>
                  <a:lnTo>
                    <a:pt x="482" y="202"/>
                  </a:lnTo>
                  <a:lnTo>
                    <a:pt x="486" y="204"/>
                  </a:lnTo>
                  <a:lnTo>
                    <a:pt x="492" y="206"/>
                  </a:lnTo>
                  <a:lnTo>
                    <a:pt x="494" y="206"/>
                  </a:lnTo>
                  <a:lnTo>
                    <a:pt x="496" y="204"/>
                  </a:lnTo>
                  <a:lnTo>
                    <a:pt x="498" y="208"/>
                  </a:lnTo>
                  <a:lnTo>
                    <a:pt x="500" y="208"/>
                  </a:lnTo>
                  <a:lnTo>
                    <a:pt x="502" y="208"/>
                  </a:lnTo>
                  <a:lnTo>
                    <a:pt x="504" y="208"/>
                  </a:lnTo>
                  <a:lnTo>
                    <a:pt x="504" y="204"/>
                  </a:lnTo>
                  <a:lnTo>
                    <a:pt x="512" y="206"/>
                  </a:lnTo>
                  <a:lnTo>
                    <a:pt x="514" y="202"/>
                  </a:lnTo>
                  <a:lnTo>
                    <a:pt x="518" y="202"/>
                  </a:lnTo>
                  <a:lnTo>
                    <a:pt x="520" y="200"/>
                  </a:lnTo>
                  <a:lnTo>
                    <a:pt x="522" y="198"/>
                  </a:lnTo>
                  <a:lnTo>
                    <a:pt x="522" y="196"/>
                  </a:lnTo>
                  <a:lnTo>
                    <a:pt x="520" y="196"/>
                  </a:lnTo>
                  <a:lnTo>
                    <a:pt x="520" y="192"/>
                  </a:lnTo>
                  <a:lnTo>
                    <a:pt x="516" y="192"/>
                  </a:lnTo>
                  <a:lnTo>
                    <a:pt x="512" y="192"/>
                  </a:lnTo>
                  <a:lnTo>
                    <a:pt x="510" y="194"/>
                  </a:lnTo>
                  <a:lnTo>
                    <a:pt x="510" y="196"/>
                  </a:lnTo>
                  <a:lnTo>
                    <a:pt x="506" y="196"/>
                  </a:lnTo>
                  <a:lnTo>
                    <a:pt x="504" y="194"/>
                  </a:lnTo>
                  <a:lnTo>
                    <a:pt x="502" y="190"/>
                  </a:lnTo>
                  <a:lnTo>
                    <a:pt x="498" y="188"/>
                  </a:lnTo>
                  <a:lnTo>
                    <a:pt x="498" y="186"/>
                  </a:lnTo>
                  <a:lnTo>
                    <a:pt x="504" y="186"/>
                  </a:lnTo>
                  <a:lnTo>
                    <a:pt x="508" y="190"/>
                  </a:lnTo>
                  <a:lnTo>
                    <a:pt x="514" y="190"/>
                  </a:lnTo>
                  <a:lnTo>
                    <a:pt x="522" y="190"/>
                  </a:lnTo>
                  <a:lnTo>
                    <a:pt x="522" y="188"/>
                  </a:lnTo>
                  <a:lnTo>
                    <a:pt x="516" y="186"/>
                  </a:lnTo>
                  <a:lnTo>
                    <a:pt x="514" y="186"/>
                  </a:lnTo>
                  <a:lnTo>
                    <a:pt x="516" y="186"/>
                  </a:lnTo>
                  <a:lnTo>
                    <a:pt x="520" y="184"/>
                  </a:lnTo>
                  <a:lnTo>
                    <a:pt x="522" y="182"/>
                  </a:lnTo>
                  <a:lnTo>
                    <a:pt x="524" y="186"/>
                  </a:lnTo>
                  <a:lnTo>
                    <a:pt x="528" y="186"/>
                  </a:lnTo>
                  <a:lnTo>
                    <a:pt x="528" y="190"/>
                  </a:lnTo>
                  <a:lnTo>
                    <a:pt x="530" y="190"/>
                  </a:lnTo>
                  <a:lnTo>
                    <a:pt x="532" y="192"/>
                  </a:lnTo>
                  <a:lnTo>
                    <a:pt x="534" y="190"/>
                  </a:lnTo>
                  <a:lnTo>
                    <a:pt x="534" y="186"/>
                  </a:lnTo>
                  <a:lnTo>
                    <a:pt x="534" y="186"/>
                  </a:lnTo>
                  <a:close/>
                  <a:moveTo>
                    <a:pt x="590" y="130"/>
                  </a:moveTo>
                  <a:lnTo>
                    <a:pt x="590" y="130"/>
                  </a:lnTo>
                  <a:lnTo>
                    <a:pt x="590" y="120"/>
                  </a:lnTo>
                  <a:lnTo>
                    <a:pt x="588" y="118"/>
                  </a:lnTo>
                  <a:lnTo>
                    <a:pt x="588" y="116"/>
                  </a:lnTo>
                  <a:lnTo>
                    <a:pt x="590" y="112"/>
                  </a:lnTo>
                  <a:lnTo>
                    <a:pt x="588" y="110"/>
                  </a:lnTo>
                  <a:lnTo>
                    <a:pt x="578" y="116"/>
                  </a:lnTo>
                  <a:lnTo>
                    <a:pt x="576" y="104"/>
                  </a:lnTo>
                  <a:lnTo>
                    <a:pt x="572" y="106"/>
                  </a:lnTo>
                  <a:lnTo>
                    <a:pt x="570" y="106"/>
                  </a:lnTo>
                  <a:lnTo>
                    <a:pt x="566" y="100"/>
                  </a:lnTo>
                  <a:lnTo>
                    <a:pt x="564" y="100"/>
                  </a:lnTo>
                  <a:lnTo>
                    <a:pt x="566" y="96"/>
                  </a:lnTo>
                  <a:lnTo>
                    <a:pt x="578" y="96"/>
                  </a:lnTo>
                  <a:lnTo>
                    <a:pt x="578" y="92"/>
                  </a:lnTo>
                  <a:lnTo>
                    <a:pt x="576" y="92"/>
                  </a:lnTo>
                  <a:lnTo>
                    <a:pt x="578" y="86"/>
                  </a:lnTo>
                  <a:lnTo>
                    <a:pt x="574" y="86"/>
                  </a:lnTo>
                  <a:lnTo>
                    <a:pt x="572" y="82"/>
                  </a:lnTo>
                  <a:lnTo>
                    <a:pt x="566" y="82"/>
                  </a:lnTo>
                  <a:lnTo>
                    <a:pt x="560" y="82"/>
                  </a:lnTo>
                  <a:lnTo>
                    <a:pt x="560" y="84"/>
                  </a:lnTo>
                  <a:lnTo>
                    <a:pt x="554" y="84"/>
                  </a:lnTo>
                  <a:lnTo>
                    <a:pt x="558" y="82"/>
                  </a:lnTo>
                  <a:lnTo>
                    <a:pt x="562" y="80"/>
                  </a:lnTo>
                  <a:lnTo>
                    <a:pt x="566" y="78"/>
                  </a:lnTo>
                  <a:lnTo>
                    <a:pt x="568" y="76"/>
                  </a:lnTo>
                  <a:lnTo>
                    <a:pt x="568" y="74"/>
                  </a:lnTo>
                  <a:lnTo>
                    <a:pt x="566" y="72"/>
                  </a:lnTo>
                  <a:lnTo>
                    <a:pt x="562" y="72"/>
                  </a:lnTo>
                  <a:lnTo>
                    <a:pt x="560" y="76"/>
                  </a:lnTo>
                  <a:lnTo>
                    <a:pt x="558" y="78"/>
                  </a:lnTo>
                  <a:lnTo>
                    <a:pt x="548" y="80"/>
                  </a:lnTo>
                  <a:lnTo>
                    <a:pt x="544" y="82"/>
                  </a:lnTo>
                  <a:lnTo>
                    <a:pt x="548" y="84"/>
                  </a:lnTo>
                  <a:lnTo>
                    <a:pt x="546" y="86"/>
                  </a:lnTo>
                  <a:lnTo>
                    <a:pt x="542" y="86"/>
                  </a:lnTo>
                  <a:lnTo>
                    <a:pt x="536" y="84"/>
                  </a:lnTo>
                  <a:lnTo>
                    <a:pt x="534" y="80"/>
                  </a:lnTo>
                  <a:lnTo>
                    <a:pt x="528" y="86"/>
                  </a:lnTo>
                  <a:lnTo>
                    <a:pt x="524" y="92"/>
                  </a:lnTo>
                  <a:lnTo>
                    <a:pt x="524" y="96"/>
                  </a:lnTo>
                  <a:lnTo>
                    <a:pt x="526" y="98"/>
                  </a:lnTo>
                  <a:lnTo>
                    <a:pt x="530" y="100"/>
                  </a:lnTo>
                  <a:lnTo>
                    <a:pt x="536" y="102"/>
                  </a:lnTo>
                  <a:lnTo>
                    <a:pt x="538" y="104"/>
                  </a:lnTo>
                  <a:lnTo>
                    <a:pt x="536" y="106"/>
                  </a:lnTo>
                  <a:lnTo>
                    <a:pt x="536" y="112"/>
                  </a:lnTo>
                  <a:lnTo>
                    <a:pt x="534" y="114"/>
                  </a:lnTo>
                  <a:lnTo>
                    <a:pt x="528" y="114"/>
                  </a:lnTo>
                  <a:lnTo>
                    <a:pt x="516" y="114"/>
                  </a:lnTo>
                  <a:lnTo>
                    <a:pt x="512" y="104"/>
                  </a:lnTo>
                  <a:lnTo>
                    <a:pt x="508" y="106"/>
                  </a:lnTo>
                  <a:lnTo>
                    <a:pt x="506" y="106"/>
                  </a:lnTo>
                  <a:lnTo>
                    <a:pt x="504" y="106"/>
                  </a:lnTo>
                  <a:lnTo>
                    <a:pt x="504" y="108"/>
                  </a:lnTo>
                  <a:lnTo>
                    <a:pt x="504" y="110"/>
                  </a:lnTo>
                  <a:lnTo>
                    <a:pt x="506" y="114"/>
                  </a:lnTo>
                  <a:lnTo>
                    <a:pt x="504" y="116"/>
                  </a:lnTo>
                  <a:lnTo>
                    <a:pt x="508" y="120"/>
                  </a:lnTo>
                  <a:lnTo>
                    <a:pt x="512" y="126"/>
                  </a:lnTo>
                  <a:lnTo>
                    <a:pt x="518" y="126"/>
                  </a:lnTo>
                  <a:lnTo>
                    <a:pt x="522" y="130"/>
                  </a:lnTo>
                  <a:lnTo>
                    <a:pt x="524" y="130"/>
                  </a:lnTo>
                  <a:lnTo>
                    <a:pt x="524" y="126"/>
                  </a:lnTo>
                  <a:lnTo>
                    <a:pt x="528" y="124"/>
                  </a:lnTo>
                  <a:lnTo>
                    <a:pt x="532" y="130"/>
                  </a:lnTo>
                  <a:lnTo>
                    <a:pt x="536" y="132"/>
                  </a:lnTo>
                  <a:lnTo>
                    <a:pt x="540" y="132"/>
                  </a:lnTo>
                  <a:lnTo>
                    <a:pt x="546" y="138"/>
                  </a:lnTo>
                  <a:lnTo>
                    <a:pt x="546" y="142"/>
                  </a:lnTo>
                  <a:lnTo>
                    <a:pt x="552" y="150"/>
                  </a:lnTo>
                  <a:lnTo>
                    <a:pt x="554" y="150"/>
                  </a:lnTo>
                  <a:lnTo>
                    <a:pt x="560" y="150"/>
                  </a:lnTo>
                  <a:lnTo>
                    <a:pt x="564" y="146"/>
                  </a:lnTo>
                  <a:lnTo>
                    <a:pt x="568" y="140"/>
                  </a:lnTo>
                  <a:lnTo>
                    <a:pt x="572" y="140"/>
                  </a:lnTo>
                  <a:lnTo>
                    <a:pt x="576" y="138"/>
                  </a:lnTo>
                  <a:lnTo>
                    <a:pt x="582" y="136"/>
                  </a:lnTo>
                  <a:lnTo>
                    <a:pt x="588" y="134"/>
                  </a:lnTo>
                  <a:lnTo>
                    <a:pt x="588" y="130"/>
                  </a:lnTo>
                  <a:lnTo>
                    <a:pt x="590" y="130"/>
                  </a:lnTo>
                  <a:lnTo>
                    <a:pt x="590" y="130"/>
                  </a:lnTo>
                  <a:close/>
                  <a:moveTo>
                    <a:pt x="594" y="196"/>
                  </a:moveTo>
                  <a:lnTo>
                    <a:pt x="584" y="186"/>
                  </a:lnTo>
                  <a:lnTo>
                    <a:pt x="578" y="186"/>
                  </a:lnTo>
                  <a:lnTo>
                    <a:pt x="576" y="186"/>
                  </a:lnTo>
                  <a:lnTo>
                    <a:pt x="574" y="186"/>
                  </a:lnTo>
                  <a:lnTo>
                    <a:pt x="572" y="186"/>
                  </a:lnTo>
                  <a:lnTo>
                    <a:pt x="572" y="184"/>
                  </a:lnTo>
                  <a:lnTo>
                    <a:pt x="568" y="184"/>
                  </a:lnTo>
                  <a:lnTo>
                    <a:pt x="566" y="186"/>
                  </a:lnTo>
                  <a:lnTo>
                    <a:pt x="566" y="190"/>
                  </a:lnTo>
                  <a:lnTo>
                    <a:pt x="564" y="188"/>
                  </a:lnTo>
                  <a:lnTo>
                    <a:pt x="560" y="188"/>
                  </a:lnTo>
                  <a:lnTo>
                    <a:pt x="558" y="196"/>
                  </a:lnTo>
                  <a:lnTo>
                    <a:pt x="556" y="200"/>
                  </a:lnTo>
                  <a:lnTo>
                    <a:pt x="554" y="202"/>
                  </a:lnTo>
                  <a:lnTo>
                    <a:pt x="550" y="202"/>
                  </a:lnTo>
                  <a:lnTo>
                    <a:pt x="548" y="204"/>
                  </a:lnTo>
                  <a:lnTo>
                    <a:pt x="550" y="206"/>
                  </a:lnTo>
                  <a:lnTo>
                    <a:pt x="552" y="208"/>
                  </a:lnTo>
                  <a:lnTo>
                    <a:pt x="554" y="206"/>
                  </a:lnTo>
                  <a:lnTo>
                    <a:pt x="556" y="206"/>
                  </a:lnTo>
                  <a:lnTo>
                    <a:pt x="556" y="208"/>
                  </a:lnTo>
                  <a:lnTo>
                    <a:pt x="558" y="210"/>
                  </a:lnTo>
                  <a:lnTo>
                    <a:pt x="560" y="208"/>
                  </a:lnTo>
                  <a:lnTo>
                    <a:pt x="562" y="206"/>
                  </a:lnTo>
                  <a:lnTo>
                    <a:pt x="564" y="206"/>
                  </a:lnTo>
                  <a:lnTo>
                    <a:pt x="564" y="208"/>
                  </a:lnTo>
                  <a:lnTo>
                    <a:pt x="564" y="210"/>
                  </a:lnTo>
                  <a:lnTo>
                    <a:pt x="564" y="212"/>
                  </a:lnTo>
                  <a:lnTo>
                    <a:pt x="568" y="214"/>
                  </a:lnTo>
                  <a:lnTo>
                    <a:pt x="570" y="218"/>
                  </a:lnTo>
                  <a:lnTo>
                    <a:pt x="572" y="218"/>
                  </a:lnTo>
                  <a:lnTo>
                    <a:pt x="574" y="218"/>
                  </a:lnTo>
                  <a:lnTo>
                    <a:pt x="576" y="218"/>
                  </a:lnTo>
                  <a:lnTo>
                    <a:pt x="578" y="218"/>
                  </a:lnTo>
                  <a:lnTo>
                    <a:pt x="580" y="216"/>
                  </a:lnTo>
                  <a:lnTo>
                    <a:pt x="580" y="212"/>
                  </a:lnTo>
                  <a:lnTo>
                    <a:pt x="586" y="214"/>
                  </a:lnTo>
                  <a:lnTo>
                    <a:pt x="590" y="212"/>
                  </a:lnTo>
                  <a:lnTo>
                    <a:pt x="596" y="212"/>
                  </a:lnTo>
                  <a:lnTo>
                    <a:pt x="598" y="208"/>
                  </a:lnTo>
                  <a:lnTo>
                    <a:pt x="594" y="208"/>
                  </a:lnTo>
                  <a:lnTo>
                    <a:pt x="594" y="202"/>
                  </a:lnTo>
                  <a:lnTo>
                    <a:pt x="594" y="196"/>
                  </a:lnTo>
                  <a:lnTo>
                    <a:pt x="594" y="196"/>
                  </a:lnTo>
                  <a:close/>
                  <a:moveTo>
                    <a:pt x="130" y="562"/>
                  </a:moveTo>
                  <a:lnTo>
                    <a:pt x="130" y="562"/>
                  </a:lnTo>
                  <a:lnTo>
                    <a:pt x="132" y="558"/>
                  </a:lnTo>
                  <a:lnTo>
                    <a:pt x="132" y="556"/>
                  </a:lnTo>
                  <a:lnTo>
                    <a:pt x="128" y="556"/>
                  </a:lnTo>
                  <a:lnTo>
                    <a:pt x="130" y="554"/>
                  </a:lnTo>
                  <a:lnTo>
                    <a:pt x="130" y="552"/>
                  </a:lnTo>
                  <a:lnTo>
                    <a:pt x="128" y="550"/>
                  </a:lnTo>
                  <a:lnTo>
                    <a:pt x="126" y="550"/>
                  </a:lnTo>
                  <a:lnTo>
                    <a:pt x="120" y="554"/>
                  </a:lnTo>
                  <a:lnTo>
                    <a:pt x="120" y="556"/>
                  </a:lnTo>
                  <a:lnTo>
                    <a:pt x="122" y="556"/>
                  </a:lnTo>
                  <a:lnTo>
                    <a:pt x="122" y="558"/>
                  </a:lnTo>
                  <a:lnTo>
                    <a:pt x="120" y="556"/>
                  </a:lnTo>
                  <a:lnTo>
                    <a:pt x="120" y="558"/>
                  </a:lnTo>
                  <a:lnTo>
                    <a:pt x="122" y="564"/>
                  </a:lnTo>
                  <a:lnTo>
                    <a:pt x="126" y="568"/>
                  </a:lnTo>
                  <a:lnTo>
                    <a:pt x="134" y="572"/>
                  </a:lnTo>
                  <a:lnTo>
                    <a:pt x="134" y="570"/>
                  </a:lnTo>
                  <a:lnTo>
                    <a:pt x="132" y="566"/>
                  </a:lnTo>
                  <a:lnTo>
                    <a:pt x="130" y="566"/>
                  </a:lnTo>
                  <a:lnTo>
                    <a:pt x="134" y="564"/>
                  </a:lnTo>
                  <a:lnTo>
                    <a:pt x="130" y="562"/>
                  </a:lnTo>
                  <a:lnTo>
                    <a:pt x="130" y="562"/>
                  </a:lnTo>
                  <a:close/>
                  <a:moveTo>
                    <a:pt x="456" y="118"/>
                  </a:moveTo>
                  <a:lnTo>
                    <a:pt x="456" y="118"/>
                  </a:lnTo>
                  <a:lnTo>
                    <a:pt x="460" y="120"/>
                  </a:lnTo>
                  <a:lnTo>
                    <a:pt x="462" y="122"/>
                  </a:lnTo>
                  <a:lnTo>
                    <a:pt x="466" y="122"/>
                  </a:lnTo>
                  <a:lnTo>
                    <a:pt x="466" y="120"/>
                  </a:lnTo>
                  <a:lnTo>
                    <a:pt x="466" y="112"/>
                  </a:lnTo>
                  <a:lnTo>
                    <a:pt x="464" y="110"/>
                  </a:lnTo>
                  <a:lnTo>
                    <a:pt x="460" y="108"/>
                  </a:lnTo>
                  <a:lnTo>
                    <a:pt x="458" y="104"/>
                  </a:lnTo>
                  <a:lnTo>
                    <a:pt x="458" y="100"/>
                  </a:lnTo>
                  <a:lnTo>
                    <a:pt x="448" y="92"/>
                  </a:lnTo>
                  <a:lnTo>
                    <a:pt x="444" y="92"/>
                  </a:lnTo>
                  <a:lnTo>
                    <a:pt x="442" y="104"/>
                  </a:lnTo>
                  <a:lnTo>
                    <a:pt x="446" y="116"/>
                  </a:lnTo>
                  <a:lnTo>
                    <a:pt x="456" y="118"/>
                  </a:lnTo>
                  <a:lnTo>
                    <a:pt x="456" y="118"/>
                  </a:lnTo>
                  <a:close/>
                  <a:moveTo>
                    <a:pt x="230" y="138"/>
                  </a:moveTo>
                  <a:lnTo>
                    <a:pt x="230" y="140"/>
                  </a:lnTo>
                  <a:lnTo>
                    <a:pt x="232" y="140"/>
                  </a:lnTo>
                  <a:lnTo>
                    <a:pt x="234" y="146"/>
                  </a:lnTo>
                  <a:lnTo>
                    <a:pt x="236" y="150"/>
                  </a:lnTo>
                  <a:lnTo>
                    <a:pt x="238" y="152"/>
                  </a:lnTo>
                  <a:lnTo>
                    <a:pt x="242" y="152"/>
                  </a:lnTo>
                  <a:lnTo>
                    <a:pt x="246" y="152"/>
                  </a:lnTo>
                  <a:lnTo>
                    <a:pt x="252" y="148"/>
                  </a:lnTo>
                  <a:lnTo>
                    <a:pt x="260" y="138"/>
                  </a:lnTo>
                  <a:lnTo>
                    <a:pt x="262" y="138"/>
                  </a:lnTo>
                  <a:lnTo>
                    <a:pt x="264" y="142"/>
                  </a:lnTo>
                  <a:lnTo>
                    <a:pt x="272" y="142"/>
                  </a:lnTo>
                  <a:lnTo>
                    <a:pt x="278" y="140"/>
                  </a:lnTo>
                  <a:lnTo>
                    <a:pt x="282" y="140"/>
                  </a:lnTo>
                  <a:lnTo>
                    <a:pt x="282" y="138"/>
                  </a:lnTo>
                  <a:lnTo>
                    <a:pt x="284" y="136"/>
                  </a:lnTo>
                  <a:lnTo>
                    <a:pt x="284" y="134"/>
                  </a:lnTo>
                  <a:lnTo>
                    <a:pt x="286" y="132"/>
                  </a:lnTo>
                  <a:lnTo>
                    <a:pt x="286" y="130"/>
                  </a:lnTo>
                  <a:lnTo>
                    <a:pt x="286" y="128"/>
                  </a:lnTo>
                  <a:lnTo>
                    <a:pt x="286" y="124"/>
                  </a:lnTo>
                  <a:lnTo>
                    <a:pt x="290" y="124"/>
                  </a:lnTo>
                  <a:lnTo>
                    <a:pt x="290" y="120"/>
                  </a:lnTo>
                  <a:lnTo>
                    <a:pt x="292" y="116"/>
                  </a:lnTo>
                  <a:lnTo>
                    <a:pt x="298" y="114"/>
                  </a:lnTo>
                  <a:lnTo>
                    <a:pt x="298" y="112"/>
                  </a:lnTo>
                  <a:lnTo>
                    <a:pt x="306" y="104"/>
                  </a:lnTo>
                  <a:lnTo>
                    <a:pt x="314" y="102"/>
                  </a:lnTo>
                  <a:lnTo>
                    <a:pt x="320" y="100"/>
                  </a:lnTo>
                  <a:lnTo>
                    <a:pt x="324" y="96"/>
                  </a:lnTo>
                  <a:lnTo>
                    <a:pt x="328" y="96"/>
                  </a:lnTo>
                  <a:lnTo>
                    <a:pt x="330" y="98"/>
                  </a:lnTo>
                  <a:lnTo>
                    <a:pt x="332" y="96"/>
                  </a:lnTo>
                  <a:lnTo>
                    <a:pt x="340" y="96"/>
                  </a:lnTo>
                  <a:lnTo>
                    <a:pt x="344" y="92"/>
                  </a:lnTo>
                  <a:lnTo>
                    <a:pt x="344" y="88"/>
                  </a:lnTo>
                  <a:lnTo>
                    <a:pt x="340" y="86"/>
                  </a:lnTo>
                  <a:lnTo>
                    <a:pt x="336" y="84"/>
                  </a:lnTo>
                  <a:lnTo>
                    <a:pt x="336" y="82"/>
                  </a:lnTo>
                  <a:lnTo>
                    <a:pt x="334" y="78"/>
                  </a:lnTo>
                  <a:lnTo>
                    <a:pt x="320" y="74"/>
                  </a:lnTo>
                  <a:lnTo>
                    <a:pt x="312" y="74"/>
                  </a:lnTo>
                  <a:lnTo>
                    <a:pt x="306" y="74"/>
                  </a:lnTo>
                  <a:lnTo>
                    <a:pt x="304" y="76"/>
                  </a:lnTo>
                  <a:lnTo>
                    <a:pt x="288" y="74"/>
                  </a:lnTo>
                  <a:lnTo>
                    <a:pt x="276" y="70"/>
                  </a:lnTo>
                  <a:lnTo>
                    <a:pt x="272" y="66"/>
                  </a:lnTo>
                  <a:lnTo>
                    <a:pt x="266" y="64"/>
                  </a:lnTo>
                  <a:lnTo>
                    <a:pt x="260" y="68"/>
                  </a:lnTo>
                  <a:lnTo>
                    <a:pt x="252" y="70"/>
                  </a:lnTo>
                  <a:lnTo>
                    <a:pt x="244" y="70"/>
                  </a:lnTo>
                  <a:lnTo>
                    <a:pt x="242" y="72"/>
                  </a:lnTo>
                  <a:lnTo>
                    <a:pt x="236" y="72"/>
                  </a:lnTo>
                  <a:lnTo>
                    <a:pt x="226" y="76"/>
                  </a:lnTo>
                  <a:lnTo>
                    <a:pt x="228" y="82"/>
                  </a:lnTo>
                  <a:lnTo>
                    <a:pt x="230" y="88"/>
                  </a:lnTo>
                  <a:lnTo>
                    <a:pt x="228" y="92"/>
                  </a:lnTo>
                  <a:lnTo>
                    <a:pt x="228" y="98"/>
                  </a:lnTo>
                  <a:lnTo>
                    <a:pt x="228" y="104"/>
                  </a:lnTo>
                  <a:lnTo>
                    <a:pt x="230" y="104"/>
                  </a:lnTo>
                  <a:lnTo>
                    <a:pt x="230" y="106"/>
                  </a:lnTo>
                  <a:lnTo>
                    <a:pt x="224" y="106"/>
                  </a:lnTo>
                  <a:lnTo>
                    <a:pt x="226" y="114"/>
                  </a:lnTo>
                  <a:lnTo>
                    <a:pt x="228" y="118"/>
                  </a:lnTo>
                  <a:lnTo>
                    <a:pt x="226" y="122"/>
                  </a:lnTo>
                  <a:lnTo>
                    <a:pt x="224" y="126"/>
                  </a:lnTo>
                  <a:lnTo>
                    <a:pt x="222" y="130"/>
                  </a:lnTo>
                  <a:lnTo>
                    <a:pt x="222" y="132"/>
                  </a:lnTo>
                  <a:lnTo>
                    <a:pt x="224" y="134"/>
                  </a:lnTo>
                  <a:lnTo>
                    <a:pt x="226" y="136"/>
                  </a:lnTo>
                  <a:lnTo>
                    <a:pt x="230" y="138"/>
                  </a:lnTo>
                  <a:lnTo>
                    <a:pt x="230" y="13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9" name="Freeform 413">
              <a:extLst>
                <a:ext uri="{FF2B5EF4-FFF2-40B4-BE49-F238E27FC236}">
                  <a16:creationId xmlns:a16="http://schemas.microsoft.com/office/drawing/2014/main" id="{BD64D87C-1596-4B31-8247-1867F0289658}"/>
                </a:ext>
              </a:extLst>
            </p:cNvPr>
            <p:cNvSpPr>
              <a:spLocks/>
            </p:cNvSpPr>
            <p:nvPr/>
          </p:nvSpPr>
          <p:spPr bwMode="auto">
            <a:xfrm>
              <a:off x="1643514" y="3747507"/>
              <a:ext cx="20717" cy="5179"/>
            </a:xfrm>
            <a:custGeom>
              <a:avLst/>
              <a:gdLst/>
              <a:ahLst/>
              <a:cxnLst>
                <a:cxn ang="0">
                  <a:pos x="6" y="4"/>
                </a:cxn>
                <a:cxn ang="0">
                  <a:pos x="6" y="4"/>
                </a:cxn>
                <a:cxn ang="0">
                  <a:pos x="0" y="2"/>
                </a:cxn>
                <a:cxn ang="0">
                  <a:pos x="2" y="0"/>
                </a:cxn>
                <a:cxn ang="0">
                  <a:pos x="8" y="2"/>
                </a:cxn>
                <a:cxn ang="0">
                  <a:pos x="12" y="4"/>
                </a:cxn>
                <a:cxn ang="0">
                  <a:pos x="14" y="4"/>
                </a:cxn>
                <a:cxn ang="0">
                  <a:pos x="16" y="4"/>
                </a:cxn>
                <a:cxn ang="0">
                  <a:pos x="14" y="4"/>
                </a:cxn>
                <a:cxn ang="0">
                  <a:pos x="6" y="4"/>
                </a:cxn>
                <a:cxn ang="0">
                  <a:pos x="6" y="4"/>
                </a:cxn>
              </a:cxnLst>
              <a:rect l="0" t="0" r="r" b="b"/>
              <a:pathLst>
                <a:path w="16" h="4">
                  <a:moveTo>
                    <a:pt x="6" y="4"/>
                  </a:moveTo>
                  <a:lnTo>
                    <a:pt x="6" y="4"/>
                  </a:lnTo>
                  <a:lnTo>
                    <a:pt x="0" y="2"/>
                  </a:lnTo>
                  <a:lnTo>
                    <a:pt x="2" y="0"/>
                  </a:lnTo>
                  <a:lnTo>
                    <a:pt x="8" y="2"/>
                  </a:lnTo>
                  <a:lnTo>
                    <a:pt x="12" y="4"/>
                  </a:lnTo>
                  <a:lnTo>
                    <a:pt x="14" y="4"/>
                  </a:lnTo>
                  <a:lnTo>
                    <a:pt x="16" y="4"/>
                  </a:lnTo>
                  <a:lnTo>
                    <a:pt x="14" y="4"/>
                  </a:lnTo>
                  <a:lnTo>
                    <a:pt x="6" y="4"/>
                  </a:lnTo>
                  <a:lnTo>
                    <a:pt x="6"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0" name="Freeform 414">
              <a:extLst>
                <a:ext uri="{FF2B5EF4-FFF2-40B4-BE49-F238E27FC236}">
                  <a16:creationId xmlns:a16="http://schemas.microsoft.com/office/drawing/2014/main" id="{35160911-162A-432E-B125-A129209FCB47}"/>
                </a:ext>
              </a:extLst>
            </p:cNvPr>
            <p:cNvSpPr>
              <a:spLocks/>
            </p:cNvSpPr>
            <p:nvPr/>
          </p:nvSpPr>
          <p:spPr bwMode="auto">
            <a:xfrm>
              <a:off x="1692717" y="3084567"/>
              <a:ext cx="28486" cy="12948"/>
            </a:xfrm>
            <a:custGeom>
              <a:avLst/>
              <a:gdLst/>
              <a:ahLst/>
              <a:cxnLst>
                <a:cxn ang="0">
                  <a:pos x="16" y="0"/>
                </a:cxn>
                <a:cxn ang="0">
                  <a:pos x="16" y="0"/>
                </a:cxn>
                <a:cxn ang="0">
                  <a:pos x="14" y="2"/>
                </a:cxn>
                <a:cxn ang="0">
                  <a:pos x="10" y="2"/>
                </a:cxn>
                <a:cxn ang="0">
                  <a:pos x="0" y="2"/>
                </a:cxn>
                <a:cxn ang="0">
                  <a:pos x="0" y="4"/>
                </a:cxn>
                <a:cxn ang="0">
                  <a:pos x="2" y="4"/>
                </a:cxn>
                <a:cxn ang="0">
                  <a:pos x="2" y="6"/>
                </a:cxn>
                <a:cxn ang="0">
                  <a:pos x="4" y="8"/>
                </a:cxn>
                <a:cxn ang="0">
                  <a:pos x="6" y="6"/>
                </a:cxn>
                <a:cxn ang="0">
                  <a:pos x="8" y="10"/>
                </a:cxn>
                <a:cxn ang="0">
                  <a:pos x="10" y="10"/>
                </a:cxn>
                <a:cxn ang="0">
                  <a:pos x="18" y="2"/>
                </a:cxn>
                <a:cxn ang="0">
                  <a:pos x="22" y="0"/>
                </a:cxn>
                <a:cxn ang="0">
                  <a:pos x="20" y="0"/>
                </a:cxn>
                <a:cxn ang="0">
                  <a:pos x="16" y="0"/>
                </a:cxn>
              </a:cxnLst>
              <a:rect l="0" t="0" r="r" b="b"/>
              <a:pathLst>
                <a:path w="22" h="10">
                  <a:moveTo>
                    <a:pt x="16" y="0"/>
                  </a:moveTo>
                  <a:lnTo>
                    <a:pt x="16" y="0"/>
                  </a:lnTo>
                  <a:lnTo>
                    <a:pt x="14" y="2"/>
                  </a:lnTo>
                  <a:lnTo>
                    <a:pt x="10" y="2"/>
                  </a:lnTo>
                  <a:lnTo>
                    <a:pt x="0" y="2"/>
                  </a:lnTo>
                  <a:lnTo>
                    <a:pt x="0" y="4"/>
                  </a:lnTo>
                  <a:lnTo>
                    <a:pt x="2" y="4"/>
                  </a:lnTo>
                  <a:lnTo>
                    <a:pt x="2" y="6"/>
                  </a:lnTo>
                  <a:lnTo>
                    <a:pt x="4" y="8"/>
                  </a:lnTo>
                  <a:lnTo>
                    <a:pt x="6" y="6"/>
                  </a:lnTo>
                  <a:lnTo>
                    <a:pt x="8" y="10"/>
                  </a:lnTo>
                  <a:lnTo>
                    <a:pt x="10" y="10"/>
                  </a:lnTo>
                  <a:lnTo>
                    <a:pt x="18" y="2"/>
                  </a:lnTo>
                  <a:lnTo>
                    <a:pt x="22" y="0"/>
                  </a:lnTo>
                  <a:lnTo>
                    <a:pt x="20" y="0"/>
                  </a:lnTo>
                  <a:lnTo>
                    <a:pt x="16"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1" name="Freeform 415">
              <a:extLst>
                <a:ext uri="{FF2B5EF4-FFF2-40B4-BE49-F238E27FC236}">
                  <a16:creationId xmlns:a16="http://schemas.microsoft.com/office/drawing/2014/main" id="{1BBCEF60-DD5C-492E-9155-D08A3AF87DBF}"/>
                </a:ext>
              </a:extLst>
            </p:cNvPr>
            <p:cNvSpPr>
              <a:spLocks/>
            </p:cNvSpPr>
            <p:nvPr/>
          </p:nvSpPr>
          <p:spPr bwMode="auto">
            <a:xfrm>
              <a:off x="1692717" y="3084567"/>
              <a:ext cx="28486" cy="12948"/>
            </a:xfrm>
            <a:custGeom>
              <a:avLst/>
              <a:gdLst/>
              <a:ahLst/>
              <a:cxnLst>
                <a:cxn ang="0">
                  <a:pos x="16" y="0"/>
                </a:cxn>
                <a:cxn ang="0">
                  <a:pos x="16" y="0"/>
                </a:cxn>
                <a:cxn ang="0">
                  <a:pos x="14" y="2"/>
                </a:cxn>
                <a:cxn ang="0">
                  <a:pos x="10" y="2"/>
                </a:cxn>
                <a:cxn ang="0">
                  <a:pos x="0" y="2"/>
                </a:cxn>
                <a:cxn ang="0">
                  <a:pos x="0" y="4"/>
                </a:cxn>
                <a:cxn ang="0">
                  <a:pos x="2" y="4"/>
                </a:cxn>
                <a:cxn ang="0">
                  <a:pos x="2" y="6"/>
                </a:cxn>
                <a:cxn ang="0">
                  <a:pos x="4" y="8"/>
                </a:cxn>
                <a:cxn ang="0">
                  <a:pos x="6" y="6"/>
                </a:cxn>
                <a:cxn ang="0">
                  <a:pos x="8" y="10"/>
                </a:cxn>
                <a:cxn ang="0">
                  <a:pos x="10" y="10"/>
                </a:cxn>
                <a:cxn ang="0">
                  <a:pos x="18" y="2"/>
                </a:cxn>
                <a:cxn ang="0">
                  <a:pos x="22" y="0"/>
                </a:cxn>
                <a:cxn ang="0">
                  <a:pos x="20" y="0"/>
                </a:cxn>
                <a:cxn ang="0">
                  <a:pos x="16" y="0"/>
                </a:cxn>
              </a:cxnLst>
              <a:rect l="0" t="0" r="r" b="b"/>
              <a:pathLst>
                <a:path w="22" h="10">
                  <a:moveTo>
                    <a:pt x="16" y="0"/>
                  </a:moveTo>
                  <a:lnTo>
                    <a:pt x="16" y="0"/>
                  </a:lnTo>
                  <a:lnTo>
                    <a:pt x="14" y="2"/>
                  </a:lnTo>
                  <a:lnTo>
                    <a:pt x="10" y="2"/>
                  </a:lnTo>
                  <a:lnTo>
                    <a:pt x="0" y="2"/>
                  </a:lnTo>
                  <a:lnTo>
                    <a:pt x="0" y="4"/>
                  </a:lnTo>
                  <a:lnTo>
                    <a:pt x="2" y="4"/>
                  </a:lnTo>
                  <a:lnTo>
                    <a:pt x="2" y="6"/>
                  </a:lnTo>
                  <a:lnTo>
                    <a:pt x="4" y="8"/>
                  </a:lnTo>
                  <a:lnTo>
                    <a:pt x="6" y="6"/>
                  </a:lnTo>
                  <a:lnTo>
                    <a:pt x="8" y="10"/>
                  </a:lnTo>
                  <a:lnTo>
                    <a:pt x="10" y="10"/>
                  </a:lnTo>
                  <a:lnTo>
                    <a:pt x="18" y="2"/>
                  </a:lnTo>
                  <a:lnTo>
                    <a:pt x="22" y="0"/>
                  </a:lnTo>
                  <a:lnTo>
                    <a:pt x="20" y="0"/>
                  </a:lnTo>
                  <a:lnTo>
                    <a:pt x="16"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2" name="Freeform 416">
              <a:extLst>
                <a:ext uri="{FF2B5EF4-FFF2-40B4-BE49-F238E27FC236}">
                  <a16:creationId xmlns:a16="http://schemas.microsoft.com/office/drawing/2014/main" id="{503E00CA-95C3-4D32-92B8-F1892D943249}"/>
                </a:ext>
              </a:extLst>
            </p:cNvPr>
            <p:cNvSpPr>
              <a:spLocks/>
            </p:cNvSpPr>
            <p:nvPr/>
          </p:nvSpPr>
          <p:spPr bwMode="auto">
            <a:xfrm>
              <a:off x="1672000" y="2947317"/>
              <a:ext cx="75099" cy="46613"/>
            </a:xfrm>
            <a:custGeom>
              <a:avLst/>
              <a:gdLst/>
              <a:ahLst/>
              <a:cxnLst>
                <a:cxn ang="0">
                  <a:pos x="58" y="18"/>
                </a:cxn>
                <a:cxn ang="0">
                  <a:pos x="56" y="18"/>
                </a:cxn>
                <a:cxn ang="0">
                  <a:pos x="52" y="6"/>
                </a:cxn>
                <a:cxn ang="0">
                  <a:pos x="50" y="2"/>
                </a:cxn>
                <a:cxn ang="0">
                  <a:pos x="48" y="2"/>
                </a:cxn>
                <a:cxn ang="0">
                  <a:pos x="46" y="2"/>
                </a:cxn>
                <a:cxn ang="0">
                  <a:pos x="44" y="0"/>
                </a:cxn>
                <a:cxn ang="0">
                  <a:pos x="38" y="2"/>
                </a:cxn>
                <a:cxn ang="0">
                  <a:pos x="32" y="4"/>
                </a:cxn>
                <a:cxn ang="0">
                  <a:pos x="28" y="4"/>
                </a:cxn>
                <a:cxn ang="0">
                  <a:pos x="26" y="4"/>
                </a:cxn>
                <a:cxn ang="0">
                  <a:pos x="22" y="0"/>
                </a:cxn>
                <a:cxn ang="0">
                  <a:pos x="18" y="2"/>
                </a:cxn>
                <a:cxn ang="0">
                  <a:pos x="14" y="4"/>
                </a:cxn>
                <a:cxn ang="0">
                  <a:pos x="10" y="4"/>
                </a:cxn>
                <a:cxn ang="0">
                  <a:pos x="6" y="8"/>
                </a:cxn>
                <a:cxn ang="0">
                  <a:pos x="4" y="14"/>
                </a:cxn>
                <a:cxn ang="0">
                  <a:pos x="0" y="26"/>
                </a:cxn>
                <a:cxn ang="0">
                  <a:pos x="0" y="24"/>
                </a:cxn>
                <a:cxn ang="0">
                  <a:pos x="0" y="28"/>
                </a:cxn>
                <a:cxn ang="0">
                  <a:pos x="2" y="32"/>
                </a:cxn>
                <a:cxn ang="0">
                  <a:pos x="6" y="36"/>
                </a:cxn>
                <a:cxn ang="0">
                  <a:pos x="10" y="36"/>
                </a:cxn>
                <a:cxn ang="0">
                  <a:pos x="12" y="34"/>
                </a:cxn>
                <a:cxn ang="0">
                  <a:pos x="16" y="32"/>
                </a:cxn>
                <a:cxn ang="0">
                  <a:pos x="22" y="34"/>
                </a:cxn>
                <a:cxn ang="0">
                  <a:pos x="30" y="34"/>
                </a:cxn>
                <a:cxn ang="0">
                  <a:pos x="34" y="34"/>
                </a:cxn>
                <a:cxn ang="0">
                  <a:pos x="36" y="30"/>
                </a:cxn>
                <a:cxn ang="0">
                  <a:pos x="42" y="26"/>
                </a:cxn>
                <a:cxn ang="0">
                  <a:pos x="44" y="26"/>
                </a:cxn>
                <a:cxn ang="0">
                  <a:pos x="48" y="26"/>
                </a:cxn>
                <a:cxn ang="0">
                  <a:pos x="50" y="24"/>
                </a:cxn>
                <a:cxn ang="0">
                  <a:pos x="50" y="24"/>
                </a:cxn>
                <a:cxn ang="0">
                  <a:pos x="54" y="24"/>
                </a:cxn>
                <a:cxn ang="0">
                  <a:pos x="58" y="22"/>
                </a:cxn>
                <a:cxn ang="0">
                  <a:pos x="58" y="18"/>
                </a:cxn>
              </a:cxnLst>
              <a:rect l="0" t="0" r="r" b="b"/>
              <a:pathLst>
                <a:path w="58" h="36">
                  <a:moveTo>
                    <a:pt x="58" y="18"/>
                  </a:moveTo>
                  <a:lnTo>
                    <a:pt x="56" y="18"/>
                  </a:lnTo>
                  <a:lnTo>
                    <a:pt x="52" y="6"/>
                  </a:lnTo>
                  <a:lnTo>
                    <a:pt x="50" y="2"/>
                  </a:lnTo>
                  <a:lnTo>
                    <a:pt x="48" y="2"/>
                  </a:lnTo>
                  <a:lnTo>
                    <a:pt x="46" y="2"/>
                  </a:lnTo>
                  <a:lnTo>
                    <a:pt x="44" y="0"/>
                  </a:lnTo>
                  <a:lnTo>
                    <a:pt x="38" y="2"/>
                  </a:lnTo>
                  <a:lnTo>
                    <a:pt x="32" y="4"/>
                  </a:lnTo>
                  <a:lnTo>
                    <a:pt x="28" y="4"/>
                  </a:lnTo>
                  <a:lnTo>
                    <a:pt x="26" y="4"/>
                  </a:lnTo>
                  <a:lnTo>
                    <a:pt x="22" y="0"/>
                  </a:lnTo>
                  <a:lnTo>
                    <a:pt x="18" y="2"/>
                  </a:lnTo>
                  <a:lnTo>
                    <a:pt x="14" y="4"/>
                  </a:lnTo>
                  <a:lnTo>
                    <a:pt x="10" y="4"/>
                  </a:lnTo>
                  <a:lnTo>
                    <a:pt x="6" y="8"/>
                  </a:lnTo>
                  <a:lnTo>
                    <a:pt x="4" y="14"/>
                  </a:lnTo>
                  <a:lnTo>
                    <a:pt x="0" y="26"/>
                  </a:lnTo>
                  <a:lnTo>
                    <a:pt x="0" y="24"/>
                  </a:lnTo>
                  <a:lnTo>
                    <a:pt x="0" y="28"/>
                  </a:lnTo>
                  <a:lnTo>
                    <a:pt x="2" y="32"/>
                  </a:lnTo>
                  <a:lnTo>
                    <a:pt x="6" y="36"/>
                  </a:lnTo>
                  <a:lnTo>
                    <a:pt x="10" y="36"/>
                  </a:lnTo>
                  <a:lnTo>
                    <a:pt x="12" y="34"/>
                  </a:lnTo>
                  <a:lnTo>
                    <a:pt x="16" y="32"/>
                  </a:lnTo>
                  <a:lnTo>
                    <a:pt x="22" y="34"/>
                  </a:lnTo>
                  <a:lnTo>
                    <a:pt x="30" y="34"/>
                  </a:lnTo>
                  <a:lnTo>
                    <a:pt x="34" y="34"/>
                  </a:lnTo>
                  <a:lnTo>
                    <a:pt x="36" y="30"/>
                  </a:lnTo>
                  <a:lnTo>
                    <a:pt x="42" y="26"/>
                  </a:lnTo>
                  <a:lnTo>
                    <a:pt x="44" y="26"/>
                  </a:lnTo>
                  <a:lnTo>
                    <a:pt x="48" y="26"/>
                  </a:lnTo>
                  <a:lnTo>
                    <a:pt x="50" y="24"/>
                  </a:lnTo>
                  <a:lnTo>
                    <a:pt x="50" y="24"/>
                  </a:lnTo>
                  <a:lnTo>
                    <a:pt x="54" y="24"/>
                  </a:lnTo>
                  <a:lnTo>
                    <a:pt x="58" y="22"/>
                  </a:lnTo>
                  <a:lnTo>
                    <a:pt x="58" y="18"/>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3" name="Freeform 417">
              <a:extLst>
                <a:ext uri="{FF2B5EF4-FFF2-40B4-BE49-F238E27FC236}">
                  <a16:creationId xmlns:a16="http://schemas.microsoft.com/office/drawing/2014/main" id="{0800D269-EE91-4A5A-820D-6A2C14C9DA3C}"/>
                </a:ext>
              </a:extLst>
            </p:cNvPr>
            <p:cNvSpPr>
              <a:spLocks/>
            </p:cNvSpPr>
            <p:nvPr/>
          </p:nvSpPr>
          <p:spPr bwMode="auto">
            <a:xfrm>
              <a:off x="1672000" y="2947317"/>
              <a:ext cx="75099" cy="46613"/>
            </a:xfrm>
            <a:custGeom>
              <a:avLst/>
              <a:gdLst/>
              <a:ahLst/>
              <a:cxnLst>
                <a:cxn ang="0">
                  <a:pos x="58" y="18"/>
                </a:cxn>
                <a:cxn ang="0">
                  <a:pos x="56" y="18"/>
                </a:cxn>
                <a:cxn ang="0">
                  <a:pos x="52" y="6"/>
                </a:cxn>
                <a:cxn ang="0">
                  <a:pos x="50" y="2"/>
                </a:cxn>
                <a:cxn ang="0">
                  <a:pos x="48" y="2"/>
                </a:cxn>
                <a:cxn ang="0">
                  <a:pos x="46" y="2"/>
                </a:cxn>
                <a:cxn ang="0">
                  <a:pos x="44" y="0"/>
                </a:cxn>
                <a:cxn ang="0">
                  <a:pos x="38" y="2"/>
                </a:cxn>
                <a:cxn ang="0">
                  <a:pos x="32" y="4"/>
                </a:cxn>
                <a:cxn ang="0">
                  <a:pos x="28" y="4"/>
                </a:cxn>
                <a:cxn ang="0">
                  <a:pos x="26" y="4"/>
                </a:cxn>
                <a:cxn ang="0">
                  <a:pos x="22" y="0"/>
                </a:cxn>
                <a:cxn ang="0">
                  <a:pos x="18" y="2"/>
                </a:cxn>
                <a:cxn ang="0">
                  <a:pos x="14" y="4"/>
                </a:cxn>
                <a:cxn ang="0">
                  <a:pos x="10" y="4"/>
                </a:cxn>
                <a:cxn ang="0">
                  <a:pos x="6" y="8"/>
                </a:cxn>
                <a:cxn ang="0">
                  <a:pos x="4" y="14"/>
                </a:cxn>
                <a:cxn ang="0">
                  <a:pos x="0" y="26"/>
                </a:cxn>
                <a:cxn ang="0">
                  <a:pos x="0" y="24"/>
                </a:cxn>
                <a:cxn ang="0">
                  <a:pos x="0" y="28"/>
                </a:cxn>
                <a:cxn ang="0">
                  <a:pos x="2" y="32"/>
                </a:cxn>
                <a:cxn ang="0">
                  <a:pos x="6" y="36"/>
                </a:cxn>
                <a:cxn ang="0">
                  <a:pos x="10" y="36"/>
                </a:cxn>
                <a:cxn ang="0">
                  <a:pos x="12" y="34"/>
                </a:cxn>
                <a:cxn ang="0">
                  <a:pos x="16" y="32"/>
                </a:cxn>
                <a:cxn ang="0">
                  <a:pos x="22" y="34"/>
                </a:cxn>
                <a:cxn ang="0">
                  <a:pos x="30" y="34"/>
                </a:cxn>
                <a:cxn ang="0">
                  <a:pos x="34" y="34"/>
                </a:cxn>
                <a:cxn ang="0">
                  <a:pos x="36" y="30"/>
                </a:cxn>
                <a:cxn ang="0">
                  <a:pos x="42" y="26"/>
                </a:cxn>
                <a:cxn ang="0">
                  <a:pos x="44" y="26"/>
                </a:cxn>
                <a:cxn ang="0">
                  <a:pos x="48" y="26"/>
                </a:cxn>
                <a:cxn ang="0">
                  <a:pos x="50" y="24"/>
                </a:cxn>
                <a:cxn ang="0">
                  <a:pos x="50" y="24"/>
                </a:cxn>
                <a:cxn ang="0">
                  <a:pos x="54" y="24"/>
                </a:cxn>
                <a:cxn ang="0">
                  <a:pos x="58" y="22"/>
                </a:cxn>
                <a:cxn ang="0">
                  <a:pos x="58" y="18"/>
                </a:cxn>
              </a:cxnLst>
              <a:rect l="0" t="0" r="r" b="b"/>
              <a:pathLst>
                <a:path w="58" h="36">
                  <a:moveTo>
                    <a:pt x="58" y="18"/>
                  </a:moveTo>
                  <a:lnTo>
                    <a:pt x="56" y="18"/>
                  </a:lnTo>
                  <a:lnTo>
                    <a:pt x="52" y="6"/>
                  </a:lnTo>
                  <a:lnTo>
                    <a:pt x="50" y="2"/>
                  </a:lnTo>
                  <a:lnTo>
                    <a:pt x="48" y="2"/>
                  </a:lnTo>
                  <a:lnTo>
                    <a:pt x="46" y="2"/>
                  </a:lnTo>
                  <a:lnTo>
                    <a:pt x="44" y="0"/>
                  </a:lnTo>
                  <a:lnTo>
                    <a:pt x="38" y="2"/>
                  </a:lnTo>
                  <a:lnTo>
                    <a:pt x="32" y="4"/>
                  </a:lnTo>
                  <a:lnTo>
                    <a:pt x="28" y="4"/>
                  </a:lnTo>
                  <a:lnTo>
                    <a:pt x="26" y="4"/>
                  </a:lnTo>
                  <a:lnTo>
                    <a:pt x="22" y="0"/>
                  </a:lnTo>
                  <a:lnTo>
                    <a:pt x="18" y="2"/>
                  </a:lnTo>
                  <a:lnTo>
                    <a:pt x="14" y="4"/>
                  </a:lnTo>
                  <a:lnTo>
                    <a:pt x="10" y="4"/>
                  </a:lnTo>
                  <a:lnTo>
                    <a:pt x="6" y="8"/>
                  </a:lnTo>
                  <a:lnTo>
                    <a:pt x="4" y="14"/>
                  </a:lnTo>
                  <a:lnTo>
                    <a:pt x="0" y="26"/>
                  </a:lnTo>
                  <a:lnTo>
                    <a:pt x="0" y="24"/>
                  </a:lnTo>
                  <a:lnTo>
                    <a:pt x="0" y="28"/>
                  </a:lnTo>
                  <a:lnTo>
                    <a:pt x="2" y="32"/>
                  </a:lnTo>
                  <a:lnTo>
                    <a:pt x="6" y="36"/>
                  </a:lnTo>
                  <a:lnTo>
                    <a:pt x="10" y="36"/>
                  </a:lnTo>
                  <a:lnTo>
                    <a:pt x="12" y="34"/>
                  </a:lnTo>
                  <a:lnTo>
                    <a:pt x="16" y="32"/>
                  </a:lnTo>
                  <a:lnTo>
                    <a:pt x="22" y="34"/>
                  </a:lnTo>
                  <a:lnTo>
                    <a:pt x="30" y="34"/>
                  </a:lnTo>
                  <a:lnTo>
                    <a:pt x="34" y="34"/>
                  </a:lnTo>
                  <a:lnTo>
                    <a:pt x="36" y="30"/>
                  </a:lnTo>
                  <a:lnTo>
                    <a:pt x="42" y="26"/>
                  </a:lnTo>
                  <a:lnTo>
                    <a:pt x="44" y="26"/>
                  </a:lnTo>
                  <a:lnTo>
                    <a:pt x="48" y="26"/>
                  </a:lnTo>
                  <a:lnTo>
                    <a:pt x="50" y="24"/>
                  </a:lnTo>
                  <a:lnTo>
                    <a:pt x="50" y="24"/>
                  </a:lnTo>
                  <a:lnTo>
                    <a:pt x="54" y="24"/>
                  </a:lnTo>
                  <a:lnTo>
                    <a:pt x="58" y="22"/>
                  </a:lnTo>
                  <a:lnTo>
                    <a:pt x="58" y="18"/>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4" name="Freeform 418">
              <a:extLst>
                <a:ext uri="{FF2B5EF4-FFF2-40B4-BE49-F238E27FC236}">
                  <a16:creationId xmlns:a16="http://schemas.microsoft.com/office/drawing/2014/main" id="{8160D6EA-EC4B-462C-A4FD-C706DC91C601}"/>
                </a:ext>
              </a:extLst>
            </p:cNvPr>
            <p:cNvSpPr>
              <a:spLocks/>
            </p:cNvSpPr>
            <p:nvPr/>
          </p:nvSpPr>
          <p:spPr bwMode="auto">
            <a:xfrm>
              <a:off x="1420808" y="2892936"/>
              <a:ext cx="44023" cy="41434"/>
            </a:xfrm>
            <a:custGeom>
              <a:avLst/>
              <a:gdLst/>
              <a:ahLst/>
              <a:cxnLst>
                <a:cxn ang="0">
                  <a:pos x="8" y="26"/>
                </a:cxn>
                <a:cxn ang="0">
                  <a:pos x="8" y="26"/>
                </a:cxn>
                <a:cxn ang="0">
                  <a:pos x="20" y="30"/>
                </a:cxn>
                <a:cxn ang="0">
                  <a:pos x="20" y="28"/>
                </a:cxn>
                <a:cxn ang="0">
                  <a:pos x="22" y="28"/>
                </a:cxn>
                <a:cxn ang="0">
                  <a:pos x="26" y="32"/>
                </a:cxn>
                <a:cxn ang="0">
                  <a:pos x="32" y="32"/>
                </a:cxn>
                <a:cxn ang="0">
                  <a:pos x="34" y="20"/>
                </a:cxn>
                <a:cxn ang="0">
                  <a:pos x="34" y="14"/>
                </a:cxn>
                <a:cxn ang="0">
                  <a:pos x="34" y="10"/>
                </a:cxn>
                <a:cxn ang="0">
                  <a:pos x="30" y="8"/>
                </a:cxn>
                <a:cxn ang="0">
                  <a:pos x="28" y="6"/>
                </a:cxn>
                <a:cxn ang="0">
                  <a:pos x="26" y="2"/>
                </a:cxn>
                <a:cxn ang="0">
                  <a:pos x="24" y="2"/>
                </a:cxn>
                <a:cxn ang="0">
                  <a:pos x="20" y="0"/>
                </a:cxn>
                <a:cxn ang="0">
                  <a:pos x="12" y="0"/>
                </a:cxn>
                <a:cxn ang="0">
                  <a:pos x="10" y="6"/>
                </a:cxn>
                <a:cxn ang="0">
                  <a:pos x="6" y="10"/>
                </a:cxn>
                <a:cxn ang="0">
                  <a:pos x="4" y="12"/>
                </a:cxn>
                <a:cxn ang="0">
                  <a:pos x="2" y="12"/>
                </a:cxn>
                <a:cxn ang="0">
                  <a:pos x="2" y="16"/>
                </a:cxn>
                <a:cxn ang="0">
                  <a:pos x="0" y="18"/>
                </a:cxn>
                <a:cxn ang="0">
                  <a:pos x="0" y="22"/>
                </a:cxn>
                <a:cxn ang="0">
                  <a:pos x="0" y="24"/>
                </a:cxn>
                <a:cxn ang="0">
                  <a:pos x="2" y="24"/>
                </a:cxn>
                <a:cxn ang="0">
                  <a:pos x="2" y="22"/>
                </a:cxn>
                <a:cxn ang="0">
                  <a:pos x="6" y="24"/>
                </a:cxn>
                <a:cxn ang="0">
                  <a:pos x="8" y="26"/>
                </a:cxn>
              </a:cxnLst>
              <a:rect l="0" t="0" r="r" b="b"/>
              <a:pathLst>
                <a:path w="34" h="32">
                  <a:moveTo>
                    <a:pt x="8" y="26"/>
                  </a:moveTo>
                  <a:lnTo>
                    <a:pt x="8" y="26"/>
                  </a:lnTo>
                  <a:lnTo>
                    <a:pt x="20" y="30"/>
                  </a:lnTo>
                  <a:lnTo>
                    <a:pt x="20" y="28"/>
                  </a:lnTo>
                  <a:lnTo>
                    <a:pt x="22" y="28"/>
                  </a:lnTo>
                  <a:lnTo>
                    <a:pt x="26" y="32"/>
                  </a:lnTo>
                  <a:lnTo>
                    <a:pt x="32" y="32"/>
                  </a:lnTo>
                  <a:lnTo>
                    <a:pt x="34" y="20"/>
                  </a:lnTo>
                  <a:lnTo>
                    <a:pt x="34" y="14"/>
                  </a:lnTo>
                  <a:lnTo>
                    <a:pt x="34" y="10"/>
                  </a:lnTo>
                  <a:lnTo>
                    <a:pt x="30" y="8"/>
                  </a:lnTo>
                  <a:lnTo>
                    <a:pt x="28" y="6"/>
                  </a:lnTo>
                  <a:lnTo>
                    <a:pt x="26" y="2"/>
                  </a:lnTo>
                  <a:lnTo>
                    <a:pt x="24" y="2"/>
                  </a:lnTo>
                  <a:lnTo>
                    <a:pt x="20" y="0"/>
                  </a:lnTo>
                  <a:lnTo>
                    <a:pt x="12" y="0"/>
                  </a:lnTo>
                  <a:lnTo>
                    <a:pt x="10" y="6"/>
                  </a:lnTo>
                  <a:lnTo>
                    <a:pt x="6" y="10"/>
                  </a:lnTo>
                  <a:lnTo>
                    <a:pt x="4" y="12"/>
                  </a:lnTo>
                  <a:lnTo>
                    <a:pt x="2" y="12"/>
                  </a:lnTo>
                  <a:lnTo>
                    <a:pt x="2" y="16"/>
                  </a:lnTo>
                  <a:lnTo>
                    <a:pt x="0" y="18"/>
                  </a:lnTo>
                  <a:lnTo>
                    <a:pt x="0" y="22"/>
                  </a:lnTo>
                  <a:lnTo>
                    <a:pt x="0" y="24"/>
                  </a:lnTo>
                  <a:lnTo>
                    <a:pt x="2" y="24"/>
                  </a:lnTo>
                  <a:lnTo>
                    <a:pt x="2" y="22"/>
                  </a:lnTo>
                  <a:lnTo>
                    <a:pt x="6" y="24"/>
                  </a:lnTo>
                  <a:lnTo>
                    <a:pt x="8" y="26"/>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5" name="Freeform 419">
              <a:extLst>
                <a:ext uri="{FF2B5EF4-FFF2-40B4-BE49-F238E27FC236}">
                  <a16:creationId xmlns:a16="http://schemas.microsoft.com/office/drawing/2014/main" id="{BDC6A698-81DD-4914-8CEB-B23D1BD3BEE9}"/>
                </a:ext>
              </a:extLst>
            </p:cNvPr>
            <p:cNvSpPr>
              <a:spLocks/>
            </p:cNvSpPr>
            <p:nvPr/>
          </p:nvSpPr>
          <p:spPr bwMode="auto">
            <a:xfrm>
              <a:off x="1420808" y="2892936"/>
              <a:ext cx="44023" cy="41434"/>
            </a:xfrm>
            <a:custGeom>
              <a:avLst/>
              <a:gdLst/>
              <a:ahLst/>
              <a:cxnLst>
                <a:cxn ang="0">
                  <a:pos x="8" y="26"/>
                </a:cxn>
                <a:cxn ang="0">
                  <a:pos x="8" y="26"/>
                </a:cxn>
                <a:cxn ang="0">
                  <a:pos x="20" y="30"/>
                </a:cxn>
                <a:cxn ang="0">
                  <a:pos x="20" y="28"/>
                </a:cxn>
                <a:cxn ang="0">
                  <a:pos x="22" y="28"/>
                </a:cxn>
                <a:cxn ang="0">
                  <a:pos x="26" y="32"/>
                </a:cxn>
                <a:cxn ang="0">
                  <a:pos x="32" y="32"/>
                </a:cxn>
                <a:cxn ang="0">
                  <a:pos x="34" y="20"/>
                </a:cxn>
                <a:cxn ang="0">
                  <a:pos x="34" y="14"/>
                </a:cxn>
                <a:cxn ang="0">
                  <a:pos x="34" y="10"/>
                </a:cxn>
                <a:cxn ang="0">
                  <a:pos x="30" y="8"/>
                </a:cxn>
                <a:cxn ang="0">
                  <a:pos x="28" y="6"/>
                </a:cxn>
                <a:cxn ang="0">
                  <a:pos x="26" y="2"/>
                </a:cxn>
                <a:cxn ang="0">
                  <a:pos x="24" y="2"/>
                </a:cxn>
                <a:cxn ang="0">
                  <a:pos x="20" y="0"/>
                </a:cxn>
                <a:cxn ang="0">
                  <a:pos x="12" y="0"/>
                </a:cxn>
                <a:cxn ang="0">
                  <a:pos x="10" y="6"/>
                </a:cxn>
                <a:cxn ang="0">
                  <a:pos x="6" y="10"/>
                </a:cxn>
                <a:cxn ang="0">
                  <a:pos x="4" y="12"/>
                </a:cxn>
                <a:cxn ang="0">
                  <a:pos x="2" y="12"/>
                </a:cxn>
                <a:cxn ang="0">
                  <a:pos x="2" y="16"/>
                </a:cxn>
                <a:cxn ang="0">
                  <a:pos x="0" y="18"/>
                </a:cxn>
                <a:cxn ang="0">
                  <a:pos x="0" y="22"/>
                </a:cxn>
                <a:cxn ang="0">
                  <a:pos x="0" y="24"/>
                </a:cxn>
                <a:cxn ang="0">
                  <a:pos x="2" y="24"/>
                </a:cxn>
                <a:cxn ang="0">
                  <a:pos x="2" y="22"/>
                </a:cxn>
                <a:cxn ang="0">
                  <a:pos x="6" y="24"/>
                </a:cxn>
                <a:cxn ang="0">
                  <a:pos x="8" y="26"/>
                </a:cxn>
              </a:cxnLst>
              <a:rect l="0" t="0" r="r" b="b"/>
              <a:pathLst>
                <a:path w="34" h="32">
                  <a:moveTo>
                    <a:pt x="8" y="26"/>
                  </a:moveTo>
                  <a:lnTo>
                    <a:pt x="8" y="26"/>
                  </a:lnTo>
                  <a:lnTo>
                    <a:pt x="20" y="30"/>
                  </a:lnTo>
                  <a:lnTo>
                    <a:pt x="20" y="28"/>
                  </a:lnTo>
                  <a:lnTo>
                    <a:pt x="22" y="28"/>
                  </a:lnTo>
                  <a:lnTo>
                    <a:pt x="26" y="32"/>
                  </a:lnTo>
                  <a:lnTo>
                    <a:pt x="32" y="32"/>
                  </a:lnTo>
                  <a:lnTo>
                    <a:pt x="34" y="20"/>
                  </a:lnTo>
                  <a:lnTo>
                    <a:pt x="34" y="14"/>
                  </a:lnTo>
                  <a:lnTo>
                    <a:pt x="34" y="10"/>
                  </a:lnTo>
                  <a:lnTo>
                    <a:pt x="30" y="8"/>
                  </a:lnTo>
                  <a:lnTo>
                    <a:pt x="28" y="6"/>
                  </a:lnTo>
                  <a:lnTo>
                    <a:pt x="26" y="2"/>
                  </a:lnTo>
                  <a:lnTo>
                    <a:pt x="24" y="2"/>
                  </a:lnTo>
                  <a:lnTo>
                    <a:pt x="20" y="0"/>
                  </a:lnTo>
                  <a:lnTo>
                    <a:pt x="12" y="0"/>
                  </a:lnTo>
                  <a:lnTo>
                    <a:pt x="10" y="6"/>
                  </a:lnTo>
                  <a:lnTo>
                    <a:pt x="6" y="10"/>
                  </a:lnTo>
                  <a:lnTo>
                    <a:pt x="4" y="12"/>
                  </a:lnTo>
                  <a:lnTo>
                    <a:pt x="2" y="12"/>
                  </a:lnTo>
                  <a:lnTo>
                    <a:pt x="2" y="16"/>
                  </a:lnTo>
                  <a:lnTo>
                    <a:pt x="0" y="18"/>
                  </a:lnTo>
                  <a:lnTo>
                    <a:pt x="0" y="22"/>
                  </a:lnTo>
                  <a:lnTo>
                    <a:pt x="0" y="24"/>
                  </a:lnTo>
                  <a:lnTo>
                    <a:pt x="2" y="24"/>
                  </a:lnTo>
                  <a:lnTo>
                    <a:pt x="2" y="22"/>
                  </a:lnTo>
                  <a:lnTo>
                    <a:pt x="6" y="24"/>
                  </a:lnTo>
                  <a:lnTo>
                    <a:pt x="8" y="26"/>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6" name="Freeform 420">
              <a:extLst>
                <a:ext uri="{FF2B5EF4-FFF2-40B4-BE49-F238E27FC236}">
                  <a16:creationId xmlns:a16="http://schemas.microsoft.com/office/drawing/2014/main" id="{22A5B3BA-A3D4-4DA0-8436-2021551A3B32}"/>
                </a:ext>
              </a:extLst>
            </p:cNvPr>
            <p:cNvSpPr>
              <a:spLocks/>
            </p:cNvSpPr>
            <p:nvPr/>
          </p:nvSpPr>
          <p:spPr bwMode="auto">
            <a:xfrm>
              <a:off x="1420808" y="2848912"/>
              <a:ext cx="282267" cy="90636"/>
            </a:xfrm>
            <a:custGeom>
              <a:avLst/>
              <a:gdLst/>
              <a:ahLst/>
              <a:cxnLst>
                <a:cxn ang="0">
                  <a:pos x="70" y="68"/>
                </a:cxn>
                <a:cxn ang="0">
                  <a:pos x="66" y="70"/>
                </a:cxn>
                <a:cxn ang="0">
                  <a:pos x="60" y="64"/>
                </a:cxn>
                <a:cxn ang="0">
                  <a:pos x="60" y="52"/>
                </a:cxn>
                <a:cxn ang="0">
                  <a:pos x="62" y="40"/>
                </a:cxn>
                <a:cxn ang="0">
                  <a:pos x="56" y="30"/>
                </a:cxn>
                <a:cxn ang="0">
                  <a:pos x="50" y="24"/>
                </a:cxn>
                <a:cxn ang="0">
                  <a:pos x="38" y="18"/>
                </a:cxn>
                <a:cxn ang="0">
                  <a:pos x="32" y="24"/>
                </a:cxn>
                <a:cxn ang="0">
                  <a:pos x="14" y="18"/>
                </a:cxn>
                <a:cxn ang="0">
                  <a:pos x="6" y="12"/>
                </a:cxn>
                <a:cxn ang="0">
                  <a:pos x="2" y="6"/>
                </a:cxn>
                <a:cxn ang="0">
                  <a:pos x="16" y="0"/>
                </a:cxn>
                <a:cxn ang="0">
                  <a:pos x="32" y="4"/>
                </a:cxn>
                <a:cxn ang="0">
                  <a:pos x="42" y="12"/>
                </a:cxn>
                <a:cxn ang="0">
                  <a:pos x="66" y="12"/>
                </a:cxn>
                <a:cxn ang="0">
                  <a:pos x="76" y="16"/>
                </a:cxn>
                <a:cxn ang="0">
                  <a:pos x="80" y="24"/>
                </a:cxn>
                <a:cxn ang="0">
                  <a:pos x="76" y="28"/>
                </a:cxn>
                <a:cxn ang="0">
                  <a:pos x="78" y="28"/>
                </a:cxn>
                <a:cxn ang="0">
                  <a:pos x="90" y="36"/>
                </a:cxn>
                <a:cxn ang="0">
                  <a:pos x="106" y="36"/>
                </a:cxn>
                <a:cxn ang="0">
                  <a:pos x="108" y="36"/>
                </a:cxn>
                <a:cxn ang="0">
                  <a:pos x="116" y="34"/>
                </a:cxn>
                <a:cxn ang="0">
                  <a:pos x="132" y="36"/>
                </a:cxn>
                <a:cxn ang="0">
                  <a:pos x="150" y="34"/>
                </a:cxn>
                <a:cxn ang="0">
                  <a:pos x="158" y="28"/>
                </a:cxn>
                <a:cxn ang="0">
                  <a:pos x="168" y="32"/>
                </a:cxn>
                <a:cxn ang="0">
                  <a:pos x="188" y="30"/>
                </a:cxn>
                <a:cxn ang="0">
                  <a:pos x="196" y="36"/>
                </a:cxn>
                <a:cxn ang="0">
                  <a:pos x="206" y="36"/>
                </a:cxn>
                <a:cxn ang="0">
                  <a:pos x="218" y="46"/>
                </a:cxn>
                <a:cxn ang="0">
                  <a:pos x="208" y="56"/>
                </a:cxn>
                <a:cxn ang="0">
                  <a:pos x="208" y="60"/>
                </a:cxn>
                <a:cxn ang="0">
                  <a:pos x="206" y="64"/>
                </a:cxn>
                <a:cxn ang="0">
                  <a:pos x="180" y="64"/>
                </a:cxn>
                <a:cxn ang="0">
                  <a:pos x="176" y="66"/>
                </a:cxn>
                <a:cxn ang="0">
                  <a:pos x="168" y="60"/>
                </a:cxn>
                <a:cxn ang="0">
                  <a:pos x="150" y="68"/>
                </a:cxn>
                <a:cxn ang="0">
                  <a:pos x="138" y="66"/>
                </a:cxn>
                <a:cxn ang="0">
                  <a:pos x="124" y="68"/>
                </a:cxn>
                <a:cxn ang="0">
                  <a:pos x="120" y="64"/>
                </a:cxn>
                <a:cxn ang="0">
                  <a:pos x="112" y="66"/>
                </a:cxn>
                <a:cxn ang="0">
                  <a:pos x="100" y="68"/>
                </a:cxn>
                <a:cxn ang="0">
                  <a:pos x="90" y="64"/>
                </a:cxn>
              </a:cxnLst>
              <a:rect l="0" t="0" r="r" b="b"/>
              <a:pathLst>
                <a:path w="218" h="70">
                  <a:moveTo>
                    <a:pt x="72" y="70"/>
                  </a:moveTo>
                  <a:lnTo>
                    <a:pt x="72" y="70"/>
                  </a:lnTo>
                  <a:lnTo>
                    <a:pt x="70" y="68"/>
                  </a:lnTo>
                  <a:lnTo>
                    <a:pt x="70" y="66"/>
                  </a:lnTo>
                  <a:lnTo>
                    <a:pt x="66" y="66"/>
                  </a:lnTo>
                  <a:lnTo>
                    <a:pt x="66" y="70"/>
                  </a:lnTo>
                  <a:lnTo>
                    <a:pt x="62" y="70"/>
                  </a:lnTo>
                  <a:lnTo>
                    <a:pt x="60" y="70"/>
                  </a:lnTo>
                  <a:lnTo>
                    <a:pt x="60" y="64"/>
                  </a:lnTo>
                  <a:lnTo>
                    <a:pt x="60" y="62"/>
                  </a:lnTo>
                  <a:lnTo>
                    <a:pt x="58" y="54"/>
                  </a:lnTo>
                  <a:lnTo>
                    <a:pt x="60" y="52"/>
                  </a:lnTo>
                  <a:lnTo>
                    <a:pt x="60" y="48"/>
                  </a:lnTo>
                  <a:lnTo>
                    <a:pt x="58" y="44"/>
                  </a:lnTo>
                  <a:lnTo>
                    <a:pt x="62" y="40"/>
                  </a:lnTo>
                  <a:lnTo>
                    <a:pt x="62" y="36"/>
                  </a:lnTo>
                  <a:lnTo>
                    <a:pt x="60" y="32"/>
                  </a:lnTo>
                  <a:lnTo>
                    <a:pt x="56" y="30"/>
                  </a:lnTo>
                  <a:lnTo>
                    <a:pt x="56" y="28"/>
                  </a:lnTo>
                  <a:lnTo>
                    <a:pt x="54" y="24"/>
                  </a:lnTo>
                  <a:lnTo>
                    <a:pt x="50" y="24"/>
                  </a:lnTo>
                  <a:lnTo>
                    <a:pt x="40" y="22"/>
                  </a:lnTo>
                  <a:lnTo>
                    <a:pt x="40" y="18"/>
                  </a:lnTo>
                  <a:lnTo>
                    <a:pt x="38" y="18"/>
                  </a:lnTo>
                  <a:lnTo>
                    <a:pt x="36" y="20"/>
                  </a:lnTo>
                  <a:lnTo>
                    <a:pt x="34" y="24"/>
                  </a:lnTo>
                  <a:lnTo>
                    <a:pt x="32" y="24"/>
                  </a:lnTo>
                  <a:lnTo>
                    <a:pt x="26" y="20"/>
                  </a:lnTo>
                  <a:lnTo>
                    <a:pt x="20" y="18"/>
                  </a:lnTo>
                  <a:lnTo>
                    <a:pt x="14" y="18"/>
                  </a:lnTo>
                  <a:lnTo>
                    <a:pt x="10" y="16"/>
                  </a:lnTo>
                  <a:lnTo>
                    <a:pt x="8" y="14"/>
                  </a:lnTo>
                  <a:lnTo>
                    <a:pt x="6" y="12"/>
                  </a:lnTo>
                  <a:lnTo>
                    <a:pt x="0" y="8"/>
                  </a:lnTo>
                  <a:lnTo>
                    <a:pt x="0" y="6"/>
                  </a:lnTo>
                  <a:lnTo>
                    <a:pt x="2" y="6"/>
                  </a:lnTo>
                  <a:lnTo>
                    <a:pt x="6" y="0"/>
                  </a:lnTo>
                  <a:lnTo>
                    <a:pt x="12" y="2"/>
                  </a:lnTo>
                  <a:lnTo>
                    <a:pt x="16" y="0"/>
                  </a:lnTo>
                  <a:lnTo>
                    <a:pt x="16" y="2"/>
                  </a:lnTo>
                  <a:lnTo>
                    <a:pt x="26" y="4"/>
                  </a:lnTo>
                  <a:lnTo>
                    <a:pt x="32" y="4"/>
                  </a:lnTo>
                  <a:lnTo>
                    <a:pt x="36" y="4"/>
                  </a:lnTo>
                  <a:lnTo>
                    <a:pt x="42" y="8"/>
                  </a:lnTo>
                  <a:lnTo>
                    <a:pt x="42" y="12"/>
                  </a:lnTo>
                  <a:lnTo>
                    <a:pt x="52" y="12"/>
                  </a:lnTo>
                  <a:lnTo>
                    <a:pt x="64" y="8"/>
                  </a:lnTo>
                  <a:lnTo>
                    <a:pt x="66" y="12"/>
                  </a:lnTo>
                  <a:lnTo>
                    <a:pt x="70" y="12"/>
                  </a:lnTo>
                  <a:lnTo>
                    <a:pt x="74" y="12"/>
                  </a:lnTo>
                  <a:lnTo>
                    <a:pt x="76" y="16"/>
                  </a:lnTo>
                  <a:lnTo>
                    <a:pt x="86" y="18"/>
                  </a:lnTo>
                  <a:lnTo>
                    <a:pt x="86" y="22"/>
                  </a:lnTo>
                  <a:lnTo>
                    <a:pt x="80" y="24"/>
                  </a:lnTo>
                  <a:lnTo>
                    <a:pt x="72" y="24"/>
                  </a:lnTo>
                  <a:lnTo>
                    <a:pt x="72" y="26"/>
                  </a:lnTo>
                  <a:lnTo>
                    <a:pt x="76" y="28"/>
                  </a:lnTo>
                  <a:lnTo>
                    <a:pt x="74" y="32"/>
                  </a:lnTo>
                  <a:lnTo>
                    <a:pt x="76" y="32"/>
                  </a:lnTo>
                  <a:lnTo>
                    <a:pt x="78" y="28"/>
                  </a:lnTo>
                  <a:lnTo>
                    <a:pt x="84" y="28"/>
                  </a:lnTo>
                  <a:lnTo>
                    <a:pt x="90" y="30"/>
                  </a:lnTo>
                  <a:lnTo>
                    <a:pt x="90" y="36"/>
                  </a:lnTo>
                  <a:lnTo>
                    <a:pt x="92" y="34"/>
                  </a:lnTo>
                  <a:lnTo>
                    <a:pt x="92" y="32"/>
                  </a:lnTo>
                  <a:lnTo>
                    <a:pt x="106" y="36"/>
                  </a:lnTo>
                  <a:lnTo>
                    <a:pt x="106" y="38"/>
                  </a:lnTo>
                  <a:lnTo>
                    <a:pt x="108" y="38"/>
                  </a:lnTo>
                  <a:lnTo>
                    <a:pt x="108" y="36"/>
                  </a:lnTo>
                  <a:lnTo>
                    <a:pt x="112" y="38"/>
                  </a:lnTo>
                  <a:lnTo>
                    <a:pt x="116" y="40"/>
                  </a:lnTo>
                  <a:lnTo>
                    <a:pt x="116" y="34"/>
                  </a:lnTo>
                  <a:lnTo>
                    <a:pt x="124" y="38"/>
                  </a:lnTo>
                  <a:lnTo>
                    <a:pt x="132" y="38"/>
                  </a:lnTo>
                  <a:lnTo>
                    <a:pt x="132" y="36"/>
                  </a:lnTo>
                  <a:lnTo>
                    <a:pt x="136" y="34"/>
                  </a:lnTo>
                  <a:lnTo>
                    <a:pt x="144" y="34"/>
                  </a:lnTo>
                  <a:lnTo>
                    <a:pt x="150" y="34"/>
                  </a:lnTo>
                  <a:lnTo>
                    <a:pt x="150" y="30"/>
                  </a:lnTo>
                  <a:lnTo>
                    <a:pt x="156" y="30"/>
                  </a:lnTo>
                  <a:lnTo>
                    <a:pt x="158" y="28"/>
                  </a:lnTo>
                  <a:lnTo>
                    <a:pt x="162" y="28"/>
                  </a:lnTo>
                  <a:lnTo>
                    <a:pt x="164" y="30"/>
                  </a:lnTo>
                  <a:lnTo>
                    <a:pt x="168" y="32"/>
                  </a:lnTo>
                  <a:lnTo>
                    <a:pt x="172" y="30"/>
                  </a:lnTo>
                  <a:lnTo>
                    <a:pt x="174" y="30"/>
                  </a:lnTo>
                  <a:lnTo>
                    <a:pt x="188" y="30"/>
                  </a:lnTo>
                  <a:lnTo>
                    <a:pt x="188" y="34"/>
                  </a:lnTo>
                  <a:lnTo>
                    <a:pt x="192" y="36"/>
                  </a:lnTo>
                  <a:lnTo>
                    <a:pt x="196" y="36"/>
                  </a:lnTo>
                  <a:lnTo>
                    <a:pt x="198" y="34"/>
                  </a:lnTo>
                  <a:lnTo>
                    <a:pt x="202" y="34"/>
                  </a:lnTo>
                  <a:lnTo>
                    <a:pt x="206" y="36"/>
                  </a:lnTo>
                  <a:lnTo>
                    <a:pt x="212" y="40"/>
                  </a:lnTo>
                  <a:lnTo>
                    <a:pt x="216" y="40"/>
                  </a:lnTo>
                  <a:lnTo>
                    <a:pt x="218" y="46"/>
                  </a:lnTo>
                  <a:lnTo>
                    <a:pt x="218" y="48"/>
                  </a:lnTo>
                  <a:lnTo>
                    <a:pt x="216" y="50"/>
                  </a:lnTo>
                  <a:lnTo>
                    <a:pt x="208" y="56"/>
                  </a:lnTo>
                  <a:lnTo>
                    <a:pt x="208" y="54"/>
                  </a:lnTo>
                  <a:lnTo>
                    <a:pt x="208" y="56"/>
                  </a:lnTo>
                  <a:lnTo>
                    <a:pt x="208" y="60"/>
                  </a:lnTo>
                  <a:lnTo>
                    <a:pt x="208" y="62"/>
                  </a:lnTo>
                  <a:lnTo>
                    <a:pt x="208" y="60"/>
                  </a:lnTo>
                  <a:lnTo>
                    <a:pt x="206" y="64"/>
                  </a:lnTo>
                  <a:lnTo>
                    <a:pt x="192" y="66"/>
                  </a:lnTo>
                  <a:lnTo>
                    <a:pt x="182" y="66"/>
                  </a:lnTo>
                  <a:lnTo>
                    <a:pt x="180" y="64"/>
                  </a:lnTo>
                  <a:lnTo>
                    <a:pt x="180" y="66"/>
                  </a:lnTo>
                  <a:lnTo>
                    <a:pt x="178" y="66"/>
                  </a:lnTo>
                  <a:lnTo>
                    <a:pt x="176" y="66"/>
                  </a:lnTo>
                  <a:lnTo>
                    <a:pt x="172" y="64"/>
                  </a:lnTo>
                  <a:lnTo>
                    <a:pt x="170" y="60"/>
                  </a:lnTo>
                  <a:lnTo>
                    <a:pt x="168" y="60"/>
                  </a:lnTo>
                  <a:lnTo>
                    <a:pt x="168" y="66"/>
                  </a:lnTo>
                  <a:lnTo>
                    <a:pt x="166" y="66"/>
                  </a:lnTo>
                  <a:lnTo>
                    <a:pt x="150" y="68"/>
                  </a:lnTo>
                  <a:lnTo>
                    <a:pt x="142" y="66"/>
                  </a:lnTo>
                  <a:lnTo>
                    <a:pt x="138" y="68"/>
                  </a:lnTo>
                  <a:lnTo>
                    <a:pt x="138" y="66"/>
                  </a:lnTo>
                  <a:lnTo>
                    <a:pt x="136" y="64"/>
                  </a:lnTo>
                  <a:lnTo>
                    <a:pt x="136" y="68"/>
                  </a:lnTo>
                  <a:lnTo>
                    <a:pt x="124" y="68"/>
                  </a:lnTo>
                  <a:lnTo>
                    <a:pt x="124" y="66"/>
                  </a:lnTo>
                  <a:lnTo>
                    <a:pt x="124" y="64"/>
                  </a:lnTo>
                  <a:lnTo>
                    <a:pt x="120" y="64"/>
                  </a:lnTo>
                  <a:lnTo>
                    <a:pt x="120" y="68"/>
                  </a:lnTo>
                  <a:lnTo>
                    <a:pt x="114" y="68"/>
                  </a:lnTo>
                  <a:lnTo>
                    <a:pt x="112" y="66"/>
                  </a:lnTo>
                  <a:lnTo>
                    <a:pt x="106" y="70"/>
                  </a:lnTo>
                  <a:lnTo>
                    <a:pt x="102" y="70"/>
                  </a:lnTo>
                  <a:lnTo>
                    <a:pt x="100" y="68"/>
                  </a:lnTo>
                  <a:lnTo>
                    <a:pt x="96" y="58"/>
                  </a:lnTo>
                  <a:lnTo>
                    <a:pt x="90" y="62"/>
                  </a:lnTo>
                  <a:lnTo>
                    <a:pt x="90" y="64"/>
                  </a:lnTo>
                  <a:lnTo>
                    <a:pt x="90" y="66"/>
                  </a:lnTo>
                  <a:lnTo>
                    <a:pt x="72" y="7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7" name="Freeform 421">
              <a:extLst>
                <a:ext uri="{FF2B5EF4-FFF2-40B4-BE49-F238E27FC236}">
                  <a16:creationId xmlns:a16="http://schemas.microsoft.com/office/drawing/2014/main" id="{27BC86BB-E075-4BF6-9597-50CE6A9C6B2B}"/>
                </a:ext>
              </a:extLst>
            </p:cNvPr>
            <p:cNvSpPr>
              <a:spLocks/>
            </p:cNvSpPr>
            <p:nvPr/>
          </p:nvSpPr>
          <p:spPr bwMode="auto">
            <a:xfrm>
              <a:off x="1420808" y="2848912"/>
              <a:ext cx="282267" cy="90636"/>
            </a:xfrm>
            <a:custGeom>
              <a:avLst/>
              <a:gdLst/>
              <a:ahLst/>
              <a:cxnLst>
                <a:cxn ang="0">
                  <a:pos x="70" y="68"/>
                </a:cxn>
                <a:cxn ang="0">
                  <a:pos x="66" y="70"/>
                </a:cxn>
                <a:cxn ang="0">
                  <a:pos x="60" y="64"/>
                </a:cxn>
                <a:cxn ang="0">
                  <a:pos x="60" y="52"/>
                </a:cxn>
                <a:cxn ang="0">
                  <a:pos x="62" y="40"/>
                </a:cxn>
                <a:cxn ang="0">
                  <a:pos x="56" y="30"/>
                </a:cxn>
                <a:cxn ang="0">
                  <a:pos x="50" y="24"/>
                </a:cxn>
                <a:cxn ang="0">
                  <a:pos x="38" y="18"/>
                </a:cxn>
                <a:cxn ang="0">
                  <a:pos x="32" y="24"/>
                </a:cxn>
                <a:cxn ang="0">
                  <a:pos x="14" y="18"/>
                </a:cxn>
                <a:cxn ang="0">
                  <a:pos x="6" y="12"/>
                </a:cxn>
                <a:cxn ang="0">
                  <a:pos x="2" y="6"/>
                </a:cxn>
                <a:cxn ang="0">
                  <a:pos x="16" y="0"/>
                </a:cxn>
                <a:cxn ang="0">
                  <a:pos x="32" y="4"/>
                </a:cxn>
                <a:cxn ang="0">
                  <a:pos x="42" y="12"/>
                </a:cxn>
                <a:cxn ang="0">
                  <a:pos x="66" y="12"/>
                </a:cxn>
                <a:cxn ang="0">
                  <a:pos x="76" y="16"/>
                </a:cxn>
                <a:cxn ang="0">
                  <a:pos x="80" y="24"/>
                </a:cxn>
                <a:cxn ang="0">
                  <a:pos x="76" y="28"/>
                </a:cxn>
                <a:cxn ang="0">
                  <a:pos x="78" y="28"/>
                </a:cxn>
                <a:cxn ang="0">
                  <a:pos x="90" y="36"/>
                </a:cxn>
                <a:cxn ang="0">
                  <a:pos x="106" y="36"/>
                </a:cxn>
                <a:cxn ang="0">
                  <a:pos x="108" y="36"/>
                </a:cxn>
                <a:cxn ang="0">
                  <a:pos x="116" y="34"/>
                </a:cxn>
                <a:cxn ang="0">
                  <a:pos x="132" y="36"/>
                </a:cxn>
                <a:cxn ang="0">
                  <a:pos x="150" y="34"/>
                </a:cxn>
                <a:cxn ang="0">
                  <a:pos x="158" y="28"/>
                </a:cxn>
                <a:cxn ang="0">
                  <a:pos x="168" y="32"/>
                </a:cxn>
                <a:cxn ang="0">
                  <a:pos x="188" y="30"/>
                </a:cxn>
                <a:cxn ang="0">
                  <a:pos x="196" y="36"/>
                </a:cxn>
                <a:cxn ang="0">
                  <a:pos x="206" y="36"/>
                </a:cxn>
                <a:cxn ang="0">
                  <a:pos x="218" y="46"/>
                </a:cxn>
                <a:cxn ang="0">
                  <a:pos x="208" y="56"/>
                </a:cxn>
                <a:cxn ang="0">
                  <a:pos x="208" y="60"/>
                </a:cxn>
                <a:cxn ang="0">
                  <a:pos x="206" y="64"/>
                </a:cxn>
                <a:cxn ang="0">
                  <a:pos x="180" y="64"/>
                </a:cxn>
                <a:cxn ang="0">
                  <a:pos x="176" y="66"/>
                </a:cxn>
                <a:cxn ang="0">
                  <a:pos x="168" y="60"/>
                </a:cxn>
                <a:cxn ang="0">
                  <a:pos x="150" y="68"/>
                </a:cxn>
                <a:cxn ang="0">
                  <a:pos x="138" y="66"/>
                </a:cxn>
                <a:cxn ang="0">
                  <a:pos x="124" y="68"/>
                </a:cxn>
                <a:cxn ang="0">
                  <a:pos x="120" y="64"/>
                </a:cxn>
                <a:cxn ang="0">
                  <a:pos x="112" y="66"/>
                </a:cxn>
                <a:cxn ang="0">
                  <a:pos x="100" y="68"/>
                </a:cxn>
                <a:cxn ang="0">
                  <a:pos x="90" y="64"/>
                </a:cxn>
              </a:cxnLst>
              <a:rect l="0" t="0" r="r" b="b"/>
              <a:pathLst>
                <a:path w="218" h="70">
                  <a:moveTo>
                    <a:pt x="72" y="70"/>
                  </a:moveTo>
                  <a:lnTo>
                    <a:pt x="72" y="70"/>
                  </a:lnTo>
                  <a:lnTo>
                    <a:pt x="70" y="68"/>
                  </a:lnTo>
                  <a:lnTo>
                    <a:pt x="70" y="66"/>
                  </a:lnTo>
                  <a:lnTo>
                    <a:pt x="66" y="66"/>
                  </a:lnTo>
                  <a:lnTo>
                    <a:pt x="66" y="70"/>
                  </a:lnTo>
                  <a:lnTo>
                    <a:pt x="62" y="70"/>
                  </a:lnTo>
                  <a:lnTo>
                    <a:pt x="60" y="70"/>
                  </a:lnTo>
                  <a:lnTo>
                    <a:pt x="60" y="64"/>
                  </a:lnTo>
                  <a:lnTo>
                    <a:pt x="60" y="62"/>
                  </a:lnTo>
                  <a:lnTo>
                    <a:pt x="58" y="54"/>
                  </a:lnTo>
                  <a:lnTo>
                    <a:pt x="60" y="52"/>
                  </a:lnTo>
                  <a:lnTo>
                    <a:pt x="60" y="48"/>
                  </a:lnTo>
                  <a:lnTo>
                    <a:pt x="58" y="44"/>
                  </a:lnTo>
                  <a:lnTo>
                    <a:pt x="62" y="40"/>
                  </a:lnTo>
                  <a:lnTo>
                    <a:pt x="62" y="36"/>
                  </a:lnTo>
                  <a:lnTo>
                    <a:pt x="60" y="32"/>
                  </a:lnTo>
                  <a:lnTo>
                    <a:pt x="56" y="30"/>
                  </a:lnTo>
                  <a:lnTo>
                    <a:pt x="56" y="28"/>
                  </a:lnTo>
                  <a:lnTo>
                    <a:pt x="54" y="24"/>
                  </a:lnTo>
                  <a:lnTo>
                    <a:pt x="50" y="24"/>
                  </a:lnTo>
                  <a:lnTo>
                    <a:pt x="40" y="22"/>
                  </a:lnTo>
                  <a:lnTo>
                    <a:pt x="40" y="18"/>
                  </a:lnTo>
                  <a:lnTo>
                    <a:pt x="38" y="18"/>
                  </a:lnTo>
                  <a:lnTo>
                    <a:pt x="36" y="20"/>
                  </a:lnTo>
                  <a:lnTo>
                    <a:pt x="34" y="24"/>
                  </a:lnTo>
                  <a:lnTo>
                    <a:pt x="32" y="24"/>
                  </a:lnTo>
                  <a:lnTo>
                    <a:pt x="26" y="20"/>
                  </a:lnTo>
                  <a:lnTo>
                    <a:pt x="20" y="18"/>
                  </a:lnTo>
                  <a:lnTo>
                    <a:pt x="14" y="18"/>
                  </a:lnTo>
                  <a:lnTo>
                    <a:pt x="10" y="16"/>
                  </a:lnTo>
                  <a:lnTo>
                    <a:pt x="8" y="14"/>
                  </a:lnTo>
                  <a:lnTo>
                    <a:pt x="6" y="12"/>
                  </a:lnTo>
                  <a:lnTo>
                    <a:pt x="0" y="8"/>
                  </a:lnTo>
                  <a:lnTo>
                    <a:pt x="0" y="6"/>
                  </a:lnTo>
                  <a:lnTo>
                    <a:pt x="2" y="6"/>
                  </a:lnTo>
                  <a:lnTo>
                    <a:pt x="6" y="0"/>
                  </a:lnTo>
                  <a:lnTo>
                    <a:pt x="12" y="2"/>
                  </a:lnTo>
                  <a:lnTo>
                    <a:pt x="16" y="0"/>
                  </a:lnTo>
                  <a:lnTo>
                    <a:pt x="16" y="2"/>
                  </a:lnTo>
                  <a:lnTo>
                    <a:pt x="26" y="4"/>
                  </a:lnTo>
                  <a:lnTo>
                    <a:pt x="32" y="4"/>
                  </a:lnTo>
                  <a:lnTo>
                    <a:pt x="36" y="4"/>
                  </a:lnTo>
                  <a:lnTo>
                    <a:pt x="42" y="8"/>
                  </a:lnTo>
                  <a:lnTo>
                    <a:pt x="42" y="12"/>
                  </a:lnTo>
                  <a:lnTo>
                    <a:pt x="52" y="12"/>
                  </a:lnTo>
                  <a:lnTo>
                    <a:pt x="64" y="8"/>
                  </a:lnTo>
                  <a:lnTo>
                    <a:pt x="66" y="12"/>
                  </a:lnTo>
                  <a:lnTo>
                    <a:pt x="70" y="12"/>
                  </a:lnTo>
                  <a:lnTo>
                    <a:pt x="74" y="12"/>
                  </a:lnTo>
                  <a:lnTo>
                    <a:pt x="76" y="16"/>
                  </a:lnTo>
                  <a:lnTo>
                    <a:pt x="86" y="18"/>
                  </a:lnTo>
                  <a:lnTo>
                    <a:pt x="86" y="22"/>
                  </a:lnTo>
                  <a:lnTo>
                    <a:pt x="80" y="24"/>
                  </a:lnTo>
                  <a:lnTo>
                    <a:pt x="72" y="24"/>
                  </a:lnTo>
                  <a:lnTo>
                    <a:pt x="72" y="26"/>
                  </a:lnTo>
                  <a:lnTo>
                    <a:pt x="76" y="28"/>
                  </a:lnTo>
                  <a:lnTo>
                    <a:pt x="74" y="32"/>
                  </a:lnTo>
                  <a:lnTo>
                    <a:pt x="76" y="32"/>
                  </a:lnTo>
                  <a:lnTo>
                    <a:pt x="78" y="28"/>
                  </a:lnTo>
                  <a:lnTo>
                    <a:pt x="84" y="28"/>
                  </a:lnTo>
                  <a:lnTo>
                    <a:pt x="90" y="30"/>
                  </a:lnTo>
                  <a:lnTo>
                    <a:pt x="90" y="36"/>
                  </a:lnTo>
                  <a:lnTo>
                    <a:pt x="92" y="34"/>
                  </a:lnTo>
                  <a:lnTo>
                    <a:pt x="92" y="32"/>
                  </a:lnTo>
                  <a:lnTo>
                    <a:pt x="106" y="36"/>
                  </a:lnTo>
                  <a:lnTo>
                    <a:pt x="106" y="38"/>
                  </a:lnTo>
                  <a:lnTo>
                    <a:pt x="108" y="38"/>
                  </a:lnTo>
                  <a:lnTo>
                    <a:pt x="108" y="36"/>
                  </a:lnTo>
                  <a:lnTo>
                    <a:pt x="112" y="38"/>
                  </a:lnTo>
                  <a:lnTo>
                    <a:pt x="116" y="40"/>
                  </a:lnTo>
                  <a:lnTo>
                    <a:pt x="116" y="34"/>
                  </a:lnTo>
                  <a:lnTo>
                    <a:pt x="124" y="38"/>
                  </a:lnTo>
                  <a:lnTo>
                    <a:pt x="132" y="38"/>
                  </a:lnTo>
                  <a:lnTo>
                    <a:pt x="132" y="36"/>
                  </a:lnTo>
                  <a:lnTo>
                    <a:pt x="136" y="34"/>
                  </a:lnTo>
                  <a:lnTo>
                    <a:pt x="144" y="34"/>
                  </a:lnTo>
                  <a:lnTo>
                    <a:pt x="150" y="34"/>
                  </a:lnTo>
                  <a:lnTo>
                    <a:pt x="150" y="30"/>
                  </a:lnTo>
                  <a:lnTo>
                    <a:pt x="156" y="30"/>
                  </a:lnTo>
                  <a:lnTo>
                    <a:pt x="158" y="28"/>
                  </a:lnTo>
                  <a:lnTo>
                    <a:pt x="162" y="28"/>
                  </a:lnTo>
                  <a:lnTo>
                    <a:pt x="164" y="30"/>
                  </a:lnTo>
                  <a:lnTo>
                    <a:pt x="168" y="32"/>
                  </a:lnTo>
                  <a:lnTo>
                    <a:pt x="172" y="30"/>
                  </a:lnTo>
                  <a:lnTo>
                    <a:pt x="174" y="30"/>
                  </a:lnTo>
                  <a:lnTo>
                    <a:pt x="188" y="30"/>
                  </a:lnTo>
                  <a:lnTo>
                    <a:pt x="188" y="34"/>
                  </a:lnTo>
                  <a:lnTo>
                    <a:pt x="192" y="36"/>
                  </a:lnTo>
                  <a:lnTo>
                    <a:pt x="196" y="36"/>
                  </a:lnTo>
                  <a:lnTo>
                    <a:pt x="198" y="34"/>
                  </a:lnTo>
                  <a:lnTo>
                    <a:pt x="202" y="34"/>
                  </a:lnTo>
                  <a:lnTo>
                    <a:pt x="206" y="36"/>
                  </a:lnTo>
                  <a:lnTo>
                    <a:pt x="212" y="40"/>
                  </a:lnTo>
                  <a:lnTo>
                    <a:pt x="216" y="40"/>
                  </a:lnTo>
                  <a:lnTo>
                    <a:pt x="218" y="46"/>
                  </a:lnTo>
                  <a:lnTo>
                    <a:pt x="218" y="48"/>
                  </a:lnTo>
                  <a:lnTo>
                    <a:pt x="216" y="50"/>
                  </a:lnTo>
                  <a:lnTo>
                    <a:pt x="208" y="56"/>
                  </a:lnTo>
                  <a:lnTo>
                    <a:pt x="208" y="54"/>
                  </a:lnTo>
                  <a:lnTo>
                    <a:pt x="208" y="56"/>
                  </a:lnTo>
                  <a:lnTo>
                    <a:pt x="208" y="60"/>
                  </a:lnTo>
                  <a:lnTo>
                    <a:pt x="208" y="62"/>
                  </a:lnTo>
                  <a:lnTo>
                    <a:pt x="208" y="60"/>
                  </a:lnTo>
                  <a:lnTo>
                    <a:pt x="206" y="64"/>
                  </a:lnTo>
                  <a:lnTo>
                    <a:pt x="192" y="66"/>
                  </a:lnTo>
                  <a:lnTo>
                    <a:pt x="182" y="66"/>
                  </a:lnTo>
                  <a:lnTo>
                    <a:pt x="180" y="64"/>
                  </a:lnTo>
                  <a:lnTo>
                    <a:pt x="180" y="66"/>
                  </a:lnTo>
                  <a:lnTo>
                    <a:pt x="178" y="66"/>
                  </a:lnTo>
                  <a:lnTo>
                    <a:pt x="176" y="66"/>
                  </a:lnTo>
                  <a:lnTo>
                    <a:pt x="172" y="64"/>
                  </a:lnTo>
                  <a:lnTo>
                    <a:pt x="170" y="60"/>
                  </a:lnTo>
                  <a:lnTo>
                    <a:pt x="168" y="60"/>
                  </a:lnTo>
                  <a:lnTo>
                    <a:pt x="168" y="66"/>
                  </a:lnTo>
                  <a:lnTo>
                    <a:pt x="166" y="66"/>
                  </a:lnTo>
                  <a:lnTo>
                    <a:pt x="150" y="68"/>
                  </a:lnTo>
                  <a:lnTo>
                    <a:pt x="142" y="66"/>
                  </a:lnTo>
                  <a:lnTo>
                    <a:pt x="138" y="68"/>
                  </a:lnTo>
                  <a:lnTo>
                    <a:pt x="138" y="66"/>
                  </a:lnTo>
                  <a:lnTo>
                    <a:pt x="136" y="64"/>
                  </a:lnTo>
                  <a:lnTo>
                    <a:pt x="136" y="68"/>
                  </a:lnTo>
                  <a:lnTo>
                    <a:pt x="124" y="68"/>
                  </a:lnTo>
                  <a:lnTo>
                    <a:pt x="124" y="66"/>
                  </a:lnTo>
                  <a:lnTo>
                    <a:pt x="124" y="64"/>
                  </a:lnTo>
                  <a:lnTo>
                    <a:pt x="120" y="64"/>
                  </a:lnTo>
                  <a:lnTo>
                    <a:pt x="120" y="68"/>
                  </a:lnTo>
                  <a:lnTo>
                    <a:pt x="114" y="68"/>
                  </a:lnTo>
                  <a:lnTo>
                    <a:pt x="112" y="66"/>
                  </a:lnTo>
                  <a:lnTo>
                    <a:pt x="106" y="70"/>
                  </a:lnTo>
                  <a:lnTo>
                    <a:pt x="102" y="70"/>
                  </a:lnTo>
                  <a:lnTo>
                    <a:pt x="100" y="68"/>
                  </a:lnTo>
                  <a:lnTo>
                    <a:pt x="96" y="58"/>
                  </a:lnTo>
                  <a:lnTo>
                    <a:pt x="90" y="62"/>
                  </a:lnTo>
                  <a:lnTo>
                    <a:pt x="90" y="64"/>
                  </a:lnTo>
                  <a:lnTo>
                    <a:pt x="90" y="66"/>
                  </a:lnTo>
                  <a:lnTo>
                    <a:pt x="72" y="7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8" name="Freeform 422">
              <a:extLst>
                <a:ext uri="{FF2B5EF4-FFF2-40B4-BE49-F238E27FC236}">
                  <a16:creationId xmlns:a16="http://schemas.microsoft.com/office/drawing/2014/main" id="{B2AB972E-9E5C-4E33-8431-FF444D57AFB7}"/>
                </a:ext>
              </a:extLst>
            </p:cNvPr>
            <p:cNvSpPr>
              <a:spLocks/>
            </p:cNvSpPr>
            <p:nvPr/>
          </p:nvSpPr>
          <p:spPr bwMode="auto">
            <a:xfrm>
              <a:off x="1581363" y="3221816"/>
              <a:ext cx="85457" cy="67330"/>
            </a:xfrm>
            <a:custGeom>
              <a:avLst/>
              <a:gdLst/>
              <a:ahLst/>
              <a:cxnLst>
                <a:cxn ang="0">
                  <a:pos x="60" y="32"/>
                </a:cxn>
                <a:cxn ang="0">
                  <a:pos x="60" y="32"/>
                </a:cxn>
                <a:cxn ang="0">
                  <a:pos x="56" y="32"/>
                </a:cxn>
                <a:cxn ang="0">
                  <a:pos x="54" y="36"/>
                </a:cxn>
                <a:cxn ang="0">
                  <a:pos x="52" y="30"/>
                </a:cxn>
                <a:cxn ang="0">
                  <a:pos x="50" y="22"/>
                </a:cxn>
                <a:cxn ang="0">
                  <a:pos x="48" y="22"/>
                </a:cxn>
                <a:cxn ang="0">
                  <a:pos x="48" y="20"/>
                </a:cxn>
                <a:cxn ang="0">
                  <a:pos x="40" y="14"/>
                </a:cxn>
                <a:cxn ang="0">
                  <a:pos x="40" y="12"/>
                </a:cxn>
                <a:cxn ang="0">
                  <a:pos x="38" y="12"/>
                </a:cxn>
                <a:cxn ang="0">
                  <a:pos x="38" y="10"/>
                </a:cxn>
                <a:cxn ang="0">
                  <a:pos x="36" y="10"/>
                </a:cxn>
                <a:cxn ang="0">
                  <a:pos x="32" y="10"/>
                </a:cxn>
                <a:cxn ang="0">
                  <a:pos x="26" y="10"/>
                </a:cxn>
                <a:cxn ang="0">
                  <a:pos x="26" y="8"/>
                </a:cxn>
                <a:cxn ang="0">
                  <a:pos x="24" y="8"/>
                </a:cxn>
                <a:cxn ang="0">
                  <a:pos x="22" y="8"/>
                </a:cxn>
                <a:cxn ang="0">
                  <a:pos x="22" y="10"/>
                </a:cxn>
                <a:cxn ang="0">
                  <a:pos x="20" y="10"/>
                </a:cxn>
                <a:cxn ang="0">
                  <a:pos x="18" y="10"/>
                </a:cxn>
                <a:cxn ang="0">
                  <a:pos x="16" y="6"/>
                </a:cxn>
                <a:cxn ang="0">
                  <a:pos x="20" y="2"/>
                </a:cxn>
                <a:cxn ang="0">
                  <a:pos x="18" y="0"/>
                </a:cxn>
                <a:cxn ang="0">
                  <a:pos x="14" y="0"/>
                </a:cxn>
                <a:cxn ang="0">
                  <a:pos x="12" y="12"/>
                </a:cxn>
                <a:cxn ang="0">
                  <a:pos x="14" y="28"/>
                </a:cxn>
                <a:cxn ang="0">
                  <a:pos x="0" y="38"/>
                </a:cxn>
                <a:cxn ang="0">
                  <a:pos x="0" y="40"/>
                </a:cxn>
                <a:cxn ang="0">
                  <a:pos x="0" y="42"/>
                </a:cxn>
                <a:cxn ang="0">
                  <a:pos x="0" y="44"/>
                </a:cxn>
                <a:cxn ang="0">
                  <a:pos x="4" y="46"/>
                </a:cxn>
                <a:cxn ang="0">
                  <a:pos x="6" y="44"/>
                </a:cxn>
                <a:cxn ang="0">
                  <a:pos x="12" y="42"/>
                </a:cxn>
                <a:cxn ang="0">
                  <a:pos x="14" y="44"/>
                </a:cxn>
                <a:cxn ang="0">
                  <a:pos x="12" y="44"/>
                </a:cxn>
                <a:cxn ang="0">
                  <a:pos x="14" y="52"/>
                </a:cxn>
                <a:cxn ang="0">
                  <a:pos x="20" y="52"/>
                </a:cxn>
                <a:cxn ang="0">
                  <a:pos x="26" y="50"/>
                </a:cxn>
                <a:cxn ang="0">
                  <a:pos x="26" y="48"/>
                </a:cxn>
                <a:cxn ang="0">
                  <a:pos x="28" y="44"/>
                </a:cxn>
                <a:cxn ang="0">
                  <a:pos x="28" y="38"/>
                </a:cxn>
                <a:cxn ang="0">
                  <a:pos x="28" y="32"/>
                </a:cxn>
                <a:cxn ang="0">
                  <a:pos x="34" y="26"/>
                </a:cxn>
                <a:cxn ang="0">
                  <a:pos x="38" y="26"/>
                </a:cxn>
                <a:cxn ang="0">
                  <a:pos x="38" y="24"/>
                </a:cxn>
                <a:cxn ang="0">
                  <a:pos x="42" y="24"/>
                </a:cxn>
                <a:cxn ang="0">
                  <a:pos x="44" y="30"/>
                </a:cxn>
                <a:cxn ang="0">
                  <a:pos x="44" y="34"/>
                </a:cxn>
                <a:cxn ang="0">
                  <a:pos x="40" y="36"/>
                </a:cxn>
                <a:cxn ang="0">
                  <a:pos x="40" y="38"/>
                </a:cxn>
                <a:cxn ang="0">
                  <a:pos x="44" y="38"/>
                </a:cxn>
                <a:cxn ang="0">
                  <a:pos x="46" y="42"/>
                </a:cxn>
                <a:cxn ang="0">
                  <a:pos x="54" y="42"/>
                </a:cxn>
                <a:cxn ang="0">
                  <a:pos x="60" y="46"/>
                </a:cxn>
                <a:cxn ang="0">
                  <a:pos x="64" y="42"/>
                </a:cxn>
                <a:cxn ang="0">
                  <a:pos x="64" y="36"/>
                </a:cxn>
                <a:cxn ang="0">
                  <a:pos x="66" y="36"/>
                </a:cxn>
                <a:cxn ang="0">
                  <a:pos x="66" y="32"/>
                </a:cxn>
                <a:cxn ang="0">
                  <a:pos x="60" y="32"/>
                </a:cxn>
              </a:cxnLst>
              <a:rect l="0" t="0" r="r" b="b"/>
              <a:pathLst>
                <a:path w="66" h="52">
                  <a:moveTo>
                    <a:pt x="60" y="32"/>
                  </a:moveTo>
                  <a:lnTo>
                    <a:pt x="60" y="32"/>
                  </a:lnTo>
                  <a:lnTo>
                    <a:pt x="56" y="32"/>
                  </a:lnTo>
                  <a:lnTo>
                    <a:pt x="54" y="36"/>
                  </a:lnTo>
                  <a:lnTo>
                    <a:pt x="52" y="30"/>
                  </a:lnTo>
                  <a:lnTo>
                    <a:pt x="50" y="22"/>
                  </a:lnTo>
                  <a:lnTo>
                    <a:pt x="48" y="22"/>
                  </a:lnTo>
                  <a:lnTo>
                    <a:pt x="48" y="20"/>
                  </a:lnTo>
                  <a:lnTo>
                    <a:pt x="40" y="14"/>
                  </a:lnTo>
                  <a:lnTo>
                    <a:pt x="40" y="12"/>
                  </a:lnTo>
                  <a:lnTo>
                    <a:pt x="38" y="12"/>
                  </a:lnTo>
                  <a:lnTo>
                    <a:pt x="38" y="10"/>
                  </a:lnTo>
                  <a:lnTo>
                    <a:pt x="36" y="10"/>
                  </a:lnTo>
                  <a:lnTo>
                    <a:pt x="32" y="10"/>
                  </a:lnTo>
                  <a:lnTo>
                    <a:pt x="26" y="10"/>
                  </a:lnTo>
                  <a:lnTo>
                    <a:pt x="26" y="8"/>
                  </a:lnTo>
                  <a:lnTo>
                    <a:pt x="24" y="8"/>
                  </a:lnTo>
                  <a:lnTo>
                    <a:pt x="22" y="8"/>
                  </a:lnTo>
                  <a:lnTo>
                    <a:pt x="22" y="10"/>
                  </a:lnTo>
                  <a:lnTo>
                    <a:pt x="20" y="10"/>
                  </a:lnTo>
                  <a:lnTo>
                    <a:pt x="18" y="10"/>
                  </a:lnTo>
                  <a:lnTo>
                    <a:pt x="16" y="6"/>
                  </a:lnTo>
                  <a:lnTo>
                    <a:pt x="20" y="2"/>
                  </a:lnTo>
                  <a:lnTo>
                    <a:pt x="18" y="0"/>
                  </a:lnTo>
                  <a:lnTo>
                    <a:pt x="14" y="0"/>
                  </a:lnTo>
                  <a:lnTo>
                    <a:pt x="12" y="12"/>
                  </a:lnTo>
                  <a:lnTo>
                    <a:pt x="14" y="28"/>
                  </a:lnTo>
                  <a:lnTo>
                    <a:pt x="0" y="38"/>
                  </a:lnTo>
                  <a:lnTo>
                    <a:pt x="0" y="40"/>
                  </a:lnTo>
                  <a:lnTo>
                    <a:pt x="0" y="42"/>
                  </a:lnTo>
                  <a:lnTo>
                    <a:pt x="0" y="44"/>
                  </a:lnTo>
                  <a:lnTo>
                    <a:pt x="4" y="46"/>
                  </a:lnTo>
                  <a:lnTo>
                    <a:pt x="6" y="44"/>
                  </a:lnTo>
                  <a:lnTo>
                    <a:pt x="12" y="42"/>
                  </a:lnTo>
                  <a:lnTo>
                    <a:pt x="14" y="44"/>
                  </a:lnTo>
                  <a:lnTo>
                    <a:pt x="12" y="44"/>
                  </a:lnTo>
                  <a:lnTo>
                    <a:pt x="14" y="52"/>
                  </a:lnTo>
                  <a:lnTo>
                    <a:pt x="20" y="52"/>
                  </a:lnTo>
                  <a:lnTo>
                    <a:pt x="26" y="50"/>
                  </a:lnTo>
                  <a:lnTo>
                    <a:pt x="26" y="48"/>
                  </a:lnTo>
                  <a:lnTo>
                    <a:pt x="28" y="44"/>
                  </a:lnTo>
                  <a:lnTo>
                    <a:pt x="28" y="38"/>
                  </a:lnTo>
                  <a:lnTo>
                    <a:pt x="28" y="32"/>
                  </a:lnTo>
                  <a:lnTo>
                    <a:pt x="34" y="26"/>
                  </a:lnTo>
                  <a:lnTo>
                    <a:pt x="38" y="26"/>
                  </a:lnTo>
                  <a:lnTo>
                    <a:pt x="38" y="24"/>
                  </a:lnTo>
                  <a:lnTo>
                    <a:pt x="42" y="24"/>
                  </a:lnTo>
                  <a:lnTo>
                    <a:pt x="44" y="30"/>
                  </a:lnTo>
                  <a:lnTo>
                    <a:pt x="44" y="34"/>
                  </a:lnTo>
                  <a:lnTo>
                    <a:pt x="40" y="36"/>
                  </a:lnTo>
                  <a:lnTo>
                    <a:pt x="40" y="38"/>
                  </a:lnTo>
                  <a:lnTo>
                    <a:pt x="44" y="38"/>
                  </a:lnTo>
                  <a:lnTo>
                    <a:pt x="46" y="42"/>
                  </a:lnTo>
                  <a:lnTo>
                    <a:pt x="54" y="42"/>
                  </a:lnTo>
                  <a:lnTo>
                    <a:pt x="60" y="46"/>
                  </a:lnTo>
                  <a:lnTo>
                    <a:pt x="64" y="42"/>
                  </a:lnTo>
                  <a:lnTo>
                    <a:pt x="64" y="36"/>
                  </a:lnTo>
                  <a:lnTo>
                    <a:pt x="66" y="36"/>
                  </a:lnTo>
                  <a:lnTo>
                    <a:pt x="66" y="32"/>
                  </a:lnTo>
                  <a:lnTo>
                    <a:pt x="60" y="3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59" name="Freeform 423">
              <a:extLst>
                <a:ext uri="{FF2B5EF4-FFF2-40B4-BE49-F238E27FC236}">
                  <a16:creationId xmlns:a16="http://schemas.microsoft.com/office/drawing/2014/main" id="{A13A34DC-25B7-4DCB-ADB3-7774CB1E9667}"/>
                </a:ext>
              </a:extLst>
            </p:cNvPr>
            <p:cNvSpPr>
              <a:spLocks/>
            </p:cNvSpPr>
            <p:nvPr/>
          </p:nvSpPr>
          <p:spPr bwMode="auto">
            <a:xfrm>
              <a:off x="1581363" y="3221816"/>
              <a:ext cx="85457" cy="67330"/>
            </a:xfrm>
            <a:custGeom>
              <a:avLst/>
              <a:gdLst/>
              <a:ahLst/>
              <a:cxnLst>
                <a:cxn ang="0">
                  <a:pos x="60" y="32"/>
                </a:cxn>
                <a:cxn ang="0">
                  <a:pos x="60" y="32"/>
                </a:cxn>
                <a:cxn ang="0">
                  <a:pos x="56" y="32"/>
                </a:cxn>
                <a:cxn ang="0">
                  <a:pos x="54" y="36"/>
                </a:cxn>
                <a:cxn ang="0">
                  <a:pos x="52" y="30"/>
                </a:cxn>
                <a:cxn ang="0">
                  <a:pos x="50" y="22"/>
                </a:cxn>
                <a:cxn ang="0">
                  <a:pos x="48" y="22"/>
                </a:cxn>
                <a:cxn ang="0">
                  <a:pos x="48" y="20"/>
                </a:cxn>
                <a:cxn ang="0">
                  <a:pos x="40" y="14"/>
                </a:cxn>
                <a:cxn ang="0">
                  <a:pos x="40" y="12"/>
                </a:cxn>
                <a:cxn ang="0">
                  <a:pos x="38" y="12"/>
                </a:cxn>
                <a:cxn ang="0">
                  <a:pos x="38" y="10"/>
                </a:cxn>
                <a:cxn ang="0">
                  <a:pos x="36" y="10"/>
                </a:cxn>
                <a:cxn ang="0">
                  <a:pos x="32" y="10"/>
                </a:cxn>
                <a:cxn ang="0">
                  <a:pos x="26" y="10"/>
                </a:cxn>
                <a:cxn ang="0">
                  <a:pos x="26" y="8"/>
                </a:cxn>
                <a:cxn ang="0">
                  <a:pos x="24" y="8"/>
                </a:cxn>
                <a:cxn ang="0">
                  <a:pos x="22" y="8"/>
                </a:cxn>
                <a:cxn ang="0">
                  <a:pos x="22" y="10"/>
                </a:cxn>
                <a:cxn ang="0">
                  <a:pos x="20" y="10"/>
                </a:cxn>
                <a:cxn ang="0">
                  <a:pos x="18" y="10"/>
                </a:cxn>
                <a:cxn ang="0">
                  <a:pos x="16" y="6"/>
                </a:cxn>
                <a:cxn ang="0">
                  <a:pos x="20" y="2"/>
                </a:cxn>
                <a:cxn ang="0">
                  <a:pos x="18" y="0"/>
                </a:cxn>
                <a:cxn ang="0">
                  <a:pos x="14" y="0"/>
                </a:cxn>
                <a:cxn ang="0">
                  <a:pos x="12" y="12"/>
                </a:cxn>
                <a:cxn ang="0">
                  <a:pos x="14" y="28"/>
                </a:cxn>
                <a:cxn ang="0">
                  <a:pos x="0" y="38"/>
                </a:cxn>
                <a:cxn ang="0">
                  <a:pos x="0" y="40"/>
                </a:cxn>
                <a:cxn ang="0">
                  <a:pos x="0" y="42"/>
                </a:cxn>
                <a:cxn ang="0">
                  <a:pos x="0" y="44"/>
                </a:cxn>
                <a:cxn ang="0">
                  <a:pos x="4" y="46"/>
                </a:cxn>
                <a:cxn ang="0">
                  <a:pos x="6" y="44"/>
                </a:cxn>
                <a:cxn ang="0">
                  <a:pos x="12" y="42"/>
                </a:cxn>
                <a:cxn ang="0">
                  <a:pos x="14" y="44"/>
                </a:cxn>
                <a:cxn ang="0">
                  <a:pos x="12" y="44"/>
                </a:cxn>
                <a:cxn ang="0">
                  <a:pos x="14" y="52"/>
                </a:cxn>
                <a:cxn ang="0">
                  <a:pos x="20" y="52"/>
                </a:cxn>
                <a:cxn ang="0">
                  <a:pos x="26" y="50"/>
                </a:cxn>
                <a:cxn ang="0">
                  <a:pos x="26" y="48"/>
                </a:cxn>
                <a:cxn ang="0">
                  <a:pos x="28" y="44"/>
                </a:cxn>
                <a:cxn ang="0">
                  <a:pos x="28" y="38"/>
                </a:cxn>
                <a:cxn ang="0">
                  <a:pos x="28" y="32"/>
                </a:cxn>
                <a:cxn ang="0">
                  <a:pos x="34" y="26"/>
                </a:cxn>
                <a:cxn ang="0">
                  <a:pos x="38" y="26"/>
                </a:cxn>
                <a:cxn ang="0">
                  <a:pos x="38" y="24"/>
                </a:cxn>
                <a:cxn ang="0">
                  <a:pos x="42" y="24"/>
                </a:cxn>
                <a:cxn ang="0">
                  <a:pos x="44" y="30"/>
                </a:cxn>
                <a:cxn ang="0">
                  <a:pos x="44" y="34"/>
                </a:cxn>
                <a:cxn ang="0">
                  <a:pos x="40" y="36"/>
                </a:cxn>
                <a:cxn ang="0">
                  <a:pos x="40" y="38"/>
                </a:cxn>
                <a:cxn ang="0">
                  <a:pos x="44" y="38"/>
                </a:cxn>
                <a:cxn ang="0">
                  <a:pos x="46" y="42"/>
                </a:cxn>
                <a:cxn ang="0">
                  <a:pos x="54" y="42"/>
                </a:cxn>
                <a:cxn ang="0">
                  <a:pos x="60" y="46"/>
                </a:cxn>
                <a:cxn ang="0">
                  <a:pos x="64" y="42"/>
                </a:cxn>
                <a:cxn ang="0">
                  <a:pos x="64" y="36"/>
                </a:cxn>
                <a:cxn ang="0">
                  <a:pos x="66" y="36"/>
                </a:cxn>
                <a:cxn ang="0">
                  <a:pos x="66" y="32"/>
                </a:cxn>
                <a:cxn ang="0">
                  <a:pos x="60" y="32"/>
                </a:cxn>
              </a:cxnLst>
              <a:rect l="0" t="0" r="r" b="b"/>
              <a:pathLst>
                <a:path w="66" h="52">
                  <a:moveTo>
                    <a:pt x="60" y="32"/>
                  </a:moveTo>
                  <a:lnTo>
                    <a:pt x="60" y="32"/>
                  </a:lnTo>
                  <a:lnTo>
                    <a:pt x="56" y="32"/>
                  </a:lnTo>
                  <a:lnTo>
                    <a:pt x="54" y="36"/>
                  </a:lnTo>
                  <a:lnTo>
                    <a:pt x="52" y="30"/>
                  </a:lnTo>
                  <a:lnTo>
                    <a:pt x="50" y="22"/>
                  </a:lnTo>
                  <a:lnTo>
                    <a:pt x="48" y="22"/>
                  </a:lnTo>
                  <a:lnTo>
                    <a:pt x="48" y="20"/>
                  </a:lnTo>
                  <a:lnTo>
                    <a:pt x="40" y="14"/>
                  </a:lnTo>
                  <a:lnTo>
                    <a:pt x="40" y="12"/>
                  </a:lnTo>
                  <a:lnTo>
                    <a:pt x="38" y="12"/>
                  </a:lnTo>
                  <a:lnTo>
                    <a:pt x="38" y="10"/>
                  </a:lnTo>
                  <a:lnTo>
                    <a:pt x="36" y="10"/>
                  </a:lnTo>
                  <a:lnTo>
                    <a:pt x="32" y="10"/>
                  </a:lnTo>
                  <a:lnTo>
                    <a:pt x="26" y="10"/>
                  </a:lnTo>
                  <a:lnTo>
                    <a:pt x="26" y="8"/>
                  </a:lnTo>
                  <a:lnTo>
                    <a:pt x="24" y="8"/>
                  </a:lnTo>
                  <a:lnTo>
                    <a:pt x="22" y="8"/>
                  </a:lnTo>
                  <a:lnTo>
                    <a:pt x="22" y="10"/>
                  </a:lnTo>
                  <a:lnTo>
                    <a:pt x="20" y="10"/>
                  </a:lnTo>
                  <a:lnTo>
                    <a:pt x="18" y="10"/>
                  </a:lnTo>
                  <a:lnTo>
                    <a:pt x="16" y="6"/>
                  </a:lnTo>
                  <a:lnTo>
                    <a:pt x="20" y="2"/>
                  </a:lnTo>
                  <a:lnTo>
                    <a:pt x="18" y="0"/>
                  </a:lnTo>
                  <a:lnTo>
                    <a:pt x="14" y="0"/>
                  </a:lnTo>
                  <a:lnTo>
                    <a:pt x="12" y="12"/>
                  </a:lnTo>
                  <a:lnTo>
                    <a:pt x="14" y="28"/>
                  </a:lnTo>
                  <a:lnTo>
                    <a:pt x="0" y="38"/>
                  </a:lnTo>
                  <a:lnTo>
                    <a:pt x="0" y="40"/>
                  </a:lnTo>
                  <a:lnTo>
                    <a:pt x="0" y="42"/>
                  </a:lnTo>
                  <a:lnTo>
                    <a:pt x="0" y="44"/>
                  </a:lnTo>
                  <a:lnTo>
                    <a:pt x="4" y="46"/>
                  </a:lnTo>
                  <a:lnTo>
                    <a:pt x="6" y="44"/>
                  </a:lnTo>
                  <a:lnTo>
                    <a:pt x="12" y="42"/>
                  </a:lnTo>
                  <a:lnTo>
                    <a:pt x="14" y="44"/>
                  </a:lnTo>
                  <a:lnTo>
                    <a:pt x="12" y="44"/>
                  </a:lnTo>
                  <a:lnTo>
                    <a:pt x="14" y="52"/>
                  </a:lnTo>
                  <a:lnTo>
                    <a:pt x="20" y="52"/>
                  </a:lnTo>
                  <a:lnTo>
                    <a:pt x="26" y="50"/>
                  </a:lnTo>
                  <a:lnTo>
                    <a:pt x="26" y="48"/>
                  </a:lnTo>
                  <a:lnTo>
                    <a:pt x="28" y="44"/>
                  </a:lnTo>
                  <a:lnTo>
                    <a:pt x="28" y="38"/>
                  </a:lnTo>
                  <a:lnTo>
                    <a:pt x="28" y="32"/>
                  </a:lnTo>
                  <a:lnTo>
                    <a:pt x="34" y="26"/>
                  </a:lnTo>
                  <a:lnTo>
                    <a:pt x="38" y="26"/>
                  </a:lnTo>
                  <a:lnTo>
                    <a:pt x="38" y="24"/>
                  </a:lnTo>
                  <a:lnTo>
                    <a:pt x="42" y="24"/>
                  </a:lnTo>
                  <a:lnTo>
                    <a:pt x="44" y="30"/>
                  </a:lnTo>
                  <a:lnTo>
                    <a:pt x="44" y="34"/>
                  </a:lnTo>
                  <a:lnTo>
                    <a:pt x="40" y="36"/>
                  </a:lnTo>
                  <a:lnTo>
                    <a:pt x="40" y="38"/>
                  </a:lnTo>
                  <a:lnTo>
                    <a:pt x="44" y="38"/>
                  </a:lnTo>
                  <a:lnTo>
                    <a:pt x="46" y="42"/>
                  </a:lnTo>
                  <a:lnTo>
                    <a:pt x="54" y="42"/>
                  </a:lnTo>
                  <a:lnTo>
                    <a:pt x="60" y="46"/>
                  </a:lnTo>
                  <a:lnTo>
                    <a:pt x="64" y="42"/>
                  </a:lnTo>
                  <a:lnTo>
                    <a:pt x="64" y="36"/>
                  </a:lnTo>
                  <a:lnTo>
                    <a:pt x="66" y="36"/>
                  </a:lnTo>
                  <a:lnTo>
                    <a:pt x="66" y="32"/>
                  </a:lnTo>
                  <a:lnTo>
                    <a:pt x="60" y="3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0" name="Freeform 424">
              <a:extLst>
                <a:ext uri="{FF2B5EF4-FFF2-40B4-BE49-F238E27FC236}">
                  <a16:creationId xmlns:a16="http://schemas.microsoft.com/office/drawing/2014/main" id="{84B59A40-9A78-4EFD-99B1-27D942EAB57D}"/>
                </a:ext>
              </a:extLst>
            </p:cNvPr>
            <p:cNvSpPr>
              <a:spLocks/>
            </p:cNvSpPr>
            <p:nvPr/>
          </p:nvSpPr>
          <p:spPr bwMode="auto">
            <a:xfrm>
              <a:off x="1956857" y="3641333"/>
              <a:ext cx="44023" cy="28486"/>
            </a:xfrm>
            <a:custGeom>
              <a:avLst/>
              <a:gdLst/>
              <a:ahLst/>
              <a:cxnLst>
                <a:cxn ang="0">
                  <a:pos x="34" y="18"/>
                </a:cxn>
                <a:cxn ang="0">
                  <a:pos x="28" y="14"/>
                </a:cxn>
                <a:cxn ang="0">
                  <a:pos x="26" y="14"/>
                </a:cxn>
                <a:cxn ang="0">
                  <a:pos x="22" y="10"/>
                </a:cxn>
                <a:cxn ang="0">
                  <a:pos x="20" y="6"/>
                </a:cxn>
                <a:cxn ang="0">
                  <a:pos x="16" y="6"/>
                </a:cxn>
                <a:cxn ang="0">
                  <a:pos x="12" y="4"/>
                </a:cxn>
                <a:cxn ang="0">
                  <a:pos x="8" y="0"/>
                </a:cxn>
                <a:cxn ang="0">
                  <a:pos x="0" y="0"/>
                </a:cxn>
                <a:cxn ang="0">
                  <a:pos x="0" y="6"/>
                </a:cxn>
                <a:cxn ang="0">
                  <a:pos x="6" y="6"/>
                </a:cxn>
                <a:cxn ang="0">
                  <a:pos x="10" y="10"/>
                </a:cxn>
                <a:cxn ang="0">
                  <a:pos x="10" y="14"/>
                </a:cxn>
                <a:cxn ang="0">
                  <a:pos x="14" y="14"/>
                </a:cxn>
                <a:cxn ang="0">
                  <a:pos x="18" y="16"/>
                </a:cxn>
                <a:cxn ang="0">
                  <a:pos x="22" y="18"/>
                </a:cxn>
                <a:cxn ang="0">
                  <a:pos x="26" y="20"/>
                </a:cxn>
                <a:cxn ang="0">
                  <a:pos x="32" y="22"/>
                </a:cxn>
                <a:cxn ang="0">
                  <a:pos x="32" y="20"/>
                </a:cxn>
                <a:cxn ang="0">
                  <a:pos x="34" y="18"/>
                </a:cxn>
              </a:cxnLst>
              <a:rect l="0" t="0" r="r" b="b"/>
              <a:pathLst>
                <a:path w="34" h="22">
                  <a:moveTo>
                    <a:pt x="34" y="18"/>
                  </a:moveTo>
                  <a:lnTo>
                    <a:pt x="28" y="14"/>
                  </a:lnTo>
                  <a:lnTo>
                    <a:pt x="26" y="14"/>
                  </a:lnTo>
                  <a:lnTo>
                    <a:pt x="22" y="10"/>
                  </a:lnTo>
                  <a:lnTo>
                    <a:pt x="20" y="6"/>
                  </a:lnTo>
                  <a:lnTo>
                    <a:pt x="16" y="6"/>
                  </a:lnTo>
                  <a:lnTo>
                    <a:pt x="12" y="4"/>
                  </a:lnTo>
                  <a:lnTo>
                    <a:pt x="8" y="0"/>
                  </a:lnTo>
                  <a:lnTo>
                    <a:pt x="0" y="0"/>
                  </a:lnTo>
                  <a:lnTo>
                    <a:pt x="0" y="6"/>
                  </a:lnTo>
                  <a:lnTo>
                    <a:pt x="6" y="6"/>
                  </a:lnTo>
                  <a:lnTo>
                    <a:pt x="10" y="10"/>
                  </a:lnTo>
                  <a:lnTo>
                    <a:pt x="10" y="14"/>
                  </a:lnTo>
                  <a:lnTo>
                    <a:pt x="14" y="14"/>
                  </a:lnTo>
                  <a:lnTo>
                    <a:pt x="18" y="16"/>
                  </a:lnTo>
                  <a:lnTo>
                    <a:pt x="22" y="18"/>
                  </a:lnTo>
                  <a:lnTo>
                    <a:pt x="26" y="20"/>
                  </a:lnTo>
                  <a:lnTo>
                    <a:pt x="32" y="22"/>
                  </a:lnTo>
                  <a:lnTo>
                    <a:pt x="32" y="20"/>
                  </a:lnTo>
                  <a:lnTo>
                    <a:pt x="34" y="18"/>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1" name="Freeform 425">
              <a:extLst>
                <a:ext uri="{FF2B5EF4-FFF2-40B4-BE49-F238E27FC236}">
                  <a16:creationId xmlns:a16="http://schemas.microsoft.com/office/drawing/2014/main" id="{EB2A2F49-09DE-4BFF-BFB2-8B8F972B9B19}"/>
                </a:ext>
              </a:extLst>
            </p:cNvPr>
            <p:cNvSpPr>
              <a:spLocks/>
            </p:cNvSpPr>
            <p:nvPr/>
          </p:nvSpPr>
          <p:spPr bwMode="auto">
            <a:xfrm>
              <a:off x="1956857" y="3641333"/>
              <a:ext cx="44023" cy="28486"/>
            </a:xfrm>
            <a:custGeom>
              <a:avLst/>
              <a:gdLst/>
              <a:ahLst/>
              <a:cxnLst>
                <a:cxn ang="0">
                  <a:pos x="34" y="18"/>
                </a:cxn>
                <a:cxn ang="0">
                  <a:pos x="28" y="14"/>
                </a:cxn>
                <a:cxn ang="0">
                  <a:pos x="26" y="14"/>
                </a:cxn>
                <a:cxn ang="0">
                  <a:pos x="22" y="10"/>
                </a:cxn>
                <a:cxn ang="0">
                  <a:pos x="20" y="6"/>
                </a:cxn>
                <a:cxn ang="0">
                  <a:pos x="16" y="6"/>
                </a:cxn>
                <a:cxn ang="0">
                  <a:pos x="12" y="4"/>
                </a:cxn>
                <a:cxn ang="0">
                  <a:pos x="8" y="0"/>
                </a:cxn>
                <a:cxn ang="0">
                  <a:pos x="0" y="0"/>
                </a:cxn>
                <a:cxn ang="0">
                  <a:pos x="0" y="6"/>
                </a:cxn>
                <a:cxn ang="0">
                  <a:pos x="6" y="6"/>
                </a:cxn>
                <a:cxn ang="0">
                  <a:pos x="10" y="10"/>
                </a:cxn>
                <a:cxn ang="0">
                  <a:pos x="10" y="14"/>
                </a:cxn>
                <a:cxn ang="0">
                  <a:pos x="14" y="14"/>
                </a:cxn>
                <a:cxn ang="0">
                  <a:pos x="18" y="16"/>
                </a:cxn>
                <a:cxn ang="0">
                  <a:pos x="22" y="18"/>
                </a:cxn>
                <a:cxn ang="0">
                  <a:pos x="26" y="20"/>
                </a:cxn>
                <a:cxn ang="0">
                  <a:pos x="32" y="22"/>
                </a:cxn>
                <a:cxn ang="0">
                  <a:pos x="32" y="20"/>
                </a:cxn>
                <a:cxn ang="0">
                  <a:pos x="34" y="18"/>
                </a:cxn>
              </a:cxnLst>
              <a:rect l="0" t="0" r="r" b="b"/>
              <a:pathLst>
                <a:path w="34" h="22">
                  <a:moveTo>
                    <a:pt x="34" y="18"/>
                  </a:moveTo>
                  <a:lnTo>
                    <a:pt x="28" y="14"/>
                  </a:lnTo>
                  <a:lnTo>
                    <a:pt x="26" y="14"/>
                  </a:lnTo>
                  <a:lnTo>
                    <a:pt x="22" y="10"/>
                  </a:lnTo>
                  <a:lnTo>
                    <a:pt x="20" y="6"/>
                  </a:lnTo>
                  <a:lnTo>
                    <a:pt x="16" y="6"/>
                  </a:lnTo>
                  <a:lnTo>
                    <a:pt x="12" y="4"/>
                  </a:lnTo>
                  <a:lnTo>
                    <a:pt x="8" y="0"/>
                  </a:lnTo>
                  <a:lnTo>
                    <a:pt x="0" y="0"/>
                  </a:lnTo>
                  <a:lnTo>
                    <a:pt x="0" y="6"/>
                  </a:lnTo>
                  <a:lnTo>
                    <a:pt x="6" y="6"/>
                  </a:lnTo>
                  <a:lnTo>
                    <a:pt x="10" y="10"/>
                  </a:lnTo>
                  <a:lnTo>
                    <a:pt x="10" y="14"/>
                  </a:lnTo>
                  <a:lnTo>
                    <a:pt x="14" y="14"/>
                  </a:lnTo>
                  <a:lnTo>
                    <a:pt x="18" y="16"/>
                  </a:lnTo>
                  <a:lnTo>
                    <a:pt x="22" y="18"/>
                  </a:lnTo>
                  <a:lnTo>
                    <a:pt x="26" y="20"/>
                  </a:lnTo>
                  <a:lnTo>
                    <a:pt x="32" y="22"/>
                  </a:lnTo>
                  <a:lnTo>
                    <a:pt x="32" y="20"/>
                  </a:lnTo>
                  <a:lnTo>
                    <a:pt x="34" y="18"/>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2" name="Freeform 426">
              <a:extLst>
                <a:ext uri="{FF2B5EF4-FFF2-40B4-BE49-F238E27FC236}">
                  <a16:creationId xmlns:a16="http://schemas.microsoft.com/office/drawing/2014/main" id="{C07D4F9C-57E0-420C-9796-E51B18C9C34C}"/>
                </a:ext>
              </a:extLst>
            </p:cNvPr>
            <p:cNvSpPr>
              <a:spLocks/>
            </p:cNvSpPr>
            <p:nvPr/>
          </p:nvSpPr>
          <p:spPr bwMode="auto">
            <a:xfrm>
              <a:off x="1369015" y="3084567"/>
              <a:ext cx="64740" cy="44023"/>
            </a:xfrm>
            <a:custGeom>
              <a:avLst/>
              <a:gdLst/>
              <a:ahLst/>
              <a:cxnLst>
                <a:cxn ang="0">
                  <a:pos x="46" y="12"/>
                </a:cxn>
                <a:cxn ang="0">
                  <a:pos x="36" y="2"/>
                </a:cxn>
                <a:cxn ang="0">
                  <a:pos x="30" y="2"/>
                </a:cxn>
                <a:cxn ang="0">
                  <a:pos x="28" y="2"/>
                </a:cxn>
                <a:cxn ang="0">
                  <a:pos x="26" y="2"/>
                </a:cxn>
                <a:cxn ang="0">
                  <a:pos x="24" y="2"/>
                </a:cxn>
                <a:cxn ang="0">
                  <a:pos x="24" y="0"/>
                </a:cxn>
                <a:cxn ang="0">
                  <a:pos x="20" y="0"/>
                </a:cxn>
                <a:cxn ang="0">
                  <a:pos x="18" y="2"/>
                </a:cxn>
                <a:cxn ang="0">
                  <a:pos x="18" y="6"/>
                </a:cxn>
                <a:cxn ang="0">
                  <a:pos x="16" y="4"/>
                </a:cxn>
                <a:cxn ang="0">
                  <a:pos x="12" y="4"/>
                </a:cxn>
                <a:cxn ang="0">
                  <a:pos x="10" y="12"/>
                </a:cxn>
                <a:cxn ang="0">
                  <a:pos x="8" y="16"/>
                </a:cxn>
                <a:cxn ang="0">
                  <a:pos x="6" y="18"/>
                </a:cxn>
                <a:cxn ang="0">
                  <a:pos x="2" y="18"/>
                </a:cxn>
                <a:cxn ang="0">
                  <a:pos x="0" y="20"/>
                </a:cxn>
                <a:cxn ang="0">
                  <a:pos x="2" y="22"/>
                </a:cxn>
                <a:cxn ang="0">
                  <a:pos x="4" y="24"/>
                </a:cxn>
                <a:cxn ang="0">
                  <a:pos x="6" y="22"/>
                </a:cxn>
                <a:cxn ang="0">
                  <a:pos x="8" y="22"/>
                </a:cxn>
                <a:cxn ang="0">
                  <a:pos x="8" y="24"/>
                </a:cxn>
                <a:cxn ang="0">
                  <a:pos x="10" y="26"/>
                </a:cxn>
                <a:cxn ang="0">
                  <a:pos x="12" y="24"/>
                </a:cxn>
                <a:cxn ang="0">
                  <a:pos x="14" y="22"/>
                </a:cxn>
                <a:cxn ang="0">
                  <a:pos x="16" y="22"/>
                </a:cxn>
                <a:cxn ang="0">
                  <a:pos x="16" y="24"/>
                </a:cxn>
                <a:cxn ang="0">
                  <a:pos x="16" y="26"/>
                </a:cxn>
                <a:cxn ang="0">
                  <a:pos x="16" y="28"/>
                </a:cxn>
                <a:cxn ang="0">
                  <a:pos x="20" y="30"/>
                </a:cxn>
                <a:cxn ang="0">
                  <a:pos x="22" y="34"/>
                </a:cxn>
                <a:cxn ang="0">
                  <a:pos x="24" y="34"/>
                </a:cxn>
                <a:cxn ang="0">
                  <a:pos x="26" y="34"/>
                </a:cxn>
                <a:cxn ang="0">
                  <a:pos x="28" y="34"/>
                </a:cxn>
                <a:cxn ang="0">
                  <a:pos x="30" y="34"/>
                </a:cxn>
                <a:cxn ang="0">
                  <a:pos x="32" y="32"/>
                </a:cxn>
                <a:cxn ang="0">
                  <a:pos x="32" y="28"/>
                </a:cxn>
                <a:cxn ang="0">
                  <a:pos x="38" y="30"/>
                </a:cxn>
                <a:cxn ang="0">
                  <a:pos x="42" y="28"/>
                </a:cxn>
                <a:cxn ang="0">
                  <a:pos x="48" y="28"/>
                </a:cxn>
                <a:cxn ang="0">
                  <a:pos x="50" y="24"/>
                </a:cxn>
                <a:cxn ang="0">
                  <a:pos x="46" y="24"/>
                </a:cxn>
                <a:cxn ang="0">
                  <a:pos x="46" y="18"/>
                </a:cxn>
                <a:cxn ang="0">
                  <a:pos x="46" y="12"/>
                </a:cxn>
              </a:cxnLst>
              <a:rect l="0" t="0" r="r" b="b"/>
              <a:pathLst>
                <a:path w="50" h="34">
                  <a:moveTo>
                    <a:pt x="46" y="12"/>
                  </a:moveTo>
                  <a:lnTo>
                    <a:pt x="36" y="2"/>
                  </a:lnTo>
                  <a:lnTo>
                    <a:pt x="30" y="2"/>
                  </a:lnTo>
                  <a:lnTo>
                    <a:pt x="28" y="2"/>
                  </a:lnTo>
                  <a:lnTo>
                    <a:pt x="26" y="2"/>
                  </a:lnTo>
                  <a:lnTo>
                    <a:pt x="24" y="2"/>
                  </a:lnTo>
                  <a:lnTo>
                    <a:pt x="24" y="0"/>
                  </a:lnTo>
                  <a:lnTo>
                    <a:pt x="20" y="0"/>
                  </a:lnTo>
                  <a:lnTo>
                    <a:pt x="18" y="2"/>
                  </a:lnTo>
                  <a:lnTo>
                    <a:pt x="18" y="6"/>
                  </a:lnTo>
                  <a:lnTo>
                    <a:pt x="16" y="4"/>
                  </a:lnTo>
                  <a:lnTo>
                    <a:pt x="12" y="4"/>
                  </a:lnTo>
                  <a:lnTo>
                    <a:pt x="10" y="12"/>
                  </a:lnTo>
                  <a:lnTo>
                    <a:pt x="8" y="16"/>
                  </a:lnTo>
                  <a:lnTo>
                    <a:pt x="6" y="18"/>
                  </a:lnTo>
                  <a:lnTo>
                    <a:pt x="2" y="18"/>
                  </a:lnTo>
                  <a:lnTo>
                    <a:pt x="0" y="20"/>
                  </a:lnTo>
                  <a:lnTo>
                    <a:pt x="2" y="22"/>
                  </a:lnTo>
                  <a:lnTo>
                    <a:pt x="4" y="24"/>
                  </a:lnTo>
                  <a:lnTo>
                    <a:pt x="6" y="22"/>
                  </a:lnTo>
                  <a:lnTo>
                    <a:pt x="8" y="22"/>
                  </a:lnTo>
                  <a:lnTo>
                    <a:pt x="8" y="24"/>
                  </a:lnTo>
                  <a:lnTo>
                    <a:pt x="10" y="26"/>
                  </a:lnTo>
                  <a:lnTo>
                    <a:pt x="12" y="24"/>
                  </a:lnTo>
                  <a:lnTo>
                    <a:pt x="14" y="22"/>
                  </a:lnTo>
                  <a:lnTo>
                    <a:pt x="16" y="22"/>
                  </a:lnTo>
                  <a:lnTo>
                    <a:pt x="16" y="24"/>
                  </a:lnTo>
                  <a:lnTo>
                    <a:pt x="16" y="26"/>
                  </a:lnTo>
                  <a:lnTo>
                    <a:pt x="16" y="28"/>
                  </a:lnTo>
                  <a:lnTo>
                    <a:pt x="20" y="30"/>
                  </a:lnTo>
                  <a:lnTo>
                    <a:pt x="22" y="34"/>
                  </a:lnTo>
                  <a:lnTo>
                    <a:pt x="24" y="34"/>
                  </a:lnTo>
                  <a:lnTo>
                    <a:pt x="26" y="34"/>
                  </a:lnTo>
                  <a:lnTo>
                    <a:pt x="28" y="34"/>
                  </a:lnTo>
                  <a:lnTo>
                    <a:pt x="30" y="34"/>
                  </a:lnTo>
                  <a:lnTo>
                    <a:pt x="32" y="32"/>
                  </a:lnTo>
                  <a:lnTo>
                    <a:pt x="32" y="28"/>
                  </a:lnTo>
                  <a:lnTo>
                    <a:pt x="38" y="30"/>
                  </a:lnTo>
                  <a:lnTo>
                    <a:pt x="42" y="28"/>
                  </a:lnTo>
                  <a:lnTo>
                    <a:pt x="48" y="28"/>
                  </a:lnTo>
                  <a:lnTo>
                    <a:pt x="50" y="24"/>
                  </a:lnTo>
                  <a:lnTo>
                    <a:pt x="46" y="24"/>
                  </a:lnTo>
                  <a:lnTo>
                    <a:pt x="46" y="18"/>
                  </a:lnTo>
                  <a:lnTo>
                    <a:pt x="46" y="1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3" name="Freeform 427">
              <a:extLst>
                <a:ext uri="{FF2B5EF4-FFF2-40B4-BE49-F238E27FC236}">
                  <a16:creationId xmlns:a16="http://schemas.microsoft.com/office/drawing/2014/main" id="{7451D542-F74A-4BCF-8C05-869D2189A440}"/>
                </a:ext>
              </a:extLst>
            </p:cNvPr>
            <p:cNvSpPr>
              <a:spLocks/>
            </p:cNvSpPr>
            <p:nvPr/>
          </p:nvSpPr>
          <p:spPr bwMode="auto">
            <a:xfrm>
              <a:off x="1369015" y="3084567"/>
              <a:ext cx="64740" cy="44023"/>
            </a:xfrm>
            <a:custGeom>
              <a:avLst/>
              <a:gdLst/>
              <a:ahLst/>
              <a:cxnLst>
                <a:cxn ang="0">
                  <a:pos x="46" y="12"/>
                </a:cxn>
                <a:cxn ang="0">
                  <a:pos x="36" y="2"/>
                </a:cxn>
                <a:cxn ang="0">
                  <a:pos x="30" y="2"/>
                </a:cxn>
                <a:cxn ang="0">
                  <a:pos x="28" y="2"/>
                </a:cxn>
                <a:cxn ang="0">
                  <a:pos x="26" y="2"/>
                </a:cxn>
                <a:cxn ang="0">
                  <a:pos x="24" y="2"/>
                </a:cxn>
                <a:cxn ang="0">
                  <a:pos x="24" y="0"/>
                </a:cxn>
                <a:cxn ang="0">
                  <a:pos x="20" y="0"/>
                </a:cxn>
                <a:cxn ang="0">
                  <a:pos x="18" y="2"/>
                </a:cxn>
                <a:cxn ang="0">
                  <a:pos x="18" y="6"/>
                </a:cxn>
                <a:cxn ang="0">
                  <a:pos x="16" y="4"/>
                </a:cxn>
                <a:cxn ang="0">
                  <a:pos x="12" y="4"/>
                </a:cxn>
                <a:cxn ang="0">
                  <a:pos x="10" y="12"/>
                </a:cxn>
                <a:cxn ang="0">
                  <a:pos x="8" y="16"/>
                </a:cxn>
                <a:cxn ang="0">
                  <a:pos x="6" y="18"/>
                </a:cxn>
                <a:cxn ang="0">
                  <a:pos x="2" y="18"/>
                </a:cxn>
                <a:cxn ang="0">
                  <a:pos x="0" y="20"/>
                </a:cxn>
                <a:cxn ang="0">
                  <a:pos x="2" y="22"/>
                </a:cxn>
                <a:cxn ang="0">
                  <a:pos x="4" y="24"/>
                </a:cxn>
                <a:cxn ang="0">
                  <a:pos x="6" y="22"/>
                </a:cxn>
                <a:cxn ang="0">
                  <a:pos x="8" y="22"/>
                </a:cxn>
                <a:cxn ang="0">
                  <a:pos x="8" y="24"/>
                </a:cxn>
                <a:cxn ang="0">
                  <a:pos x="10" y="26"/>
                </a:cxn>
                <a:cxn ang="0">
                  <a:pos x="12" y="24"/>
                </a:cxn>
                <a:cxn ang="0">
                  <a:pos x="14" y="22"/>
                </a:cxn>
                <a:cxn ang="0">
                  <a:pos x="16" y="22"/>
                </a:cxn>
                <a:cxn ang="0">
                  <a:pos x="16" y="24"/>
                </a:cxn>
                <a:cxn ang="0">
                  <a:pos x="16" y="26"/>
                </a:cxn>
                <a:cxn ang="0">
                  <a:pos x="16" y="28"/>
                </a:cxn>
                <a:cxn ang="0">
                  <a:pos x="20" y="30"/>
                </a:cxn>
                <a:cxn ang="0">
                  <a:pos x="22" y="34"/>
                </a:cxn>
                <a:cxn ang="0">
                  <a:pos x="24" y="34"/>
                </a:cxn>
                <a:cxn ang="0">
                  <a:pos x="26" y="34"/>
                </a:cxn>
                <a:cxn ang="0">
                  <a:pos x="28" y="34"/>
                </a:cxn>
                <a:cxn ang="0">
                  <a:pos x="30" y="34"/>
                </a:cxn>
                <a:cxn ang="0">
                  <a:pos x="32" y="32"/>
                </a:cxn>
                <a:cxn ang="0">
                  <a:pos x="32" y="28"/>
                </a:cxn>
                <a:cxn ang="0">
                  <a:pos x="38" y="30"/>
                </a:cxn>
                <a:cxn ang="0">
                  <a:pos x="42" y="28"/>
                </a:cxn>
                <a:cxn ang="0">
                  <a:pos x="48" y="28"/>
                </a:cxn>
                <a:cxn ang="0">
                  <a:pos x="50" y="24"/>
                </a:cxn>
                <a:cxn ang="0">
                  <a:pos x="46" y="24"/>
                </a:cxn>
                <a:cxn ang="0">
                  <a:pos x="46" y="18"/>
                </a:cxn>
                <a:cxn ang="0">
                  <a:pos x="46" y="12"/>
                </a:cxn>
              </a:cxnLst>
              <a:rect l="0" t="0" r="r" b="b"/>
              <a:pathLst>
                <a:path w="50" h="34">
                  <a:moveTo>
                    <a:pt x="46" y="12"/>
                  </a:moveTo>
                  <a:lnTo>
                    <a:pt x="36" y="2"/>
                  </a:lnTo>
                  <a:lnTo>
                    <a:pt x="30" y="2"/>
                  </a:lnTo>
                  <a:lnTo>
                    <a:pt x="28" y="2"/>
                  </a:lnTo>
                  <a:lnTo>
                    <a:pt x="26" y="2"/>
                  </a:lnTo>
                  <a:lnTo>
                    <a:pt x="24" y="2"/>
                  </a:lnTo>
                  <a:lnTo>
                    <a:pt x="24" y="0"/>
                  </a:lnTo>
                  <a:lnTo>
                    <a:pt x="20" y="0"/>
                  </a:lnTo>
                  <a:lnTo>
                    <a:pt x="18" y="2"/>
                  </a:lnTo>
                  <a:lnTo>
                    <a:pt x="18" y="6"/>
                  </a:lnTo>
                  <a:lnTo>
                    <a:pt x="16" y="4"/>
                  </a:lnTo>
                  <a:lnTo>
                    <a:pt x="12" y="4"/>
                  </a:lnTo>
                  <a:lnTo>
                    <a:pt x="10" y="12"/>
                  </a:lnTo>
                  <a:lnTo>
                    <a:pt x="8" y="16"/>
                  </a:lnTo>
                  <a:lnTo>
                    <a:pt x="6" y="18"/>
                  </a:lnTo>
                  <a:lnTo>
                    <a:pt x="2" y="18"/>
                  </a:lnTo>
                  <a:lnTo>
                    <a:pt x="0" y="20"/>
                  </a:lnTo>
                  <a:lnTo>
                    <a:pt x="2" y="22"/>
                  </a:lnTo>
                  <a:lnTo>
                    <a:pt x="4" y="24"/>
                  </a:lnTo>
                  <a:lnTo>
                    <a:pt x="6" y="22"/>
                  </a:lnTo>
                  <a:lnTo>
                    <a:pt x="8" y="22"/>
                  </a:lnTo>
                  <a:lnTo>
                    <a:pt x="8" y="24"/>
                  </a:lnTo>
                  <a:lnTo>
                    <a:pt x="10" y="26"/>
                  </a:lnTo>
                  <a:lnTo>
                    <a:pt x="12" y="24"/>
                  </a:lnTo>
                  <a:lnTo>
                    <a:pt x="14" y="22"/>
                  </a:lnTo>
                  <a:lnTo>
                    <a:pt x="16" y="22"/>
                  </a:lnTo>
                  <a:lnTo>
                    <a:pt x="16" y="24"/>
                  </a:lnTo>
                  <a:lnTo>
                    <a:pt x="16" y="26"/>
                  </a:lnTo>
                  <a:lnTo>
                    <a:pt x="16" y="28"/>
                  </a:lnTo>
                  <a:lnTo>
                    <a:pt x="20" y="30"/>
                  </a:lnTo>
                  <a:lnTo>
                    <a:pt x="22" y="34"/>
                  </a:lnTo>
                  <a:lnTo>
                    <a:pt x="24" y="34"/>
                  </a:lnTo>
                  <a:lnTo>
                    <a:pt x="26" y="34"/>
                  </a:lnTo>
                  <a:lnTo>
                    <a:pt x="28" y="34"/>
                  </a:lnTo>
                  <a:lnTo>
                    <a:pt x="30" y="34"/>
                  </a:lnTo>
                  <a:lnTo>
                    <a:pt x="32" y="32"/>
                  </a:lnTo>
                  <a:lnTo>
                    <a:pt x="32" y="28"/>
                  </a:lnTo>
                  <a:lnTo>
                    <a:pt x="38" y="30"/>
                  </a:lnTo>
                  <a:lnTo>
                    <a:pt x="42" y="28"/>
                  </a:lnTo>
                  <a:lnTo>
                    <a:pt x="48" y="28"/>
                  </a:lnTo>
                  <a:lnTo>
                    <a:pt x="50" y="24"/>
                  </a:lnTo>
                  <a:lnTo>
                    <a:pt x="46" y="24"/>
                  </a:lnTo>
                  <a:lnTo>
                    <a:pt x="46" y="18"/>
                  </a:lnTo>
                  <a:lnTo>
                    <a:pt x="46" y="1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4" name="Freeform 428">
              <a:extLst>
                <a:ext uri="{FF2B5EF4-FFF2-40B4-BE49-F238E27FC236}">
                  <a16:creationId xmlns:a16="http://schemas.microsoft.com/office/drawing/2014/main" id="{2CE4F08F-8A1E-4ACC-9039-BDC6CADFB986}"/>
                </a:ext>
              </a:extLst>
            </p:cNvPr>
            <p:cNvSpPr>
              <a:spLocks/>
            </p:cNvSpPr>
            <p:nvPr/>
          </p:nvSpPr>
          <p:spPr bwMode="auto">
            <a:xfrm>
              <a:off x="4753636" y="4444112"/>
              <a:ext cx="88047" cy="100995"/>
            </a:xfrm>
            <a:custGeom>
              <a:avLst/>
              <a:gdLst/>
              <a:ahLst/>
              <a:cxnLst>
                <a:cxn ang="0">
                  <a:pos x="6" y="58"/>
                </a:cxn>
                <a:cxn ang="0">
                  <a:pos x="6" y="58"/>
                </a:cxn>
                <a:cxn ang="0">
                  <a:pos x="8" y="64"/>
                </a:cxn>
                <a:cxn ang="0">
                  <a:pos x="10" y="64"/>
                </a:cxn>
                <a:cxn ang="0">
                  <a:pos x="12" y="72"/>
                </a:cxn>
                <a:cxn ang="0">
                  <a:pos x="18" y="70"/>
                </a:cxn>
                <a:cxn ang="0">
                  <a:pos x="18" y="76"/>
                </a:cxn>
                <a:cxn ang="0">
                  <a:pos x="24" y="76"/>
                </a:cxn>
                <a:cxn ang="0">
                  <a:pos x="24" y="78"/>
                </a:cxn>
                <a:cxn ang="0">
                  <a:pos x="30" y="70"/>
                </a:cxn>
                <a:cxn ang="0">
                  <a:pos x="34" y="68"/>
                </a:cxn>
                <a:cxn ang="0">
                  <a:pos x="36" y="64"/>
                </a:cxn>
                <a:cxn ang="0">
                  <a:pos x="44" y="64"/>
                </a:cxn>
                <a:cxn ang="0">
                  <a:pos x="50" y="66"/>
                </a:cxn>
                <a:cxn ang="0">
                  <a:pos x="52" y="60"/>
                </a:cxn>
                <a:cxn ang="0">
                  <a:pos x="54" y="58"/>
                </a:cxn>
                <a:cxn ang="0">
                  <a:pos x="60" y="56"/>
                </a:cxn>
                <a:cxn ang="0">
                  <a:pos x="64" y="52"/>
                </a:cxn>
                <a:cxn ang="0">
                  <a:pos x="66" y="46"/>
                </a:cxn>
                <a:cxn ang="0">
                  <a:pos x="66" y="38"/>
                </a:cxn>
                <a:cxn ang="0">
                  <a:pos x="68" y="34"/>
                </a:cxn>
                <a:cxn ang="0">
                  <a:pos x="68" y="26"/>
                </a:cxn>
                <a:cxn ang="0">
                  <a:pos x="66" y="18"/>
                </a:cxn>
                <a:cxn ang="0">
                  <a:pos x="64" y="12"/>
                </a:cxn>
                <a:cxn ang="0">
                  <a:pos x="64" y="4"/>
                </a:cxn>
                <a:cxn ang="0">
                  <a:pos x="58" y="6"/>
                </a:cxn>
                <a:cxn ang="0">
                  <a:pos x="54" y="2"/>
                </a:cxn>
                <a:cxn ang="0">
                  <a:pos x="50" y="0"/>
                </a:cxn>
                <a:cxn ang="0">
                  <a:pos x="46" y="6"/>
                </a:cxn>
                <a:cxn ang="0">
                  <a:pos x="46" y="12"/>
                </a:cxn>
                <a:cxn ang="0">
                  <a:pos x="42" y="14"/>
                </a:cxn>
                <a:cxn ang="0">
                  <a:pos x="38" y="10"/>
                </a:cxn>
                <a:cxn ang="0">
                  <a:pos x="36" y="8"/>
                </a:cxn>
                <a:cxn ang="0">
                  <a:pos x="28" y="6"/>
                </a:cxn>
                <a:cxn ang="0">
                  <a:pos x="24" y="10"/>
                </a:cxn>
                <a:cxn ang="0">
                  <a:pos x="20" y="14"/>
                </a:cxn>
                <a:cxn ang="0">
                  <a:pos x="16" y="14"/>
                </a:cxn>
                <a:cxn ang="0">
                  <a:pos x="10" y="14"/>
                </a:cxn>
                <a:cxn ang="0">
                  <a:pos x="4" y="18"/>
                </a:cxn>
                <a:cxn ang="0">
                  <a:pos x="0" y="20"/>
                </a:cxn>
                <a:cxn ang="0">
                  <a:pos x="0" y="28"/>
                </a:cxn>
                <a:cxn ang="0">
                  <a:pos x="0" y="38"/>
                </a:cxn>
                <a:cxn ang="0">
                  <a:pos x="4" y="42"/>
                </a:cxn>
                <a:cxn ang="0">
                  <a:pos x="6" y="50"/>
                </a:cxn>
                <a:cxn ang="0">
                  <a:pos x="6" y="58"/>
                </a:cxn>
                <a:cxn ang="0">
                  <a:pos x="6" y="58"/>
                </a:cxn>
              </a:cxnLst>
              <a:rect l="0" t="0" r="r" b="b"/>
              <a:pathLst>
                <a:path w="68" h="78">
                  <a:moveTo>
                    <a:pt x="6" y="58"/>
                  </a:moveTo>
                  <a:lnTo>
                    <a:pt x="6" y="58"/>
                  </a:lnTo>
                  <a:lnTo>
                    <a:pt x="8" y="64"/>
                  </a:lnTo>
                  <a:lnTo>
                    <a:pt x="10" y="64"/>
                  </a:lnTo>
                  <a:lnTo>
                    <a:pt x="12" y="72"/>
                  </a:lnTo>
                  <a:lnTo>
                    <a:pt x="18" y="70"/>
                  </a:lnTo>
                  <a:lnTo>
                    <a:pt x="18" y="76"/>
                  </a:lnTo>
                  <a:lnTo>
                    <a:pt x="24" y="76"/>
                  </a:lnTo>
                  <a:lnTo>
                    <a:pt x="24" y="78"/>
                  </a:lnTo>
                  <a:lnTo>
                    <a:pt x="30" y="70"/>
                  </a:lnTo>
                  <a:lnTo>
                    <a:pt x="34" y="68"/>
                  </a:lnTo>
                  <a:lnTo>
                    <a:pt x="36" y="64"/>
                  </a:lnTo>
                  <a:lnTo>
                    <a:pt x="44" y="64"/>
                  </a:lnTo>
                  <a:lnTo>
                    <a:pt x="50" y="66"/>
                  </a:lnTo>
                  <a:lnTo>
                    <a:pt x="52" y="60"/>
                  </a:lnTo>
                  <a:lnTo>
                    <a:pt x="54" y="58"/>
                  </a:lnTo>
                  <a:lnTo>
                    <a:pt x="60" y="56"/>
                  </a:lnTo>
                  <a:lnTo>
                    <a:pt x="64" y="52"/>
                  </a:lnTo>
                  <a:lnTo>
                    <a:pt x="66" y="46"/>
                  </a:lnTo>
                  <a:lnTo>
                    <a:pt x="66" y="38"/>
                  </a:lnTo>
                  <a:lnTo>
                    <a:pt x="68" y="34"/>
                  </a:lnTo>
                  <a:lnTo>
                    <a:pt x="68" y="26"/>
                  </a:lnTo>
                  <a:lnTo>
                    <a:pt x="66" y="18"/>
                  </a:lnTo>
                  <a:lnTo>
                    <a:pt x="64" y="12"/>
                  </a:lnTo>
                  <a:lnTo>
                    <a:pt x="64" y="4"/>
                  </a:lnTo>
                  <a:lnTo>
                    <a:pt x="58" y="6"/>
                  </a:lnTo>
                  <a:lnTo>
                    <a:pt x="54" y="2"/>
                  </a:lnTo>
                  <a:lnTo>
                    <a:pt x="50" y="0"/>
                  </a:lnTo>
                  <a:lnTo>
                    <a:pt x="46" y="6"/>
                  </a:lnTo>
                  <a:lnTo>
                    <a:pt x="46" y="12"/>
                  </a:lnTo>
                  <a:lnTo>
                    <a:pt x="42" y="14"/>
                  </a:lnTo>
                  <a:lnTo>
                    <a:pt x="38" y="10"/>
                  </a:lnTo>
                  <a:lnTo>
                    <a:pt x="36" y="8"/>
                  </a:lnTo>
                  <a:lnTo>
                    <a:pt x="28" y="6"/>
                  </a:lnTo>
                  <a:lnTo>
                    <a:pt x="24" y="10"/>
                  </a:lnTo>
                  <a:lnTo>
                    <a:pt x="20" y="14"/>
                  </a:lnTo>
                  <a:lnTo>
                    <a:pt x="16" y="14"/>
                  </a:lnTo>
                  <a:lnTo>
                    <a:pt x="10" y="14"/>
                  </a:lnTo>
                  <a:lnTo>
                    <a:pt x="4" y="18"/>
                  </a:lnTo>
                  <a:lnTo>
                    <a:pt x="0" y="20"/>
                  </a:lnTo>
                  <a:lnTo>
                    <a:pt x="0" y="28"/>
                  </a:lnTo>
                  <a:lnTo>
                    <a:pt x="0" y="38"/>
                  </a:lnTo>
                  <a:lnTo>
                    <a:pt x="4" y="42"/>
                  </a:lnTo>
                  <a:lnTo>
                    <a:pt x="6" y="50"/>
                  </a:lnTo>
                  <a:lnTo>
                    <a:pt x="6" y="58"/>
                  </a:lnTo>
                  <a:lnTo>
                    <a:pt x="6" y="5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5" name="Freeform 429">
              <a:extLst>
                <a:ext uri="{FF2B5EF4-FFF2-40B4-BE49-F238E27FC236}">
                  <a16:creationId xmlns:a16="http://schemas.microsoft.com/office/drawing/2014/main" id="{3A777FA9-1356-44BA-859E-5E94C16A0AD9}"/>
                </a:ext>
              </a:extLst>
            </p:cNvPr>
            <p:cNvSpPr>
              <a:spLocks/>
            </p:cNvSpPr>
            <p:nvPr/>
          </p:nvSpPr>
          <p:spPr bwMode="auto">
            <a:xfrm>
              <a:off x="4753636" y="4444112"/>
              <a:ext cx="88047" cy="100995"/>
            </a:xfrm>
            <a:custGeom>
              <a:avLst/>
              <a:gdLst/>
              <a:ahLst/>
              <a:cxnLst>
                <a:cxn ang="0">
                  <a:pos x="6" y="58"/>
                </a:cxn>
                <a:cxn ang="0">
                  <a:pos x="6" y="58"/>
                </a:cxn>
                <a:cxn ang="0">
                  <a:pos x="8" y="64"/>
                </a:cxn>
                <a:cxn ang="0">
                  <a:pos x="10" y="64"/>
                </a:cxn>
                <a:cxn ang="0">
                  <a:pos x="12" y="72"/>
                </a:cxn>
                <a:cxn ang="0">
                  <a:pos x="18" y="70"/>
                </a:cxn>
                <a:cxn ang="0">
                  <a:pos x="18" y="76"/>
                </a:cxn>
                <a:cxn ang="0">
                  <a:pos x="24" y="76"/>
                </a:cxn>
                <a:cxn ang="0">
                  <a:pos x="24" y="78"/>
                </a:cxn>
                <a:cxn ang="0">
                  <a:pos x="30" y="70"/>
                </a:cxn>
                <a:cxn ang="0">
                  <a:pos x="34" y="68"/>
                </a:cxn>
                <a:cxn ang="0">
                  <a:pos x="36" y="64"/>
                </a:cxn>
                <a:cxn ang="0">
                  <a:pos x="44" y="64"/>
                </a:cxn>
                <a:cxn ang="0">
                  <a:pos x="50" y="66"/>
                </a:cxn>
                <a:cxn ang="0">
                  <a:pos x="52" y="60"/>
                </a:cxn>
                <a:cxn ang="0">
                  <a:pos x="54" y="58"/>
                </a:cxn>
                <a:cxn ang="0">
                  <a:pos x="60" y="56"/>
                </a:cxn>
                <a:cxn ang="0">
                  <a:pos x="64" y="52"/>
                </a:cxn>
                <a:cxn ang="0">
                  <a:pos x="66" y="46"/>
                </a:cxn>
                <a:cxn ang="0">
                  <a:pos x="66" y="38"/>
                </a:cxn>
                <a:cxn ang="0">
                  <a:pos x="68" y="34"/>
                </a:cxn>
                <a:cxn ang="0">
                  <a:pos x="68" y="26"/>
                </a:cxn>
                <a:cxn ang="0">
                  <a:pos x="66" y="18"/>
                </a:cxn>
                <a:cxn ang="0">
                  <a:pos x="64" y="12"/>
                </a:cxn>
                <a:cxn ang="0">
                  <a:pos x="64" y="4"/>
                </a:cxn>
                <a:cxn ang="0">
                  <a:pos x="58" y="6"/>
                </a:cxn>
                <a:cxn ang="0">
                  <a:pos x="54" y="2"/>
                </a:cxn>
                <a:cxn ang="0">
                  <a:pos x="50" y="0"/>
                </a:cxn>
                <a:cxn ang="0">
                  <a:pos x="46" y="6"/>
                </a:cxn>
                <a:cxn ang="0">
                  <a:pos x="46" y="12"/>
                </a:cxn>
                <a:cxn ang="0">
                  <a:pos x="42" y="14"/>
                </a:cxn>
                <a:cxn ang="0">
                  <a:pos x="38" y="10"/>
                </a:cxn>
                <a:cxn ang="0">
                  <a:pos x="36" y="8"/>
                </a:cxn>
                <a:cxn ang="0">
                  <a:pos x="28" y="6"/>
                </a:cxn>
                <a:cxn ang="0">
                  <a:pos x="24" y="10"/>
                </a:cxn>
                <a:cxn ang="0">
                  <a:pos x="20" y="14"/>
                </a:cxn>
                <a:cxn ang="0">
                  <a:pos x="16" y="14"/>
                </a:cxn>
                <a:cxn ang="0">
                  <a:pos x="10" y="14"/>
                </a:cxn>
                <a:cxn ang="0">
                  <a:pos x="4" y="18"/>
                </a:cxn>
                <a:cxn ang="0">
                  <a:pos x="0" y="20"/>
                </a:cxn>
                <a:cxn ang="0">
                  <a:pos x="0" y="28"/>
                </a:cxn>
                <a:cxn ang="0">
                  <a:pos x="0" y="38"/>
                </a:cxn>
                <a:cxn ang="0">
                  <a:pos x="4" y="42"/>
                </a:cxn>
                <a:cxn ang="0">
                  <a:pos x="6" y="50"/>
                </a:cxn>
                <a:cxn ang="0">
                  <a:pos x="6" y="58"/>
                </a:cxn>
                <a:cxn ang="0">
                  <a:pos x="6" y="58"/>
                </a:cxn>
              </a:cxnLst>
              <a:rect l="0" t="0" r="r" b="b"/>
              <a:pathLst>
                <a:path w="68" h="78">
                  <a:moveTo>
                    <a:pt x="6" y="58"/>
                  </a:moveTo>
                  <a:lnTo>
                    <a:pt x="6" y="58"/>
                  </a:lnTo>
                  <a:lnTo>
                    <a:pt x="8" y="64"/>
                  </a:lnTo>
                  <a:lnTo>
                    <a:pt x="10" y="64"/>
                  </a:lnTo>
                  <a:lnTo>
                    <a:pt x="12" y="72"/>
                  </a:lnTo>
                  <a:lnTo>
                    <a:pt x="18" y="70"/>
                  </a:lnTo>
                  <a:lnTo>
                    <a:pt x="18" y="76"/>
                  </a:lnTo>
                  <a:lnTo>
                    <a:pt x="24" y="76"/>
                  </a:lnTo>
                  <a:lnTo>
                    <a:pt x="24" y="78"/>
                  </a:lnTo>
                  <a:lnTo>
                    <a:pt x="30" y="70"/>
                  </a:lnTo>
                  <a:lnTo>
                    <a:pt x="34" y="68"/>
                  </a:lnTo>
                  <a:lnTo>
                    <a:pt x="36" y="64"/>
                  </a:lnTo>
                  <a:lnTo>
                    <a:pt x="44" y="64"/>
                  </a:lnTo>
                  <a:lnTo>
                    <a:pt x="50" y="66"/>
                  </a:lnTo>
                  <a:lnTo>
                    <a:pt x="52" y="60"/>
                  </a:lnTo>
                  <a:lnTo>
                    <a:pt x="54" y="58"/>
                  </a:lnTo>
                  <a:lnTo>
                    <a:pt x="60" y="56"/>
                  </a:lnTo>
                  <a:lnTo>
                    <a:pt x="64" y="52"/>
                  </a:lnTo>
                  <a:lnTo>
                    <a:pt x="66" y="46"/>
                  </a:lnTo>
                  <a:lnTo>
                    <a:pt x="66" y="38"/>
                  </a:lnTo>
                  <a:lnTo>
                    <a:pt x="68" y="34"/>
                  </a:lnTo>
                  <a:lnTo>
                    <a:pt x="68" y="26"/>
                  </a:lnTo>
                  <a:lnTo>
                    <a:pt x="66" y="18"/>
                  </a:lnTo>
                  <a:lnTo>
                    <a:pt x="64" y="12"/>
                  </a:lnTo>
                  <a:lnTo>
                    <a:pt x="64" y="4"/>
                  </a:lnTo>
                  <a:lnTo>
                    <a:pt x="58" y="6"/>
                  </a:lnTo>
                  <a:lnTo>
                    <a:pt x="54" y="2"/>
                  </a:lnTo>
                  <a:lnTo>
                    <a:pt x="50" y="0"/>
                  </a:lnTo>
                  <a:lnTo>
                    <a:pt x="46" y="6"/>
                  </a:lnTo>
                  <a:lnTo>
                    <a:pt x="46" y="12"/>
                  </a:lnTo>
                  <a:lnTo>
                    <a:pt x="42" y="14"/>
                  </a:lnTo>
                  <a:lnTo>
                    <a:pt x="38" y="10"/>
                  </a:lnTo>
                  <a:lnTo>
                    <a:pt x="36" y="8"/>
                  </a:lnTo>
                  <a:lnTo>
                    <a:pt x="28" y="6"/>
                  </a:lnTo>
                  <a:lnTo>
                    <a:pt x="24" y="10"/>
                  </a:lnTo>
                  <a:lnTo>
                    <a:pt x="20" y="14"/>
                  </a:lnTo>
                  <a:lnTo>
                    <a:pt x="16" y="14"/>
                  </a:lnTo>
                  <a:lnTo>
                    <a:pt x="10" y="14"/>
                  </a:lnTo>
                  <a:lnTo>
                    <a:pt x="4" y="18"/>
                  </a:lnTo>
                  <a:lnTo>
                    <a:pt x="0" y="20"/>
                  </a:lnTo>
                  <a:lnTo>
                    <a:pt x="0" y="28"/>
                  </a:lnTo>
                  <a:lnTo>
                    <a:pt x="0" y="38"/>
                  </a:lnTo>
                  <a:lnTo>
                    <a:pt x="4" y="42"/>
                  </a:lnTo>
                  <a:lnTo>
                    <a:pt x="6" y="50"/>
                  </a:lnTo>
                  <a:lnTo>
                    <a:pt x="6" y="58"/>
                  </a:lnTo>
                  <a:lnTo>
                    <a:pt x="6" y="5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6" name="Freeform 430">
              <a:extLst>
                <a:ext uri="{FF2B5EF4-FFF2-40B4-BE49-F238E27FC236}">
                  <a16:creationId xmlns:a16="http://schemas.microsoft.com/office/drawing/2014/main" id="{C7C60625-9617-49B3-A37A-C2C0D2ABE654}"/>
                </a:ext>
              </a:extLst>
            </p:cNvPr>
            <p:cNvSpPr>
              <a:spLocks/>
            </p:cNvSpPr>
            <p:nvPr/>
          </p:nvSpPr>
          <p:spPr bwMode="auto">
            <a:xfrm>
              <a:off x="3523571" y="4814426"/>
              <a:ext cx="38844" cy="41434"/>
            </a:xfrm>
            <a:custGeom>
              <a:avLst/>
              <a:gdLst/>
              <a:ahLst/>
              <a:cxnLst>
                <a:cxn ang="0">
                  <a:pos x="0" y="2"/>
                </a:cxn>
                <a:cxn ang="0">
                  <a:pos x="0" y="2"/>
                </a:cxn>
                <a:cxn ang="0">
                  <a:pos x="2" y="2"/>
                </a:cxn>
                <a:cxn ang="0">
                  <a:pos x="4" y="0"/>
                </a:cxn>
                <a:cxn ang="0">
                  <a:pos x="6" y="2"/>
                </a:cxn>
                <a:cxn ang="0">
                  <a:pos x="8" y="8"/>
                </a:cxn>
                <a:cxn ang="0">
                  <a:pos x="12" y="6"/>
                </a:cxn>
                <a:cxn ang="0">
                  <a:pos x="14" y="4"/>
                </a:cxn>
                <a:cxn ang="0">
                  <a:pos x="14" y="2"/>
                </a:cxn>
                <a:cxn ang="0">
                  <a:pos x="14" y="0"/>
                </a:cxn>
                <a:cxn ang="0">
                  <a:pos x="16" y="0"/>
                </a:cxn>
                <a:cxn ang="0">
                  <a:pos x="22" y="2"/>
                </a:cxn>
                <a:cxn ang="0">
                  <a:pos x="24" y="2"/>
                </a:cxn>
                <a:cxn ang="0">
                  <a:pos x="24" y="6"/>
                </a:cxn>
                <a:cxn ang="0">
                  <a:pos x="24" y="8"/>
                </a:cxn>
                <a:cxn ang="0">
                  <a:pos x="26" y="12"/>
                </a:cxn>
                <a:cxn ang="0">
                  <a:pos x="30" y="12"/>
                </a:cxn>
                <a:cxn ang="0">
                  <a:pos x="28" y="16"/>
                </a:cxn>
                <a:cxn ang="0">
                  <a:pos x="22" y="20"/>
                </a:cxn>
                <a:cxn ang="0">
                  <a:pos x="20" y="28"/>
                </a:cxn>
                <a:cxn ang="0">
                  <a:pos x="14" y="32"/>
                </a:cxn>
                <a:cxn ang="0">
                  <a:pos x="8" y="30"/>
                </a:cxn>
                <a:cxn ang="0">
                  <a:pos x="8" y="10"/>
                </a:cxn>
                <a:cxn ang="0">
                  <a:pos x="2" y="8"/>
                </a:cxn>
                <a:cxn ang="0">
                  <a:pos x="0" y="4"/>
                </a:cxn>
                <a:cxn ang="0">
                  <a:pos x="0" y="2"/>
                </a:cxn>
                <a:cxn ang="0">
                  <a:pos x="0" y="2"/>
                </a:cxn>
              </a:cxnLst>
              <a:rect l="0" t="0" r="r" b="b"/>
              <a:pathLst>
                <a:path w="30" h="32">
                  <a:moveTo>
                    <a:pt x="0" y="2"/>
                  </a:moveTo>
                  <a:lnTo>
                    <a:pt x="0" y="2"/>
                  </a:lnTo>
                  <a:lnTo>
                    <a:pt x="2" y="2"/>
                  </a:lnTo>
                  <a:lnTo>
                    <a:pt x="4" y="0"/>
                  </a:lnTo>
                  <a:lnTo>
                    <a:pt x="6" y="2"/>
                  </a:lnTo>
                  <a:lnTo>
                    <a:pt x="8" y="8"/>
                  </a:lnTo>
                  <a:lnTo>
                    <a:pt x="12" y="6"/>
                  </a:lnTo>
                  <a:lnTo>
                    <a:pt x="14" y="4"/>
                  </a:lnTo>
                  <a:lnTo>
                    <a:pt x="14" y="2"/>
                  </a:lnTo>
                  <a:lnTo>
                    <a:pt x="14" y="0"/>
                  </a:lnTo>
                  <a:lnTo>
                    <a:pt x="16" y="0"/>
                  </a:lnTo>
                  <a:lnTo>
                    <a:pt x="22" y="2"/>
                  </a:lnTo>
                  <a:lnTo>
                    <a:pt x="24" y="2"/>
                  </a:lnTo>
                  <a:lnTo>
                    <a:pt x="24" y="6"/>
                  </a:lnTo>
                  <a:lnTo>
                    <a:pt x="24" y="8"/>
                  </a:lnTo>
                  <a:lnTo>
                    <a:pt x="26" y="12"/>
                  </a:lnTo>
                  <a:lnTo>
                    <a:pt x="30" y="12"/>
                  </a:lnTo>
                  <a:lnTo>
                    <a:pt x="28" y="16"/>
                  </a:lnTo>
                  <a:lnTo>
                    <a:pt x="22" y="20"/>
                  </a:lnTo>
                  <a:lnTo>
                    <a:pt x="20" y="28"/>
                  </a:lnTo>
                  <a:lnTo>
                    <a:pt x="14" y="32"/>
                  </a:lnTo>
                  <a:lnTo>
                    <a:pt x="8" y="30"/>
                  </a:lnTo>
                  <a:lnTo>
                    <a:pt x="8" y="10"/>
                  </a:lnTo>
                  <a:lnTo>
                    <a:pt x="2" y="8"/>
                  </a:lnTo>
                  <a:lnTo>
                    <a:pt x="0" y="4"/>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7" name="Freeform 431">
              <a:extLst>
                <a:ext uri="{FF2B5EF4-FFF2-40B4-BE49-F238E27FC236}">
                  <a16:creationId xmlns:a16="http://schemas.microsoft.com/office/drawing/2014/main" id="{F429EEC4-922F-433C-A3E3-DFB0E544DA5B}"/>
                </a:ext>
              </a:extLst>
            </p:cNvPr>
            <p:cNvSpPr>
              <a:spLocks/>
            </p:cNvSpPr>
            <p:nvPr/>
          </p:nvSpPr>
          <p:spPr bwMode="auto">
            <a:xfrm>
              <a:off x="2938319" y="4418216"/>
              <a:ext cx="124301" cy="124301"/>
            </a:xfrm>
            <a:custGeom>
              <a:avLst/>
              <a:gdLst/>
              <a:ahLst/>
              <a:cxnLst>
                <a:cxn ang="0">
                  <a:pos x="62" y="68"/>
                </a:cxn>
                <a:cxn ang="0">
                  <a:pos x="54" y="70"/>
                </a:cxn>
                <a:cxn ang="0">
                  <a:pos x="40" y="72"/>
                </a:cxn>
                <a:cxn ang="0">
                  <a:pos x="40" y="82"/>
                </a:cxn>
                <a:cxn ang="0">
                  <a:pos x="40" y="94"/>
                </a:cxn>
                <a:cxn ang="0">
                  <a:pos x="28" y="94"/>
                </a:cxn>
                <a:cxn ang="0">
                  <a:pos x="28" y="88"/>
                </a:cxn>
                <a:cxn ang="0">
                  <a:pos x="18" y="92"/>
                </a:cxn>
                <a:cxn ang="0">
                  <a:pos x="12" y="86"/>
                </a:cxn>
                <a:cxn ang="0">
                  <a:pos x="0" y="80"/>
                </a:cxn>
                <a:cxn ang="0">
                  <a:pos x="2" y="74"/>
                </a:cxn>
                <a:cxn ang="0">
                  <a:pos x="4" y="70"/>
                </a:cxn>
                <a:cxn ang="0">
                  <a:pos x="4" y="62"/>
                </a:cxn>
                <a:cxn ang="0">
                  <a:pos x="6" y="58"/>
                </a:cxn>
                <a:cxn ang="0">
                  <a:pos x="12" y="56"/>
                </a:cxn>
                <a:cxn ang="0">
                  <a:pos x="18" y="42"/>
                </a:cxn>
                <a:cxn ang="0">
                  <a:pos x="26" y="38"/>
                </a:cxn>
                <a:cxn ang="0">
                  <a:pos x="34" y="34"/>
                </a:cxn>
                <a:cxn ang="0">
                  <a:pos x="38" y="26"/>
                </a:cxn>
                <a:cxn ang="0">
                  <a:pos x="46" y="20"/>
                </a:cxn>
                <a:cxn ang="0">
                  <a:pos x="50" y="12"/>
                </a:cxn>
                <a:cxn ang="0">
                  <a:pos x="54" y="8"/>
                </a:cxn>
                <a:cxn ang="0">
                  <a:pos x="60" y="4"/>
                </a:cxn>
                <a:cxn ang="0">
                  <a:pos x="62" y="0"/>
                </a:cxn>
                <a:cxn ang="0">
                  <a:pos x="66" y="2"/>
                </a:cxn>
                <a:cxn ang="0">
                  <a:pos x="68" y="2"/>
                </a:cxn>
                <a:cxn ang="0">
                  <a:pos x="70" y="12"/>
                </a:cxn>
                <a:cxn ang="0">
                  <a:pos x="84" y="24"/>
                </a:cxn>
                <a:cxn ang="0">
                  <a:pos x="90" y="42"/>
                </a:cxn>
                <a:cxn ang="0">
                  <a:pos x="94" y="42"/>
                </a:cxn>
                <a:cxn ang="0">
                  <a:pos x="92" y="48"/>
                </a:cxn>
                <a:cxn ang="0">
                  <a:pos x="96" y="64"/>
                </a:cxn>
                <a:cxn ang="0">
                  <a:pos x="90" y="68"/>
                </a:cxn>
                <a:cxn ang="0">
                  <a:pos x="88" y="70"/>
                </a:cxn>
                <a:cxn ang="0">
                  <a:pos x="78" y="70"/>
                </a:cxn>
                <a:cxn ang="0">
                  <a:pos x="72" y="68"/>
                </a:cxn>
              </a:cxnLst>
              <a:rect l="0" t="0" r="r" b="b"/>
              <a:pathLst>
                <a:path w="96" h="96">
                  <a:moveTo>
                    <a:pt x="72" y="68"/>
                  </a:moveTo>
                  <a:lnTo>
                    <a:pt x="62" y="68"/>
                  </a:lnTo>
                  <a:lnTo>
                    <a:pt x="62" y="70"/>
                  </a:lnTo>
                  <a:lnTo>
                    <a:pt x="54" y="70"/>
                  </a:lnTo>
                  <a:lnTo>
                    <a:pt x="44" y="70"/>
                  </a:lnTo>
                  <a:lnTo>
                    <a:pt x="40" y="72"/>
                  </a:lnTo>
                  <a:lnTo>
                    <a:pt x="40" y="76"/>
                  </a:lnTo>
                  <a:lnTo>
                    <a:pt x="40" y="82"/>
                  </a:lnTo>
                  <a:lnTo>
                    <a:pt x="42" y="86"/>
                  </a:lnTo>
                  <a:lnTo>
                    <a:pt x="40" y="94"/>
                  </a:lnTo>
                  <a:lnTo>
                    <a:pt x="30" y="96"/>
                  </a:lnTo>
                  <a:lnTo>
                    <a:pt x="28" y="94"/>
                  </a:lnTo>
                  <a:lnTo>
                    <a:pt x="28" y="92"/>
                  </a:lnTo>
                  <a:lnTo>
                    <a:pt x="28" y="88"/>
                  </a:lnTo>
                  <a:lnTo>
                    <a:pt x="22" y="88"/>
                  </a:lnTo>
                  <a:lnTo>
                    <a:pt x="18" y="92"/>
                  </a:lnTo>
                  <a:lnTo>
                    <a:pt x="12" y="90"/>
                  </a:lnTo>
                  <a:lnTo>
                    <a:pt x="12" y="86"/>
                  </a:lnTo>
                  <a:lnTo>
                    <a:pt x="0" y="86"/>
                  </a:lnTo>
                  <a:lnTo>
                    <a:pt x="0" y="80"/>
                  </a:lnTo>
                  <a:lnTo>
                    <a:pt x="0" y="76"/>
                  </a:lnTo>
                  <a:lnTo>
                    <a:pt x="2" y="74"/>
                  </a:lnTo>
                  <a:lnTo>
                    <a:pt x="4" y="72"/>
                  </a:lnTo>
                  <a:lnTo>
                    <a:pt x="4" y="70"/>
                  </a:lnTo>
                  <a:lnTo>
                    <a:pt x="4" y="66"/>
                  </a:lnTo>
                  <a:lnTo>
                    <a:pt x="4" y="62"/>
                  </a:lnTo>
                  <a:lnTo>
                    <a:pt x="4" y="60"/>
                  </a:lnTo>
                  <a:lnTo>
                    <a:pt x="6" y="58"/>
                  </a:lnTo>
                  <a:lnTo>
                    <a:pt x="10" y="54"/>
                  </a:lnTo>
                  <a:lnTo>
                    <a:pt x="12" y="56"/>
                  </a:lnTo>
                  <a:lnTo>
                    <a:pt x="16" y="48"/>
                  </a:lnTo>
                  <a:lnTo>
                    <a:pt x="18" y="42"/>
                  </a:lnTo>
                  <a:lnTo>
                    <a:pt x="20" y="40"/>
                  </a:lnTo>
                  <a:lnTo>
                    <a:pt x="26" y="38"/>
                  </a:lnTo>
                  <a:lnTo>
                    <a:pt x="32" y="36"/>
                  </a:lnTo>
                  <a:lnTo>
                    <a:pt x="34" y="34"/>
                  </a:lnTo>
                  <a:lnTo>
                    <a:pt x="36" y="30"/>
                  </a:lnTo>
                  <a:lnTo>
                    <a:pt x="38" y="26"/>
                  </a:lnTo>
                  <a:lnTo>
                    <a:pt x="42" y="22"/>
                  </a:lnTo>
                  <a:lnTo>
                    <a:pt x="46" y="20"/>
                  </a:lnTo>
                  <a:lnTo>
                    <a:pt x="48" y="18"/>
                  </a:lnTo>
                  <a:lnTo>
                    <a:pt x="50" y="12"/>
                  </a:lnTo>
                  <a:lnTo>
                    <a:pt x="50" y="10"/>
                  </a:lnTo>
                  <a:lnTo>
                    <a:pt x="54" y="8"/>
                  </a:lnTo>
                  <a:lnTo>
                    <a:pt x="58" y="8"/>
                  </a:lnTo>
                  <a:lnTo>
                    <a:pt x="60" y="4"/>
                  </a:lnTo>
                  <a:lnTo>
                    <a:pt x="62" y="0"/>
                  </a:lnTo>
                  <a:lnTo>
                    <a:pt x="62" y="0"/>
                  </a:lnTo>
                  <a:lnTo>
                    <a:pt x="64" y="2"/>
                  </a:lnTo>
                  <a:lnTo>
                    <a:pt x="66" y="2"/>
                  </a:lnTo>
                  <a:lnTo>
                    <a:pt x="68" y="0"/>
                  </a:lnTo>
                  <a:lnTo>
                    <a:pt x="68" y="2"/>
                  </a:lnTo>
                  <a:lnTo>
                    <a:pt x="72" y="6"/>
                  </a:lnTo>
                  <a:lnTo>
                    <a:pt x="70" y="12"/>
                  </a:lnTo>
                  <a:lnTo>
                    <a:pt x="74" y="18"/>
                  </a:lnTo>
                  <a:lnTo>
                    <a:pt x="84" y="24"/>
                  </a:lnTo>
                  <a:lnTo>
                    <a:pt x="84" y="28"/>
                  </a:lnTo>
                  <a:lnTo>
                    <a:pt x="90" y="42"/>
                  </a:lnTo>
                  <a:lnTo>
                    <a:pt x="92" y="40"/>
                  </a:lnTo>
                  <a:lnTo>
                    <a:pt x="94" y="42"/>
                  </a:lnTo>
                  <a:lnTo>
                    <a:pt x="94" y="46"/>
                  </a:lnTo>
                  <a:lnTo>
                    <a:pt x="92" y="48"/>
                  </a:lnTo>
                  <a:lnTo>
                    <a:pt x="96" y="60"/>
                  </a:lnTo>
                  <a:lnTo>
                    <a:pt x="96" y="64"/>
                  </a:lnTo>
                  <a:lnTo>
                    <a:pt x="90" y="66"/>
                  </a:lnTo>
                  <a:lnTo>
                    <a:pt x="90" y="68"/>
                  </a:lnTo>
                  <a:lnTo>
                    <a:pt x="90" y="70"/>
                  </a:lnTo>
                  <a:lnTo>
                    <a:pt x="88" y="70"/>
                  </a:lnTo>
                  <a:lnTo>
                    <a:pt x="84" y="70"/>
                  </a:lnTo>
                  <a:lnTo>
                    <a:pt x="78" y="70"/>
                  </a:lnTo>
                  <a:lnTo>
                    <a:pt x="72" y="68"/>
                  </a:lnTo>
                  <a:lnTo>
                    <a:pt x="72"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8" name="Freeform 432">
              <a:extLst>
                <a:ext uri="{FF2B5EF4-FFF2-40B4-BE49-F238E27FC236}">
                  <a16:creationId xmlns:a16="http://schemas.microsoft.com/office/drawing/2014/main" id="{20104A23-9359-4064-9EDC-8B34E107FE78}"/>
                </a:ext>
              </a:extLst>
            </p:cNvPr>
            <p:cNvSpPr>
              <a:spLocks/>
            </p:cNvSpPr>
            <p:nvPr/>
          </p:nvSpPr>
          <p:spPr bwMode="auto">
            <a:xfrm>
              <a:off x="3417397" y="3791530"/>
              <a:ext cx="103584" cy="72509"/>
            </a:xfrm>
            <a:custGeom>
              <a:avLst/>
              <a:gdLst/>
              <a:ahLst/>
              <a:cxnLst>
                <a:cxn ang="0">
                  <a:pos x="80" y="4"/>
                </a:cxn>
                <a:cxn ang="0">
                  <a:pos x="70" y="0"/>
                </a:cxn>
                <a:cxn ang="0">
                  <a:pos x="62" y="4"/>
                </a:cxn>
                <a:cxn ang="0">
                  <a:pos x="56" y="0"/>
                </a:cxn>
                <a:cxn ang="0">
                  <a:pos x="48" y="4"/>
                </a:cxn>
                <a:cxn ang="0">
                  <a:pos x="40" y="8"/>
                </a:cxn>
                <a:cxn ang="0">
                  <a:pos x="28" y="8"/>
                </a:cxn>
                <a:cxn ang="0">
                  <a:pos x="24" y="8"/>
                </a:cxn>
                <a:cxn ang="0">
                  <a:pos x="16" y="8"/>
                </a:cxn>
                <a:cxn ang="0">
                  <a:pos x="14" y="6"/>
                </a:cxn>
                <a:cxn ang="0">
                  <a:pos x="16" y="2"/>
                </a:cxn>
                <a:cxn ang="0">
                  <a:pos x="10" y="0"/>
                </a:cxn>
                <a:cxn ang="0">
                  <a:pos x="6" y="8"/>
                </a:cxn>
                <a:cxn ang="0">
                  <a:pos x="2" y="12"/>
                </a:cxn>
                <a:cxn ang="0">
                  <a:pos x="2" y="20"/>
                </a:cxn>
                <a:cxn ang="0">
                  <a:pos x="10" y="22"/>
                </a:cxn>
                <a:cxn ang="0">
                  <a:pos x="6" y="30"/>
                </a:cxn>
                <a:cxn ang="0">
                  <a:pos x="8" y="38"/>
                </a:cxn>
                <a:cxn ang="0">
                  <a:pos x="8" y="42"/>
                </a:cxn>
                <a:cxn ang="0">
                  <a:pos x="12" y="48"/>
                </a:cxn>
                <a:cxn ang="0">
                  <a:pos x="10" y="54"/>
                </a:cxn>
                <a:cxn ang="0">
                  <a:pos x="20" y="56"/>
                </a:cxn>
                <a:cxn ang="0">
                  <a:pos x="26" y="52"/>
                </a:cxn>
                <a:cxn ang="0">
                  <a:pos x="30" y="48"/>
                </a:cxn>
                <a:cxn ang="0">
                  <a:pos x="38" y="50"/>
                </a:cxn>
                <a:cxn ang="0">
                  <a:pos x="40" y="54"/>
                </a:cxn>
                <a:cxn ang="0">
                  <a:pos x="50" y="54"/>
                </a:cxn>
                <a:cxn ang="0">
                  <a:pos x="50" y="52"/>
                </a:cxn>
                <a:cxn ang="0">
                  <a:pos x="52" y="48"/>
                </a:cxn>
                <a:cxn ang="0">
                  <a:pos x="56" y="46"/>
                </a:cxn>
                <a:cxn ang="0">
                  <a:pos x="64" y="46"/>
                </a:cxn>
                <a:cxn ang="0">
                  <a:pos x="72" y="46"/>
                </a:cxn>
                <a:cxn ang="0">
                  <a:pos x="66" y="38"/>
                </a:cxn>
                <a:cxn ang="0">
                  <a:pos x="70" y="26"/>
                </a:cxn>
                <a:cxn ang="0">
                  <a:pos x="80" y="16"/>
                </a:cxn>
                <a:cxn ang="0">
                  <a:pos x="80" y="4"/>
                </a:cxn>
              </a:cxnLst>
              <a:rect l="0" t="0" r="r" b="b"/>
              <a:pathLst>
                <a:path w="80" h="56">
                  <a:moveTo>
                    <a:pt x="80" y="4"/>
                  </a:moveTo>
                  <a:lnTo>
                    <a:pt x="80" y="4"/>
                  </a:lnTo>
                  <a:lnTo>
                    <a:pt x="74" y="0"/>
                  </a:lnTo>
                  <a:lnTo>
                    <a:pt x="70" y="0"/>
                  </a:lnTo>
                  <a:lnTo>
                    <a:pt x="66" y="2"/>
                  </a:lnTo>
                  <a:lnTo>
                    <a:pt x="62" y="4"/>
                  </a:lnTo>
                  <a:lnTo>
                    <a:pt x="60" y="2"/>
                  </a:lnTo>
                  <a:lnTo>
                    <a:pt x="56" y="0"/>
                  </a:lnTo>
                  <a:lnTo>
                    <a:pt x="52" y="0"/>
                  </a:lnTo>
                  <a:lnTo>
                    <a:pt x="48" y="4"/>
                  </a:lnTo>
                  <a:lnTo>
                    <a:pt x="44" y="6"/>
                  </a:lnTo>
                  <a:lnTo>
                    <a:pt x="40" y="8"/>
                  </a:lnTo>
                  <a:lnTo>
                    <a:pt x="34" y="8"/>
                  </a:lnTo>
                  <a:lnTo>
                    <a:pt x="28" y="8"/>
                  </a:lnTo>
                  <a:lnTo>
                    <a:pt x="26" y="6"/>
                  </a:lnTo>
                  <a:lnTo>
                    <a:pt x="24" y="8"/>
                  </a:lnTo>
                  <a:lnTo>
                    <a:pt x="20" y="8"/>
                  </a:lnTo>
                  <a:lnTo>
                    <a:pt x="16" y="8"/>
                  </a:lnTo>
                  <a:lnTo>
                    <a:pt x="14" y="8"/>
                  </a:lnTo>
                  <a:lnTo>
                    <a:pt x="14" y="6"/>
                  </a:lnTo>
                  <a:lnTo>
                    <a:pt x="16" y="4"/>
                  </a:lnTo>
                  <a:lnTo>
                    <a:pt x="16" y="2"/>
                  </a:lnTo>
                  <a:lnTo>
                    <a:pt x="14" y="2"/>
                  </a:lnTo>
                  <a:lnTo>
                    <a:pt x="10" y="0"/>
                  </a:lnTo>
                  <a:lnTo>
                    <a:pt x="10" y="4"/>
                  </a:lnTo>
                  <a:lnTo>
                    <a:pt x="6" y="8"/>
                  </a:lnTo>
                  <a:lnTo>
                    <a:pt x="2" y="10"/>
                  </a:lnTo>
                  <a:lnTo>
                    <a:pt x="2" y="12"/>
                  </a:lnTo>
                  <a:lnTo>
                    <a:pt x="0" y="16"/>
                  </a:lnTo>
                  <a:lnTo>
                    <a:pt x="2" y="20"/>
                  </a:lnTo>
                  <a:lnTo>
                    <a:pt x="4" y="20"/>
                  </a:lnTo>
                  <a:lnTo>
                    <a:pt x="10" y="22"/>
                  </a:lnTo>
                  <a:lnTo>
                    <a:pt x="10" y="24"/>
                  </a:lnTo>
                  <a:lnTo>
                    <a:pt x="6" y="30"/>
                  </a:lnTo>
                  <a:lnTo>
                    <a:pt x="4" y="34"/>
                  </a:lnTo>
                  <a:lnTo>
                    <a:pt x="8" y="38"/>
                  </a:lnTo>
                  <a:lnTo>
                    <a:pt x="8" y="40"/>
                  </a:lnTo>
                  <a:lnTo>
                    <a:pt x="8" y="42"/>
                  </a:lnTo>
                  <a:lnTo>
                    <a:pt x="8" y="44"/>
                  </a:lnTo>
                  <a:lnTo>
                    <a:pt x="12" y="48"/>
                  </a:lnTo>
                  <a:lnTo>
                    <a:pt x="10" y="48"/>
                  </a:lnTo>
                  <a:lnTo>
                    <a:pt x="10" y="54"/>
                  </a:lnTo>
                  <a:lnTo>
                    <a:pt x="14" y="54"/>
                  </a:lnTo>
                  <a:lnTo>
                    <a:pt x="20" y="56"/>
                  </a:lnTo>
                  <a:lnTo>
                    <a:pt x="24" y="56"/>
                  </a:lnTo>
                  <a:lnTo>
                    <a:pt x="26" y="52"/>
                  </a:lnTo>
                  <a:lnTo>
                    <a:pt x="28" y="50"/>
                  </a:lnTo>
                  <a:lnTo>
                    <a:pt x="30" y="48"/>
                  </a:lnTo>
                  <a:lnTo>
                    <a:pt x="36" y="50"/>
                  </a:lnTo>
                  <a:lnTo>
                    <a:pt x="38" y="50"/>
                  </a:lnTo>
                  <a:lnTo>
                    <a:pt x="40" y="52"/>
                  </a:lnTo>
                  <a:lnTo>
                    <a:pt x="40" y="54"/>
                  </a:lnTo>
                  <a:lnTo>
                    <a:pt x="46" y="54"/>
                  </a:lnTo>
                  <a:lnTo>
                    <a:pt x="50" y="54"/>
                  </a:lnTo>
                  <a:lnTo>
                    <a:pt x="52" y="54"/>
                  </a:lnTo>
                  <a:lnTo>
                    <a:pt x="50" y="52"/>
                  </a:lnTo>
                  <a:lnTo>
                    <a:pt x="50" y="50"/>
                  </a:lnTo>
                  <a:lnTo>
                    <a:pt x="52" y="48"/>
                  </a:lnTo>
                  <a:lnTo>
                    <a:pt x="56" y="48"/>
                  </a:lnTo>
                  <a:lnTo>
                    <a:pt x="56" y="46"/>
                  </a:lnTo>
                  <a:lnTo>
                    <a:pt x="60" y="44"/>
                  </a:lnTo>
                  <a:lnTo>
                    <a:pt x="64" y="46"/>
                  </a:lnTo>
                  <a:lnTo>
                    <a:pt x="68" y="46"/>
                  </a:lnTo>
                  <a:lnTo>
                    <a:pt x="72" y="46"/>
                  </a:lnTo>
                  <a:lnTo>
                    <a:pt x="70" y="40"/>
                  </a:lnTo>
                  <a:lnTo>
                    <a:pt x="66" y="38"/>
                  </a:lnTo>
                  <a:lnTo>
                    <a:pt x="70" y="32"/>
                  </a:lnTo>
                  <a:lnTo>
                    <a:pt x="70" y="26"/>
                  </a:lnTo>
                  <a:lnTo>
                    <a:pt x="80" y="20"/>
                  </a:lnTo>
                  <a:lnTo>
                    <a:pt x="80" y="16"/>
                  </a:lnTo>
                  <a:lnTo>
                    <a:pt x="80" y="12"/>
                  </a:lnTo>
                  <a:lnTo>
                    <a:pt x="80" y="4"/>
                  </a:lnTo>
                  <a:lnTo>
                    <a:pt x="80"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69" name="Freeform 433">
              <a:extLst>
                <a:ext uri="{FF2B5EF4-FFF2-40B4-BE49-F238E27FC236}">
                  <a16:creationId xmlns:a16="http://schemas.microsoft.com/office/drawing/2014/main" id="{938CE16E-6EFE-4FD0-8C94-6ADAC58B83A7}"/>
                </a:ext>
              </a:extLst>
            </p:cNvPr>
            <p:cNvSpPr>
              <a:spLocks/>
            </p:cNvSpPr>
            <p:nvPr/>
          </p:nvSpPr>
          <p:spPr bwMode="auto">
            <a:xfrm>
              <a:off x="4945267" y="4656460"/>
              <a:ext cx="25896" cy="18127"/>
            </a:xfrm>
            <a:custGeom>
              <a:avLst/>
              <a:gdLst/>
              <a:ahLst/>
              <a:cxnLst>
                <a:cxn ang="0">
                  <a:pos x="0" y="8"/>
                </a:cxn>
                <a:cxn ang="0">
                  <a:pos x="6" y="14"/>
                </a:cxn>
                <a:cxn ang="0">
                  <a:pos x="10" y="14"/>
                </a:cxn>
                <a:cxn ang="0">
                  <a:pos x="12" y="12"/>
                </a:cxn>
                <a:cxn ang="0">
                  <a:pos x="14" y="8"/>
                </a:cxn>
                <a:cxn ang="0">
                  <a:pos x="18" y="10"/>
                </a:cxn>
                <a:cxn ang="0">
                  <a:pos x="20" y="10"/>
                </a:cxn>
                <a:cxn ang="0">
                  <a:pos x="16" y="0"/>
                </a:cxn>
                <a:cxn ang="0">
                  <a:pos x="12" y="0"/>
                </a:cxn>
                <a:cxn ang="0">
                  <a:pos x="10" y="4"/>
                </a:cxn>
                <a:cxn ang="0">
                  <a:pos x="8" y="8"/>
                </a:cxn>
                <a:cxn ang="0">
                  <a:pos x="0" y="6"/>
                </a:cxn>
                <a:cxn ang="0">
                  <a:pos x="0" y="8"/>
                </a:cxn>
                <a:cxn ang="0">
                  <a:pos x="0" y="8"/>
                </a:cxn>
              </a:cxnLst>
              <a:rect l="0" t="0" r="r" b="b"/>
              <a:pathLst>
                <a:path w="20" h="14">
                  <a:moveTo>
                    <a:pt x="0" y="8"/>
                  </a:moveTo>
                  <a:lnTo>
                    <a:pt x="6" y="14"/>
                  </a:lnTo>
                  <a:lnTo>
                    <a:pt x="10" y="14"/>
                  </a:lnTo>
                  <a:lnTo>
                    <a:pt x="12" y="12"/>
                  </a:lnTo>
                  <a:lnTo>
                    <a:pt x="14" y="8"/>
                  </a:lnTo>
                  <a:lnTo>
                    <a:pt x="18" y="10"/>
                  </a:lnTo>
                  <a:lnTo>
                    <a:pt x="20" y="10"/>
                  </a:lnTo>
                  <a:lnTo>
                    <a:pt x="16" y="0"/>
                  </a:lnTo>
                  <a:lnTo>
                    <a:pt x="12" y="0"/>
                  </a:lnTo>
                  <a:lnTo>
                    <a:pt x="10" y="4"/>
                  </a:lnTo>
                  <a:lnTo>
                    <a:pt x="8" y="8"/>
                  </a:lnTo>
                  <a:lnTo>
                    <a:pt x="0" y="6"/>
                  </a:lnTo>
                  <a:lnTo>
                    <a:pt x="0" y="8"/>
                  </a:lnTo>
                  <a:lnTo>
                    <a:pt x="0"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0" name="Freeform 434">
              <a:extLst>
                <a:ext uri="{FF2B5EF4-FFF2-40B4-BE49-F238E27FC236}">
                  <a16:creationId xmlns:a16="http://schemas.microsoft.com/office/drawing/2014/main" id="{DC117367-CC96-4235-8FDE-2468656B5703}"/>
                </a:ext>
              </a:extLst>
            </p:cNvPr>
            <p:cNvSpPr>
              <a:spLocks/>
            </p:cNvSpPr>
            <p:nvPr/>
          </p:nvSpPr>
          <p:spPr bwMode="auto">
            <a:xfrm>
              <a:off x="4945267" y="4656460"/>
              <a:ext cx="25896" cy="18127"/>
            </a:xfrm>
            <a:custGeom>
              <a:avLst/>
              <a:gdLst/>
              <a:ahLst/>
              <a:cxnLst>
                <a:cxn ang="0">
                  <a:pos x="0" y="8"/>
                </a:cxn>
                <a:cxn ang="0">
                  <a:pos x="6" y="14"/>
                </a:cxn>
                <a:cxn ang="0">
                  <a:pos x="10" y="14"/>
                </a:cxn>
                <a:cxn ang="0">
                  <a:pos x="12" y="12"/>
                </a:cxn>
                <a:cxn ang="0">
                  <a:pos x="14" y="8"/>
                </a:cxn>
                <a:cxn ang="0">
                  <a:pos x="18" y="10"/>
                </a:cxn>
                <a:cxn ang="0">
                  <a:pos x="20" y="10"/>
                </a:cxn>
                <a:cxn ang="0">
                  <a:pos x="16" y="0"/>
                </a:cxn>
                <a:cxn ang="0">
                  <a:pos x="12" y="0"/>
                </a:cxn>
                <a:cxn ang="0">
                  <a:pos x="10" y="4"/>
                </a:cxn>
                <a:cxn ang="0">
                  <a:pos x="8" y="8"/>
                </a:cxn>
                <a:cxn ang="0">
                  <a:pos x="0" y="6"/>
                </a:cxn>
                <a:cxn ang="0">
                  <a:pos x="0" y="8"/>
                </a:cxn>
                <a:cxn ang="0">
                  <a:pos x="0" y="8"/>
                </a:cxn>
              </a:cxnLst>
              <a:rect l="0" t="0" r="r" b="b"/>
              <a:pathLst>
                <a:path w="20" h="14">
                  <a:moveTo>
                    <a:pt x="0" y="8"/>
                  </a:moveTo>
                  <a:lnTo>
                    <a:pt x="6" y="14"/>
                  </a:lnTo>
                  <a:lnTo>
                    <a:pt x="10" y="14"/>
                  </a:lnTo>
                  <a:lnTo>
                    <a:pt x="12" y="12"/>
                  </a:lnTo>
                  <a:lnTo>
                    <a:pt x="14" y="8"/>
                  </a:lnTo>
                  <a:lnTo>
                    <a:pt x="18" y="10"/>
                  </a:lnTo>
                  <a:lnTo>
                    <a:pt x="20" y="10"/>
                  </a:lnTo>
                  <a:lnTo>
                    <a:pt x="16" y="0"/>
                  </a:lnTo>
                  <a:lnTo>
                    <a:pt x="12" y="0"/>
                  </a:lnTo>
                  <a:lnTo>
                    <a:pt x="10" y="4"/>
                  </a:lnTo>
                  <a:lnTo>
                    <a:pt x="8" y="8"/>
                  </a:lnTo>
                  <a:lnTo>
                    <a:pt x="0" y="6"/>
                  </a:lnTo>
                  <a:lnTo>
                    <a:pt x="0" y="8"/>
                  </a:lnTo>
                  <a:lnTo>
                    <a:pt x="0"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1" name="Freeform 435">
              <a:extLst>
                <a:ext uri="{FF2B5EF4-FFF2-40B4-BE49-F238E27FC236}">
                  <a16:creationId xmlns:a16="http://schemas.microsoft.com/office/drawing/2014/main" id="{AF70FC7E-1C75-4807-BED2-C8AC0E135D8A}"/>
                </a:ext>
              </a:extLst>
            </p:cNvPr>
            <p:cNvSpPr>
              <a:spLocks/>
            </p:cNvSpPr>
            <p:nvPr/>
          </p:nvSpPr>
          <p:spPr bwMode="auto">
            <a:xfrm>
              <a:off x="2130361" y="4783351"/>
              <a:ext cx="7769" cy="10358"/>
            </a:xfrm>
            <a:custGeom>
              <a:avLst/>
              <a:gdLst/>
              <a:ahLst/>
              <a:cxnLst>
                <a:cxn ang="0">
                  <a:pos x="6" y="0"/>
                </a:cxn>
                <a:cxn ang="0">
                  <a:pos x="6" y="0"/>
                </a:cxn>
                <a:cxn ang="0">
                  <a:pos x="6" y="0"/>
                </a:cxn>
                <a:cxn ang="0">
                  <a:pos x="6" y="2"/>
                </a:cxn>
                <a:cxn ang="0">
                  <a:pos x="2" y="4"/>
                </a:cxn>
                <a:cxn ang="0">
                  <a:pos x="2" y="6"/>
                </a:cxn>
                <a:cxn ang="0">
                  <a:pos x="0" y="8"/>
                </a:cxn>
                <a:cxn ang="0">
                  <a:pos x="0" y="6"/>
                </a:cxn>
                <a:cxn ang="0">
                  <a:pos x="2" y="4"/>
                </a:cxn>
                <a:cxn ang="0">
                  <a:pos x="6" y="0"/>
                </a:cxn>
                <a:cxn ang="0">
                  <a:pos x="6" y="0"/>
                </a:cxn>
              </a:cxnLst>
              <a:rect l="0" t="0" r="r" b="b"/>
              <a:pathLst>
                <a:path w="6" h="8">
                  <a:moveTo>
                    <a:pt x="6" y="0"/>
                  </a:moveTo>
                  <a:lnTo>
                    <a:pt x="6" y="0"/>
                  </a:lnTo>
                  <a:lnTo>
                    <a:pt x="6" y="0"/>
                  </a:lnTo>
                  <a:lnTo>
                    <a:pt x="6" y="2"/>
                  </a:lnTo>
                  <a:lnTo>
                    <a:pt x="2" y="4"/>
                  </a:lnTo>
                  <a:lnTo>
                    <a:pt x="2" y="6"/>
                  </a:lnTo>
                  <a:lnTo>
                    <a:pt x="0" y="8"/>
                  </a:lnTo>
                  <a:lnTo>
                    <a:pt x="0" y="6"/>
                  </a:lnTo>
                  <a:lnTo>
                    <a:pt x="2" y="4"/>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2" name="Freeform 436">
              <a:extLst>
                <a:ext uri="{FF2B5EF4-FFF2-40B4-BE49-F238E27FC236}">
                  <a16:creationId xmlns:a16="http://schemas.microsoft.com/office/drawing/2014/main" id="{A46781C8-1B3F-4096-BFAA-ED58ABC2C399}"/>
                </a:ext>
              </a:extLst>
            </p:cNvPr>
            <p:cNvSpPr>
              <a:spLocks/>
            </p:cNvSpPr>
            <p:nvPr/>
          </p:nvSpPr>
          <p:spPr bwMode="auto">
            <a:xfrm>
              <a:off x="2130361" y="4783351"/>
              <a:ext cx="7769" cy="10358"/>
            </a:xfrm>
            <a:custGeom>
              <a:avLst/>
              <a:gdLst/>
              <a:ahLst/>
              <a:cxnLst>
                <a:cxn ang="0">
                  <a:pos x="6" y="0"/>
                </a:cxn>
                <a:cxn ang="0">
                  <a:pos x="6" y="0"/>
                </a:cxn>
                <a:cxn ang="0">
                  <a:pos x="6" y="0"/>
                </a:cxn>
                <a:cxn ang="0">
                  <a:pos x="6" y="2"/>
                </a:cxn>
                <a:cxn ang="0">
                  <a:pos x="2" y="4"/>
                </a:cxn>
                <a:cxn ang="0">
                  <a:pos x="2" y="6"/>
                </a:cxn>
                <a:cxn ang="0">
                  <a:pos x="0" y="8"/>
                </a:cxn>
                <a:cxn ang="0">
                  <a:pos x="0" y="6"/>
                </a:cxn>
                <a:cxn ang="0">
                  <a:pos x="2" y="4"/>
                </a:cxn>
                <a:cxn ang="0">
                  <a:pos x="6" y="0"/>
                </a:cxn>
                <a:cxn ang="0">
                  <a:pos x="6" y="0"/>
                </a:cxn>
              </a:cxnLst>
              <a:rect l="0" t="0" r="r" b="b"/>
              <a:pathLst>
                <a:path w="6" h="8">
                  <a:moveTo>
                    <a:pt x="6" y="0"/>
                  </a:moveTo>
                  <a:lnTo>
                    <a:pt x="6" y="0"/>
                  </a:lnTo>
                  <a:lnTo>
                    <a:pt x="6" y="0"/>
                  </a:lnTo>
                  <a:lnTo>
                    <a:pt x="6" y="2"/>
                  </a:lnTo>
                  <a:lnTo>
                    <a:pt x="2" y="4"/>
                  </a:lnTo>
                  <a:lnTo>
                    <a:pt x="2" y="6"/>
                  </a:lnTo>
                  <a:lnTo>
                    <a:pt x="0" y="8"/>
                  </a:lnTo>
                  <a:lnTo>
                    <a:pt x="0" y="6"/>
                  </a:lnTo>
                  <a:lnTo>
                    <a:pt x="2" y="4"/>
                  </a:lnTo>
                  <a:lnTo>
                    <a:pt x="6" y="0"/>
                  </a:lnTo>
                  <a:lnTo>
                    <a:pt x="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3" name="Freeform 437">
              <a:extLst>
                <a:ext uri="{FF2B5EF4-FFF2-40B4-BE49-F238E27FC236}">
                  <a16:creationId xmlns:a16="http://schemas.microsoft.com/office/drawing/2014/main" id="{DA1B3B5C-6679-4B0B-8743-C0EBFF68C064}"/>
                </a:ext>
              </a:extLst>
            </p:cNvPr>
            <p:cNvSpPr>
              <a:spLocks/>
            </p:cNvSpPr>
            <p:nvPr/>
          </p:nvSpPr>
          <p:spPr bwMode="auto">
            <a:xfrm>
              <a:off x="2184743" y="4780761"/>
              <a:ext cx="1295" cy="2590"/>
            </a:xfrm>
            <a:custGeom>
              <a:avLst/>
              <a:gdLst/>
              <a:ahLst/>
              <a:cxnLst>
                <a:cxn ang="0">
                  <a:pos x="0" y="0"/>
                </a:cxn>
                <a:cxn ang="0">
                  <a:pos x="0" y="0"/>
                </a:cxn>
                <a:cxn ang="0">
                  <a:pos x="0" y="2"/>
                </a:cxn>
                <a:cxn ang="0">
                  <a:pos x="0" y="0"/>
                </a:cxn>
                <a:cxn ang="0">
                  <a:pos x="0" y="0"/>
                </a:cxn>
              </a:cxnLst>
              <a:rect l="0" t="0" r="r" b="b"/>
              <a:pathLst>
                <a:path h="2">
                  <a:moveTo>
                    <a:pt x="0" y="0"/>
                  </a:moveTo>
                  <a:lnTo>
                    <a:pt x="0" y="0"/>
                  </a:lnTo>
                  <a:lnTo>
                    <a:pt x="0" y="2"/>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4" name="Freeform 438">
              <a:extLst>
                <a:ext uri="{FF2B5EF4-FFF2-40B4-BE49-F238E27FC236}">
                  <a16:creationId xmlns:a16="http://schemas.microsoft.com/office/drawing/2014/main" id="{8E83AEB0-A7AF-46A2-8190-79472EABA547}"/>
                </a:ext>
              </a:extLst>
            </p:cNvPr>
            <p:cNvSpPr>
              <a:spLocks/>
            </p:cNvSpPr>
            <p:nvPr/>
          </p:nvSpPr>
          <p:spPr bwMode="auto">
            <a:xfrm>
              <a:off x="2096696" y="4796299"/>
              <a:ext cx="28486" cy="5179"/>
            </a:xfrm>
            <a:custGeom>
              <a:avLst/>
              <a:gdLst/>
              <a:ahLst/>
              <a:cxnLst>
                <a:cxn ang="0">
                  <a:pos x="22" y="0"/>
                </a:cxn>
                <a:cxn ang="0">
                  <a:pos x="22" y="4"/>
                </a:cxn>
                <a:cxn ang="0">
                  <a:pos x="12" y="2"/>
                </a:cxn>
                <a:cxn ang="0">
                  <a:pos x="0" y="4"/>
                </a:cxn>
                <a:cxn ang="0">
                  <a:pos x="2" y="0"/>
                </a:cxn>
                <a:cxn ang="0">
                  <a:pos x="12" y="2"/>
                </a:cxn>
                <a:cxn ang="0">
                  <a:pos x="16" y="2"/>
                </a:cxn>
                <a:cxn ang="0">
                  <a:pos x="20" y="2"/>
                </a:cxn>
                <a:cxn ang="0">
                  <a:pos x="22" y="0"/>
                </a:cxn>
                <a:cxn ang="0">
                  <a:pos x="22" y="0"/>
                </a:cxn>
              </a:cxnLst>
              <a:rect l="0" t="0" r="r" b="b"/>
              <a:pathLst>
                <a:path w="22" h="4">
                  <a:moveTo>
                    <a:pt x="22" y="0"/>
                  </a:moveTo>
                  <a:lnTo>
                    <a:pt x="22" y="4"/>
                  </a:lnTo>
                  <a:lnTo>
                    <a:pt x="12" y="2"/>
                  </a:lnTo>
                  <a:lnTo>
                    <a:pt x="0" y="4"/>
                  </a:lnTo>
                  <a:lnTo>
                    <a:pt x="2" y="0"/>
                  </a:lnTo>
                  <a:lnTo>
                    <a:pt x="12" y="2"/>
                  </a:lnTo>
                  <a:lnTo>
                    <a:pt x="16" y="2"/>
                  </a:lnTo>
                  <a:lnTo>
                    <a:pt x="20" y="2"/>
                  </a:lnTo>
                  <a:lnTo>
                    <a:pt x="22" y="0"/>
                  </a:lnTo>
                  <a:lnTo>
                    <a:pt x="2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5" name="Freeform 439">
              <a:extLst>
                <a:ext uri="{FF2B5EF4-FFF2-40B4-BE49-F238E27FC236}">
                  <a16:creationId xmlns:a16="http://schemas.microsoft.com/office/drawing/2014/main" id="{AD79EF06-3E4F-406E-BC89-BE3A0F06E492}"/>
                </a:ext>
              </a:extLst>
            </p:cNvPr>
            <p:cNvSpPr>
              <a:spLocks/>
            </p:cNvSpPr>
            <p:nvPr/>
          </p:nvSpPr>
          <p:spPr bwMode="auto">
            <a:xfrm>
              <a:off x="2096696" y="4796299"/>
              <a:ext cx="28486" cy="5179"/>
            </a:xfrm>
            <a:custGeom>
              <a:avLst/>
              <a:gdLst/>
              <a:ahLst/>
              <a:cxnLst>
                <a:cxn ang="0">
                  <a:pos x="22" y="0"/>
                </a:cxn>
                <a:cxn ang="0">
                  <a:pos x="22" y="4"/>
                </a:cxn>
                <a:cxn ang="0">
                  <a:pos x="12" y="2"/>
                </a:cxn>
                <a:cxn ang="0">
                  <a:pos x="0" y="4"/>
                </a:cxn>
                <a:cxn ang="0">
                  <a:pos x="2" y="0"/>
                </a:cxn>
                <a:cxn ang="0">
                  <a:pos x="12" y="2"/>
                </a:cxn>
                <a:cxn ang="0">
                  <a:pos x="16" y="2"/>
                </a:cxn>
                <a:cxn ang="0">
                  <a:pos x="20" y="2"/>
                </a:cxn>
                <a:cxn ang="0">
                  <a:pos x="22" y="0"/>
                </a:cxn>
                <a:cxn ang="0">
                  <a:pos x="22" y="0"/>
                </a:cxn>
              </a:cxnLst>
              <a:rect l="0" t="0" r="r" b="b"/>
              <a:pathLst>
                <a:path w="22" h="4">
                  <a:moveTo>
                    <a:pt x="22" y="0"/>
                  </a:moveTo>
                  <a:lnTo>
                    <a:pt x="22" y="4"/>
                  </a:lnTo>
                  <a:lnTo>
                    <a:pt x="12" y="2"/>
                  </a:lnTo>
                  <a:lnTo>
                    <a:pt x="0" y="4"/>
                  </a:lnTo>
                  <a:lnTo>
                    <a:pt x="2" y="0"/>
                  </a:lnTo>
                  <a:lnTo>
                    <a:pt x="12" y="2"/>
                  </a:lnTo>
                  <a:lnTo>
                    <a:pt x="16" y="2"/>
                  </a:lnTo>
                  <a:lnTo>
                    <a:pt x="20" y="2"/>
                  </a:lnTo>
                  <a:lnTo>
                    <a:pt x="22" y="0"/>
                  </a:lnTo>
                  <a:lnTo>
                    <a:pt x="2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6" name="Freeform 440">
              <a:extLst>
                <a:ext uri="{FF2B5EF4-FFF2-40B4-BE49-F238E27FC236}">
                  <a16:creationId xmlns:a16="http://schemas.microsoft.com/office/drawing/2014/main" id="{5446432D-FF14-44EC-9C6E-6376529F1916}"/>
                </a:ext>
              </a:extLst>
            </p:cNvPr>
            <p:cNvSpPr>
              <a:spLocks/>
            </p:cNvSpPr>
            <p:nvPr/>
          </p:nvSpPr>
          <p:spPr bwMode="auto">
            <a:xfrm>
              <a:off x="3300865" y="3770813"/>
              <a:ext cx="64740" cy="67330"/>
            </a:xfrm>
            <a:custGeom>
              <a:avLst/>
              <a:gdLst/>
              <a:ahLst/>
              <a:cxnLst>
                <a:cxn ang="0">
                  <a:pos x="46" y="10"/>
                </a:cxn>
                <a:cxn ang="0">
                  <a:pos x="46" y="10"/>
                </a:cxn>
                <a:cxn ang="0">
                  <a:pos x="42" y="10"/>
                </a:cxn>
                <a:cxn ang="0">
                  <a:pos x="38" y="10"/>
                </a:cxn>
                <a:cxn ang="0">
                  <a:pos x="36" y="8"/>
                </a:cxn>
                <a:cxn ang="0">
                  <a:pos x="34" y="6"/>
                </a:cxn>
                <a:cxn ang="0">
                  <a:pos x="28" y="4"/>
                </a:cxn>
                <a:cxn ang="0">
                  <a:pos x="24" y="4"/>
                </a:cxn>
                <a:cxn ang="0">
                  <a:pos x="20" y="4"/>
                </a:cxn>
                <a:cxn ang="0">
                  <a:pos x="18" y="6"/>
                </a:cxn>
                <a:cxn ang="0">
                  <a:pos x="16" y="6"/>
                </a:cxn>
                <a:cxn ang="0">
                  <a:pos x="12" y="4"/>
                </a:cxn>
                <a:cxn ang="0">
                  <a:pos x="10" y="2"/>
                </a:cxn>
                <a:cxn ang="0">
                  <a:pos x="10" y="4"/>
                </a:cxn>
                <a:cxn ang="0">
                  <a:pos x="8" y="4"/>
                </a:cxn>
                <a:cxn ang="0">
                  <a:pos x="6" y="4"/>
                </a:cxn>
                <a:cxn ang="0">
                  <a:pos x="4" y="0"/>
                </a:cxn>
                <a:cxn ang="0">
                  <a:pos x="2" y="0"/>
                </a:cxn>
                <a:cxn ang="0">
                  <a:pos x="0" y="0"/>
                </a:cxn>
                <a:cxn ang="0">
                  <a:pos x="0" y="2"/>
                </a:cxn>
                <a:cxn ang="0">
                  <a:pos x="0" y="6"/>
                </a:cxn>
                <a:cxn ang="0">
                  <a:pos x="4" y="10"/>
                </a:cxn>
                <a:cxn ang="0">
                  <a:pos x="8" y="18"/>
                </a:cxn>
                <a:cxn ang="0">
                  <a:pos x="8" y="20"/>
                </a:cxn>
                <a:cxn ang="0">
                  <a:pos x="6" y="20"/>
                </a:cxn>
                <a:cxn ang="0">
                  <a:pos x="8" y="22"/>
                </a:cxn>
                <a:cxn ang="0">
                  <a:pos x="14" y="30"/>
                </a:cxn>
                <a:cxn ang="0">
                  <a:pos x="20" y="36"/>
                </a:cxn>
                <a:cxn ang="0">
                  <a:pos x="24" y="42"/>
                </a:cxn>
                <a:cxn ang="0">
                  <a:pos x="28" y="42"/>
                </a:cxn>
                <a:cxn ang="0">
                  <a:pos x="30" y="44"/>
                </a:cxn>
                <a:cxn ang="0">
                  <a:pos x="34" y="48"/>
                </a:cxn>
                <a:cxn ang="0">
                  <a:pos x="38" y="52"/>
                </a:cxn>
                <a:cxn ang="0">
                  <a:pos x="36" y="48"/>
                </a:cxn>
                <a:cxn ang="0">
                  <a:pos x="36" y="44"/>
                </a:cxn>
                <a:cxn ang="0">
                  <a:pos x="36" y="42"/>
                </a:cxn>
                <a:cxn ang="0">
                  <a:pos x="38" y="38"/>
                </a:cxn>
                <a:cxn ang="0">
                  <a:pos x="44" y="36"/>
                </a:cxn>
                <a:cxn ang="0">
                  <a:pos x="44" y="32"/>
                </a:cxn>
                <a:cxn ang="0">
                  <a:pos x="48" y="30"/>
                </a:cxn>
                <a:cxn ang="0">
                  <a:pos x="50" y="28"/>
                </a:cxn>
                <a:cxn ang="0">
                  <a:pos x="50" y="26"/>
                </a:cxn>
                <a:cxn ang="0">
                  <a:pos x="48" y="26"/>
                </a:cxn>
                <a:cxn ang="0">
                  <a:pos x="46" y="24"/>
                </a:cxn>
                <a:cxn ang="0">
                  <a:pos x="44" y="22"/>
                </a:cxn>
                <a:cxn ang="0">
                  <a:pos x="48" y="22"/>
                </a:cxn>
                <a:cxn ang="0">
                  <a:pos x="50" y="20"/>
                </a:cxn>
                <a:cxn ang="0">
                  <a:pos x="50" y="18"/>
                </a:cxn>
                <a:cxn ang="0">
                  <a:pos x="48" y="18"/>
                </a:cxn>
                <a:cxn ang="0">
                  <a:pos x="46" y="14"/>
                </a:cxn>
                <a:cxn ang="0">
                  <a:pos x="46" y="10"/>
                </a:cxn>
                <a:cxn ang="0">
                  <a:pos x="46" y="10"/>
                </a:cxn>
              </a:cxnLst>
              <a:rect l="0" t="0" r="r" b="b"/>
              <a:pathLst>
                <a:path w="50" h="52">
                  <a:moveTo>
                    <a:pt x="46" y="10"/>
                  </a:moveTo>
                  <a:lnTo>
                    <a:pt x="46" y="10"/>
                  </a:lnTo>
                  <a:lnTo>
                    <a:pt x="42" y="10"/>
                  </a:lnTo>
                  <a:lnTo>
                    <a:pt x="38" y="10"/>
                  </a:lnTo>
                  <a:lnTo>
                    <a:pt x="36" y="8"/>
                  </a:lnTo>
                  <a:lnTo>
                    <a:pt x="34" y="6"/>
                  </a:lnTo>
                  <a:lnTo>
                    <a:pt x="28" y="4"/>
                  </a:lnTo>
                  <a:lnTo>
                    <a:pt x="24" y="4"/>
                  </a:lnTo>
                  <a:lnTo>
                    <a:pt x="20" y="4"/>
                  </a:lnTo>
                  <a:lnTo>
                    <a:pt x="18" y="6"/>
                  </a:lnTo>
                  <a:lnTo>
                    <a:pt x="16" y="6"/>
                  </a:lnTo>
                  <a:lnTo>
                    <a:pt x="12" y="4"/>
                  </a:lnTo>
                  <a:lnTo>
                    <a:pt x="10" y="2"/>
                  </a:lnTo>
                  <a:lnTo>
                    <a:pt x="10" y="4"/>
                  </a:lnTo>
                  <a:lnTo>
                    <a:pt x="8" y="4"/>
                  </a:lnTo>
                  <a:lnTo>
                    <a:pt x="6" y="4"/>
                  </a:lnTo>
                  <a:lnTo>
                    <a:pt x="4" y="0"/>
                  </a:lnTo>
                  <a:lnTo>
                    <a:pt x="2" y="0"/>
                  </a:lnTo>
                  <a:lnTo>
                    <a:pt x="0" y="0"/>
                  </a:lnTo>
                  <a:lnTo>
                    <a:pt x="0" y="2"/>
                  </a:lnTo>
                  <a:lnTo>
                    <a:pt x="0" y="6"/>
                  </a:lnTo>
                  <a:lnTo>
                    <a:pt x="4" y="10"/>
                  </a:lnTo>
                  <a:lnTo>
                    <a:pt x="8" y="18"/>
                  </a:lnTo>
                  <a:lnTo>
                    <a:pt x="8" y="20"/>
                  </a:lnTo>
                  <a:lnTo>
                    <a:pt x="6" y="20"/>
                  </a:lnTo>
                  <a:lnTo>
                    <a:pt x="8" y="22"/>
                  </a:lnTo>
                  <a:lnTo>
                    <a:pt x="14" y="30"/>
                  </a:lnTo>
                  <a:lnTo>
                    <a:pt x="20" y="36"/>
                  </a:lnTo>
                  <a:lnTo>
                    <a:pt x="24" y="42"/>
                  </a:lnTo>
                  <a:lnTo>
                    <a:pt x="28" y="42"/>
                  </a:lnTo>
                  <a:lnTo>
                    <a:pt x="30" y="44"/>
                  </a:lnTo>
                  <a:lnTo>
                    <a:pt x="34" y="48"/>
                  </a:lnTo>
                  <a:lnTo>
                    <a:pt x="38" y="52"/>
                  </a:lnTo>
                  <a:lnTo>
                    <a:pt x="36" y="48"/>
                  </a:lnTo>
                  <a:lnTo>
                    <a:pt x="36" y="44"/>
                  </a:lnTo>
                  <a:lnTo>
                    <a:pt x="36" y="42"/>
                  </a:lnTo>
                  <a:lnTo>
                    <a:pt x="38" y="38"/>
                  </a:lnTo>
                  <a:lnTo>
                    <a:pt x="44" y="36"/>
                  </a:lnTo>
                  <a:lnTo>
                    <a:pt x="44" y="32"/>
                  </a:lnTo>
                  <a:lnTo>
                    <a:pt x="48" y="30"/>
                  </a:lnTo>
                  <a:lnTo>
                    <a:pt x="50" y="28"/>
                  </a:lnTo>
                  <a:lnTo>
                    <a:pt x="50" y="26"/>
                  </a:lnTo>
                  <a:lnTo>
                    <a:pt x="48" y="26"/>
                  </a:lnTo>
                  <a:lnTo>
                    <a:pt x="46" y="24"/>
                  </a:lnTo>
                  <a:lnTo>
                    <a:pt x="44" y="22"/>
                  </a:lnTo>
                  <a:lnTo>
                    <a:pt x="48" y="22"/>
                  </a:lnTo>
                  <a:lnTo>
                    <a:pt x="50" y="20"/>
                  </a:lnTo>
                  <a:lnTo>
                    <a:pt x="50" y="18"/>
                  </a:lnTo>
                  <a:lnTo>
                    <a:pt x="48" y="18"/>
                  </a:lnTo>
                  <a:lnTo>
                    <a:pt x="46" y="14"/>
                  </a:lnTo>
                  <a:lnTo>
                    <a:pt x="46" y="10"/>
                  </a:lnTo>
                  <a:lnTo>
                    <a:pt x="46"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7" name="Freeform 441">
              <a:extLst>
                <a:ext uri="{FF2B5EF4-FFF2-40B4-BE49-F238E27FC236}">
                  <a16:creationId xmlns:a16="http://schemas.microsoft.com/office/drawing/2014/main" id="{8F79C00D-9747-4913-AD97-5C988CE38641}"/>
                </a:ext>
              </a:extLst>
            </p:cNvPr>
            <p:cNvSpPr>
              <a:spLocks/>
            </p:cNvSpPr>
            <p:nvPr/>
          </p:nvSpPr>
          <p:spPr bwMode="auto">
            <a:xfrm>
              <a:off x="1858452" y="4974982"/>
              <a:ext cx="204579" cy="248603"/>
            </a:xfrm>
            <a:custGeom>
              <a:avLst/>
              <a:gdLst/>
              <a:ahLst/>
              <a:cxnLst>
                <a:cxn ang="0">
                  <a:pos x="10" y="82"/>
                </a:cxn>
                <a:cxn ang="0">
                  <a:pos x="14" y="86"/>
                </a:cxn>
                <a:cxn ang="0">
                  <a:pos x="12" y="88"/>
                </a:cxn>
                <a:cxn ang="0">
                  <a:pos x="10" y="90"/>
                </a:cxn>
                <a:cxn ang="0">
                  <a:pos x="10" y="94"/>
                </a:cxn>
                <a:cxn ang="0">
                  <a:pos x="4" y="114"/>
                </a:cxn>
                <a:cxn ang="0">
                  <a:pos x="10" y="126"/>
                </a:cxn>
                <a:cxn ang="0">
                  <a:pos x="16" y="132"/>
                </a:cxn>
                <a:cxn ang="0">
                  <a:pos x="22" y="148"/>
                </a:cxn>
                <a:cxn ang="0">
                  <a:pos x="26" y="160"/>
                </a:cxn>
                <a:cxn ang="0">
                  <a:pos x="26" y="168"/>
                </a:cxn>
                <a:cxn ang="0">
                  <a:pos x="28" y="186"/>
                </a:cxn>
                <a:cxn ang="0">
                  <a:pos x="46" y="182"/>
                </a:cxn>
                <a:cxn ang="0">
                  <a:pos x="56" y="184"/>
                </a:cxn>
                <a:cxn ang="0">
                  <a:pos x="70" y="190"/>
                </a:cxn>
                <a:cxn ang="0">
                  <a:pos x="74" y="186"/>
                </a:cxn>
                <a:cxn ang="0">
                  <a:pos x="78" y="182"/>
                </a:cxn>
                <a:cxn ang="0">
                  <a:pos x="98" y="184"/>
                </a:cxn>
                <a:cxn ang="0">
                  <a:pos x="108" y="160"/>
                </a:cxn>
                <a:cxn ang="0">
                  <a:pos x="110" y="150"/>
                </a:cxn>
                <a:cxn ang="0">
                  <a:pos x="118" y="138"/>
                </a:cxn>
                <a:cxn ang="0">
                  <a:pos x="146" y="140"/>
                </a:cxn>
                <a:cxn ang="0">
                  <a:pos x="156" y="146"/>
                </a:cxn>
                <a:cxn ang="0">
                  <a:pos x="156" y="134"/>
                </a:cxn>
                <a:cxn ang="0">
                  <a:pos x="158" y="122"/>
                </a:cxn>
                <a:cxn ang="0">
                  <a:pos x="156" y="114"/>
                </a:cxn>
                <a:cxn ang="0">
                  <a:pos x="148" y="106"/>
                </a:cxn>
                <a:cxn ang="0">
                  <a:pos x="146" y="94"/>
                </a:cxn>
                <a:cxn ang="0">
                  <a:pos x="128" y="92"/>
                </a:cxn>
                <a:cxn ang="0">
                  <a:pos x="124" y="84"/>
                </a:cxn>
                <a:cxn ang="0">
                  <a:pos x="122" y="74"/>
                </a:cxn>
                <a:cxn ang="0">
                  <a:pos x="124" y="60"/>
                </a:cxn>
                <a:cxn ang="0">
                  <a:pos x="120" y="48"/>
                </a:cxn>
                <a:cxn ang="0">
                  <a:pos x="116" y="48"/>
                </a:cxn>
                <a:cxn ang="0">
                  <a:pos x="108" y="48"/>
                </a:cxn>
                <a:cxn ang="0">
                  <a:pos x="100" y="46"/>
                </a:cxn>
                <a:cxn ang="0">
                  <a:pos x="92" y="40"/>
                </a:cxn>
                <a:cxn ang="0">
                  <a:pos x="86" y="34"/>
                </a:cxn>
                <a:cxn ang="0">
                  <a:pos x="76" y="26"/>
                </a:cxn>
                <a:cxn ang="0">
                  <a:pos x="70" y="24"/>
                </a:cxn>
                <a:cxn ang="0">
                  <a:pos x="66" y="26"/>
                </a:cxn>
                <a:cxn ang="0">
                  <a:pos x="56" y="20"/>
                </a:cxn>
                <a:cxn ang="0">
                  <a:pos x="54" y="12"/>
                </a:cxn>
                <a:cxn ang="0">
                  <a:pos x="58" y="4"/>
                </a:cxn>
                <a:cxn ang="0">
                  <a:pos x="50" y="0"/>
                </a:cxn>
                <a:cxn ang="0">
                  <a:pos x="36" y="4"/>
                </a:cxn>
                <a:cxn ang="0">
                  <a:pos x="26" y="12"/>
                </a:cxn>
                <a:cxn ang="0">
                  <a:pos x="16" y="20"/>
                </a:cxn>
                <a:cxn ang="0">
                  <a:pos x="14" y="24"/>
                </a:cxn>
                <a:cxn ang="0">
                  <a:pos x="12" y="26"/>
                </a:cxn>
                <a:cxn ang="0">
                  <a:pos x="6" y="26"/>
                </a:cxn>
                <a:cxn ang="0">
                  <a:pos x="0" y="26"/>
                </a:cxn>
                <a:cxn ang="0">
                  <a:pos x="4" y="52"/>
                </a:cxn>
                <a:cxn ang="0">
                  <a:pos x="4" y="64"/>
                </a:cxn>
                <a:cxn ang="0">
                  <a:pos x="6" y="72"/>
                </a:cxn>
                <a:cxn ang="0">
                  <a:pos x="8" y="80"/>
                </a:cxn>
                <a:cxn ang="0">
                  <a:pos x="10" y="82"/>
                </a:cxn>
              </a:cxnLst>
              <a:rect l="0" t="0" r="r" b="b"/>
              <a:pathLst>
                <a:path w="158" h="192">
                  <a:moveTo>
                    <a:pt x="10" y="82"/>
                  </a:moveTo>
                  <a:lnTo>
                    <a:pt x="10" y="82"/>
                  </a:lnTo>
                  <a:lnTo>
                    <a:pt x="12" y="82"/>
                  </a:lnTo>
                  <a:lnTo>
                    <a:pt x="14" y="86"/>
                  </a:lnTo>
                  <a:lnTo>
                    <a:pt x="14" y="88"/>
                  </a:lnTo>
                  <a:lnTo>
                    <a:pt x="12" y="88"/>
                  </a:lnTo>
                  <a:lnTo>
                    <a:pt x="10" y="86"/>
                  </a:lnTo>
                  <a:lnTo>
                    <a:pt x="10" y="90"/>
                  </a:lnTo>
                  <a:lnTo>
                    <a:pt x="12" y="92"/>
                  </a:lnTo>
                  <a:lnTo>
                    <a:pt x="10" y="94"/>
                  </a:lnTo>
                  <a:lnTo>
                    <a:pt x="2" y="106"/>
                  </a:lnTo>
                  <a:lnTo>
                    <a:pt x="4" y="114"/>
                  </a:lnTo>
                  <a:lnTo>
                    <a:pt x="8" y="120"/>
                  </a:lnTo>
                  <a:lnTo>
                    <a:pt x="10" y="126"/>
                  </a:lnTo>
                  <a:lnTo>
                    <a:pt x="12" y="128"/>
                  </a:lnTo>
                  <a:lnTo>
                    <a:pt x="16" y="132"/>
                  </a:lnTo>
                  <a:lnTo>
                    <a:pt x="18" y="134"/>
                  </a:lnTo>
                  <a:lnTo>
                    <a:pt x="22" y="148"/>
                  </a:lnTo>
                  <a:lnTo>
                    <a:pt x="22" y="154"/>
                  </a:lnTo>
                  <a:lnTo>
                    <a:pt x="26" y="160"/>
                  </a:lnTo>
                  <a:lnTo>
                    <a:pt x="26" y="164"/>
                  </a:lnTo>
                  <a:lnTo>
                    <a:pt x="26" y="168"/>
                  </a:lnTo>
                  <a:lnTo>
                    <a:pt x="26" y="174"/>
                  </a:lnTo>
                  <a:lnTo>
                    <a:pt x="28" y="186"/>
                  </a:lnTo>
                  <a:lnTo>
                    <a:pt x="36" y="188"/>
                  </a:lnTo>
                  <a:lnTo>
                    <a:pt x="46" y="182"/>
                  </a:lnTo>
                  <a:lnTo>
                    <a:pt x="50" y="184"/>
                  </a:lnTo>
                  <a:lnTo>
                    <a:pt x="56" y="184"/>
                  </a:lnTo>
                  <a:lnTo>
                    <a:pt x="64" y="184"/>
                  </a:lnTo>
                  <a:lnTo>
                    <a:pt x="70" y="190"/>
                  </a:lnTo>
                  <a:lnTo>
                    <a:pt x="70" y="192"/>
                  </a:lnTo>
                  <a:lnTo>
                    <a:pt x="74" y="186"/>
                  </a:lnTo>
                  <a:lnTo>
                    <a:pt x="76" y="184"/>
                  </a:lnTo>
                  <a:lnTo>
                    <a:pt x="78" y="182"/>
                  </a:lnTo>
                  <a:lnTo>
                    <a:pt x="80" y="184"/>
                  </a:lnTo>
                  <a:lnTo>
                    <a:pt x="98" y="184"/>
                  </a:lnTo>
                  <a:lnTo>
                    <a:pt x="108" y="166"/>
                  </a:lnTo>
                  <a:lnTo>
                    <a:pt x="108" y="160"/>
                  </a:lnTo>
                  <a:lnTo>
                    <a:pt x="110" y="156"/>
                  </a:lnTo>
                  <a:lnTo>
                    <a:pt x="110" y="150"/>
                  </a:lnTo>
                  <a:lnTo>
                    <a:pt x="114" y="144"/>
                  </a:lnTo>
                  <a:lnTo>
                    <a:pt x="118" y="138"/>
                  </a:lnTo>
                  <a:lnTo>
                    <a:pt x="134" y="138"/>
                  </a:lnTo>
                  <a:lnTo>
                    <a:pt x="146" y="140"/>
                  </a:lnTo>
                  <a:lnTo>
                    <a:pt x="152" y="148"/>
                  </a:lnTo>
                  <a:lnTo>
                    <a:pt x="156" y="146"/>
                  </a:lnTo>
                  <a:lnTo>
                    <a:pt x="154" y="142"/>
                  </a:lnTo>
                  <a:lnTo>
                    <a:pt x="156" y="134"/>
                  </a:lnTo>
                  <a:lnTo>
                    <a:pt x="158" y="126"/>
                  </a:lnTo>
                  <a:lnTo>
                    <a:pt x="158" y="122"/>
                  </a:lnTo>
                  <a:lnTo>
                    <a:pt x="158" y="118"/>
                  </a:lnTo>
                  <a:lnTo>
                    <a:pt x="156" y="114"/>
                  </a:lnTo>
                  <a:lnTo>
                    <a:pt x="152" y="110"/>
                  </a:lnTo>
                  <a:lnTo>
                    <a:pt x="148" y="106"/>
                  </a:lnTo>
                  <a:lnTo>
                    <a:pt x="146" y="100"/>
                  </a:lnTo>
                  <a:lnTo>
                    <a:pt x="146" y="94"/>
                  </a:lnTo>
                  <a:lnTo>
                    <a:pt x="148" y="92"/>
                  </a:lnTo>
                  <a:lnTo>
                    <a:pt x="128" y="92"/>
                  </a:lnTo>
                  <a:lnTo>
                    <a:pt x="126" y="90"/>
                  </a:lnTo>
                  <a:lnTo>
                    <a:pt x="124" y="84"/>
                  </a:lnTo>
                  <a:lnTo>
                    <a:pt x="122" y="80"/>
                  </a:lnTo>
                  <a:lnTo>
                    <a:pt x="122" y="74"/>
                  </a:lnTo>
                  <a:lnTo>
                    <a:pt x="128" y="70"/>
                  </a:lnTo>
                  <a:lnTo>
                    <a:pt x="124" y="60"/>
                  </a:lnTo>
                  <a:lnTo>
                    <a:pt x="122" y="54"/>
                  </a:lnTo>
                  <a:lnTo>
                    <a:pt x="120" y="48"/>
                  </a:lnTo>
                  <a:lnTo>
                    <a:pt x="118" y="48"/>
                  </a:lnTo>
                  <a:lnTo>
                    <a:pt x="116" y="48"/>
                  </a:lnTo>
                  <a:lnTo>
                    <a:pt x="110" y="48"/>
                  </a:lnTo>
                  <a:lnTo>
                    <a:pt x="108" y="48"/>
                  </a:lnTo>
                  <a:lnTo>
                    <a:pt x="102" y="46"/>
                  </a:lnTo>
                  <a:lnTo>
                    <a:pt x="100" y="46"/>
                  </a:lnTo>
                  <a:lnTo>
                    <a:pt x="96" y="44"/>
                  </a:lnTo>
                  <a:lnTo>
                    <a:pt x="92" y="40"/>
                  </a:lnTo>
                  <a:lnTo>
                    <a:pt x="90" y="38"/>
                  </a:lnTo>
                  <a:lnTo>
                    <a:pt x="86" y="34"/>
                  </a:lnTo>
                  <a:lnTo>
                    <a:pt x="80" y="30"/>
                  </a:lnTo>
                  <a:lnTo>
                    <a:pt x="76" y="26"/>
                  </a:lnTo>
                  <a:lnTo>
                    <a:pt x="72" y="24"/>
                  </a:lnTo>
                  <a:lnTo>
                    <a:pt x="70" y="24"/>
                  </a:lnTo>
                  <a:lnTo>
                    <a:pt x="68" y="26"/>
                  </a:lnTo>
                  <a:lnTo>
                    <a:pt x="66" y="26"/>
                  </a:lnTo>
                  <a:lnTo>
                    <a:pt x="60" y="24"/>
                  </a:lnTo>
                  <a:lnTo>
                    <a:pt x="56" y="20"/>
                  </a:lnTo>
                  <a:lnTo>
                    <a:pt x="54" y="16"/>
                  </a:lnTo>
                  <a:lnTo>
                    <a:pt x="54" y="12"/>
                  </a:lnTo>
                  <a:lnTo>
                    <a:pt x="56" y="10"/>
                  </a:lnTo>
                  <a:lnTo>
                    <a:pt x="58" y="4"/>
                  </a:lnTo>
                  <a:lnTo>
                    <a:pt x="56" y="0"/>
                  </a:lnTo>
                  <a:lnTo>
                    <a:pt x="50" y="0"/>
                  </a:lnTo>
                  <a:lnTo>
                    <a:pt x="44" y="2"/>
                  </a:lnTo>
                  <a:lnTo>
                    <a:pt x="36" y="4"/>
                  </a:lnTo>
                  <a:lnTo>
                    <a:pt x="30" y="8"/>
                  </a:lnTo>
                  <a:lnTo>
                    <a:pt x="26" y="12"/>
                  </a:lnTo>
                  <a:lnTo>
                    <a:pt x="22" y="18"/>
                  </a:lnTo>
                  <a:lnTo>
                    <a:pt x="16" y="20"/>
                  </a:lnTo>
                  <a:lnTo>
                    <a:pt x="14" y="22"/>
                  </a:lnTo>
                  <a:lnTo>
                    <a:pt x="14" y="24"/>
                  </a:lnTo>
                  <a:lnTo>
                    <a:pt x="14" y="26"/>
                  </a:lnTo>
                  <a:lnTo>
                    <a:pt x="12" y="26"/>
                  </a:lnTo>
                  <a:lnTo>
                    <a:pt x="10" y="28"/>
                  </a:lnTo>
                  <a:lnTo>
                    <a:pt x="6" y="26"/>
                  </a:lnTo>
                  <a:lnTo>
                    <a:pt x="2" y="26"/>
                  </a:lnTo>
                  <a:lnTo>
                    <a:pt x="0" y="26"/>
                  </a:lnTo>
                  <a:lnTo>
                    <a:pt x="8" y="42"/>
                  </a:lnTo>
                  <a:lnTo>
                    <a:pt x="4" y="52"/>
                  </a:lnTo>
                  <a:lnTo>
                    <a:pt x="4" y="58"/>
                  </a:lnTo>
                  <a:lnTo>
                    <a:pt x="4" y="64"/>
                  </a:lnTo>
                  <a:lnTo>
                    <a:pt x="8" y="70"/>
                  </a:lnTo>
                  <a:lnTo>
                    <a:pt x="6" y="72"/>
                  </a:lnTo>
                  <a:lnTo>
                    <a:pt x="6" y="76"/>
                  </a:lnTo>
                  <a:lnTo>
                    <a:pt x="8" y="80"/>
                  </a:lnTo>
                  <a:lnTo>
                    <a:pt x="8" y="82"/>
                  </a:lnTo>
                  <a:lnTo>
                    <a:pt x="10" y="82"/>
                  </a:lnTo>
                  <a:lnTo>
                    <a:pt x="10" y="8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8" name="Freeform 442">
              <a:extLst>
                <a:ext uri="{FF2B5EF4-FFF2-40B4-BE49-F238E27FC236}">
                  <a16:creationId xmlns:a16="http://schemas.microsoft.com/office/drawing/2014/main" id="{FBE134A4-4C4E-4469-9354-E76629C0C2A2}"/>
                </a:ext>
              </a:extLst>
            </p:cNvPr>
            <p:cNvSpPr>
              <a:spLocks/>
            </p:cNvSpPr>
            <p:nvPr/>
          </p:nvSpPr>
          <p:spPr bwMode="auto">
            <a:xfrm>
              <a:off x="3047083" y="4485546"/>
              <a:ext cx="49203" cy="142429"/>
            </a:xfrm>
            <a:custGeom>
              <a:avLst/>
              <a:gdLst/>
              <a:ahLst/>
              <a:cxnLst>
                <a:cxn ang="0">
                  <a:pos x="26" y="102"/>
                </a:cxn>
                <a:cxn ang="0">
                  <a:pos x="28" y="88"/>
                </a:cxn>
                <a:cxn ang="0">
                  <a:pos x="24" y="80"/>
                </a:cxn>
                <a:cxn ang="0">
                  <a:pos x="26" y="70"/>
                </a:cxn>
                <a:cxn ang="0">
                  <a:pos x="26" y="62"/>
                </a:cxn>
                <a:cxn ang="0">
                  <a:pos x="28" y="60"/>
                </a:cxn>
                <a:cxn ang="0">
                  <a:pos x="30" y="56"/>
                </a:cxn>
                <a:cxn ang="0">
                  <a:pos x="32" y="50"/>
                </a:cxn>
                <a:cxn ang="0">
                  <a:pos x="34" y="44"/>
                </a:cxn>
                <a:cxn ang="0">
                  <a:pos x="36" y="38"/>
                </a:cxn>
                <a:cxn ang="0">
                  <a:pos x="36" y="36"/>
                </a:cxn>
                <a:cxn ang="0">
                  <a:pos x="36" y="30"/>
                </a:cxn>
                <a:cxn ang="0">
                  <a:pos x="36" y="22"/>
                </a:cxn>
                <a:cxn ang="0">
                  <a:pos x="34" y="18"/>
                </a:cxn>
                <a:cxn ang="0">
                  <a:pos x="34" y="12"/>
                </a:cxn>
                <a:cxn ang="0">
                  <a:pos x="26" y="6"/>
                </a:cxn>
                <a:cxn ang="0">
                  <a:pos x="24" y="2"/>
                </a:cxn>
                <a:cxn ang="0">
                  <a:pos x="18" y="0"/>
                </a:cxn>
                <a:cxn ang="0">
                  <a:pos x="12" y="12"/>
                </a:cxn>
                <a:cxn ang="0">
                  <a:pos x="6" y="16"/>
                </a:cxn>
                <a:cxn ang="0">
                  <a:pos x="4" y="18"/>
                </a:cxn>
                <a:cxn ang="0">
                  <a:pos x="0" y="32"/>
                </a:cxn>
                <a:cxn ang="0">
                  <a:pos x="10" y="38"/>
                </a:cxn>
                <a:cxn ang="0">
                  <a:pos x="10" y="48"/>
                </a:cxn>
                <a:cxn ang="0">
                  <a:pos x="12" y="52"/>
                </a:cxn>
                <a:cxn ang="0">
                  <a:pos x="10" y="66"/>
                </a:cxn>
                <a:cxn ang="0">
                  <a:pos x="12" y="78"/>
                </a:cxn>
                <a:cxn ang="0">
                  <a:pos x="10" y="88"/>
                </a:cxn>
                <a:cxn ang="0">
                  <a:pos x="12" y="98"/>
                </a:cxn>
                <a:cxn ang="0">
                  <a:pos x="12" y="102"/>
                </a:cxn>
                <a:cxn ang="0">
                  <a:pos x="14" y="110"/>
                </a:cxn>
                <a:cxn ang="0">
                  <a:pos x="18" y="104"/>
                </a:cxn>
                <a:cxn ang="0">
                  <a:pos x="26" y="102"/>
                </a:cxn>
              </a:cxnLst>
              <a:rect l="0" t="0" r="r" b="b"/>
              <a:pathLst>
                <a:path w="38" h="110">
                  <a:moveTo>
                    <a:pt x="26" y="102"/>
                  </a:moveTo>
                  <a:lnTo>
                    <a:pt x="26" y="102"/>
                  </a:lnTo>
                  <a:lnTo>
                    <a:pt x="28" y="94"/>
                  </a:lnTo>
                  <a:lnTo>
                    <a:pt x="28" y="88"/>
                  </a:lnTo>
                  <a:lnTo>
                    <a:pt x="26" y="84"/>
                  </a:lnTo>
                  <a:lnTo>
                    <a:pt x="24" y="80"/>
                  </a:lnTo>
                  <a:lnTo>
                    <a:pt x="26" y="74"/>
                  </a:lnTo>
                  <a:lnTo>
                    <a:pt x="26" y="70"/>
                  </a:lnTo>
                  <a:lnTo>
                    <a:pt x="26" y="66"/>
                  </a:lnTo>
                  <a:lnTo>
                    <a:pt x="26" y="62"/>
                  </a:lnTo>
                  <a:lnTo>
                    <a:pt x="26" y="60"/>
                  </a:lnTo>
                  <a:lnTo>
                    <a:pt x="28" y="60"/>
                  </a:lnTo>
                  <a:lnTo>
                    <a:pt x="30" y="60"/>
                  </a:lnTo>
                  <a:lnTo>
                    <a:pt x="30" y="56"/>
                  </a:lnTo>
                  <a:lnTo>
                    <a:pt x="30" y="52"/>
                  </a:lnTo>
                  <a:lnTo>
                    <a:pt x="32" y="50"/>
                  </a:lnTo>
                  <a:lnTo>
                    <a:pt x="34" y="48"/>
                  </a:lnTo>
                  <a:lnTo>
                    <a:pt x="34" y="44"/>
                  </a:lnTo>
                  <a:lnTo>
                    <a:pt x="34" y="40"/>
                  </a:lnTo>
                  <a:lnTo>
                    <a:pt x="36" y="38"/>
                  </a:lnTo>
                  <a:lnTo>
                    <a:pt x="38" y="38"/>
                  </a:lnTo>
                  <a:lnTo>
                    <a:pt x="36" y="36"/>
                  </a:lnTo>
                  <a:lnTo>
                    <a:pt x="36" y="34"/>
                  </a:lnTo>
                  <a:lnTo>
                    <a:pt x="36" y="30"/>
                  </a:lnTo>
                  <a:lnTo>
                    <a:pt x="38" y="26"/>
                  </a:lnTo>
                  <a:lnTo>
                    <a:pt x="36" y="22"/>
                  </a:lnTo>
                  <a:lnTo>
                    <a:pt x="32" y="20"/>
                  </a:lnTo>
                  <a:lnTo>
                    <a:pt x="34" y="18"/>
                  </a:lnTo>
                  <a:lnTo>
                    <a:pt x="34" y="16"/>
                  </a:lnTo>
                  <a:lnTo>
                    <a:pt x="34" y="12"/>
                  </a:lnTo>
                  <a:lnTo>
                    <a:pt x="34" y="10"/>
                  </a:lnTo>
                  <a:lnTo>
                    <a:pt x="26" y="6"/>
                  </a:lnTo>
                  <a:lnTo>
                    <a:pt x="26" y="4"/>
                  </a:lnTo>
                  <a:lnTo>
                    <a:pt x="24" y="2"/>
                  </a:lnTo>
                  <a:lnTo>
                    <a:pt x="20" y="0"/>
                  </a:lnTo>
                  <a:lnTo>
                    <a:pt x="18" y="0"/>
                  </a:lnTo>
                  <a:lnTo>
                    <a:pt x="12" y="8"/>
                  </a:lnTo>
                  <a:lnTo>
                    <a:pt x="12" y="12"/>
                  </a:lnTo>
                  <a:lnTo>
                    <a:pt x="6" y="14"/>
                  </a:lnTo>
                  <a:lnTo>
                    <a:pt x="6" y="16"/>
                  </a:lnTo>
                  <a:lnTo>
                    <a:pt x="6" y="18"/>
                  </a:lnTo>
                  <a:lnTo>
                    <a:pt x="4" y="18"/>
                  </a:lnTo>
                  <a:lnTo>
                    <a:pt x="0" y="18"/>
                  </a:lnTo>
                  <a:lnTo>
                    <a:pt x="0" y="32"/>
                  </a:lnTo>
                  <a:lnTo>
                    <a:pt x="10" y="36"/>
                  </a:lnTo>
                  <a:lnTo>
                    <a:pt x="10" y="38"/>
                  </a:lnTo>
                  <a:lnTo>
                    <a:pt x="10" y="44"/>
                  </a:lnTo>
                  <a:lnTo>
                    <a:pt x="10" y="48"/>
                  </a:lnTo>
                  <a:lnTo>
                    <a:pt x="12" y="50"/>
                  </a:lnTo>
                  <a:lnTo>
                    <a:pt x="12" y="52"/>
                  </a:lnTo>
                  <a:lnTo>
                    <a:pt x="12" y="60"/>
                  </a:lnTo>
                  <a:lnTo>
                    <a:pt x="10" y="66"/>
                  </a:lnTo>
                  <a:lnTo>
                    <a:pt x="12" y="72"/>
                  </a:lnTo>
                  <a:lnTo>
                    <a:pt x="12" y="78"/>
                  </a:lnTo>
                  <a:lnTo>
                    <a:pt x="12" y="82"/>
                  </a:lnTo>
                  <a:lnTo>
                    <a:pt x="10" y="88"/>
                  </a:lnTo>
                  <a:lnTo>
                    <a:pt x="10" y="92"/>
                  </a:lnTo>
                  <a:lnTo>
                    <a:pt x="12" y="98"/>
                  </a:lnTo>
                  <a:lnTo>
                    <a:pt x="12" y="100"/>
                  </a:lnTo>
                  <a:lnTo>
                    <a:pt x="12" y="102"/>
                  </a:lnTo>
                  <a:lnTo>
                    <a:pt x="14" y="108"/>
                  </a:lnTo>
                  <a:lnTo>
                    <a:pt x="14" y="110"/>
                  </a:lnTo>
                  <a:lnTo>
                    <a:pt x="16" y="110"/>
                  </a:lnTo>
                  <a:lnTo>
                    <a:pt x="18" y="104"/>
                  </a:lnTo>
                  <a:lnTo>
                    <a:pt x="26" y="102"/>
                  </a:lnTo>
                  <a:lnTo>
                    <a:pt x="26" y="10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79" name="Freeform 443">
              <a:extLst>
                <a:ext uri="{FF2B5EF4-FFF2-40B4-BE49-F238E27FC236}">
                  <a16:creationId xmlns:a16="http://schemas.microsoft.com/office/drawing/2014/main" id="{30ADAD3E-D830-424D-BE3F-4A7285CA08C8}"/>
                </a:ext>
              </a:extLst>
            </p:cNvPr>
            <p:cNvSpPr>
              <a:spLocks/>
            </p:cNvSpPr>
            <p:nvPr/>
          </p:nvSpPr>
          <p:spPr bwMode="auto">
            <a:xfrm>
              <a:off x="1537340" y="4366424"/>
              <a:ext cx="20717" cy="54382"/>
            </a:xfrm>
            <a:custGeom>
              <a:avLst/>
              <a:gdLst/>
              <a:ahLst/>
              <a:cxnLst>
                <a:cxn ang="0">
                  <a:pos x="4" y="42"/>
                </a:cxn>
                <a:cxn ang="0">
                  <a:pos x="4" y="42"/>
                </a:cxn>
                <a:cxn ang="0">
                  <a:pos x="12" y="32"/>
                </a:cxn>
                <a:cxn ang="0">
                  <a:pos x="14" y="26"/>
                </a:cxn>
                <a:cxn ang="0">
                  <a:pos x="14" y="24"/>
                </a:cxn>
                <a:cxn ang="0">
                  <a:pos x="12" y="22"/>
                </a:cxn>
                <a:cxn ang="0">
                  <a:pos x="16" y="18"/>
                </a:cxn>
                <a:cxn ang="0">
                  <a:pos x="16" y="10"/>
                </a:cxn>
                <a:cxn ang="0">
                  <a:pos x="16" y="4"/>
                </a:cxn>
                <a:cxn ang="0">
                  <a:pos x="12" y="2"/>
                </a:cxn>
                <a:cxn ang="0">
                  <a:pos x="8" y="0"/>
                </a:cxn>
                <a:cxn ang="0">
                  <a:pos x="8" y="2"/>
                </a:cxn>
                <a:cxn ang="0">
                  <a:pos x="6" y="4"/>
                </a:cxn>
                <a:cxn ang="0">
                  <a:pos x="0" y="6"/>
                </a:cxn>
                <a:cxn ang="0">
                  <a:pos x="0" y="42"/>
                </a:cxn>
                <a:cxn ang="0">
                  <a:pos x="4" y="42"/>
                </a:cxn>
                <a:cxn ang="0">
                  <a:pos x="4" y="42"/>
                </a:cxn>
              </a:cxnLst>
              <a:rect l="0" t="0" r="r" b="b"/>
              <a:pathLst>
                <a:path w="16" h="42">
                  <a:moveTo>
                    <a:pt x="4" y="42"/>
                  </a:moveTo>
                  <a:lnTo>
                    <a:pt x="4" y="42"/>
                  </a:lnTo>
                  <a:lnTo>
                    <a:pt x="12" y="32"/>
                  </a:lnTo>
                  <a:lnTo>
                    <a:pt x="14" y="26"/>
                  </a:lnTo>
                  <a:lnTo>
                    <a:pt x="14" y="24"/>
                  </a:lnTo>
                  <a:lnTo>
                    <a:pt x="12" y="22"/>
                  </a:lnTo>
                  <a:lnTo>
                    <a:pt x="16" y="18"/>
                  </a:lnTo>
                  <a:lnTo>
                    <a:pt x="16" y="10"/>
                  </a:lnTo>
                  <a:lnTo>
                    <a:pt x="16" y="4"/>
                  </a:lnTo>
                  <a:lnTo>
                    <a:pt x="12" y="2"/>
                  </a:lnTo>
                  <a:lnTo>
                    <a:pt x="8" y="0"/>
                  </a:lnTo>
                  <a:lnTo>
                    <a:pt x="8" y="2"/>
                  </a:lnTo>
                  <a:lnTo>
                    <a:pt x="6" y="4"/>
                  </a:lnTo>
                  <a:lnTo>
                    <a:pt x="0" y="6"/>
                  </a:lnTo>
                  <a:lnTo>
                    <a:pt x="0" y="42"/>
                  </a:lnTo>
                  <a:lnTo>
                    <a:pt x="4" y="42"/>
                  </a:lnTo>
                  <a:lnTo>
                    <a:pt x="4" y="4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0" name="Freeform 444">
              <a:extLst>
                <a:ext uri="{FF2B5EF4-FFF2-40B4-BE49-F238E27FC236}">
                  <a16:creationId xmlns:a16="http://schemas.microsoft.com/office/drawing/2014/main" id="{80FE5381-F7DC-4171-B759-6ED3B37764A7}"/>
                </a:ext>
              </a:extLst>
            </p:cNvPr>
            <p:cNvSpPr>
              <a:spLocks/>
            </p:cNvSpPr>
            <p:nvPr/>
          </p:nvSpPr>
          <p:spPr bwMode="auto">
            <a:xfrm>
              <a:off x="1537340" y="4366424"/>
              <a:ext cx="20717" cy="54382"/>
            </a:xfrm>
            <a:custGeom>
              <a:avLst/>
              <a:gdLst/>
              <a:ahLst/>
              <a:cxnLst>
                <a:cxn ang="0">
                  <a:pos x="4" y="42"/>
                </a:cxn>
                <a:cxn ang="0">
                  <a:pos x="4" y="42"/>
                </a:cxn>
                <a:cxn ang="0">
                  <a:pos x="12" y="32"/>
                </a:cxn>
                <a:cxn ang="0">
                  <a:pos x="14" y="26"/>
                </a:cxn>
                <a:cxn ang="0">
                  <a:pos x="14" y="24"/>
                </a:cxn>
                <a:cxn ang="0">
                  <a:pos x="12" y="22"/>
                </a:cxn>
                <a:cxn ang="0">
                  <a:pos x="16" y="18"/>
                </a:cxn>
                <a:cxn ang="0">
                  <a:pos x="16" y="10"/>
                </a:cxn>
                <a:cxn ang="0">
                  <a:pos x="16" y="4"/>
                </a:cxn>
                <a:cxn ang="0">
                  <a:pos x="12" y="2"/>
                </a:cxn>
                <a:cxn ang="0">
                  <a:pos x="8" y="0"/>
                </a:cxn>
                <a:cxn ang="0">
                  <a:pos x="8" y="2"/>
                </a:cxn>
                <a:cxn ang="0">
                  <a:pos x="6" y="4"/>
                </a:cxn>
                <a:cxn ang="0">
                  <a:pos x="0" y="6"/>
                </a:cxn>
                <a:cxn ang="0">
                  <a:pos x="0" y="42"/>
                </a:cxn>
                <a:cxn ang="0">
                  <a:pos x="4" y="42"/>
                </a:cxn>
                <a:cxn ang="0">
                  <a:pos x="4" y="42"/>
                </a:cxn>
              </a:cxnLst>
              <a:rect l="0" t="0" r="r" b="b"/>
              <a:pathLst>
                <a:path w="16" h="42">
                  <a:moveTo>
                    <a:pt x="4" y="42"/>
                  </a:moveTo>
                  <a:lnTo>
                    <a:pt x="4" y="42"/>
                  </a:lnTo>
                  <a:lnTo>
                    <a:pt x="12" y="32"/>
                  </a:lnTo>
                  <a:lnTo>
                    <a:pt x="14" y="26"/>
                  </a:lnTo>
                  <a:lnTo>
                    <a:pt x="14" y="24"/>
                  </a:lnTo>
                  <a:lnTo>
                    <a:pt x="12" y="22"/>
                  </a:lnTo>
                  <a:lnTo>
                    <a:pt x="16" y="18"/>
                  </a:lnTo>
                  <a:lnTo>
                    <a:pt x="16" y="10"/>
                  </a:lnTo>
                  <a:lnTo>
                    <a:pt x="16" y="4"/>
                  </a:lnTo>
                  <a:lnTo>
                    <a:pt x="12" y="2"/>
                  </a:lnTo>
                  <a:lnTo>
                    <a:pt x="8" y="0"/>
                  </a:lnTo>
                  <a:lnTo>
                    <a:pt x="8" y="2"/>
                  </a:lnTo>
                  <a:lnTo>
                    <a:pt x="6" y="4"/>
                  </a:lnTo>
                  <a:lnTo>
                    <a:pt x="0" y="6"/>
                  </a:lnTo>
                  <a:lnTo>
                    <a:pt x="0" y="42"/>
                  </a:lnTo>
                  <a:lnTo>
                    <a:pt x="4" y="42"/>
                  </a:lnTo>
                  <a:lnTo>
                    <a:pt x="4" y="4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1" name="Freeform 445">
              <a:extLst>
                <a:ext uri="{FF2B5EF4-FFF2-40B4-BE49-F238E27FC236}">
                  <a16:creationId xmlns:a16="http://schemas.microsoft.com/office/drawing/2014/main" id="{AAA723C3-C26D-43CD-8E37-5C8D6B5CA092}"/>
                </a:ext>
              </a:extLst>
            </p:cNvPr>
            <p:cNvSpPr>
              <a:spLocks/>
            </p:cNvSpPr>
            <p:nvPr/>
          </p:nvSpPr>
          <p:spPr bwMode="auto">
            <a:xfrm>
              <a:off x="3072979" y="3610258"/>
              <a:ext cx="64740" cy="49203"/>
            </a:xfrm>
            <a:custGeom>
              <a:avLst/>
              <a:gdLst/>
              <a:ahLst/>
              <a:cxnLst>
                <a:cxn ang="0">
                  <a:pos x="14" y="0"/>
                </a:cxn>
                <a:cxn ang="0">
                  <a:pos x="14" y="0"/>
                </a:cxn>
                <a:cxn ang="0">
                  <a:pos x="10" y="4"/>
                </a:cxn>
                <a:cxn ang="0">
                  <a:pos x="0" y="6"/>
                </a:cxn>
                <a:cxn ang="0">
                  <a:pos x="4" y="10"/>
                </a:cxn>
                <a:cxn ang="0">
                  <a:pos x="6" y="12"/>
                </a:cxn>
                <a:cxn ang="0">
                  <a:pos x="8" y="18"/>
                </a:cxn>
                <a:cxn ang="0">
                  <a:pos x="10" y="18"/>
                </a:cxn>
                <a:cxn ang="0">
                  <a:pos x="12" y="22"/>
                </a:cxn>
                <a:cxn ang="0">
                  <a:pos x="14" y="24"/>
                </a:cxn>
                <a:cxn ang="0">
                  <a:pos x="16" y="24"/>
                </a:cxn>
                <a:cxn ang="0">
                  <a:pos x="18" y="22"/>
                </a:cxn>
                <a:cxn ang="0">
                  <a:pos x="18" y="24"/>
                </a:cxn>
                <a:cxn ang="0">
                  <a:pos x="20" y="28"/>
                </a:cxn>
                <a:cxn ang="0">
                  <a:pos x="24" y="30"/>
                </a:cxn>
                <a:cxn ang="0">
                  <a:pos x="28" y="32"/>
                </a:cxn>
                <a:cxn ang="0">
                  <a:pos x="30" y="32"/>
                </a:cxn>
                <a:cxn ang="0">
                  <a:pos x="32" y="32"/>
                </a:cxn>
                <a:cxn ang="0">
                  <a:pos x="34" y="30"/>
                </a:cxn>
                <a:cxn ang="0">
                  <a:pos x="34" y="32"/>
                </a:cxn>
                <a:cxn ang="0">
                  <a:pos x="34" y="36"/>
                </a:cxn>
                <a:cxn ang="0">
                  <a:pos x="36" y="38"/>
                </a:cxn>
                <a:cxn ang="0">
                  <a:pos x="40" y="38"/>
                </a:cxn>
                <a:cxn ang="0">
                  <a:pos x="46" y="36"/>
                </a:cxn>
                <a:cxn ang="0">
                  <a:pos x="46" y="34"/>
                </a:cxn>
                <a:cxn ang="0">
                  <a:pos x="46" y="30"/>
                </a:cxn>
                <a:cxn ang="0">
                  <a:pos x="48" y="30"/>
                </a:cxn>
                <a:cxn ang="0">
                  <a:pos x="50" y="28"/>
                </a:cxn>
                <a:cxn ang="0">
                  <a:pos x="50" y="24"/>
                </a:cxn>
                <a:cxn ang="0">
                  <a:pos x="50" y="22"/>
                </a:cxn>
                <a:cxn ang="0">
                  <a:pos x="48" y="20"/>
                </a:cxn>
                <a:cxn ang="0">
                  <a:pos x="48" y="18"/>
                </a:cxn>
                <a:cxn ang="0">
                  <a:pos x="48" y="16"/>
                </a:cxn>
                <a:cxn ang="0">
                  <a:pos x="50" y="16"/>
                </a:cxn>
                <a:cxn ang="0">
                  <a:pos x="46" y="14"/>
                </a:cxn>
                <a:cxn ang="0">
                  <a:pos x="44" y="12"/>
                </a:cxn>
                <a:cxn ang="0">
                  <a:pos x="42" y="12"/>
                </a:cxn>
                <a:cxn ang="0">
                  <a:pos x="40" y="10"/>
                </a:cxn>
                <a:cxn ang="0">
                  <a:pos x="38" y="8"/>
                </a:cxn>
                <a:cxn ang="0">
                  <a:pos x="38" y="6"/>
                </a:cxn>
                <a:cxn ang="0">
                  <a:pos x="36" y="6"/>
                </a:cxn>
                <a:cxn ang="0">
                  <a:pos x="32" y="6"/>
                </a:cxn>
                <a:cxn ang="0">
                  <a:pos x="28" y="8"/>
                </a:cxn>
                <a:cxn ang="0">
                  <a:pos x="26" y="10"/>
                </a:cxn>
                <a:cxn ang="0">
                  <a:pos x="24" y="10"/>
                </a:cxn>
                <a:cxn ang="0">
                  <a:pos x="20" y="8"/>
                </a:cxn>
                <a:cxn ang="0">
                  <a:pos x="16" y="4"/>
                </a:cxn>
                <a:cxn ang="0">
                  <a:pos x="14" y="0"/>
                </a:cxn>
                <a:cxn ang="0">
                  <a:pos x="14" y="0"/>
                </a:cxn>
              </a:cxnLst>
              <a:rect l="0" t="0" r="r" b="b"/>
              <a:pathLst>
                <a:path w="50" h="38">
                  <a:moveTo>
                    <a:pt x="14" y="0"/>
                  </a:moveTo>
                  <a:lnTo>
                    <a:pt x="14" y="0"/>
                  </a:lnTo>
                  <a:lnTo>
                    <a:pt x="10" y="4"/>
                  </a:lnTo>
                  <a:lnTo>
                    <a:pt x="0" y="6"/>
                  </a:lnTo>
                  <a:lnTo>
                    <a:pt x="4" y="10"/>
                  </a:lnTo>
                  <a:lnTo>
                    <a:pt x="6" y="12"/>
                  </a:lnTo>
                  <a:lnTo>
                    <a:pt x="8" y="18"/>
                  </a:lnTo>
                  <a:lnTo>
                    <a:pt x="10" y="18"/>
                  </a:lnTo>
                  <a:lnTo>
                    <a:pt x="12" y="22"/>
                  </a:lnTo>
                  <a:lnTo>
                    <a:pt x="14" y="24"/>
                  </a:lnTo>
                  <a:lnTo>
                    <a:pt x="16" y="24"/>
                  </a:lnTo>
                  <a:lnTo>
                    <a:pt x="18" y="22"/>
                  </a:lnTo>
                  <a:lnTo>
                    <a:pt x="18" y="24"/>
                  </a:lnTo>
                  <a:lnTo>
                    <a:pt x="20" y="28"/>
                  </a:lnTo>
                  <a:lnTo>
                    <a:pt x="24" y="30"/>
                  </a:lnTo>
                  <a:lnTo>
                    <a:pt x="28" y="32"/>
                  </a:lnTo>
                  <a:lnTo>
                    <a:pt x="30" y="32"/>
                  </a:lnTo>
                  <a:lnTo>
                    <a:pt x="32" y="32"/>
                  </a:lnTo>
                  <a:lnTo>
                    <a:pt x="34" y="30"/>
                  </a:lnTo>
                  <a:lnTo>
                    <a:pt x="34" y="32"/>
                  </a:lnTo>
                  <a:lnTo>
                    <a:pt x="34" y="36"/>
                  </a:lnTo>
                  <a:lnTo>
                    <a:pt x="36" y="38"/>
                  </a:lnTo>
                  <a:lnTo>
                    <a:pt x="40" y="38"/>
                  </a:lnTo>
                  <a:lnTo>
                    <a:pt x="46" y="36"/>
                  </a:lnTo>
                  <a:lnTo>
                    <a:pt x="46" y="34"/>
                  </a:lnTo>
                  <a:lnTo>
                    <a:pt x="46" y="30"/>
                  </a:lnTo>
                  <a:lnTo>
                    <a:pt x="48" y="30"/>
                  </a:lnTo>
                  <a:lnTo>
                    <a:pt x="50" y="28"/>
                  </a:lnTo>
                  <a:lnTo>
                    <a:pt x="50" y="24"/>
                  </a:lnTo>
                  <a:lnTo>
                    <a:pt x="50" y="22"/>
                  </a:lnTo>
                  <a:lnTo>
                    <a:pt x="48" y="20"/>
                  </a:lnTo>
                  <a:lnTo>
                    <a:pt x="48" y="18"/>
                  </a:lnTo>
                  <a:lnTo>
                    <a:pt x="48" y="16"/>
                  </a:lnTo>
                  <a:lnTo>
                    <a:pt x="50" y="16"/>
                  </a:lnTo>
                  <a:lnTo>
                    <a:pt x="46" y="14"/>
                  </a:lnTo>
                  <a:lnTo>
                    <a:pt x="44" y="12"/>
                  </a:lnTo>
                  <a:lnTo>
                    <a:pt x="42" y="12"/>
                  </a:lnTo>
                  <a:lnTo>
                    <a:pt x="40" y="10"/>
                  </a:lnTo>
                  <a:lnTo>
                    <a:pt x="38" y="8"/>
                  </a:lnTo>
                  <a:lnTo>
                    <a:pt x="38" y="6"/>
                  </a:lnTo>
                  <a:lnTo>
                    <a:pt x="36" y="6"/>
                  </a:lnTo>
                  <a:lnTo>
                    <a:pt x="32" y="6"/>
                  </a:lnTo>
                  <a:lnTo>
                    <a:pt x="28" y="8"/>
                  </a:lnTo>
                  <a:lnTo>
                    <a:pt x="26" y="10"/>
                  </a:lnTo>
                  <a:lnTo>
                    <a:pt x="24" y="10"/>
                  </a:lnTo>
                  <a:lnTo>
                    <a:pt x="20" y="8"/>
                  </a:lnTo>
                  <a:lnTo>
                    <a:pt x="16" y="4"/>
                  </a:lnTo>
                  <a:lnTo>
                    <a:pt x="14" y="0"/>
                  </a:lnTo>
                  <a:lnTo>
                    <a:pt x="1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2" name="Freeform 446">
              <a:extLst>
                <a:ext uri="{FF2B5EF4-FFF2-40B4-BE49-F238E27FC236}">
                  <a16:creationId xmlns:a16="http://schemas.microsoft.com/office/drawing/2014/main" id="{06433892-6147-4A15-A49C-322F1F582A7C}"/>
                </a:ext>
              </a:extLst>
            </p:cNvPr>
            <p:cNvSpPr>
              <a:spLocks/>
            </p:cNvSpPr>
            <p:nvPr/>
          </p:nvSpPr>
          <p:spPr bwMode="auto">
            <a:xfrm>
              <a:off x="3072979" y="3610258"/>
              <a:ext cx="64740" cy="49203"/>
            </a:xfrm>
            <a:custGeom>
              <a:avLst/>
              <a:gdLst/>
              <a:ahLst/>
              <a:cxnLst>
                <a:cxn ang="0">
                  <a:pos x="14" y="0"/>
                </a:cxn>
                <a:cxn ang="0">
                  <a:pos x="14" y="0"/>
                </a:cxn>
                <a:cxn ang="0">
                  <a:pos x="10" y="4"/>
                </a:cxn>
                <a:cxn ang="0">
                  <a:pos x="0" y="6"/>
                </a:cxn>
                <a:cxn ang="0">
                  <a:pos x="4" y="10"/>
                </a:cxn>
                <a:cxn ang="0">
                  <a:pos x="6" y="12"/>
                </a:cxn>
                <a:cxn ang="0">
                  <a:pos x="8" y="18"/>
                </a:cxn>
                <a:cxn ang="0">
                  <a:pos x="10" y="18"/>
                </a:cxn>
                <a:cxn ang="0">
                  <a:pos x="12" y="22"/>
                </a:cxn>
                <a:cxn ang="0">
                  <a:pos x="14" y="24"/>
                </a:cxn>
                <a:cxn ang="0">
                  <a:pos x="16" y="24"/>
                </a:cxn>
                <a:cxn ang="0">
                  <a:pos x="18" y="22"/>
                </a:cxn>
                <a:cxn ang="0">
                  <a:pos x="18" y="24"/>
                </a:cxn>
                <a:cxn ang="0">
                  <a:pos x="20" y="28"/>
                </a:cxn>
                <a:cxn ang="0">
                  <a:pos x="24" y="30"/>
                </a:cxn>
                <a:cxn ang="0">
                  <a:pos x="28" y="32"/>
                </a:cxn>
                <a:cxn ang="0">
                  <a:pos x="30" y="32"/>
                </a:cxn>
                <a:cxn ang="0">
                  <a:pos x="32" y="32"/>
                </a:cxn>
                <a:cxn ang="0">
                  <a:pos x="34" y="30"/>
                </a:cxn>
                <a:cxn ang="0">
                  <a:pos x="34" y="32"/>
                </a:cxn>
                <a:cxn ang="0">
                  <a:pos x="34" y="36"/>
                </a:cxn>
                <a:cxn ang="0">
                  <a:pos x="36" y="38"/>
                </a:cxn>
                <a:cxn ang="0">
                  <a:pos x="40" y="38"/>
                </a:cxn>
                <a:cxn ang="0">
                  <a:pos x="46" y="36"/>
                </a:cxn>
                <a:cxn ang="0">
                  <a:pos x="46" y="34"/>
                </a:cxn>
                <a:cxn ang="0">
                  <a:pos x="46" y="30"/>
                </a:cxn>
                <a:cxn ang="0">
                  <a:pos x="48" y="30"/>
                </a:cxn>
                <a:cxn ang="0">
                  <a:pos x="50" y="28"/>
                </a:cxn>
                <a:cxn ang="0">
                  <a:pos x="50" y="24"/>
                </a:cxn>
                <a:cxn ang="0">
                  <a:pos x="50" y="22"/>
                </a:cxn>
                <a:cxn ang="0">
                  <a:pos x="48" y="20"/>
                </a:cxn>
                <a:cxn ang="0">
                  <a:pos x="48" y="18"/>
                </a:cxn>
                <a:cxn ang="0">
                  <a:pos x="48" y="16"/>
                </a:cxn>
                <a:cxn ang="0">
                  <a:pos x="50" y="16"/>
                </a:cxn>
                <a:cxn ang="0">
                  <a:pos x="46" y="14"/>
                </a:cxn>
                <a:cxn ang="0">
                  <a:pos x="44" y="12"/>
                </a:cxn>
                <a:cxn ang="0">
                  <a:pos x="42" y="12"/>
                </a:cxn>
                <a:cxn ang="0">
                  <a:pos x="40" y="10"/>
                </a:cxn>
                <a:cxn ang="0">
                  <a:pos x="38" y="8"/>
                </a:cxn>
                <a:cxn ang="0">
                  <a:pos x="38" y="6"/>
                </a:cxn>
                <a:cxn ang="0">
                  <a:pos x="36" y="6"/>
                </a:cxn>
                <a:cxn ang="0">
                  <a:pos x="32" y="6"/>
                </a:cxn>
                <a:cxn ang="0">
                  <a:pos x="28" y="8"/>
                </a:cxn>
                <a:cxn ang="0">
                  <a:pos x="26" y="10"/>
                </a:cxn>
                <a:cxn ang="0">
                  <a:pos x="24" y="10"/>
                </a:cxn>
                <a:cxn ang="0">
                  <a:pos x="20" y="8"/>
                </a:cxn>
                <a:cxn ang="0">
                  <a:pos x="16" y="4"/>
                </a:cxn>
                <a:cxn ang="0">
                  <a:pos x="14" y="0"/>
                </a:cxn>
                <a:cxn ang="0">
                  <a:pos x="14" y="0"/>
                </a:cxn>
              </a:cxnLst>
              <a:rect l="0" t="0" r="r" b="b"/>
              <a:pathLst>
                <a:path w="50" h="38">
                  <a:moveTo>
                    <a:pt x="14" y="0"/>
                  </a:moveTo>
                  <a:lnTo>
                    <a:pt x="14" y="0"/>
                  </a:lnTo>
                  <a:lnTo>
                    <a:pt x="10" y="4"/>
                  </a:lnTo>
                  <a:lnTo>
                    <a:pt x="0" y="6"/>
                  </a:lnTo>
                  <a:lnTo>
                    <a:pt x="4" y="10"/>
                  </a:lnTo>
                  <a:lnTo>
                    <a:pt x="6" y="12"/>
                  </a:lnTo>
                  <a:lnTo>
                    <a:pt x="8" y="18"/>
                  </a:lnTo>
                  <a:lnTo>
                    <a:pt x="10" y="18"/>
                  </a:lnTo>
                  <a:lnTo>
                    <a:pt x="12" y="22"/>
                  </a:lnTo>
                  <a:lnTo>
                    <a:pt x="14" y="24"/>
                  </a:lnTo>
                  <a:lnTo>
                    <a:pt x="16" y="24"/>
                  </a:lnTo>
                  <a:lnTo>
                    <a:pt x="18" y="22"/>
                  </a:lnTo>
                  <a:lnTo>
                    <a:pt x="18" y="24"/>
                  </a:lnTo>
                  <a:lnTo>
                    <a:pt x="20" y="28"/>
                  </a:lnTo>
                  <a:lnTo>
                    <a:pt x="24" y="30"/>
                  </a:lnTo>
                  <a:lnTo>
                    <a:pt x="28" y="32"/>
                  </a:lnTo>
                  <a:lnTo>
                    <a:pt x="30" y="32"/>
                  </a:lnTo>
                  <a:lnTo>
                    <a:pt x="32" y="32"/>
                  </a:lnTo>
                  <a:lnTo>
                    <a:pt x="34" y="30"/>
                  </a:lnTo>
                  <a:lnTo>
                    <a:pt x="34" y="32"/>
                  </a:lnTo>
                  <a:lnTo>
                    <a:pt x="34" y="36"/>
                  </a:lnTo>
                  <a:lnTo>
                    <a:pt x="36" y="38"/>
                  </a:lnTo>
                  <a:lnTo>
                    <a:pt x="40" y="38"/>
                  </a:lnTo>
                  <a:lnTo>
                    <a:pt x="46" y="36"/>
                  </a:lnTo>
                  <a:lnTo>
                    <a:pt x="46" y="34"/>
                  </a:lnTo>
                  <a:lnTo>
                    <a:pt x="46" y="30"/>
                  </a:lnTo>
                  <a:lnTo>
                    <a:pt x="48" y="30"/>
                  </a:lnTo>
                  <a:lnTo>
                    <a:pt x="50" y="28"/>
                  </a:lnTo>
                  <a:lnTo>
                    <a:pt x="50" y="24"/>
                  </a:lnTo>
                  <a:lnTo>
                    <a:pt x="50" y="22"/>
                  </a:lnTo>
                  <a:lnTo>
                    <a:pt x="48" y="20"/>
                  </a:lnTo>
                  <a:lnTo>
                    <a:pt x="48" y="18"/>
                  </a:lnTo>
                  <a:lnTo>
                    <a:pt x="48" y="16"/>
                  </a:lnTo>
                  <a:lnTo>
                    <a:pt x="50" y="16"/>
                  </a:lnTo>
                  <a:lnTo>
                    <a:pt x="46" y="14"/>
                  </a:lnTo>
                  <a:lnTo>
                    <a:pt x="44" y="12"/>
                  </a:lnTo>
                  <a:lnTo>
                    <a:pt x="42" y="12"/>
                  </a:lnTo>
                  <a:lnTo>
                    <a:pt x="40" y="10"/>
                  </a:lnTo>
                  <a:lnTo>
                    <a:pt x="38" y="8"/>
                  </a:lnTo>
                  <a:lnTo>
                    <a:pt x="38" y="6"/>
                  </a:lnTo>
                  <a:lnTo>
                    <a:pt x="36" y="6"/>
                  </a:lnTo>
                  <a:lnTo>
                    <a:pt x="32" y="6"/>
                  </a:lnTo>
                  <a:lnTo>
                    <a:pt x="28" y="8"/>
                  </a:lnTo>
                  <a:lnTo>
                    <a:pt x="26" y="10"/>
                  </a:lnTo>
                  <a:lnTo>
                    <a:pt x="24" y="10"/>
                  </a:lnTo>
                  <a:lnTo>
                    <a:pt x="20" y="8"/>
                  </a:lnTo>
                  <a:lnTo>
                    <a:pt x="16" y="4"/>
                  </a:lnTo>
                  <a:lnTo>
                    <a:pt x="14" y="0"/>
                  </a:lnTo>
                  <a:lnTo>
                    <a:pt x="1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3" name="Freeform 447">
              <a:extLst>
                <a:ext uri="{FF2B5EF4-FFF2-40B4-BE49-F238E27FC236}">
                  <a16:creationId xmlns:a16="http://schemas.microsoft.com/office/drawing/2014/main" id="{6E1C049A-1A21-460A-9B65-4D9E9C91010F}"/>
                </a:ext>
              </a:extLst>
            </p:cNvPr>
            <p:cNvSpPr>
              <a:spLocks/>
            </p:cNvSpPr>
            <p:nvPr/>
          </p:nvSpPr>
          <p:spPr bwMode="auto">
            <a:xfrm>
              <a:off x="3448472" y="3488546"/>
              <a:ext cx="126891" cy="116532"/>
            </a:xfrm>
            <a:custGeom>
              <a:avLst/>
              <a:gdLst/>
              <a:ahLst/>
              <a:cxnLst>
                <a:cxn ang="0">
                  <a:pos x="28" y="18"/>
                </a:cxn>
                <a:cxn ang="0">
                  <a:pos x="34" y="12"/>
                </a:cxn>
                <a:cxn ang="0">
                  <a:pos x="42" y="14"/>
                </a:cxn>
                <a:cxn ang="0">
                  <a:pos x="44" y="2"/>
                </a:cxn>
                <a:cxn ang="0">
                  <a:pos x="50" y="2"/>
                </a:cxn>
                <a:cxn ang="0">
                  <a:pos x="56" y="0"/>
                </a:cxn>
                <a:cxn ang="0">
                  <a:pos x="56" y="4"/>
                </a:cxn>
                <a:cxn ang="0">
                  <a:pos x="62" y="2"/>
                </a:cxn>
                <a:cxn ang="0">
                  <a:pos x="70" y="4"/>
                </a:cxn>
                <a:cxn ang="0">
                  <a:pos x="76" y="6"/>
                </a:cxn>
                <a:cxn ang="0">
                  <a:pos x="78" y="10"/>
                </a:cxn>
                <a:cxn ang="0">
                  <a:pos x="82" y="12"/>
                </a:cxn>
                <a:cxn ang="0">
                  <a:pos x="84" y="20"/>
                </a:cxn>
                <a:cxn ang="0">
                  <a:pos x="86" y="32"/>
                </a:cxn>
                <a:cxn ang="0">
                  <a:pos x="88" y="36"/>
                </a:cxn>
                <a:cxn ang="0">
                  <a:pos x="96" y="44"/>
                </a:cxn>
                <a:cxn ang="0">
                  <a:pos x="98" y="52"/>
                </a:cxn>
                <a:cxn ang="0">
                  <a:pos x="94" y="54"/>
                </a:cxn>
                <a:cxn ang="0">
                  <a:pos x="88" y="52"/>
                </a:cxn>
                <a:cxn ang="0">
                  <a:pos x="86" y="58"/>
                </a:cxn>
                <a:cxn ang="0">
                  <a:pos x="90" y="60"/>
                </a:cxn>
                <a:cxn ang="0">
                  <a:pos x="92" y="78"/>
                </a:cxn>
                <a:cxn ang="0">
                  <a:pos x="84" y="80"/>
                </a:cxn>
                <a:cxn ang="0">
                  <a:pos x="82" y="88"/>
                </a:cxn>
                <a:cxn ang="0">
                  <a:pos x="74" y="88"/>
                </a:cxn>
                <a:cxn ang="0">
                  <a:pos x="64" y="86"/>
                </a:cxn>
                <a:cxn ang="0">
                  <a:pos x="60" y="88"/>
                </a:cxn>
                <a:cxn ang="0">
                  <a:pos x="56" y="86"/>
                </a:cxn>
                <a:cxn ang="0">
                  <a:pos x="52" y="86"/>
                </a:cxn>
                <a:cxn ang="0">
                  <a:pos x="44" y="88"/>
                </a:cxn>
                <a:cxn ang="0">
                  <a:pos x="24" y="84"/>
                </a:cxn>
                <a:cxn ang="0">
                  <a:pos x="12" y="88"/>
                </a:cxn>
                <a:cxn ang="0">
                  <a:pos x="8" y="88"/>
                </a:cxn>
                <a:cxn ang="0">
                  <a:pos x="4" y="84"/>
                </a:cxn>
                <a:cxn ang="0">
                  <a:pos x="0" y="76"/>
                </a:cxn>
                <a:cxn ang="0">
                  <a:pos x="4" y="66"/>
                </a:cxn>
                <a:cxn ang="0">
                  <a:pos x="2" y="60"/>
                </a:cxn>
                <a:cxn ang="0">
                  <a:pos x="0" y="52"/>
                </a:cxn>
                <a:cxn ang="0">
                  <a:pos x="14" y="50"/>
                </a:cxn>
                <a:cxn ang="0">
                  <a:pos x="16" y="46"/>
                </a:cxn>
                <a:cxn ang="0">
                  <a:pos x="22" y="36"/>
                </a:cxn>
                <a:cxn ang="0">
                  <a:pos x="26" y="26"/>
                </a:cxn>
                <a:cxn ang="0">
                  <a:pos x="30" y="22"/>
                </a:cxn>
                <a:cxn ang="0">
                  <a:pos x="28" y="18"/>
                </a:cxn>
              </a:cxnLst>
              <a:rect l="0" t="0" r="r" b="b"/>
              <a:pathLst>
                <a:path w="98" h="90">
                  <a:moveTo>
                    <a:pt x="28" y="18"/>
                  </a:moveTo>
                  <a:lnTo>
                    <a:pt x="28" y="18"/>
                  </a:lnTo>
                  <a:lnTo>
                    <a:pt x="32" y="14"/>
                  </a:lnTo>
                  <a:lnTo>
                    <a:pt x="34" y="12"/>
                  </a:lnTo>
                  <a:lnTo>
                    <a:pt x="38" y="12"/>
                  </a:lnTo>
                  <a:lnTo>
                    <a:pt x="42" y="14"/>
                  </a:lnTo>
                  <a:lnTo>
                    <a:pt x="44" y="8"/>
                  </a:lnTo>
                  <a:lnTo>
                    <a:pt x="44" y="2"/>
                  </a:lnTo>
                  <a:lnTo>
                    <a:pt x="46" y="0"/>
                  </a:lnTo>
                  <a:lnTo>
                    <a:pt x="50" y="2"/>
                  </a:lnTo>
                  <a:lnTo>
                    <a:pt x="52" y="2"/>
                  </a:lnTo>
                  <a:lnTo>
                    <a:pt x="56" y="0"/>
                  </a:lnTo>
                  <a:lnTo>
                    <a:pt x="56" y="2"/>
                  </a:lnTo>
                  <a:lnTo>
                    <a:pt x="56" y="4"/>
                  </a:lnTo>
                  <a:lnTo>
                    <a:pt x="58" y="4"/>
                  </a:lnTo>
                  <a:lnTo>
                    <a:pt x="62" y="2"/>
                  </a:lnTo>
                  <a:lnTo>
                    <a:pt x="64" y="2"/>
                  </a:lnTo>
                  <a:lnTo>
                    <a:pt x="70" y="4"/>
                  </a:lnTo>
                  <a:lnTo>
                    <a:pt x="74" y="6"/>
                  </a:lnTo>
                  <a:lnTo>
                    <a:pt x="76" y="6"/>
                  </a:lnTo>
                  <a:lnTo>
                    <a:pt x="78" y="8"/>
                  </a:lnTo>
                  <a:lnTo>
                    <a:pt x="78" y="10"/>
                  </a:lnTo>
                  <a:lnTo>
                    <a:pt x="80" y="12"/>
                  </a:lnTo>
                  <a:lnTo>
                    <a:pt x="82" y="12"/>
                  </a:lnTo>
                  <a:lnTo>
                    <a:pt x="82" y="16"/>
                  </a:lnTo>
                  <a:lnTo>
                    <a:pt x="84" y="20"/>
                  </a:lnTo>
                  <a:lnTo>
                    <a:pt x="86" y="26"/>
                  </a:lnTo>
                  <a:lnTo>
                    <a:pt x="86" y="32"/>
                  </a:lnTo>
                  <a:lnTo>
                    <a:pt x="86" y="36"/>
                  </a:lnTo>
                  <a:lnTo>
                    <a:pt x="88" y="36"/>
                  </a:lnTo>
                  <a:lnTo>
                    <a:pt x="92" y="40"/>
                  </a:lnTo>
                  <a:lnTo>
                    <a:pt x="96" y="44"/>
                  </a:lnTo>
                  <a:lnTo>
                    <a:pt x="98" y="50"/>
                  </a:lnTo>
                  <a:lnTo>
                    <a:pt x="98" y="52"/>
                  </a:lnTo>
                  <a:lnTo>
                    <a:pt x="96" y="54"/>
                  </a:lnTo>
                  <a:lnTo>
                    <a:pt x="94" y="54"/>
                  </a:lnTo>
                  <a:lnTo>
                    <a:pt x="90" y="52"/>
                  </a:lnTo>
                  <a:lnTo>
                    <a:pt x="88" y="52"/>
                  </a:lnTo>
                  <a:lnTo>
                    <a:pt x="86" y="54"/>
                  </a:lnTo>
                  <a:lnTo>
                    <a:pt x="86" y="58"/>
                  </a:lnTo>
                  <a:lnTo>
                    <a:pt x="88" y="58"/>
                  </a:lnTo>
                  <a:lnTo>
                    <a:pt x="90" y="60"/>
                  </a:lnTo>
                  <a:lnTo>
                    <a:pt x="92" y="62"/>
                  </a:lnTo>
                  <a:lnTo>
                    <a:pt x="92" y="78"/>
                  </a:lnTo>
                  <a:lnTo>
                    <a:pt x="86" y="78"/>
                  </a:lnTo>
                  <a:lnTo>
                    <a:pt x="84" y="80"/>
                  </a:lnTo>
                  <a:lnTo>
                    <a:pt x="84" y="84"/>
                  </a:lnTo>
                  <a:lnTo>
                    <a:pt x="82" y="88"/>
                  </a:lnTo>
                  <a:lnTo>
                    <a:pt x="80" y="88"/>
                  </a:lnTo>
                  <a:lnTo>
                    <a:pt x="74" y="88"/>
                  </a:lnTo>
                  <a:lnTo>
                    <a:pt x="68" y="88"/>
                  </a:lnTo>
                  <a:lnTo>
                    <a:pt x="64" y="86"/>
                  </a:lnTo>
                  <a:lnTo>
                    <a:pt x="62" y="88"/>
                  </a:lnTo>
                  <a:lnTo>
                    <a:pt x="60" y="88"/>
                  </a:lnTo>
                  <a:lnTo>
                    <a:pt x="58" y="88"/>
                  </a:lnTo>
                  <a:lnTo>
                    <a:pt x="56" y="86"/>
                  </a:lnTo>
                  <a:lnTo>
                    <a:pt x="56" y="90"/>
                  </a:lnTo>
                  <a:lnTo>
                    <a:pt x="52" y="86"/>
                  </a:lnTo>
                  <a:lnTo>
                    <a:pt x="50" y="86"/>
                  </a:lnTo>
                  <a:lnTo>
                    <a:pt x="44" y="88"/>
                  </a:lnTo>
                  <a:lnTo>
                    <a:pt x="38" y="86"/>
                  </a:lnTo>
                  <a:lnTo>
                    <a:pt x="24" y="84"/>
                  </a:lnTo>
                  <a:lnTo>
                    <a:pt x="14" y="84"/>
                  </a:lnTo>
                  <a:lnTo>
                    <a:pt x="12" y="88"/>
                  </a:lnTo>
                  <a:lnTo>
                    <a:pt x="10" y="90"/>
                  </a:lnTo>
                  <a:lnTo>
                    <a:pt x="8" y="88"/>
                  </a:lnTo>
                  <a:lnTo>
                    <a:pt x="6" y="84"/>
                  </a:lnTo>
                  <a:lnTo>
                    <a:pt x="4" y="84"/>
                  </a:lnTo>
                  <a:lnTo>
                    <a:pt x="2" y="86"/>
                  </a:lnTo>
                  <a:lnTo>
                    <a:pt x="0" y="76"/>
                  </a:lnTo>
                  <a:lnTo>
                    <a:pt x="4" y="70"/>
                  </a:lnTo>
                  <a:lnTo>
                    <a:pt x="4" y="66"/>
                  </a:lnTo>
                  <a:lnTo>
                    <a:pt x="4" y="64"/>
                  </a:lnTo>
                  <a:lnTo>
                    <a:pt x="2" y="60"/>
                  </a:lnTo>
                  <a:lnTo>
                    <a:pt x="0" y="56"/>
                  </a:lnTo>
                  <a:lnTo>
                    <a:pt x="0" y="52"/>
                  </a:lnTo>
                  <a:lnTo>
                    <a:pt x="6" y="50"/>
                  </a:lnTo>
                  <a:lnTo>
                    <a:pt x="14" y="50"/>
                  </a:lnTo>
                  <a:lnTo>
                    <a:pt x="16" y="48"/>
                  </a:lnTo>
                  <a:lnTo>
                    <a:pt x="16" y="46"/>
                  </a:lnTo>
                  <a:lnTo>
                    <a:pt x="22" y="44"/>
                  </a:lnTo>
                  <a:lnTo>
                    <a:pt x="22" y="36"/>
                  </a:lnTo>
                  <a:lnTo>
                    <a:pt x="22" y="32"/>
                  </a:lnTo>
                  <a:lnTo>
                    <a:pt x="26" y="26"/>
                  </a:lnTo>
                  <a:lnTo>
                    <a:pt x="28" y="24"/>
                  </a:lnTo>
                  <a:lnTo>
                    <a:pt x="30" y="22"/>
                  </a:lnTo>
                  <a:lnTo>
                    <a:pt x="28" y="18"/>
                  </a:lnTo>
                  <a:lnTo>
                    <a:pt x="28"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4" name="Freeform 448">
              <a:extLst>
                <a:ext uri="{FF2B5EF4-FFF2-40B4-BE49-F238E27FC236}">
                  <a16:creationId xmlns:a16="http://schemas.microsoft.com/office/drawing/2014/main" id="{8FA83365-5F4B-46CF-BC76-C7C8F89703DE}"/>
                </a:ext>
              </a:extLst>
            </p:cNvPr>
            <p:cNvSpPr>
              <a:spLocks noEditPoints="1"/>
            </p:cNvSpPr>
            <p:nvPr/>
          </p:nvSpPr>
          <p:spPr bwMode="auto">
            <a:xfrm>
              <a:off x="3795480" y="3845912"/>
              <a:ext cx="82868" cy="77688"/>
            </a:xfrm>
            <a:custGeom>
              <a:avLst/>
              <a:gdLst/>
              <a:ahLst/>
              <a:cxnLst>
                <a:cxn ang="0">
                  <a:pos x="48" y="8"/>
                </a:cxn>
                <a:cxn ang="0">
                  <a:pos x="40" y="18"/>
                </a:cxn>
                <a:cxn ang="0">
                  <a:pos x="36" y="12"/>
                </a:cxn>
                <a:cxn ang="0">
                  <a:pos x="30" y="6"/>
                </a:cxn>
                <a:cxn ang="0">
                  <a:pos x="24" y="2"/>
                </a:cxn>
                <a:cxn ang="0">
                  <a:pos x="22" y="6"/>
                </a:cxn>
                <a:cxn ang="0">
                  <a:pos x="24" y="12"/>
                </a:cxn>
                <a:cxn ang="0">
                  <a:pos x="20" y="12"/>
                </a:cxn>
                <a:cxn ang="0">
                  <a:pos x="16" y="6"/>
                </a:cxn>
                <a:cxn ang="0">
                  <a:pos x="8" y="4"/>
                </a:cxn>
                <a:cxn ang="0">
                  <a:pos x="4" y="10"/>
                </a:cxn>
                <a:cxn ang="0">
                  <a:pos x="2" y="16"/>
                </a:cxn>
                <a:cxn ang="0">
                  <a:pos x="6" y="18"/>
                </a:cxn>
                <a:cxn ang="0">
                  <a:pos x="8" y="16"/>
                </a:cxn>
                <a:cxn ang="0">
                  <a:pos x="12" y="20"/>
                </a:cxn>
                <a:cxn ang="0">
                  <a:pos x="12" y="24"/>
                </a:cxn>
                <a:cxn ang="0">
                  <a:pos x="16" y="30"/>
                </a:cxn>
                <a:cxn ang="0">
                  <a:pos x="16" y="34"/>
                </a:cxn>
                <a:cxn ang="0">
                  <a:pos x="20" y="40"/>
                </a:cxn>
                <a:cxn ang="0">
                  <a:pos x="24" y="46"/>
                </a:cxn>
                <a:cxn ang="0">
                  <a:pos x="26" y="46"/>
                </a:cxn>
                <a:cxn ang="0">
                  <a:pos x="32" y="42"/>
                </a:cxn>
                <a:cxn ang="0">
                  <a:pos x="38" y="44"/>
                </a:cxn>
                <a:cxn ang="0">
                  <a:pos x="36" y="48"/>
                </a:cxn>
                <a:cxn ang="0">
                  <a:pos x="36" y="52"/>
                </a:cxn>
                <a:cxn ang="0">
                  <a:pos x="40" y="56"/>
                </a:cxn>
                <a:cxn ang="0">
                  <a:pos x="44" y="52"/>
                </a:cxn>
                <a:cxn ang="0">
                  <a:pos x="50" y="46"/>
                </a:cxn>
                <a:cxn ang="0">
                  <a:pos x="52" y="38"/>
                </a:cxn>
                <a:cxn ang="0">
                  <a:pos x="52" y="30"/>
                </a:cxn>
                <a:cxn ang="0">
                  <a:pos x="56" y="28"/>
                </a:cxn>
                <a:cxn ang="0">
                  <a:pos x="62" y="22"/>
                </a:cxn>
                <a:cxn ang="0">
                  <a:pos x="54" y="20"/>
                </a:cxn>
                <a:cxn ang="0">
                  <a:pos x="48" y="8"/>
                </a:cxn>
                <a:cxn ang="0">
                  <a:pos x="0" y="42"/>
                </a:cxn>
                <a:cxn ang="0">
                  <a:pos x="0" y="44"/>
                </a:cxn>
                <a:cxn ang="0">
                  <a:pos x="4" y="50"/>
                </a:cxn>
                <a:cxn ang="0">
                  <a:pos x="10" y="54"/>
                </a:cxn>
                <a:cxn ang="0">
                  <a:pos x="18" y="54"/>
                </a:cxn>
                <a:cxn ang="0">
                  <a:pos x="14" y="48"/>
                </a:cxn>
                <a:cxn ang="0">
                  <a:pos x="8" y="42"/>
                </a:cxn>
                <a:cxn ang="0">
                  <a:pos x="0" y="42"/>
                </a:cxn>
              </a:cxnLst>
              <a:rect l="0" t="0" r="r" b="b"/>
              <a:pathLst>
                <a:path w="64" h="60">
                  <a:moveTo>
                    <a:pt x="48" y="8"/>
                  </a:moveTo>
                  <a:lnTo>
                    <a:pt x="48" y="8"/>
                  </a:lnTo>
                  <a:lnTo>
                    <a:pt x="46" y="14"/>
                  </a:lnTo>
                  <a:lnTo>
                    <a:pt x="40" y="18"/>
                  </a:lnTo>
                  <a:lnTo>
                    <a:pt x="38" y="16"/>
                  </a:lnTo>
                  <a:lnTo>
                    <a:pt x="36" y="12"/>
                  </a:lnTo>
                  <a:lnTo>
                    <a:pt x="34" y="8"/>
                  </a:lnTo>
                  <a:lnTo>
                    <a:pt x="30" y="6"/>
                  </a:lnTo>
                  <a:lnTo>
                    <a:pt x="24" y="0"/>
                  </a:lnTo>
                  <a:lnTo>
                    <a:pt x="24" y="2"/>
                  </a:lnTo>
                  <a:lnTo>
                    <a:pt x="22" y="4"/>
                  </a:lnTo>
                  <a:lnTo>
                    <a:pt x="22" y="6"/>
                  </a:lnTo>
                  <a:lnTo>
                    <a:pt x="24" y="8"/>
                  </a:lnTo>
                  <a:lnTo>
                    <a:pt x="24" y="12"/>
                  </a:lnTo>
                  <a:lnTo>
                    <a:pt x="22" y="12"/>
                  </a:lnTo>
                  <a:lnTo>
                    <a:pt x="20" y="12"/>
                  </a:lnTo>
                  <a:lnTo>
                    <a:pt x="18" y="8"/>
                  </a:lnTo>
                  <a:lnTo>
                    <a:pt x="16" y="6"/>
                  </a:lnTo>
                  <a:lnTo>
                    <a:pt x="12" y="4"/>
                  </a:lnTo>
                  <a:lnTo>
                    <a:pt x="8" y="4"/>
                  </a:lnTo>
                  <a:lnTo>
                    <a:pt x="6" y="6"/>
                  </a:lnTo>
                  <a:lnTo>
                    <a:pt x="4" y="10"/>
                  </a:lnTo>
                  <a:lnTo>
                    <a:pt x="2" y="12"/>
                  </a:lnTo>
                  <a:lnTo>
                    <a:pt x="2" y="16"/>
                  </a:lnTo>
                  <a:lnTo>
                    <a:pt x="4" y="18"/>
                  </a:lnTo>
                  <a:lnTo>
                    <a:pt x="6" y="18"/>
                  </a:lnTo>
                  <a:lnTo>
                    <a:pt x="6" y="16"/>
                  </a:lnTo>
                  <a:lnTo>
                    <a:pt x="8" y="16"/>
                  </a:lnTo>
                  <a:lnTo>
                    <a:pt x="8" y="18"/>
                  </a:lnTo>
                  <a:lnTo>
                    <a:pt x="12" y="20"/>
                  </a:lnTo>
                  <a:lnTo>
                    <a:pt x="12" y="22"/>
                  </a:lnTo>
                  <a:lnTo>
                    <a:pt x="12" y="24"/>
                  </a:lnTo>
                  <a:lnTo>
                    <a:pt x="8" y="26"/>
                  </a:lnTo>
                  <a:lnTo>
                    <a:pt x="16" y="30"/>
                  </a:lnTo>
                  <a:lnTo>
                    <a:pt x="18" y="32"/>
                  </a:lnTo>
                  <a:lnTo>
                    <a:pt x="16" y="34"/>
                  </a:lnTo>
                  <a:lnTo>
                    <a:pt x="16" y="36"/>
                  </a:lnTo>
                  <a:lnTo>
                    <a:pt x="20" y="40"/>
                  </a:lnTo>
                  <a:lnTo>
                    <a:pt x="24" y="40"/>
                  </a:lnTo>
                  <a:lnTo>
                    <a:pt x="24" y="46"/>
                  </a:lnTo>
                  <a:lnTo>
                    <a:pt x="24" y="48"/>
                  </a:lnTo>
                  <a:lnTo>
                    <a:pt x="26" y="46"/>
                  </a:lnTo>
                  <a:lnTo>
                    <a:pt x="30" y="42"/>
                  </a:lnTo>
                  <a:lnTo>
                    <a:pt x="32" y="42"/>
                  </a:lnTo>
                  <a:lnTo>
                    <a:pt x="34" y="40"/>
                  </a:lnTo>
                  <a:lnTo>
                    <a:pt x="38" y="44"/>
                  </a:lnTo>
                  <a:lnTo>
                    <a:pt x="38" y="46"/>
                  </a:lnTo>
                  <a:lnTo>
                    <a:pt x="36" y="48"/>
                  </a:lnTo>
                  <a:lnTo>
                    <a:pt x="36" y="50"/>
                  </a:lnTo>
                  <a:lnTo>
                    <a:pt x="36" y="52"/>
                  </a:lnTo>
                  <a:lnTo>
                    <a:pt x="38" y="54"/>
                  </a:lnTo>
                  <a:lnTo>
                    <a:pt x="40" y="56"/>
                  </a:lnTo>
                  <a:lnTo>
                    <a:pt x="44" y="60"/>
                  </a:lnTo>
                  <a:lnTo>
                    <a:pt x="44" y="52"/>
                  </a:lnTo>
                  <a:lnTo>
                    <a:pt x="50" y="50"/>
                  </a:lnTo>
                  <a:lnTo>
                    <a:pt x="50" y="46"/>
                  </a:lnTo>
                  <a:lnTo>
                    <a:pt x="48" y="46"/>
                  </a:lnTo>
                  <a:lnTo>
                    <a:pt x="52" y="38"/>
                  </a:lnTo>
                  <a:lnTo>
                    <a:pt x="52" y="34"/>
                  </a:lnTo>
                  <a:lnTo>
                    <a:pt x="52" y="30"/>
                  </a:lnTo>
                  <a:lnTo>
                    <a:pt x="54" y="30"/>
                  </a:lnTo>
                  <a:lnTo>
                    <a:pt x="56" y="28"/>
                  </a:lnTo>
                  <a:lnTo>
                    <a:pt x="64" y="26"/>
                  </a:lnTo>
                  <a:lnTo>
                    <a:pt x="62" y="22"/>
                  </a:lnTo>
                  <a:lnTo>
                    <a:pt x="60" y="22"/>
                  </a:lnTo>
                  <a:lnTo>
                    <a:pt x="54" y="20"/>
                  </a:lnTo>
                  <a:lnTo>
                    <a:pt x="50" y="16"/>
                  </a:lnTo>
                  <a:lnTo>
                    <a:pt x="48" y="8"/>
                  </a:lnTo>
                  <a:lnTo>
                    <a:pt x="48" y="8"/>
                  </a:lnTo>
                  <a:close/>
                  <a:moveTo>
                    <a:pt x="0" y="42"/>
                  </a:moveTo>
                  <a:lnTo>
                    <a:pt x="0" y="42"/>
                  </a:lnTo>
                  <a:lnTo>
                    <a:pt x="0" y="44"/>
                  </a:lnTo>
                  <a:lnTo>
                    <a:pt x="2" y="46"/>
                  </a:lnTo>
                  <a:lnTo>
                    <a:pt x="4" y="50"/>
                  </a:lnTo>
                  <a:lnTo>
                    <a:pt x="8" y="52"/>
                  </a:lnTo>
                  <a:lnTo>
                    <a:pt x="10" y="54"/>
                  </a:lnTo>
                  <a:lnTo>
                    <a:pt x="12" y="56"/>
                  </a:lnTo>
                  <a:lnTo>
                    <a:pt x="18" y="54"/>
                  </a:lnTo>
                  <a:lnTo>
                    <a:pt x="18" y="52"/>
                  </a:lnTo>
                  <a:lnTo>
                    <a:pt x="14" y="48"/>
                  </a:lnTo>
                  <a:lnTo>
                    <a:pt x="10" y="42"/>
                  </a:lnTo>
                  <a:lnTo>
                    <a:pt x="8" y="42"/>
                  </a:lnTo>
                  <a:lnTo>
                    <a:pt x="4" y="42"/>
                  </a:lnTo>
                  <a:lnTo>
                    <a:pt x="0" y="42"/>
                  </a:lnTo>
                  <a:lnTo>
                    <a:pt x="0" y="4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5" name="Freeform 449">
              <a:extLst>
                <a:ext uri="{FF2B5EF4-FFF2-40B4-BE49-F238E27FC236}">
                  <a16:creationId xmlns:a16="http://schemas.microsoft.com/office/drawing/2014/main" id="{B2A37176-5A7A-4BA9-B404-F477CB3DEBF5}"/>
                </a:ext>
              </a:extLst>
            </p:cNvPr>
            <p:cNvSpPr>
              <a:spLocks/>
            </p:cNvSpPr>
            <p:nvPr/>
          </p:nvSpPr>
          <p:spPr bwMode="auto">
            <a:xfrm>
              <a:off x="3795480" y="3900294"/>
              <a:ext cx="23306" cy="18127"/>
            </a:xfrm>
            <a:custGeom>
              <a:avLst/>
              <a:gdLst/>
              <a:ahLst/>
              <a:cxnLst>
                <a:cxn ang="0">
                  <a:pos x="0" y="0"/>
                </a:cxn>
                <a:cxn ang="0">
                  <a:pos x="0" y="0"/>
                </a:cxn>
                <a:cxn ang="0">
                  <a:pos x="0" y="2"/>
                </a:cxn>
                <a:cxn ang="0">
                  <a:pos x="2" y="4"/>
                </a:cxn>
                <a:cxn ang="0">
                  <a:pos x="4" y="8"/>
                </a:cxn>
                <a:cxn ang="0">
                  <a:pos x="8" y="10"/>
                </a:cxn>
                <a:cxn ang="0">
                  <a:pos x="10" y="12"/>
                </a:cxn>
                <a:cxn ang="0">
                  <a:pos x="12" y="14"/>
                </a:cxn>
                <a:cxn ang="0">
                  <a:pos x="18" y="12"/>
                </a:cxn>
                <a:cxn ang="0">
                  <a:pos x="18" y="10"/>
                </a:cxn>
                <a:cxn ang="0">
                  <a:pos x="14" y="6"/>
                </a:cxn>
                <a:cxn ang="0">
                  <a:pos x="10" y="0"/>
                </a:cxn>
                <a:cxn ang="0">
                  <a:pos x="8" y="0"/>
                </a:cxn>
                <a:cxn ang="0">
                  <a:pos x="4" y="0"/>
                </a:cxn>
                <a:cxn ang="0">
                  <a:pos x="0" y="0"/>
                </a:cxn>
              </a:cxnLst>
              <a:rect l="0" t="0" r="r" b="b"/>
              <a:pathLst>
                <a:path w="18" h="14">
                  <a:moveTo>
                    <a:pt x="0" y="0"/>
                  </a:moveTo>
                  <a:lnTo>
                    <a:pt x="0" y="0"/>
                  </a:lnTo>
                  <a:lnTo>
                    <a:pt x="0" y="2"/>
                  </a:lnTo>
                  <a:lnTo>
                    <a:pt x="2" y="4"/>
                  </a:lnTo>
                  <a:lnTo>
                    <a:pt x="4" y="8"/>
                  </a:lnTo>
                  <a:lnTo>
                    <a:pt x="8" y="10"/>
                  </a:lnTo>
                  <a:lnTo>
                    <a:pt x="10" y="12"/>
                  </a:lnTo>
                  <a:lnTo>
                    <a:pt x="12" y="14"/>
                  </a:lnTo>
                  <a:lnTo>
                    <a:pt x="18" y="12"/>
                  </a:lnTo>
                  <a:lnTo>
                    <a:pt x="18" y="10"/>
                  </a:lnTo>
                  <a:lnTo>
                    <a:pt x="14" y="6"/>
                  </a:lnTo>
                  <a:lnTo>
                    <a:pt x="10" y="0"/>
                  </a:lnTo>
                  <a:lnTo>
                    <a:pt x="8" y="0"/>
                  </a:lnTo>
                  <a:lnTo>
                    <a:pt x="4" y="0"/>
                  </a:lnTo>
                  <a:lnTo>
                    <a:pt x="0"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6" name="Freeform 450">
              <a:extLst>
                <a:ext uri="{FF2B5EF4-FFF2-40B4-BE49-F238E27FC236}">
                  <a16:creationId xmlns:a16="http://schemas.microsoft.com/office/drawing/2014/main" id="{3F6FE558-2578-4FCF-8C07-94839A6B4C25}"/>
                </a:ext>
              </a:extLst>
            </p:cNvPr>
            <p:cNvSpPr>
              <a:spLocks/>
            </p:cNvSpPr>
            <p:nvPr/>
          </p:nvSpPr>
          <p:spPr bwMode="auto">
            <a:xfrm>
              <a:off x="3795480" y="3900294"/>
              <a:ext cx="23306" cy="18127"/>
            </a:xfrm>
            <a:custGeom>
              <a:avLst/>
              <a:gdLst/>
              <a:ahLst/>
              <a:cxnLst>
                <a:cxn ang="0">
                  <a:pos x="0" y="0"/>
                </a:cxn>
                <a:cxn ang="0">
                  <a:pos x="0" y="0"/>
                </a:cxn>
                <a:cxn ang="0">
                  <a:pos x="0" y="2"/>
                </a:cxn>
                <a:cxn ang="0">
                  <a:pos x="2" y="4"/>
                </a:cxn>
                <a:cxn ang="0">
                  <a:pos x="4" y="8"/>
                </a:cxn>
                <a:cxn ang="0">
                  <a:pos x="8" y="10"/>
                </a:cxn>
                <a:cxn ang="0">
                  <a:pos x="10" y="12"/>
                </a:cxn>
                <a:cxn ang="0">
                  <a:pos x="12" y="14"/>
                </a:cxn>
                <a:cxn ang="0">
                  <a:pos x="18" y="12"/>
                </a:cxn>
                <a:cxn ang="0">
                  <a:pos x="18" y="10"/>
                </a:cxn>
                <a:cxn ang="0">
                  <a:pos x="14" y="6"/>
                </a:cxn>
                <a:cxn ang="0">
                  <a:pos x="10" y="0"/>
                </a:cxn>
                <a:cxn ang="0">
                  <a:pos x="8" y="0"/>
                </a:cxn>
                <a:cxn ang="0">
                  <a:pos x="4" y="0"/>
                </a:cxn>
                <a:cxn ang="0">
                  <a:pos x="0" y="0"/>
                </a:cxn>
              </a:cxnLst>
              <a:rect l="0" t="0" r="r" b="b"/>
              <a:pathLst>
                <a:path w="18" h="14">
                  <a:moveTo>
                    <a:pt x="0" y="0"/>
                  </a:moveTo>
                  <a:lnTo>
                    <a:pt x="0" y="0"/>
                  </a:lnTo>
                  <a:lnTo>
                    <a:pt x="0" y="2"/>
                  </a:lnTo>
                  <a:lnTo>
                    <a:pt x="2" y="4"/>
                  </a:lnTo>
                  <a:lnTo>
                    <a:pt x="4" y="8"/>
                  </a:lnTo>
                  <a:lnTo>
                    <a:pt x="8" y="10"/>
                  </a:lnTo>
                  <a:lnTo>
                    <a:pt x="10" y="12"/>
                  </a:lnTo>
                  <a:lnTo>
                    <a:pt x="12" y="14"/>
                  </a:lnTo>
                  <a:lnTo>
                    <a:pt x="18" y="12"/>
                  </a:lnTo>
                  <a:lnTo>
                    <a:pt x="18" y="10"/>
                  </a:lnTo>
                  <a:lnTo>
                    <a:pt x="14" y="6"/>
                  </a:lnTo>
                  <a:lnTo>
                    <a:pt x="10" y="0"/>
                  </a:lnTo>
                  <a:lnTo>
                    <a:pt x="8" y="0"/>
                  </a:lnTo>
                  <a:lnTo>
                    <a:pt x="4" y="0"/>
                  </a:lnTo>
                  <a:lnTo>
                    <a:pt x="0"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7" name="Freeform 451">
              <a:extLst>
                <a:ext uri="{FF2B5EF4-FFF2-40B4-BE49-F238E27FC236}">
                  <a16:creationId xmlns:a16="http://schemas.microsoft.com/office/drawing/2014/main" id="{A7B22E18-27FE-476D-8431-976486F9B2E9}"/>
                </a:ext>
              </a:extLst>
            </p:cNvPr>
            <p:cNvSpPr>
              <a:spLocks/>
            </p:cNvSpPr>
            <p:nvPr/>
          </p:nvSpPr>
          <p:spPr bwMode="auto">
            <a:xfrm>
              <a:off x="3772174" y="3861450"/>
              <a:ext cx="56971" cy="54382"/>
            </a:xfrm>
            <a:custGeom>
              <a:avLst/>
              <a:gdLst/>
              <a:ahLst/>
              <a:cxnLst>
                <a:cxn ang="0">
                  <a:pos x="2" y="0"/>
                </a:cxn>
                <a:cxn ang="0">
                  <a:pos x="2" y="0"/>
                </a:cxn>
                <a:cxn ang="0">
                  <a:pos x="2" y="4"/>
                </a:cxn>
                <a:cxn ang="0">
                  <a:pos x="4" y="8"/>
                </a:cxn>
                <a:cxn ang="0">
                  <a:pos x="2" y="10"/>
                </a:cxn>
                <a:cxn ang="0">
                  <a:pos x="0" y="12"/>
                </a:cxn>
                <a:cxn ang="0">
                  <a:pos x="0" y="16"/>
                </a:cxn>
                <a:cxn ang="0">
                  <a:pos x="0" y="18"/>
                </a:cxn>
                <a:cxn ang="0">
                  <a:pos x="0" y="20"/>
                </a:cxn>
                <a:cxn ang="0">
                  <a:pos x="4" y="22"/>
                </a:cxn>
                <a:cxn ang="0">
                  <a:pos x="12" y="24"/>
                </a:cxn>
                <a:cxn ang="0">
                  <a:pos x="16" y="26"/>
                </a:cxn>
                <a:cxn ang="0">
                  <a:pos x="18" y="28"/>
                </a:cxn>
                <a:cxn ang="0">
                  <a:pos x="18" y="30"/>
                </a:cxn>
                <a:cxn ang="0">
                  <a:pos x="22" y="30"/>
                </a:cxn>
                <a:cxn ang="0">
                  <a:pos x="26" y="30"/>
                </a:cxn>
                <a:cxn ang="0">
                  <a:pos x="28" y="30"/>
                </a:cxn>
                <a:cxn ang="0">
                  <a:pos x="32" y="36"/>
                </a:cxn>
                <a:cxn ang="0">
                  <a:pos x="36" y="40"/>
                </a:cxn>
                <a:cxn ang="0">
                  <a:pos x="36" y="42"/>
                </a:cxn>
                <a:cxn ang="0">
                  <a:pos x="40" y="40"/>
                </a:cxn>
                <a:cxn ang="0">
                  <a:pos x="44" y="36"/>
                </a:cxn>
                <a:cxn ang="0">
                  <a:pos x="44" y="34"/>
                </a:cxn>
                <a:cxn ang="0">
                  <a:pos x="42" y="28"/>
                </a:cxn>
                <a:cxn ang="0">
                  <a:pos x="38" y="28"/>
                </a:cxn>
                <a:cxn ang="0">
                  <a:pos x="34" y="26"/>
                </a:cxn>
                <a:cxn ang="0">
                  <a:pos x="34" y="24"/>
                </a:cxn>
                <a:cxn ang="0">
                  <a:pos x="36" y="22"/>
                </a:cxn>
                <a:cxn ang="0">
                  <a:pos x="34" y="18"/>
                </a:cxn>
                <a:cxn ang="0">
                  <a:pos x="26" y="14"/>
                </a:cxn>
                <a:cxn ang="0">
                  <a:pos x="30" y="12"/>
                </a:cxn>
                <a:cxn ang="0">
                  <a:pos x="30" y="10"/>
                </a:cxn>
                <a:cxn ang="0">
                  <a:pos x="30" y="8"/>
                </a:cxn>
                <a:cxn ang="0">
                  <a:pos x="26" y="6"/>
                </a:cxn>
                <a:cxn ang="0">
                  <a:pos x="26" y="4"/>
                </a:cxn>
                <a:cxn ang="0">
                  <a:pos x="24" y="4"/>
                </a:cxn>
                <a:cxn ang="0">
                  <a:pos x="24" y="6"/>
                </a:cxn>
                <a:cxn ang="0">
                  <a:pos x="22" y="6"/>
                </a:cxn>
                <a:cxn ang="0">
                  <a:pos x="20" y="4"/>
                </a:cxn>
                <a:cxn ang="0">
                  <a:pos x="20" y="0"/>
                </a:cxn>
                <a:cxn ang="0">
                  <a:pos x="12" y="0"/>
                </a:cxn>
                <a:cxn ang="0">
                  <a:pos x="2" y="0"/>
                </a:cxn>
                <a:cxn ang="0">
                  <a:pos x="2" y="0"/>
                </a:cxn>
              </a:cxnLst>
              <a:rect l="0" t="0" r="r" b="b"/>
              <a:pathLst>
                <a:path w="44" h="42">
                  <a:moveTo>
                    <a:pt x="2" y="0"/>
                  </a:moveTo>
                  <a:lnTo>
                    <a:pt x="2" y="0"/>
                  </a:lnTo>
                  <a:lnTo>
                    <a:pt x="2" y="4"/>
                  </a:lnTo>
                  <a:lnTo>
                    <a:pt x="4" y="8"/>
                  </a:lnTo>
                  <a:lnTo>
                    <a:pt x="2" y="10"/>
                  </a:lnTo>
                  <a:lnTo>
                    <a:pt x="0" y="12"/>
                  </a:lnTo>
                  <a:lnTo>
                    <a:pt x="0" y="16"/>
                  </a:lnTo>
                  <a:lnTo>
                    <a:pt x="0" y="18"/>
                  </a:lnTo>
                  <a:lnTo>
                    <a:pt x="0" y="20"/>
                  </a:lnTo>
                  <a:lnTo>
                    <a:pt x="4" y="22"/>
                  </a:lnTo>
                  <a:lnTo>
                    <a:pt x="12" y="24"/>
                  </a:lnTo>
                  <a:lnTo>
                    <a:pt x="16" y="26"/>
                  </a:lnTo>
                  <a:lnTo>
                    <a:pt x="18" y="28"/>
                  </a:lnTo>
                  <a:lnTo>
                    <a:pt x="18" y="30"/>
                  </a:lnTo>
                  <a:lnTo>
                    <a:pt x="22" y="30"/>
                  </a:lnTo>
                  <a:lnTo>
                    <a:pt x="26" y="30"/>
                  </a:lnTo>
                  <a:lnTo>
                    <a:pt x="28" y="30"/>
                  </a:lnTo>
                  <a:lnTo>
                    <a:pt x="32" y="36"/>
                  </a:lnTo>
                  <a:lnTo>
                    <a:pt x="36" y="40"/>
                  </a:lnTo>
                  <a:lnTo>
                    <a:pt x="36" y="42"/>
                  </a:lnTo>
                  <a:lnTo>
                    <a:pt x="40" y="40"/>
                  </a:lnTo>
                  <a:lnTo>
                    <a:pt x="44" y="36"/>
                  </a:lnTo>
                  <a:lnTo>
                    <a:pt x="44" y="34"/>
                  </a:lnTo>
                  <a:lnTo>
                    <a:pt x="42" y="28"/>
                  </a:lnTo>
                  <a:lnTo>
                    <a:pt x="38" y="28"/>
                  </a:lnTo>
                  <a:lnTo>
                    <a:pt x="34" y="26"/>
                  </a:lnTo>
                  <a:lnTo>
                    <a:pt x="34" y="24"/>
                  </a:lnTo>
                  <a:lnTo>
                    <a:pt x="36" y="22"/>
                  </a:lnTo>
                  <a:lnTo>
                    <a:pt x="34" y="18"/>
                  </a:lnTo>
                  <a:lnTo>
                    <a:pt x="26" y="14"/>
                  </a:lnTo>
                  <a:lnTo>
                    <a:pt x="30" y="12"/>
                  </a:lnTo>
                  <a:lnTo>
                    <a:pt x="30" y="10"/>
                  </a:lnTo>
                  <a:lnTo>
                    <a:pt x="30" y="8"/>
                  </a:lnTo>
                  <a:lnTo>
                    <a:pt x="26" y="6"/>
                  </a:lnTo>
                  <a:lnTo>
                    <a:pt x="26" y="4"/>
                  </a:lnTo>
                  <a:lnTo>
                    <a:pt x="24" y="4"/>
                  </a:lnTo>
                  <a:lnTo>
                    <a:pt x="24" y="6"/>
                  </a:lnTo>
                  <a:lnTo>
                    <a:pt x="22" y="6"/>
                  </a:lnTo>
                  <a:lnTo>
                    <a:pt x="20" y="4"/>
                  </a:lnTo>
                  <a:lnTo>
                    <a:pt x="20" y="0"/>
                  </a:lnTo>
                  <a:lnTo>
                    <a:pt x="12" y="0"/>
                  </a:lnTo>
                  <a:lnTo>
                    <a:pt x="2" y="0"/>
                  </a:lnTo>
                  <a:lnTo>
                    <a:pt x="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8" name="Freeform 452">
              <a:extLst>
                <a:ext uri="{FF2B5EF4-FFF2-40B4-BE49-F238E27FC236}">
                  <a16:creationId xmlns:a16="http://schemas.microsoft.com/office/drawing/2014/main" id="{7E5F75CA-B955-42C7-83B8-7A603390F90F}"/>
                </a:ext>
              </a:extLst>
            </p:cNvPr>
            <p:cNvSpPr>
              <a:spLocks noEditPoints="1"/>
            </p:cNvSpPr>
            <p:nvPr/>
          </p:nvSpPr>
          <p:spPr bwMode="auto">
            <a:xfrm>
              <a:off x="1804070" y="5208047"/>
              <a:ext cx="326291" cy="779473"/>
            </a:xfrm>
            <a:custGeom>
              <a:avLst/>
              <a:gdLst/>
              <a:ahLst/>
              <a:cxnLst>
                <a:cxn ang="0">
                  <a:pos x="112" y="10"/>
                </a:cxn>
                <a:cxn ang="0">
                  <a:pos x="78" y="16"/>
                </a:cxn>
                <a:cxn ang="0">
                  <a:pos x="76" y="38"/>
                </a:cxn>
                <a:cxn ang="0">
                  <a:pos x="68" y="70"/>
                </a:cxn>
                <a:cxn ang="0">
                  <a:pos x="64" y="94"/>
                </a:cxn>
                <a:cxn ang="0">
                  <a:pos x="48" y="136"/>
                </a:cxn>
                <a:cxn ang="0">
                  <a:pos x="44" y="182"/>
                </a:cxn>
                <a:cxn ang="0">
                  <a:pos x="36" y="230"/>
                </a:cxn>
                <a:cxn ang="0">
                  <a:pos x="30" y="250"/>
                </a:cxn>
                <a:cxn ang="0">
                  <a:pos x="26" y="278"/>
                </a:cxn>
                <a:cxn ang="0">
                  <a:pos x="16" y="316"/>
                </a:cxn>
                <a:cxn ang="0">
                  <a:pos x="18" y="342"/>
                </a:cxn>
                <a:cxn ang="0">
                  <a:pos x="20" y="376"/>
                </a:cxn>
                <a:cxn ang="0">
                  <a:pos x="24" y="400"/>
                </a:cxn>
                <a:cxn ang="0">
                  <a:pos x="18" y="418"/>
                </a:cxn>
                <a:cxn ang="0">
                  <a:pos x="18" y="452"/>
                </a:cxn>
                <a:cxn ang="0">
                  <a:pos x="4" y="480"/>
                </a:cxn>
                <a:cxn ang="0">
                  <a:pos x="0" y="514"/>
                </a:cxn>
                <a:cxn ang="0">
                  <a:pos x="12" y="520"/>
                </a:cxn>
                <a:cxn ang="0">
                  <a:pos x="38" y="544"/>
                </a:cxn>
                <a:cxn ang="0">
                  <a:pos x="50" y="528"/>
                </a:cxn>
                <a:cxn ang="0">
                  <a:pos x="62" y="516"/>
                </a:cxn>
                <a:cxn ang="0">
                  <a:pos x="70" y="508"/>
                </a:cxn>
                <a:cxn ang="0">
                  <a:pos x="70" y="494"/>
                </a:cxn>
                <a:cxn ang="0">
                  <a:pos x="98" y="466"/>
                </a:cxn>
                <a:cxn ang="0">
                  <a:pos x="84" y="450"/>
                </a:cxn>
                <a:cxn ang="0">
                  <a:pos x="78" y="426"/>
                </a:cxn>
                <a:cxn ang="0">
                  <a:pos x="98" y="404"/>
                </a:cxn>
                <a:cxn ang="0">
                  <a:pos x="110" y="372"/>
                </a:cxn>
                <a:cxn ang="0">
                  <a:pos x="120" y="370"/>
                </a:cxn>
                <a:cxn ang="0">
                  <a:pos x="120" y="356"/>
                </a:cxn>
                <a:cxn ang="0">
                  <a:pos x="104" y="346"/>
                </a:cxn>
                <a:cxn ang="0">
                  <a:pos x="112" y="334"/>
                </a:cxn>
                <a:cxn ang="0">
                  <a:pos x="136" y="336"/>
                </a:cxn>
                <a:cxn ang="0">
                  <a:pos x="144" y="312"/>
                </a:cxn>
                <a:cxn ang="0">
                  <a:pos x="144" y="294"/>
                </a:cxn>
                <a:cxn ang="0">
                  <a:pos x="182" y="292"/>
                </a:cxn>
                <a:cxn ang="0">
                  <a:pos x="214" y="252"/>
                </a:cxn>
                <a:cxn ang="0">
                  <a:pos x="204" y="238"/>
                </a:cxn>
                <a:cxn ang="0">
                  <a:pos x="192" y="218"/>
                </a:cxn>
                <a:cxn ang="0">
                  <a:pos x="192" y="190"/>
                </a:cxn>
                <a:cxn ang="0">
                  <a:pos x="196" y="168"/>
                </a:cxn>
                <a:cxn ang="0">
                  <a:pos x="204" y="148"/>
                </a:cxn>
                <a:cxn ang="0">
                  <a:pos x="218" y="116"/>
                </a:cxn>
                <a:cxn ang="0">
                  <a:pos x="238" y="98"/>
                </a:cxn>
                <a:cxn ang="0">
                  <a:pos x="252" y="64"/>
                </a:cxn>
                <a:cxn ang="0">
                  <a:pos x="236" y="68"/>
                </a:cxn>
                <a:cxn ang="0">
                  <a:pos x="228" y="94"/>
                </a:cxn>
                <a:cxn ang="0">
                  <a:pos x="196" y="92"/>
                </a:cxn>
                <a:cxn ang="0">
                  <a:pos x="200" y="62"/>
                </a:cxn>
                <a:cxn ang="0">
                  <a:pos x="180" y="44"/>
                </a:cxn>
                <a:cxn ang="0">
                  <a:pos x="160" y="26"/>
                </a:cxn>
                <a:cxn ang="0">
                  <a:pos x="140" y="2"/>
                </a:cxn>
                <a:cxn ang="0">
                  <a:pos x="88" y="600"/>
                </a:cxn>
                <a:cxn ang="0">
                  <a:pos x="80" y="588"/>
                </a:cxn>
                <a:cxn ang="0">
                  <a:pos x="60" y="568"/>
                </a:cxn>
                <a:cxn ang="0">
                  <a:pos x="70" y="598"/>
                </a:cxn>
              </a:cxnLst>
              <a:rect l="0" t="0" r="r" b="b"/>
              <a:pathLst>
                <a:path w="252" h="602">
                  <a:moveTo>
                    <a:pt x="140" y="2"/>
                  </a:moveTo>
                  <a:lnTo>
                    <a:pt x="122" y="2"/>
                  </a:lnTo>
                  <a:lnTo>
                    <a:pt x="120" y="0"/>
                  </a:lnTo>
                  <a:lnTo>
                    <a:pt x="118" y="2"/>
                  </a:lnTo>
                  <a:lnTo>
                    <a:pt x="116" y="4"/>
                  </a:lnTo>
                  <a:lnTo>
                    <a:pt x="112" y="12"/>
                  </a:lnTo>
                  <a:lnTo>
                    <a:pt x="112" y="10"/>
                  </a:lnTo>
                  <a:lnTo>
                    <a:pt x="106" y="2"/>
                  </a:lnTo>
                  <a:lnTo>
                    <a:pt x="98" y="2"/>
                  </a:lnTo>
                  <a:lnTo>
                    <a:pt x="90" y="2"/>
                  </a:lnTo>
                  <a:lnTo>
                    <a:pt x="86" y="0"/>
                  </a:lnTo>
                  <a:lnTo>
                    <a:pt x="78" y="8"/>
                  </a:lnTo>
                  <a:lnTo>
                    <a:pt x="78" y="12"/>
                  </a:lnTo>
                  <a:lnTo>
                    <a:pt x="78" y="16"/>
                  </a:lnTo>
                  <a:lnTo>
                    <a:pt x="80" y="18"/>
                  </a:lnTo>
                  <a:lnTo>
                    <a:pt x="84" y="22"/>
                  </a:lnTo>
                  <a:lnTo>
                    <a:pt x="84" y="24"/>
                  </a:lnTo>
                  <a:lnTo>
                    <a:pt x="82" y="32"/>
                  </a:lnTo>
                  <a:lnTo>
                    <a:pt x="82" y="36"/>
                  </a:lnTo>
                  <a:lnTo>
                    <a:pt x="78" y="36"/>
                  </a:lnTo>
                  <a:lnTo>
                    <a:pt x="76" y="38"/>
                  </a:lnTo>
                  <a:lnTo>
                    <a:pt x="74" y="40"/>
                  </a:lnTo>
                  <a:lnTo>
                    <a:pt x="72" y="44"/>
                  </a:lnTo>
                  <a:lnTo>
                    <a:pt x="68" y="46"/>
                  </a:lnTo>
                  <a:lnTo>
                    <a:pt x="66" y="46"/>
                  </a:lnTo>
                  <a:lnTo>
                    <a:pt x="64" y="48"/>
                  </a:lnTo>
                  <a:lnTo>
                    <a:pt x="64" y="62"/>
                  </a:lnTo>
                  <a:lnTo>
                    <a:pt x="68" y="70"/>
                  </a:lnTo>
                  <a:lnTo>
                    <a:pt x="68" y="72"/>
                  </a:lnTo>
                  <a:lnTo>
                    <a:pt x="66" y="74"/>
                  </a:lnTo>
                  <a:lnTo>
                    <a:pt x="64" y="76"/>
                  </a:lnTo>
                  <a:lnTo>
                    <a:pt x="64" y="78"/>
                  </a:lnTo>
                  <a:lnTo>
                    <a:pt x="66" y="82"/>
                  </a:lnTo>
                  <a:lnTo>
                    <a:pt x="66" y="88"/>
                  </a:lnTo>
                  <a:lnTo>
                    <a:pt x="64" y="94"/>
                  </a:lnTo>
                  <a:lnTo>
                    <a:pt x="60" y="100"/>
                  </a:lnTo>
                  <a:lnTo>
                    <a:pt x="58" y="106"/>
                  </a:lnTo>
                  <a:lnTo>
                    <a:pt x="56" y="110"/>
                  </a:lnTo>
                  <a:lnTo>
                    <a:pt x="54" y="110"/>
                  </a:lnTo>
                  <a:lnTo>
                    <a:pt x="52" y="112"/>
                  </a:lnTo>
                  <a:lnTo>
                    <a:pt x="50" y="118"/>
                  </a:lnTo>
                  <a:lnTo>
                    <a:pt x="48" y="136"/>
                  </a:lnTo>
                  <a:lnTo>
                    <a:pt x="48" y="144"/>
                  </a:lnTo>
                  <a:lnTo>
                    <a:pt x="48" y="150"/>
                  </a:lnTo>
                  <a:lnTo>
                    <a:pt x="46" y="154"/>
                  </a:lnTo>
                  <a:lnTo>
                    <a:pt x="44" y="162"/>
                  </a:lnTo>
                  <a:lnTo>
                    <a:pt x="44" y="168"/>
                  </a:lnTo>
                  <a:lnTo>
                    <a:pt x="44" y="174"/>
                  </a:lnTo>
                  <a:lnTo>
                    <a:pt x="44" y="182"/>
                  </a:lnTo>
                  <a:lnTo>
                    <a:pt x="44" y="186"/>
                  </a:lnTo>
                  <a:lnTo>
                    <a:pt x="40" y="192"/>
                  </a:lnTo>
                  <a:lnTo>
                    <a:pt x="42" y="198"/>
                  </a:lnTo>
                  <a:lnTo>
                    <a:pt x="42" y="204"/>
                  </a:lnTo>
                  <a:lnTo>
                    <a:pt x="42" y="210"/>
                  </a:lnTo>
                  <a:lnTo>
                    <a:pt x="40" y="220"/>
                  </a:lnTo>
                  <a:lnTo>
                    <a:pt x="36" y="230"/>
                  </a:lnTo>
                  <a:lnTo>
                    <a:pt x="34" y="234"/>
                  </a:lnTo>
                  <a:lnTo>
                    <a:pt x="36" y="238"/>
                  </a:lnTo>
                  <a:lnTo>
                    <a:pt x="36" y="244"/>
                  </a:lnTo>
                  <a:lnTo>
                    <a:pt x="36" y="248"/>
                  </a:lnTo>
                  <a:lnTo>
                    <a:pt x="34" y="250"/>
                  </a:lnTo>
                  <a:lnTo>
                    <a:pt x="32" y="250"/>
                  </a:lnTo>
                  <a:lnTo>
                    <a:pt x="30" y="250"/>
                  </a:lnTo>
                  <a:lnTo>
                    <a:pt x="28" y="254"/>
                  </a:lnTo>
                  <a:lnTo>
                    <a:pt x="26" y="256"/>
                  </a:lnTo>
                  <a:lnTo>
                    <a:pt x="24" y="260"/>
                  </a:lnTo>
                  <a:lnTo>
                    <a:pt x="24" y="266"/>
                  </a:lnTo>
                  <a:lnTo>
                    <a:pt x="24" y="274"/>
                  </a:lnTo>
                  <a:lnTo>
                    <a:pt x="24" y="276"/>
                  </a:lnTo>
                  <a:lnTo>
                    <a:pt x="26" y="278"/>
                  </a:lnTo>
                  <a:lnTo>
                    <a:pt x="28" y="284"/>
                  </a:lnTo>
                  <a:lnTo>
                    <a:pt x="26" y="286"/>
                  </a:lnTo>
                  <a:lnTo>
                    <a:pt x="24" y="288"/>
                  </a:lnTo>
                  <a:lnTo>
                    <a:pt x="22" y="296"/>
                  </a:lnTo>
                  <a:lnTo>
                    <a:pt x="20" y="306"/>
                  </a:lnTo>
                  <a:lnTo>
                    <a:pt x="20" y="312"/>
                  </a:lnTo>
                  <a:lnTo>
                    <a:pt x="16" y="316"/>
                  </a:lnTo>
                  <a:lnTo>
                    <a:pt x="14" y="320"/>
                  </a:lnTo>
                  <a:lnTo>
                    <a:pt x="16" y="322"/>
                  </a:lnTo>
                  <a:lnTo>
                    <a:pt x="16" y="326"/>
                  </a:lnTo>
                  <a:lnTo>
                    <a:pt x="18" y="330"/>
                  </a:lnTo>
                  <a:lnTo>
                    <a:pt x="16" y="336"/>
                  </a:lnTo>
                  <a:lnTo>
                    <a:pt x="16" y="340"/>
                  </a:lnTo>
                  <a:lnTo>
                    <a:pt x="18" y="342"/>
                  </a:lnTo>
                  <a:lnTo>
                    <a:pt x="22" y="342"/>
                  </a:lnTo>
                  <a:lnTo>
                    <a:pt x="22" y="346"/>
                  </a:lnTo>
                  <a:lnTo>
                    <a:pt x="22" y="356"/>
                  </a:lnTo>
                  <a:lnTo>
                    <a:pt x="18" y="364"/>
                  </a:lnTo>
                  <a:lnTo>
                    <a:pt x="18" y="368"/>
                  </a:lnTo>
                  <a:lnTo>
                    <a:pt x="18" y="370"/>
                  </a:lnTo>
                  <a:lnTo>
                    <a:pt x="20" y="376"/>
                  </a:lnTo>
                  <a:lnTo>
                    <a:pt x="22" y="378"/>
                  </a:lnTo>
                  <a:lnTo>
                    <a:pt x="22" y="380"/>
                  </a:lnTo>
                  <a:lnTo>
                    <a:pt x="22" y="384"/>
                  </a:lnTo>
                  <a:lnTo>
                    <a:pt x="22" y="390"/>
                  </a:lnTo>
                  <a:lnTo>
                    <a:pt x="24" y="396"/>
                  </a:lnTo>
                  <a:lnTo>
                    <a:pt x="24" y="398"/>
                  </a:lnTo>
                  <a:lnTo>
                    <a:pt x="24" y="400"/>
                  </a:lnTo>
                  <a:lnTo>
                    <a:pt x="22" y="404"/>
                  </a:lnTo>
                  <a:lnTo>
                    <a:pt x="22" y="406"/>
                  </a:lnTo>
                  <a:lnTo>
                    <a:pt x="24" y="410"/>
                  </a:lnTo>
                  <a:lnTo>
                    <a:pt x="22" y="412"/>
                  </a:lnTo>
                  <a:lnTo>
                    <a:pt x="20" y="412"/>
                  </a:lnTo>
                  <a:lnTo>
                    <a:pt x="20" y="414"/>
                  </a:lnTo>
                  <a:lnTo>
                    <a:pt x="18" y="418"/>
                  </a:lnTo>
                  <a:lnTo>
                    <a:pt x="18" y="420"/>
                  </a:lnTo>
                  <a:lnTo>
                    <a:pt x="20" y="426"/>
                  </a:lnTo>
                  <a:lnTo>
                    <a:pt x="20" y="430"/>
                  </a:lnTo>
                  <a:lnTo>
                    <a:pt x="20" y="436"/>
                  </a:lnTo>
                  <a:lnTo>
                    <a:pt x="18" y="442"/>
                  </a:lnTo>
                  <a:lnTo>
                    <a:pt x="18" y="448"/>
                  </a:lnTo>
                  <a:lnTo>
                    <a:pt x="18" y="452"/>
                  </a:lnTo>
                  <a:lnTo>
                    <a:pt x="18" y="454"/>
                  </a:lnTo>
                  <a:lnTo>
                    <a:pt x="14" y="458"/>
                  </a:lnTo>
                  <a:lnTo>
                    <a:pt x="12" y="464"/>
                  </a:lnTo>
                  <a:lnTo>
                    <a:pt x="12" y="466"/>
                  </a:lnTo>
                  <a:lnTo>
                    <a:pt x="14" y="472"/>
                  </a:lnTo>
                  <a:lnTo>
                    <a:pt x="10" y="476"/>
                  </a:lnTo>
                  <a:lnTo>
                    <a:pt x="4" y="480"/>
                  </a:lnTo>
                  <a:lnTo>
                    <a:pt x="2" y="482"/>
                  </a:lnTo>
                  <a:lnTo>
                    <a:pt x="2" y="484"/>
                  </a:lnTo>
                  <a:lnTo>
                    <a:pt x="4" y="492"/>
                  </a:lnTo>
                  <a:lnTo>
                    <a:pt x="2" y="496"/>
                  </a:lnTo>
                  <a:lnTo>
                    <a:pt x="0" y="502"/>
                  </a:lnTo>
                  <a:lnTo>
                    <a:pt x="0" y="508"/>
                  </a:lnTo>
                  <a:lnTo>
                    <a:pt x="0" y="514"/>
                  </a:lnTo>
                  <a:lnTo>
                    <a:pt x="0" y="516"/>
                  </a:lnTo>
                  <a:lnTo>
                    <a:pt x="2" y="516"/>
                  </a:lnTo>
                  <a:lnTo>
                    <a:pt x="4" y="516"/>
                  </a:lnTo>
                  <a:lnTo>
                    <a:pt x="6" y="514"/>
                  </a:lnTo>
                  <a:lnTo>
                    <a:pt x="8" y="514"/>
                  </a:lnTo>
                  <a:lnTo>
                    <a:pt x="10" y="514"/>
                  </a:lnTo>
                  <a:lnTo>
                    <a:pt x="12" y="520"/>
                  </a:lnTo>
                  <a:lnTo>
                    <a:pt x="10" y="524"/>
                  </a:lnTo>
                  <a:lnTo>
                    <a:pt x="8" y="524"/>
                  </a:lnTo>
                  <a:lnTo>
                    <a:pt x="8" y="526"/>
                  </a:lnTo>
                  <a:lnTo>
                    <a:pt x="10" y="532"/>
                  </a:lnTo>
                  <a:lnTo>
                    <a:pt x="18" y="540"/>
                  </a:lnTo>
                  <a:lnTo>
                    <a:pt x="22" y="546"/>
                  </a:lnTo>
                  <a:lnTo>
                    <a:pt x="38" y="544"/>
                  </a:lnTo>
                  <a:lnTo>
                    <a:pt x="62" y="546"/>
                  </a:lnTo>
                  <a:lnTo>
                    <a:pt x="58" y="538"/>
                  </a:lnTo>
                  <a:lnTo>
                    <a:pt x="50" y="538"/>
                  </a:lnTo>
                  <a:lnTo>
                    <a:pt x="54" y="536"/>
                  </a:lnTo>
                  <a:lnTo>
                    <a:pt x="54" y="534"/>
                  </a:lnTo>
                  <a:lnTo>
                    <a:pt x="52" y="526"/>
                  </a:lnTo>
                  <a:lnTo>
                    <a:pt x="50" y="528"/>
                  </a:lnTo>
                  <a:lnTo>
                    <a:pt x="50" y="526"/>
                  </a:lnTo>
                  <a:lnTo>
                    <a:pt x="54" y="524"/>
                  </a:lnTo>
                  <a:lnTo>
                    <a:pt x="54" y="520"/>
                  </a:lnTo>
                  <a:lnTo>
                    <a:pt x="56" y="518"/>
                  </a:lnTo>
                  <a:lnTo>
                    <a:pt x="58" y="518"/>
                  </a:lnTo>
                  <a:lnTo>
                    <a:pt x="58" y="516"/>
                  </a:lnTo>
                  <a:lnTo>
                    <a:pt x="62" y="516"/>
                  </a:lnTo>
                  <a:lnTo>
                    <a:pt x="62" y="512"/>
                  </a:lnTo>
                  <a:lnTo>
                    <a:pt x="56" y="508"/>
                  </a:lnTo>
                  <a:lnTo>
                    <a:pt x="56" y="504"/>
                  </a:lnTo>
                  <a:lnTo>
                    <a:pt x="58" y="502"/>
                  </a:lnTo>
                  <a:lnTo>
                    <a:pt x="62" y="504"/>
                  </a:lnTo>
                  <a:lnTo>
                    <a:pt x="64" y="510"/>
                  </a:lnTo>
                  <a:lnTo>
                    <a:pt x="70" y="508"/>
                  </a:lnTo>
                  <a:lnTo>
                    <a:pt x="74" y="504"/>
                  </a:lnTo>
                  <a:lnTo>
                    <a:pt x="74" y="500"/>
                  </a:lnTo>
                  <a:lnTo>
                    <a:pt x="74" y="498"/>
                  </a:lnTo>
                  <a:lnTo>
                    <a:pt x="74" y="496"/>
                  </a:lnTo>
                  <a:lnTo>
                    <a:pt x="72" y="496"/>
                  </a:lnTo>
                  <a:lnTo>
                    <a:pt x="70" y="496"/>
                  </a:lnTo>
                  <a:lnTo>
                    <a:pt x="70" y="494"/>
                  </a:lnTo>
                  <a:lnTo>
                    <a:pt x="74" y="490"/>
                  </a:lnTo>
                  <a:lnTo>
                    <a:pt x="80" y="484"/>
                  </a:lnTo>
                  <a:lnTo>
                    <a:pt x="80" y="480"/>
                  </a:lnTo>
                  <a:lnTo>
                    <a:pt x="84" y="480"/>
                  </a:lnTo>
                  <a:lnTo>
                    <a:pt x="86" y="474"/>
                  </a:lnTo>
                  <a:lnTo>
                    <a:pt x="88" y="474"/>
                  </a:lnTo>
                  <a:lnTo>
                    <a:pt x="98" y="466"/>
                  </a:lnTo>
                  <a:lnTo>
                    <a:pt x="92" y="464"/>
                  </a:lnTo>
                  <a:lnTo>
                    <a:pt x="94" y="462"/>
                  </a:lnTo>
                  <a:lnTo>
                    <a:pt x="94" y="458"/>
                  </a:lnTo>
                  <a:lnTo>
                    <a:pt x="94" y="452"/>
                  </a:lnTo>
                  <a:lnTo>
                    <a:pt x="92" y="450"/>
                  </a:lnTo>
                  <a:lnTo>
                    <a:pt x="88" y="450"/>
                  </a:lnTo>
                  <a:lnTo>
                    <a:pt x="84" y="450"/>
                  </a:lnTo>
                  <a:lnTo>
                    <a:pt x="82" y="444"/>
                  </a:lnTo>
                  <a:lnTo>
                    <a:pt x="78" y="442"/>
                  </a:lnTo>
                  <a:lnTo>
                    <a:pt x="76" y="440"/>
                  </a:lnTo>
                  <a:lnTo>
                    <a:pt x="74" y="436"/>
                  </a:lnTo>
                  <a:lnTo>
                    <a:pt x="72" y="430"/>
                  </a:lnTo>
                  <a:lnTo>
                    <a:pt x="76" y="426"/>
                  </a:lnTo>
                  <a:lnTo>
                    <a:pt x="78" y="426"/>
                  </a:lnTo>
                  <a:lnTo>
                    <a:pt x="78" y="422"/>
                  </a:lnTo>
                  <a:lnTo>
                    <a:pt x="84" y="418"/>
                  </a:lnTo>
                  <a:lnTo>
                    <a:pt x="88" y="410"/>
                  </a:lnTo>
                  <a:lnTo>
                    <a:pt x="92" y="410"/>
                  </a:lnTo>
                  <a:lnTo>
                    <a:pt x="100" y="410"/>
                  </a:lnTo>
                  <a:lnTo>
                    <a:pt x="100" y="404"/>
                  </a:lnTo>
                  <a:lnTo>
                    <a:pt x="98" y="404"/>
                  </a:lnTo>
                  <a:lnTo>
                    <a:pt x="98" y="402"/>
                  </a:lnTo>
                  <a:lnTo>
                    <a:pt x="104" y="398"/>
                  </a:lnTo>
                  <a:lnTo>
                    <a:pt x="104" y="392"/>
                  </a:lnTo>
                  <a:lnTo>
                    <a:pt x="104" y="390"/>
                  </a:lnTo>
                  <a:lnTo>
                    <a:pt x="106" y="380"/>
                  </a:lnTo>
                  <a:lnTo>
                    <a:pt x="108" y="374"/>
                  </a:lnTo>
                  <a:lnTo>
                    <a:pt x="110" y="372"/>
                  </a:lnTo>
                  <a:lnTo>
                    <a:pt x="116" y="370"/>
                  </a:lnTo>
                  <a:lnTo>
                    <a:pt x="116" y="366"/>
                  </a:lnTo>
                  <a:lnTo>
                    <a:pt x="108" y="366"/>
                  </a:lnTo>
                  <a:lnTo>
                    <a:pt x="112" y="364"/>
                  </a:lnTo>
                  <a:lnTo>
                    <a:pt x="118" y="364"/>
                  </a:lnTo>
                  <a:lnTo>
                    <a:pt x="120" y="366"/>
                  </a:lnTo>
                  <a:lnTo>
                    <a:pt x="120" y="370"/>
                  </a:lnTo>
                  <a:lnTo>
                    <a:pt x="124" y="368"/>
                  </a:lnTo>
                  <a:lnTo>
                    <a:pt x="126" y="366"/>
                  </a:lnTo>
                  <a:lnTo>
                    <a:pt x="128" y="364"/>
                  </a:lnTo>
                  <a:lnTo>
                    <a:pt x="128" y="360"/>
                  </a:lnTo>
                  <a:lnTo>
                    <a:pt x="126" y="358"/>
                  </a:lnTo>
                  <a:lnTo>
                    <a:pt x="126" y="356"/>
                  </a:lnTo>
                  <a:lnTo>
                    <a:pt x="120" y="356"/>
                  </a:lnTo>
                  <a:lnTo>
                    <a:pt x="120" y="360"/>
                  </a:lnTo>
                  <a:lnTo>
                    <a:pt x="118" y="360"/>
                  </a:lnTo>
                  <a:lnTo>
                    <a:pt x="112" y="356"/>
                  </a:lnTo>
                  <a:lnTo>
                    <a:pt x="110" y="356"/>
                  </a:lnTo>
                  <a:lnTo>
                    <a:pt x="110" y="346"/>
                  </a:lnTo>
                  <a:lnTo>
                    <a:pt x="104" y="346"/>
                  </a:lnTo>
                  <a:lnTo>
                    <a:pt x="104" y="346"/>
                  </a:lnTo>
                  <a:lnTo>
                    <a:pt x="104" y="344"/>
                  </a:lnTo>
                  <a:lnTo>
                    <a:pt x="106" y="342"/>
                  </a:lnTo>
                  <a:lnTo>
                    <a:pt x="106" y="340"/>
                  </a:lnTo>
                  <a:lnTo>
                    <a:pt x="108" y="334"/>
                  </a:lnTo>
                  <a:lnTo>
                    <a:pt x="110" y="332"/>
                  </a:lnTo>
                  <a:lnTo>
                    <a:pt x="112" y="332"/>
                  </a:lnTo>
                  <a:lnTo>
                    <a:pt x="112" y="334"/>
                  </a:lnTo>
                  <a:lnTo>
                    <a:pt x="116" y="334"/>
                  </a:lnTo>
                  <a:lnTo>
                    <a:pt x="120" y="340"/>
                  </a:lnTo>
                  <a:lnTo>
                    <a:pt x="122" y="342"/>
                  </a:lnTo>
                  <a:lnTo>
                    <a:pt x="128" y="342"/>
                  </a:lnTo>
                  <a:lnTo>
                    <a:pt x="132" y="340"/>
                  </a:lnTo>
                  <a:lnTo>
                    <a:pt x="136" y="338"/>
                  </a:lnTo>
                  <a:lnTo>
                    <a:pt x="136" y="336"/>
                  </a:lnTo>
                  <a:lnTo>
                    <a:pt x="140" y="334"/>
                  </a:lnTo>
                  <a:lnTo>
                    <a:pt x="142" y="332"/>
                  </a:lnTo>
                  <a:lnTo>
                    <a:pt x="144" y="326"/>
                  </a:lnTo>
                  <a:lnTo>
                    <a:pt x="142" y="322"/>
                  </a:lnTo>
                  <a:lnTo>
                    <a:pt x="142" y="316"/>
                  </a:lnTo>
                  <a:lnTo>
                    <a:pt x="142" y="312"/>
                  </a:lnTo>
                  <a:lnTo>
                    <a:pt x="144" y="312"/>
                  </a:lnTo>
                  <a:lnTo>
                    <a:pt x="146" y="304"/>
                  </a:lnTo>
                  <a:lnTo>
                    <a:pt x="142" y="304"/>
                  </a:lnTo>
                  <a:lnTo>
                    <a:pt x="140" y="300"/>
                  </a:lnTo>
                  <a:lnTo>
                    <a:pt x="140" y="296"/>
                  </a:lnTo>
                  <a:lnTo>
                    <a:pt x="140" y="294"/>
                  </a:lnTo>
                  <a:lnTo>
                    <a:pt x="142" y="294"/>
                  </a:lnTo>
                  <a:lnTo>
                    <a:pt x="144" y="294"/>
                  </a:lnTo>
                  <a:lnTo>
                    <a:pt x="146" y="300"/>
                  </a:lnTo>
                  <a:lnTo>
                    <a:pt x="148" y="298"/>
                  </a:lnTo>
                  <a:lnTo>
                    <a:pt x="146" y="296"/>
                  </a:lnTo>
                  <a:lnTo>
                    <a:pt x="150" y="296"/>
                  </a:lnTo>
                  <a:lnTo>
                    <a:pt x="160" y="294"/>
                  </a:lnTo>
                  <a:lnTo>
                    <a:pt x="172" y="294"/>
                  </a:lnTo>
                  <a:lnTo>
                    <a:pt x="182" y="292"/>
                  </a:lnTo>
                  <a:lnTo>
                    <a:pt x="182" y="290"/>
                  </a:lnTo>
                  <a:lnTo>
                    <a:pt x="190" y="288"/>
                  </a:lnTo>
                  <a:lnTo>
                    <a:pt x="196" y="288"/>
                  </a:lnTo>
                  <a:lnTo>
                    <a:pt x="202" y="282"/>
                  </a:lnTo>
                  <a:lnTo>
                    <a:pt x="206" y="272"/>
                  </a:lnTo>
                  <a:lnTo>
                    <a:pt x="212" y="262"/>
                  </a:lnTo>
                  <a:lnTo>
                    <a:pt x="214" y="252"/>
                  </a:lnTo>
                  <a:lnTo>
                    <a:pt x="214" y="250"/>
                  </a:lnTo>
                  <a:lnTo>
                    <a:pt x="210" y="250"/>
                  </a:lnTo>
                  <a:lnTo>
                    <a:pt x="206" y="248"/>
                  </a:lnTo>
                  <a:lnTo>
                    <a:pt x="206" y="246"/>
                  </a:lnTo>
                  <a:lnTo>
                    <a:pt x="206" y="246"/>
                  </a:lnTo>
                  <a:lnTo>
                    <a:pt x="204" y="242"/>
                  </a:lnTo>
                  <a:lnTo>
                    <a:pt x="204" y="238"/>
                  </a:lnTo>
                  <a:lnTo>
                    <a:pt x="206" y="236"/>
                  </a:lnTo>
                  <a:lnTo>
                    <a:pt x="206" y="234"/>
                  </a:lnTo>
                  <a:lnTo>
                    <a:pt x="202" y="228"/>
                  </a:lnTo>
                  <a:lnTo>
                    <a:pt x="198" y="226"/>
                  </a:lnTo>
                  <a:lnTo>
                    <a:pt x="194" y="224"/>
                  </a:lnTo>
                  <a:lnTo>
                    <a:pt x="194" y="220"/>
                  </a:lnTo>
                  <a:lnTo>
                    <a:pt x="192" y="218"/>
                  </a:lnTo>
                  <a:lnTo>
                    <a:pt x="190" y="216"/>
                  </a:lnTo>
                  <a:lnTo>
                    <a:pt x="190" y="214"/>
                  </a:lnTo>
                  <a:lnTo>
                    <a:pt x="190" y="212"/>
                  </a:lnTo>
                  <a:lnTo>
                    <a:pt x="190" y="210"/>
                  </a:lnTo>
                  <a:lnTo>
                    <a:pt x="188" y="206"/>
                  </a:lnTo>
                  <a:lnTo>
                    <a:pt x="192" y="206"/>
                  </a:lnTo>
                  <a:lnTo>
                    <a:pt x="192" y="190"/>
                  </a:lnTo>
                  <a:lnTo>
                    <a:pt x="194" y="190"/>
                  </a:lnTo>
                  <a:lnTo>
                    <a:pt x="194" y="186"/>
                  </a:lnTo>
                  <a:lnTo>
                    <a:pt x="194" y="178"/>
                  </a:lnTo>
                  <a:lnTo>
                    <a:pt x="194" y="176"/>
                  </a:lnTo>
                  <a:lnTo>
                    <a:pt x="196" y="174"/>
                  </a:lnTo>
                  <a:lnTo>
                    <a:pt x="196" y="170"/>
                  </a:lnTo>
                  <a:lnTo>
                    <a:pt x="196" y="168"/>
                  </a:lnTo>
                  <a:lnTo>
                    <a:pt x="198" y="166"/>
                  </a:lnTo>
                  <a:lnTo>
                    <a:pt x="198" y="164"/>
                  </a:lnTo>
                  <a:lnTo>
                    <a:pt x="200" y="162"/>
                  </a:lnTo>
                  <a:lnTo>
                    <a:pt x="200" y="158"/>
                  </a:lnTo>
                  <a:lnTo>
                    <a:pt x="200" y="154"/>
                  </a:lnTo>
                  <a:lnTo>
                    <a:pt x="202" y="150"/>
                  </a:lnTo>
                  <a:lnTo>
                    <a:pt x="204" y="148"/>
                  </a:lnTo>
                  <a:lnTo>
                    <a:pt x="206" y="138"/>
                  </a:lnTo>
                  <a:lnTo>
                    <a:pt x="206" y="134"/>
                  </a:lnTo>
                  <a:lnTo>
                    <a:pt x="210" y="132"/>
                  </a:lnTo>
                  <a:lnTo>
                    <a:pt x="214" y="126"/>
                  </a:lnTo>
                  <a:lnTo>
                    <a:pt x="214" y="120"/>
                  </a:lnTo>
                  <a:lnTo>
                    <a:pt x="216" y="118"/>
                  </a:lnTo>
                  <a:lnTo>
                    <a:pt x="218" y="116"/>
                  </a:lnTo>
                  <a:lnTo>
                    <a:pt x="222" y="116"/>
                  </a:lnTo>
                  <a:lnTo>
                    <a:pt x="224" y="114"/>
                  </a:lnTo>
                  <a:lnTo>
                    <a:pt x="226" y="110"/>
                  </a:lnTo>
                  <a:lnTo>
                    <a:pt x="230" y="110"/>
                  </a:lnTo>
                  <a:lnTo>
                    <a:pt x="234" y="106"/>
                  </a:lnTo>
                  <a:lnTo>
                    <a:pt x="236" y="100"/>
                  </a:lnTo>
                  <a:lnTo>
                    <a:pt x="238" y="98"/>
                  </a:lnTo>
                  <a:lnTo>
                    <a:pt x="242" y="98"/>
                  </a:lnTo>
                  <a:lnTo>
                    <a:pt x="246" y="96"/>
                  </a:lnTo>
                  <a:lnTo>
                    <a:pt x="248" y="96"/>
                  </a:lnTo>
                  <a:lnTo>
                    <a:pt x="252" y="92"/>
                  </a:lnTo>
                  <a:lnTo>
                    <a:pt x="252" y="90"/>
                  </a:lnTo>
                  <a:lnTo>
                    <a:pt x="252" y="76"/>
                  </a:lnTo>
                  <a:lnTo>
                    <a:pt x="252" y="64"/>
                  </a:lnTo>
                  <a:lnTo>
                    <a:pt x="248" y="64"/>
                  </a:lnTo>
                  <a:lnTo>
                    <a:pt x="246" y="64"/>
                  </a:lnTo>
                  <a:lnTo>
                    <a:pt x="246" y="66"/>
                  </a:lnTo>
                  <a:lnTo>
                    <a:pt x="244" y="66"/>
                  </a:lnTo>
                  <a:lnTo>
                    <a:pt x="240" y="64"/>
                  </a:lnTo>
                  <a:lnTo>
                    <a:pt x="238" y="66"/>
                  </a:lnTo>
                  <a:lnTo>
                    <a:pt x="236" y="68"/>
                  </a:lnTo>
                  <a:lnTo>
                    <a:pt x="238" y="70"/>
                  </a:lnTo>
                  <a:lnTo>
                    <a:pt x="238" y="78"/>
                  </a:lnTo>
                  <a:lnTo>
                    <a:pt x="238" y="82"/>
                  </a:lnTo>
                  <a:lnTo>
                    <a:pt x="236" y="84"/>
                  </a:lnTo>
                  <a:lnTo>
                    <a:pt x="232" y="88"/>
                  </a:lnTo>
                  <a:lnTo>
                    <a:pt x="230" y="92"/>
                  </a:lnTo>
                  <a:lnTo>
                    <a:pt x="228" y="94"/>
                  </a:lnTo>
                  <a:lnTo>
                    <a:pt x="226" y="96"/>
                  </a:lnTo>
                  <a:lnTo>
                    <a:pt x="220" y="96"/>
                  </a:lnTo>
                  <a:lnTo>
                    <a:pt x="214" y="94"/>
                  </a:lnTo>
                  <a:lnTo>
                    <a:pt x="208" y="94"/>
                  </a:lnTo>
                  <a:lnTo>
                    <a:pt x="206" y="96"/>
                  </a:lnTo>
                  <a:lnTo>
                    <a:pt x="202" y="94"/>
                  </a:lnTo>
                  <a:lnTo>
                    <a:pt x="196" y="92"/>
                  </a:lnTo>
                  <a:lnTo>
                    <a:pt x="192" y="92"/>
                  </a:lnTo>
                  <a:lnTo>
                    <a:pt x="188" y="92"/>
                  </a:lnTo>
                  <a:lnTo>
                    <a:pt x="188" y="88"/>
                  </a:lnTo>
                  <a:lnTo>
                    <a:pt x="192" y="82"/>
                  </a:lnTo>
                  <a:lnTo>
                    <a:pt x="196" y="76"/>
                  </a:lnTo>
                  <a:lnTo>
                    <a:pt x="198" y="68"/>
                  </a:lnTo>
                  <a:lnTo>
                    <a:pt x="200" y="62"/>
                  </a:lnTo>
                  <a:lnTo>
                    <a:pt x="200" y="60"/>
                  </a:lnTo>
                  <a:lnTo>
                    <a:pt x="198" y="58"/>
                  </a:lnTo>
                  <a:lnTo>
                    <a:pt x="192" y="52"/>
                  </a:lnTo>
                  <a:lnTo>
                    <a:pt x="190" y="50"/>
                  </a:lnTo>
                  <a:lnTo>
                    <a:pt x="184" y="46"/>
                  </a:lnTo>
                  <a:lnTo>
                    <a:pt x="182" y="44"/>
                  </a:lnTo>
                  <a:lnTo>
                    <a:pt x="180" y="44"/>
                  </a:lnTo>
                  <a:lnTo>
                    <a:pt x="178" y="44"/>
                  </a:lnTo>
                  <a:lnTo>
                    <a:pt x="174" y="42"/>
                  </a:lnTo>
                  <a:lnTo>
                    <a:pt x="172" y="36"/>
                  </a:lnTo>
                  <a:lnTo>
                    <a:pt x="166" y="36"/>
                  </a:lnTo>
                  <a:lnTo>
                    <a:pt x="164" y="34"/>
                  </a:lnTo>
                  <a:lnTo>
                    <a:pt x="164" y="32"/>
                  </a:lnTo>
                  <a:lnTo>
                    <a:pt x="160" y="26"/>
                  </a:lnTo>
                  <a:lnTo>
                    <a:pt x="158" y="22"/>
                  </a:lnTo>
                  <a:lnTo>
                    <a:pt x="156" y="20"/>
                  </a:lnTo>
                  <a:lnTo>
                    <a:pt x="152" y="18"/>
                  </a:lnTo>
                  <a:lnTo>
                    <a:pt x="150" y="14"/>
                  </a:lnTo>
                  <a:lnTo>
                    <a:pt x="146" y="8"/>
                  </a:lnTo>
                  <a:lnTo>
                    <a:pt x="140" y="2"/>
                  </a:lnTo>
                  <a:lnTo>
                    <a:pt x="140" y="2"/>
                  </a:lnTo>
                  <a:close/>
                  <a:moveTo>
                    <a:pt x="70" y="598"/>
                  </a:moveTo>
                  <a:lnTo>
                    <a:pt x="72" y="598"/>
                  </a:lnTo>
                  <a:lnTo>
                    <a:pt x="76" y="598"/>
                  </a:lnTo>
                  <a:lnTo>
                    <a:pt x="78" y="600"/>
                  </a:lnTo>
                  <a:lnTo>
                    <a:pt x="78" y="598"/>
                  </a:lnTo>
                  <a:lnTo>
                    <a:pt x="82" y="602"/>
                  </a:lnTo>
                  <a:lnTo>
                    <a:pt x="88" y="600"/>
                  </a:lnTo>
                  <a:lnTo>
                    <a:pt x="88" y="598"/>
                  </a:lnTo>
                  <a:lnTo>
                    <a:pt x="98" y="598"/>
                  </a:lnTo>
                  <a:lnTo>
                    <a:pt x="98" y="600"/>
                  </a:lnTo>
                  <a:lnTo>
                    <a:pt x="102" y="596"/>
                  </a:lnTo>
                  <a:lnTo>
                    <a:pt x="88" y="592"/>
                  </a:lnTo>
                  <a:lnTo>
                    <a:pt x="84" y="592"/>
                  </a:lnTo>
                  <a:lnTo>
                    <a:pt x="80" y="588"/>
                  </a:lnTo>
                  <a:lnTo>
                    <a:pt x="78" y="586"/>
                  </a:lnTo>
                  <a:lnTo>
                    <a:pt x="74" y="584"/>
                  </a:lnTo>
                  <a:lnTo>
                    <a:pt x="72" y="582"/>
                  </a:lnTo>
                  <a:lnTo>
                    <a:pt x="72" y="580"/>
                  </a:lnTo>
                  <a:lnTo>
                    <a:pt x="68" y="578"/>
                  </a:lnTo>
                  <a:lnTo>
                    <a:pt x="64" y="574"/>
                  </a:lnTo>
                  <a:lnTo>
                    <a:pt x="60" y="568"/>
                  </a:lnTo>
                  <a:lnTo>
                    <a:pt x="60" y="566"/>
                  </a:lnTo>
                  <a:lnTo>
                    <a:pt x="62" y="564"/>
                  </a:lnTo>
                  <a:lnTo>
                    <a:pt x="58" y="556"/>
                  </a:lnTo>
                  <a:lnTo>
                    <a:pt x="56" y="556"/>
                  </a:lnTo>
                  <a:lnTo>
                    <a:pt x="60" y="600"/>
                  </a:lnTo>
                  <a:lnTo>
                    <a:pt x="64" y="598"/>
                  </a:lnTo>
                  <a:lnTo>
                    <a:pt x="70" y="598"/>
                  </a:lnTo>
                  <a:lnTo>
                    <a:pt x="70" y="59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89" name="Freeform 453">
              <a:extLst>
                <a:ext uri="{FF2B5EF4-FFF2-40B4-BE49-F238E27FC236}">
                  <a16:creationId xmlns:a16="http://schemas.microsoft.com/office/drawing/2014/main" id="{82935ABA-0323-4558-93EC-A5C615CC43A3}"/>
                </a:ext>
              </a:extLst>
            </p:cNvPr>
            <p:cNvSpPr>
              <a:spLocks/>
            </p:cNvSpPr>
            <p:nvPr/>
          </p:nvSpPr>
          <p:spPr bwMode="auto">
            <a:xfrm>
              <a:off x="3236124" y="4837733"/>
              <a:ext cx="18127" cy="18127"/>
            </a:xfrm>
            <a:custGeom>
              <a:avLst/>
              <a:gdLst/>
              <a:ahLst/>
              <a:cxnLst>
                <a:cxn ang="0">
                  <a:pos x="4" y="14"/>
                </a:cxn>
                <a:cxn ang="0">
                  <a:pos x="10" y="12"/>
                </a:cxn>
                <a:cxn ang="0">
                  <a:pos x="10" y="8"/>
                </a:cxn>
                <a:cxn ang="0">
                  <a:pos x="10" y="6"/>
                </a:cxn>
                <a:cxn ang="0">
                  <a:pos x="12" y="4"/>
                </a:cxn>
                <a:cxn ang="0">
                  <a:pos x="14" y="2"/>
                </a:cxn>
                <a:cxn ang="0">
                  <a:pos x="12" y="0"/>
                </a:cxn>
                <a:cxn ang="0">
                  <a:pos x="10" y="0"/>
                </a:cxn>
                <a:cxn ang="0">
                  <a:pos x="8" y="0"/>
                </a:cxn>
                <a:cxn ang="0">
                  <a:pos x="6" y="4"/>
                </a:cxn>
                <a:cxn ang="0">
                  <a:pos x="8" y="4"/>
                </a:cxn>
                <a:cxn ang="0">
                  <a:pos x="4" y="4"/>
                </a:cxn>
                <a:cxn ang="0">
                  <a:pos x="0" y="4"/>
                </a:cxn>
                <a:cxn ang="0">
                  <a:pos x="0" y="6"/>
                </a:cxn>
                <a:cxn ang="0">
                  <a:pos x="0" y="10"/>
                </a:cxn>
                <a:cxn ang="0">
                  <a:pos x="0" y="12"/>
                </a:cxn>
                <a:cxn ang="0">
                  <a:pos x="4" y="14"/>
                </a:cxn>
                <a:cxn ang="0">
                  <a:pos x="4" y="14"/>
                </a:cxn>
              </a:cxnLst>
              <a:rect l="0" t="0" r="r" b="b"/>
              <a:pathLst>
                <a:path w="14" h="14">
                  <a:moveTo>
                    <a:pt x="4" y="14"/>
                  </a:moveTo>
                  <a:lnTo>
                    <a:pt x="10" y="12"/>
                  </a:lnTo>
                  <a:lnTo>
                    <a:pt x="10" y="8"/>
                  </a:lnTo>
                  <a:lnTo>
                    <a:pt x="10" y="6"/>
                  </a:lnTo>
                  <a:lnTo>
                    <a:pt x="12" y="4"/>
                  </a:lnTo>
                  <a:lnTo>
                    <a:pt x="14" y="2"/>
                  </a:lnTo>
                  <a:lnTo>
                    <a:pt x="12" y="0"/>
                  </a:lnTo>
                  <a:lnTo>
                    <a:pt x="10" y="0"/>
                  </a:lnTo>
                  <a:lnTo>
                    <a:pt x="8" y="0"/>
                  </a:lnTo>
                  <a:lnTo>
                    <a:pt x="6" y="4"/>
                  </a:lnTo>
                  <a:lnTo>
                    <a:pt x="8" y="4"/>
                  </a:lnTo>
                  <a:lnTo>
                    <a:pt x="4" y="4"/>
                  </a:lnTo>
                  <a:lnTo>
                    <a:pt x="0" y="4"/>
                  </a:lnTo>
                  <a:lnTo>
                    <a:pt x="0" y="6"/>
                  </a:lnTo>
                  <a:lnTo>
                    <a:pt x="0" y="10"/>
                  </a:lnTo>
                  <a:lnTo>
                    <a:pt x="0" y="12"/>
                  </a:lnTo>
                  <a:lnTo>
                    <a:pt x="4" y="14"/>
                  </a:lnTo>
                  <a:lnTo>
                    <a:pt x="4" y="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0" name="Freeform 454">
              <a:extLst>
                <a:ext uri="{FF2B5EF4-FFF2-40B4-BE49-F238E27FC236}">
                  <a16:creationId xmlns:a16="http://schemas.microsoft.com/office/drawing/2014/main" id="{0CDF2064-9090-4A6A-A0FF-15FE6D00E0C0}"/>
                </a:ext>
              </a:extLst>
            </p:cNvPr>
            <p:cNvSpPr>
              <a:spLocks/>
            </p:cNvSpPr>
            <p:nvPr/>
          </p:nvSpPr>
          <p:spPr bwMode="auto">
            <a:xfrm>
              <a:off x="3062620" y="3832964"/>
              <a:ext cx="7769" cy="5179"/>
            </a:xfrm>
            <a:custGeom>
              <a:avLst/>
              <a:gdLst/>
              <a:ahLst/>
              <a:cxnLst>
                <a:cxn ang="0">
                  <a:pos x="6" y="2"/>
                </a:cxn>
                <a:cxn ang="0">
                  <a:pos x="2" y="4"/>
                </a:cxn>
                <a:cxn ang="0">
                  <a:pos x="0" y="0"/>
                </a:cxn>
                <a:cxn ang="0">
                  <a:pos x="2" y="0"/>
                </a:cxn>
                <a:cxn ang="0">
                  <a:pos x="4" y="0"/>
                </a:cxn>
                <a:cxn ang="0">
                  <a:pos x="6" y="2"/>
                </a:cxn>
                <a:cxn ang="0">
                  <a:pos x="6" y="2"/>
                </a:cxn>
              </a:cxnLst>
              <a:rect l="0" t="0" r="r" b="b"/>
              <a:pathLst>
                <a:path w="6" h="4">
                  <a:moveTo>
                    <a:pt x="6" y="2"/>
                  </a:moveTo>
                  <a:lnTo>
                    <a:pt x="2" y="4"/>
                  </a:lnTo>
                  <a:lnTo>
                    <a:pt x="0" y="0"/>
                  </a:lnTo>
                  <a:lnTo>
                    <a:pt x="2" y="0"/>
                  </a:lnTo>
                  <a:lnTo>
                    <a:pt x="4" y="0"/>
                  </a:lnTo>
                  <a:lnTo>
                    <a:pt x="6" y="2"/>
                  </a:lnTo>
                  <a:lnTo>
                    <a:pt x="6"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1" name="Freeform 455">
              <a:extLst>
                <a:ext uri="{FF2B5EF4-FFF2-40B4-BE49-F238E27FC236}">
                  <a16:creationId xmlns:a16="http://schemas.microsoft.com/office/drawing/2014/main" id="{145861E9-E4E5-4519-B104-4AC3EDC77E5A}"/>
                </a:ext>
              </a:extLst>
            </p:cNvPr>
            <p:cNvSpPr>
              <a:spLocks/>
            </p:cNvSpPr>
            <p:nvPr/>
          </p:nvSpPr>
          <p:spPr bwMode="auto">
            <a:xfrm>
              <a:off x="3062620" y="3832964"/>
              <a:ext cx="7769" cy="5179"/>
            </a:xfrm>
            <a:custGeom>
              <a:avLst/>
              <a:gdLst/>
              <a:ahLst/>
              <a:cxnLst>
                <a:cxn ang="0">
                  <a:pos x="6" y="2"/>
                </a:cxn>
                <a:cxn ang="0">
                  <a:pos x="2" y="4"/>
                </a:cxn>
                <a:cxn ang="0">
                  <a:pos x="0" y="0"/>
                </a:cxn>
                <a:cxn ang="0">
                  <a:pos x="2" y="0"/>
                </a:cxn>
                <a:cxn ang="0">
                  <a:pos x="4" y="0"/>
                </a:cxn>
                <a:cxn ang="0">
                  <a:pos x="6" y="2"/>
                </a:cxn>
                <a:cxn ang="0">
                  <a:pos x="6" y="2"/>
                </a:cxn>
              </a:cxnLst>
              <a:rect l="0" t="0" r="r" b="b"/>
              <a:pathLst>
                <a:path w="6" h="4">
                  <a:moveTo>
                    <a:pt x="6" y="2"/>
                  </a:moveTo>
                  <a:lnTo>
                    <a:pt x="2" y="4"/>
                  </a:lnTo>
                  <a:lnTo>
                    <a:pt x="0" y="0"/>
                  </a:lnTo>
                  <a:lnTo>
                    <a:pt x="2" y="0"/>
                  </a:lnTo>
                  <a:lnTo>
                    <a:pt x="4" y="0"/>
                  </a:lnTo>
                  <a:lnTo>
                    <a:pt x="6" y="2"/>
                  </a:lnTo>
                  <a:lnTo>
                    <a:pt x="6"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2" name="Freeform 456">
              <a:extLst>
                <a:ext uri="{FF2B5EF4-FFF2-40B4-BE49-F238E27FC236}">
                  <a16:creationId xmlns:a16="http://schemas.microsoft.com/office/drawing/2014/main" id="{6C4EDA09-8FD6-40D1-A143-ED838F55C619}"/>
                </a:ext>
              </a:extLst>
            </p:cNvPr>
            <p:cNvSpPr>
              <a:spLocks/>
            </p:cNvSpPr>
            <p:nvPr/>
          </p:nvSpPr>
          <p:spPr bwMode="auto">
            <a:xfrm>
              <a:off x="2899475" y="3959855"/>
              <a:ext cx="328880" cy="388442"/>
            </a:xfrm>
            <a:custGeom>
              <a:avLst/>
              <a:gdLst/>
              <a:ahLst/>
              <a:cxnLst>
                <a:cxn ang="0">
                  <a:pos x="176" y="296"/>
                </a:cxn>
                <a:cxn ang="0">
                  <a:pos x="146" y="300"/>
                </a:cxn>
                <a:cxn ang="0">
                  <a:pos x="144" y="292"/>
                </a:cxn>
                <a:cxn ang="0">
                  <a:pos x="144" y="282"/>
                </a:cxn>
                <a:cxn ang="0">
                  <a:pos x="130" y="274"/>
                </a:cxn>
                <a:cxn ang="0">
                  <a:pos x="44" y="206"/>
                </a:cxn>
                <a:cxn ang="0">
                  <a:pos x="0" y="148"/>
                </a:cxn>
                <a:cxn ang="0">
                  <a:pos x="14" y="134"/>
                </a:cxn>
                <a:cxn ang="0">
                  <a:pos x="32" y="130"/>
                </a:cxn>
                <a:cxn ang="0">
                  <a:pos x="40" y="124"/>
                </a:cxn>
                <a:cxn ang="0">
                  <a:pos x="54" y="116"/>
                </a:cxn>
                <a:cxn ang="0">
                  <a:pos x="62" y="104"/>
                </a:cxn>
                <a:cxn ang="0">
                  <a:pos x="72" y="92"/>
                </a:cxn>
                <a:cxn ang="0">
                  <a:pos x="76" y="86"/>
                </a:cxn>
                <a:cxn ang="0">
                  <a:pos x="82" y="80"/>
                </a:cxn>
                <a:cxn ang="0">
                  <a:pos x="88" y="74"/>
                </a:cxn>
                <a:cxn ang="0">
                  <a:pos x="84" y="60"/>
                </a:cxn>
                <a:cxn ang="0">
                  <a:pos x="78" y="52"/>
                </a:cxn>
                <a:cxn ang="0">
                  <a:pos x="80" y="38"/>
                </a:cxn>
                <a:cxn ang="0">
                  <a:pos x="80" y="30"/>
                </a:cxn>
                <a:cxn ang="0">
                  <a:pos x="90" y="24"/>
                </a:cxn>
                <a:cxn ang="0">
                  <a:pos x="100" y="18"/>
                </a:cxn>
                <a:cxn ang="0">
                  <a:pos x="110" y="14"/>
                </a:cxn>
                <a:cxn ang="0">
                  <a:pos x="120" y="10"/>
                </a:cxn>
                <a:cxn ang="0">
                  <a:pos x="130" y="4"/>
                </a:cxn>
                <a:cxn ang="0">
                  <a:pos x="146" y="6"/>
                </a:cxn>
                <a:cxn ang="0">
                  <a:pos x="164" y="2"/>
                </a:cxn>
                <a:cxn ang="0">
                  <a:pos x="176" y="4"/>
                </a:cxn>
                <a:cxn ang="0">
                  <a:pos x="186" y="4"/>
                </a:cxn>
                <a:cxn ang="0">
                  <a:pos x="196" y="2"/>
                </a:cxn>
                <a:cxn ang="0">
                  <a:pos x="202" y="0"/>
                </a:cxn>
                <a:cxn ang="0">
                  <a:pos x="208" y="12"/>
                </a:cxn>
                <a:cxn ang="0">
                  <a:pos x="212" y="20"/>
                </a:cxn>
                <a:cxn ang="0">
                  <a:pos x="212" y="36"/>
                </a:cxn>
                <a:cxn ang="0">
                  <a:pos x="210" y="40"/>
                </a:cxn>
                <a:cxn ang="0">
                  <a:pos x="200" y="50"/>
                </a:cxn>
                <a:cxn ang="0">
                  <a:pos x="204" y="68"/>
                </a:cxn>
                <a:cxn ang="0">
                  <a:pos x="210" y="80"/>
                </a:cxn>
                <a:cxn ang="0">
                  <a:pos x="218" y="114"/>
                </a:cxn>
                <a:cxn ang="0">
                  <a:pos x="220" y="120"/>
                </a:cxn>
                <a:cxn ang="0">
                  <a:pos x="222" y="154"/>
                </a:cxn>
                <a:cxn ang="0">
                  <a:pos x="222" y="158"/>
                </a:cxn>
                <a:cxn ang="0">
                  <a:pos x="220" y="178"/>
                </a:cxn>
                <a:cxn ang="0">
                  <a:pos x="212" y="186"/>
                </a:cxn>
                <a:cxn ang="0">
                  <a:pos x="222" y="200"/>
                </a:cxn>
                <a:cxn ang="0">
                  <a:pos x="226" y="214"/>
                </a:cxn>
                <a:cxn ang="0">
                  <a:pos x="240" y="218"/>
                </a:cxn>
                <a:cxn ang="0">
                  <a:pos x="246" y="224"/>
                </a:cxn>
                <a:cxn ang="0">
                  <a:pos x="254" y="230"/>
                </a:cxn>
              </a:cxnLst>
              <a:rect l="0" t="0" r="r" b="b"/>
              <a:pathLst>
                <a:path w="254" h="300">
                  <a:moveTo>
                    <a:pt x="254" y="230"/>
                  </a:moveTo>
                  <a:lnTo>
                    <a:pt x="184" y="282"/>
                  </a:lnTo>
                  <a:lnTo>
                    <a:pt x="176" y="296"/>
                  </a:lnTo>
                  <a:lnTo>
                    <a:pt x="156" y="298"/>
                  </a:lnTo>
                  <a:lnTo>
                    <a:pt x="152" y="300"/>
                  </a:lnTo>
                  <a:lnTo>
                    <a:pt x="146" y="300"/>
                  </a:lnTo>
                  <a:lnTo>
                    <a:pt x="146" y="298"/>
                  </a:lnTo>
                  <a:lnTo>
                    <a:pt x="144" y="294"/>
                  </a:lnTo>
                  <a:lnTo>
                    <a:pt x="144" y="292"/>
                  </a:lnTo>
                  <a:lnTo>
                    <a:pt x="144" y="288"/>
                  </a:lnTo>
                  <a:lnTo>
                    <a:pt x="144" y="284"/>
                  </a:lnTo>
                  <a:lnTo>
                    <a:pt x="144" y="282"/>
                  </a:lnTo>
                  <a:lnTo>
                    <a:pt x="140" y="280"/>
                  </a:lnTo>
                  <a:lnTo>
                    <a:pt x="136" y="278"/>
                  </a:lnTo>
                  <a:lnTo>
                    <a:pt x="130" y="274"/>
                  </a:lnTo>
                  <a:lnTo>
                    <a:pt x="126" y="270"/>
                  </a:lnTo>
                  <a:lnTo>
                    <a:pt x="126" y="268"/>
                  </a:lnTo>
                  <a:lnTo>
                    <a:pt x="44" y="206"/>
                  </a:lnTo>
                  <a:lnTo>
                    <a:pt x="0" y="174"/>
                  </a:lnTo>
                  <a:lnTo>
                    <a:pt x="0" y="162"/>
                  </a:lnTo>
                  <a:lnTo>
                    <a:pt x="0" y="148"/>
                  </a:lnTo>
                  <a:lnTo>
                    <a:pt x="4" y="144"/>
                  </a:lnTo>
                  <a:lnTo>
                    <a:pt x="10" y="136"/>
                  </a:lnTo>
                  <a:lnTo>
                    <a:pt x="14" y="134"/>
                  </a:lnTo>
                  <a:lnTo>
                    <a:pt x="20" y="132"/>
                  </a:lnTo>
                  <a:lnTo>
                    <a:pt x="28" y="130"/>
                  </a:lnTo>
                  <a:lnTo>
                    <a:pt x="32" y="130"/>
                  </a:lnTo>
                  <a:lnTo>
                    <a:pt x="32" y="128"/>
                  </a:lnTo>
                  <a:lnTo>
                    <a:pt x="36" y="124"/>
                  </a:lnTo>
                  <a:lnTo>
                    <a:pt x="40" y="124"/>
                  </a:lnTo>
                  <a:lnTo>
                    <a:pt x="46" y="122"/>
                  </a:lnTo>
                  <a:lnTo>
                    <a:pt x="50" y="120"/>
                  </a:lnTo>
                  <a:lnTo>
                    <a:pt x="54" y="116"/>
                  </a:lnTo>
                  <a:lnTo>
                    <a:pt x="56" y="110"/>
                  </a:lnTo>
                  <a:lnTo>
                    <a:pt x="60" y="104"/>
                  </a:lnTo>
                  <a:lnTo>
                    <a:pt x="62" y="104"/>
                  </a:lnTo>
                  <a:lnTo>
                    <a:pt x="68" y="100"/>
                  </a:lnTo>
                  <a:lnTo>
                    <a:pt x="72" y="96"/>
                  </a:lnTo>
                  <a:lnTo>
                    <a:pt x="72" y="92"/>
                  </a:lnTo>
                  <a:lnTo>
                    <a:pt x="72" y="90"/>
                  </a:lnTo>
                  <a:lnTo>
                    <a:pt x="74" y="88"/>
                  </a:lnTo>
                  <a:lnTo>
                    <a:pt x="76" y="86"/>
                  </a:lnTo>
                  <a:lnTo>
                    <a:pt x="78" y="84"/>
                  </a:lnTo>
                  <a:lnTo>
                    <a:pt x="80" y="82"/>
                  </a:lnTo>
                  <a:lnTo>
                    <a:pt x="82" y="80"/>
                  </a:lnTo>
                  <a:lnTo>
                    <a:pt x="88" y="76"/>
                  </a:lnTo>
                  <a:lnTo>
                    <a:pt x="90" y="74"/>
                  </a:lnTo>
                  <a:lnTo>
                    <a:pt x="88" y="74"/>
                  </a:lnTo>
                  <a:lnTo>
                    <a:pt x="86" y="70"/>
                  </a:lnTo>
                  <a:lnTo>
                    <a:pt x="84" y="66"/>
                  </a:lnTo>
                  <a:lnTo>
                    <a:pt x="84" y="60"/>
                  </a:lnTo>
                  <a:lnTo>
                    <a:pt x="82" y="58"/>
                  </a:lnTo>
                  <a:lnTo>
                    <a:pt x="80" y="56"/>
                  </a:lnTo>
                  <a:lnTo>
                    <a:pt x="78" y="52"/>
                  </a:lnTo>
                  <a:lnTo>
                    <a:pt x="80" y="46"/>
                  </a:lnTo>
                  <a:lnTo>
                    <a:pt x="80" y="42"/>
                  </a:lnTo>
                  <a:lnTo>
                    <a:pt x="80" y="38"/>
                  </a:lnTo>
                  <a:lnTo>
                    <a:pt x="78" y="36"/>
                  </a:lnTo>
                  <a:lnTo>
                    <a:pt x="76" y="32"/>
                  </a:lnTo>
                  <a:lnTo>
                    <a:pt x="80" y="30"/>
                  </a:lnTo>
                  <a:lnTo>
                    <a:pt x="86" y="30"/>
                  </a:lnTo>
                  <a:lnTo>
                    <a:pt x="88" y="28"/>
                  </a:lnTo>
                  <a:lnTo>
                    <a:pt x="90" y="24"/>
                  </a:lnTo>
                  <a:lnTo>
                    <a:pt x="92" y="22"/>
                  </a:lnTo>
                  <a:lnTo>
                    <a:pt x="94" y="18"/>
                  </a:lnTo>
                  <a:lnTo>
                    <a:pt x="100" y="18"/>
                  </a:lnTo>
                  <a:lnTo>
                    <a:pt x="104" y="18"/>
                  </a:lnTo>
                  <a:lnTo>
                    <a:pt x="108" y="16"/>
                  </a:lnTo>
                  <a:lnTo>
                    <a:pt x="110" y="14"/>
                  </a:lnTo>
                  <a:lnTo>
                    <a:pt x="114" y="14"/>
                  </a:lnTo>
                  <a:lnTo>
                    <a:pt x="118" y="14"/>
                  </a:lnTo>
                  <a:lnTo>
                    <a:pt x="120" y="10"/>
                  </a:lnTo>
                  <a:lnTo>
                    <a:pt x="124" y="10"/>
                  </a:lnTo>
                  <a:lnTo>
                    <a:pt x="128" y="8"/>
                  </a:lnTo>
                  <a:lnTo>
                    <a:pt x="130" y="4"/>
                  </a:lnTo>
                  <a:lnTo>
                    <a:pt x="136" y="6"/>
                  </a:lnTo>
                  <a:lnTo>
                    <a:pt x="142" y="6"/>
                  </a:lnTo>
                  <a:lnTo>
                    <a:pt x="146" y="6"/>
                  </a:lnTo>
                  <a:lnTo>
                    <a:pt x="150" y="4"/>
                  </a:lnTo>
                  <a:lnTo>
                    <a:pt x="156" y="2"/>
                  </a:lnTo>
                  <a:lnTo>
                    <a:pt x="164" y="2"/>
                  </a:lnTo>
                  <a:lnTo>
                    <a:pt x="172" y="2"/>
                  </a:lnTo>
                  <a:lnTo>
                    <a:pt x="172" y="4"/>
                  </a:lnTo>
                  <a:lnTo>
                    <a:pt x="176" y="4"/>
                  </a:lnTo>
                  <a:lnTo>
                    <a:pt x="178" y="2"/>
                  </a:lnTo>
                  <a:lnTo>
                    <a:pt x="182" y="4"/>
                  </a:lnTo>
                  <a:lnTo>
                    <a:pt x="186" y="4"/>
                  </a:lnTo>
                  <a:lnTo>
                    <a:pt x="186" y="2"/>
                  </a:lnTo>
                  <a:lnTo>
                    <a:pt x="192" y="0"/>
                  </a:lnTo>
                  <a:lnTo>
                    <a:pt x="196" y="2"/>
                  </a:lnTo>
                  <a:lnTo>
                    <a:pt x="198" y="6"/>
                  </a:lnTo>
                  <a:lnTo>
                    <a:pt x="200" y="6"/>
                  </a:lnTo>
                  <a:lnTo>
                    <a:pt x="202" y="0"/>
                  </a:lnTo>
                  <a:lnTo>
                    <a:pt x="208" y="2"/>
                  </a:lnTo>
                  <a:lnTo>
                    <a:pt x="208" y="8"/>
                  </a:lnTo>
                  <a:lnTo>
                    <a:pt x="208" y="12"/>
                  </a:lnTo>
                  <a:lnTo>
                    <a:pt x="210" y="14"/>
                  </a:lnTo>
                  <a:lnTo>
                    <a:pt x="212" y="16"/>
                  </a:lnTo>
                  <a:lnTo>
                    <a:pt x="212" y="20"/>
                  </a:lnTo>
                  <a:lnTo>
                    <a:pt x="212" y="26"/>
                  </a:lnTo>
                  <a:lnTo>
                    <a:pt x="212" y="34"/>
                  </a:lnTo>
                  <a:lnTo>
                    <a:pt x="212" y="36"/>
                  </a:lnTo>
                  <a:lnTo>
                    <a:pt x="212" y="38"/>
                  </a:lnTo>
                  <a:lnTo>
                    <a:pt x="212" y="40"/>
                  </a:lnTo>
                  <a:lnTo>
                    <a:pt x="210" y="40"/>
                  </a:lnTo>
                  <a:lnTo>
                    <a:pt x="208" y="46"/>
                  </a:lnTo>
                  <a:lnTo>
                    <a:pt x="204" y="50"/>
                  </a:lnTo>
                  <a:lnTo>
                    <a:pt x="200" y="50"/>
                  </a:lnTo>
                  <a:lnTo>
                    <a:pt x="200" y="54"/>
                  </a:lnTo>
                  <a:lnTo>
                    <a:pt x="202" y="68"/>
                  </a:lnTo>
                  <a:lnTo>
                    <a:pt x="204" y="68"/>
                  </a:lnTo>
                  <a:lnTo>
                    <a:pt x="206" y="68"/>
                  </a:lnTo>
                  <a:lnTo>
                    <a:pt x="208" y="70"/>
                  </a:lnTo>
                  <a:lnTo>
                    <a:pt x="210" y="80"/>
                  </a:lnTo>
                  <a:lnTo>
                    <a:pt x="216" y="82"/>
                  </a:lnTo>
                  <a:lnTo>
                    <a:pt x="220" y="112"/>
                  </a:lnTo>
                  <a:lnTo>
                    <a:pt x="218" y="114"/>
                  </a:lnTo>
                  <a:lnTo>
                    <a:pt x="218" y="116"/>
                  </a:lnTo>
                  <a:lnTo>
                    <a:pt x="220" y="118"/>
                  </a:lnTo>
                  <a:lnTo>
                    <a:pt x="220" y="120"/>
                  </a:lnTo>
                  <a:lnTo>
                    <a:pt x="220" y="146"/>
                  </a:lnTo>
                  <a:lnTo>
                    <a:pt x="224" y="152"/>
                  </a:lnTo>
                  <a:lnTo>
                    <a:pt x="222" y="154"/>
                  </a:lnTo>
                  <a:lnTo>
                    <a:pt x="220" y="156"/>
                  </a:lnTo>
                  <a:lnTo>
                    <a:pt x="220" y="158"/>
                  </a:lnTo>
                  <a:lnTo>
                    <a:pt x="222" y="158"/>
                  </a:lnTo>
                  <a:lnTo>
                    <a:pt x="220" y="162"/>
                  </a:lnTo>
                  <a:lnTo>
                    <a:pt x="222" y="168"/>
                  </a:lnTo>
                  <a:lnTo>
                    <a:pt x="220" y="178"/>
                  </a:lnTo>
                  <a:lnTo>
                    <a:pt x="218" y="182"/>
                  </a:lnTo>
                  <a:lnTo>
                    <a:pt x="216" y="184"/>
                  </a:lnTo>
                  <a:lnTo>
                    <a:pt x="212" y="186"/>
                  </a:lnTo>
                  <a:lnTo>
                    <a:pt x="216" y="190"/>
                  </a:lnTo>
                  <a:lnTo>
                    <a:pt x="218" y="194"/>
                  </a:lnTo>
                  <a:lnTo>
                    <a:pt x="222" y="200"/>
                  </a:lnTo>
                  <a:lnTo>
                    <a:pt x="224" y="204"/>
                  </a:lnTo>
                  <a:lnTo>
                    <a:pt x="224" y="208"/>
                  </a:lnTo>
                  <a:lnTo>
                    <a:pt x="226" y="214"/>
                  </a:lnTo>
                  <a:lnTo>
                    <a:pt x="228" y="216"/>
                  </a:lnTo>
                  <a:lnTo>
                    <a:pt x="230" y="216"/>
                  </a:lnTo>
                  <a:lnTo>
                    <a:pt x="240" y="218"/>
                  </a:lnTo>
                  <a:lnTo>
                    <a:pt x="242" y="222"/>
                  </a:lnTo>
                  <a:lnTo>
                    <a:pt x="244" y="224"/>
                  </a:lnTo>
                  <a:lnTo>
                    <a:pt x="246" y="224"/>
                  </a:lnTo>
                  <a:lnTo>
                    <a:pt x="248" y="224"/>
                  </a:lnTo>
                  <a:lnTo>
                    <a:pt x="250" y="226"/>
                  </a:lnTo>
                  <a:lnTo>
                    <a:pt x="254" y="230"/>
                  </a:lnTo>
                  <a:lnTo>
                    <a:pt x="254" y="23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3" name="Freeform 457">
              <a:extLst>
                <a:ext uri="{FF2B5EF4-FFF2-40B4-BE49-F238E27FC236}">
                  <a16:creationId xmlns:a16="http://schemas.microsoft.com/office/drawing/2014/main" id="{515C9CC4-8316-4422-BE34-932498598A7B}"/>
                </a:ext>
              </a:extLst>
            </p:cNvPr>
            <p:cNvSpPr>
              <a:spLocks/>
            </p:cNvSpPr>
            <p:nvPr/>
          </p:nvSpPr>
          <p:spPr bwMode="auto">
            <a:xfrm>
              <a:off x="3357836" y="3832964"/>
              <a:ext cx="33665" cy="67330"/>
            </a:xfrm>
            <a:custGeom>
              <a:avLst/>
              <a:gdLst/>
              <a:ahLst/>
              <a:cxnLst>
                <a:cxn ang="0">
                  <a:pos x="0" y="10"/>
                </a:cxn>
                <a:cxn ang="0">
                  <a:pos x="0" y="10"/>
                </a:cxn>
                <a:cxn ang="0">
                  <a:pos x="2" y="12"/>
                </a:cxn>
                <a:cxn ang="0">
                  <a:pos x="6" y="12"/>
                </a:cxn>
                <a:cxn ang="0">
                  <a:pos x="4" y="20"/>
                </a:cxn>
                <a:cxn ang="0">
                  <a:pos x="6" y="22"/>
                </a:cxn>
                <a:cxn ang="0">
                  <a:pos x="6" y="24"/>
                </a:cxn>
                <a:cxn ang="0">
                  <a:pos x="4" y="30"/>
                </a:cxn>
                <a:cxn ang="0">
                  <a:pos x="4" y="38"/>
                </a:cxn>
                <a:cxn ang="0">
                  <a:pos x="4" y="42"/>
                </a:cxn>
                <a:cxn ang="0">
                  <a:pos x="8" y="44"/>
                </a:cxn>
                <a:cxn ang="0">
                  <a:pos x="14" y="48"/>
                </a:cxn>
                <a:cxn ang="0">
                  <a:pos x="14" y="52"/>
                </a:cxn>
                <a:cxn ang="0">
                  <a:pos x="18" y="52"/>
                </a:cxn>
                <a:cxn ang="0">
                  <a:pos x="20" y="52"/>
                </a:cxn>
                <a:cxn ang="0">
                  <a:pos x="20" y="50"/>
                </a:cxn>
                <a:cxn ang="0">
                  <a:pos x="24" y="48"/>
                </a:cxn>
                <a:cxn ang="0">
                  <a:pos x="26" y="42"/>
                </a:cxn>
                <a:cxn ang="0">
                  <a:pos x="26" y="36"/>
                </a:cxn>
                <a:cxn ang="0">
                  <a:pos x="24" y="34"/>
                </a:cxn>
                <a:cxn ang="0">
                  <a:pos x="22" y="30"/>
                </a:cxn>
                <a:cxn ang="0">
                  <a:pos x="20" y="26"/>
                </a:cxn>
                <a:cxn ang="0">
                  <a:pos x="22" y="24"/>
                </a:cxn>
                <a:cxn ang="0">
                  <a:pos x="22" y="18"/>
                </a:cxn>
                <a:cxn ang="0">
                  <a:pos x="22" y="16"/>
                </a:cxn>
                <a:cxn ang="0">
                  <a:pos x="20" y="8"/>
                </a:cxn>
                <a:cxn ang="0">
                  <a:pos x="14" y="2"/>
                </a:cxn>
                <a:cxn ang="0">
                  <a:pos x="12" y="6"/>
                </a:cxn>
                <a:cxn ang="0">
                  <a:pos x="10" y="0"/>
                </a:cxn>
                <a:cxn ang="0">
                  <a:pos x="2" y="4"/>
                </a:cxn>
                <a:cxn ang="0">
                  <a:pos x="0" y="10"/>
                </a:cxn>
                <a:cxn ang="0">
                  <a:pos x="0" y="10"/>
                </a:cxn>
              </a:cxnLst>
              <a:rect l="0" t="0" r="r" b="b"/>
              <a:pathLst>
                <a:path w="26" h="52">
                  <a:moveTo>
                    <a:pt x="0" y="10"/>
                  </a:moveTo>
                  <a:lnTo>
                    <a:pt x="0" y="10"/>
                  </a:lnTo>
                  <a:lnTo>
                    <a:pt x="2" y="12"/>
                  </a:lnTo>
                  <a:lnTo>
                    <a:pt x="6" y="12"/>
                  </a:lnTo>
                  <a:lnTo>
                    <a:pt x="4" y="20"/>
                  </a:lnTo>
                  <a:lnTo>
                    <a:pt x="6" y="22"/>
                  </a:lnTo>
                  <a:lnTo>
                    <a:pt x="6" y="24"/>
                  </a:lnTo>
                  <a:lnTo>
                    <a:pt x="4" y="30"/>
                  </a:lnTo>
                  <a:lnTo>
                    <a:pt x="4" y="38"/>
                  </a:lnTo>
                  <a:lnTo>
                    <a:pt x="4" y="42"/>
                  </a:lnTo>
                  <a:lnTo>
                    <a:pt x="8" y="44"/>
                  </a:lnTo>
                  <a:lnTo>
                    <a:pt x="14" y="48"/>
                  </a:lnTo>
                  <a:lnTo>
                    <a:pt x="14" y="52"/>
                  </a:lnTo>
                  <a:lnTo>
                    <a:pt x="18" y="52"/>
                  </a:lnTo>
                  <a:lnTo>
                    <a:pt x="20" y="52"/>
                  </a:lnTo>
                  <a:lnTo>
                    <a:pt x="20" y="50"/>
                  </a:lnTo>
                  <a:lnTo>
                    <a:pt x="24" y="48"/>
                  </a:lnTo>
                  <a:lnTo>
                    <a:pt x="26" y="42"/>
                  </a:lnTo>
                  <a:lnTo>
                    <a:pt x="26" y="36"/>
                  </a:lnTo>
                  <a:lnTo>
                    <a:pt x="24" y="34"/>
                  </a:lnTo>
                  <a:lnTo>
                    <a:pt x="22" y="30"/>
                  </a:lnTo>
                  <a:lnTo>
                    <a:pt x="20" y="26"/>
                  </a:lnTo>
                  <a:lnTo>
                    <a:pt x="22" y="24"/>
                  </a:lnTo>
                  <a:lnTo>
                    <a:pt x="22" y="18"/>
                  </a:lnTo>
                  <a:lnTo>
                    <a:pt x="22" y="16"/>
                  </a:lnTo>
                  <a:lnTo>
                    <a:pt x="20" y="8"/>
                  </a:lnTo>
                  <a:lnTo>
                    <a:pt x="14" y="2"/>
                  </a:lnTo>
                  <a:lnTo>
                    <a:pt x="12" y="6"/>
                  </a:lnTo>
                  <a:lnTo>
                    <a:pt x="10" y="0"/>
                  </a:lnTo>
                  <a:lnTo>
                    <a:pt x="2" y="4"/>
                  </a:lnTo>
                  <a:lnTo>
                    <a:pt x="0" y="10"/>
                  </a:lnTo>
                  <a:lnTo>
                    <a:pt x="0"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4" name="Freeform 458">
              <a:extLst>
                <a:ext uri="{FF2B5EF4-FFF2-40B4-BE49-F238E27FC236}">
                  <a16:creationId xmlns:a16="http://schemas.microsoft.com/office/drawing/2014/main" id="{05FC9414-253A-424B-976F-4006981E224F}"/>
                </a:ext>
              </a:extLst>
            </p:cNvPr>
            <p:cNvSpPr>
              <a:spLocks/>
            </p:cNvSpPr>
            <p:nvPr/>
          </p:nvSpPr>
          <p:spPr bwMode="auto">
            <a:xfrm>
              <a:off x="3637514" y="3952086"/>
              <a:ext cx="111353" cy="116532"/>
            </a:xfrm>
            <a:custGeom>
              <a:avLst/>
              <a:gdLst/>
              <a:ahLst/>
              <a:cxnLst>
                <a:cxn ang="0">
                  <a:pos x="2" y="30"/>
                </a:cxn>
                <a:cxn ang="0">
                  <a:pos x="0" y="38"/>
                </a:cxn>
                <a:cxn ang="0">
                  <a:pos x="4" y="46"/>
                </a:cxn>
                <a:cxn ang="0">
                  <a:pos x="2" y="48"/>
                </a:cxn>
                <a:cxn ang="0">
                  <a:pos x="6" y="54"/>
                </a:cxn>
                <a:cxn ang="0">
                  <a:pos x="10" y="50"/>
                </a:cxn>
                <a:cxn ang="0">
                  <a:pos x="16" y="52"/>
                </a:cxn>
                <a:cxn ang="0">
                  <a:pos x="18" y="54"/>
                </a:cxn>
                <a:cxn ang="0">
                  <a:pos x="12" y="66"/>
                </a:cxn>
                <a:cxn ang="0">
                  <a:pos x="10" y="74"/>
                </a:cxn>
                <a:cxn ang="0">
                  <a:pos x="6" y="78"/>
                </a:cxn>
                <a:cxn ang="0">
                  <a:pos x="4" y="90"/>
                </a:cxn>
                <a:cxn ang="0">
                  <a:pos x="10" y="86"/>
                </a:cxn>
                <a:cxn ang="0">
                  <a:pos x="18" y="88"/>
                </a:cxn>
                <a:cxn ang="0">
                  <a:pos x="40" y="74"/>
                </a:cxn>
                <a:cxn ang="0">
                  <a:pos x="72" y="50"/>
                </a:cxn>
                <a:cxn ang="0">
                  <a:pos x="76" y="40"/>
                </a:cxn>
                <a:cxn ang="0">
                  <a:pos x="74" y="32"/>
                </a:cxn>
                <a:cxn ang="0">
                  <a:pos x="78" y="28"/>
                </a:cxn>
                <a:cxn ang="0">
                  <a:pos x="76" y="20"/>
                </a:cxn>
                <a:cxn ang="0">
                  <a:pos x="78" y="16"/>
                </a:cxn>
                <a:cxn ang="0">
                  <a:pos x="84" y="10"/>
                </a:cxn>
                <a:cxn ang="0">
                  <a:pos x="86" y="4"/>
                </a:cxn>
                <a:cxn ang="0">
                  <a:pos x="82" y="0"/>
                </a:cxn>
                <a:cxn ang="0">
                  <a:pos x="70" y="4"/>
                </a:cxn>
                <a:cxn ang="0">
                  <a:pos x="60" y="6"/>
                </a:cxn>
                <a:cxn ang="0">
                  <a:pos x="52" y="6"/>
                </a:cxn>
                <a:cxn ang="0">
                  <a:pos x="42" y="10"/>
                </a:cxn>
                <a:cxn ang="0">
                  <a:pos x="34" y="12"/>
                </a:cxn>
                <a:cxn ang="0">
                  <a:pos x="28" y="12"/>
                </a:cxn>
                <a:cxn ang="0">
                  <a:pos x="22" y="16"/>
                </a:cxn>
                <a:cxn ang="0">
                  <a:pos x="18" y="14"/>
                </a:cxn>
                <a:cxn ang="0">
                  <a:pos x="14" y="14"/>
                </a:cxn>
                <a:cxn ang="0">
                  <a:pos x="14" y="18"/>
                </a:cxn>
                <a:cxn ang="0">
                  <a:pos x="14" y="24"/>
                </a:cxn>
                <a:cxn ang="0">
                  <a:pos x="10" y="26"/>
                </a:cxn>
                <a:cxn ang="0">
                  <a:pos x="8" y="30"/>
                </a:cxn>
                <a:cxn ang="0">
                  <a:pos x="2" y="30"/>
                </a:cxn>
              </a:cxnLst>
              <a:rect l="0" t="0" r="r" b="b"/>
              <a:pathLst>
                <a:path w="86" h="90">
                  <a:moveTo>
                    <a:pt x="2" y="30"/>
                  </a:moveTo>
                  <a:lnTo>
                    <a:pt x="2" y="30"/>
                  </a:lnTo>
                  <a:lnTo>
                    <a:pt x="0" y="34"/>
                  </a:lnTo>
                  <a:lnTo>
                    <a:pt x="0" y="38"/>
                  </a:lnTo>
                  <a:lnTo>
                    <a:pt x="4" y="38"/>
                  </a:lnTo>
                  <a:lnTo>
                    <a:pt x="4" y="46"/>
                  </a:lnTo>
                  <a:lnTo>
                    <a:pt x="2" y="46"/>
                  </a:lnTo>
                  <a:lnTo>
                    <a:pt x="2" y="48"/>
                  </a:lnTo>
                  <a:lnTo>
                    <a:pt x="4" y="50"/>
                  </a:lnTo>
                  <a:lnTo>
                    <a:pt x="6" y="54"/>
                  </a:lnTo>
                  <a:lnTo>
                    <a:pt x="8" y="50"/>
                  </a:lnTo>
                  <a:lnTo>
                    <a:pt x="10" y="50"/>
                  </a:lnTo>
                  <a:lnTo>
                    <a:pt x="12" y="50"/>
                  </a:lnTo>
                  <a:lnTo>
                    <a:pt x="16" y="52"/>
                  </a:lnTo>
                  <a:lnTo>
                    <a:pt x="18" y="52"/>
                  </a:lnTo>
                  <a:lnTo>
                    <a:pt x="18" y="54"/>
                  </a:lnTo>
                  <a:lnTo>
                    <a:pt x="16" y="62"/>
                  </a:lnTo>
                  <a:lnTo>
                    <a:pt x="12" y="66"/>
                  </a:lnTo>
                  <a:lnTo>
                    <a:pt x="10" y="70"/>
                  </a:lnTo>
                  <a:lnTo>
                    <a:pt x="10" y="74"/>
                  </a:lnTo>
                  <a:lnTo>
                    <a:pt x="8" y="76"/>
                  </a:lnTo>
                  <a:lnTo>
                    <a:pt x="6" y="78"/>
                  </a:lnTo>
                  <a:lnTo>
                    <a:pt x="2" y="84"/>
                  </a:lnTo>
                  <a:lnTo>
                    <a:pt x="4" y="90"/>
                  </a:lnTo>
                  <a:lnTo>
                    <a:pt x="6" y="88"/>
                  </a:lnTo>
                  <a:lnTo>
                    <a:pt x="10" y="86"/>
                  </a:lnTo>
                  <a:lnTo>
                    <a:pt x="12" y="86"/>
                  </a:lnTo>
                  <a:lnTo>
                    <a:pt x="18" y="88"/>
                  </a:lnTo>
                  <a:lnTo>
                    <a:pt x="22" y="90"/>
                  </a:lnTo>
                  <a:lnTo>
                    <a:pt x="40" y="74"/>
                  </a:lnTo>
                  <a:lnTo>
                    <a:pt x="68" y="54"/>
                  </a:lnTo>
                  <a:lnTo>
                    <a:pt x="72" y="50"/>
                  </a:lnTo>
                  <a:lnTo>
                    <a:pt x="74" y="42"/>
                  </a:lnTo>
                  <a:lnTo>
                    <a:pt x="76" y="40"/>
                  </a:lnTo>
                  <a:lnTo>
                    <a:pt x="74" y="36"/>
                  </a:lnTo>
                  <a:lnTo>
                    <a:pt x="74" y="32"/>
                  </a:lnTo>
                  <a:lnTo>
                    <a:pt x="74" y="30"/>
                  </a:lnTo>
                  <a:lnTo>
                    <a:pt x="78" y="28"/>
                  </a:lnTo>
                  <a:lnTo>
                    <a:pt x="76" y="24"/>
                  </a:lnTo>
                  <a:lnTo>
                    <a:pt x="76" y="20"/>
                  </a:lnTo>
                  <a:lnTo>
                    <a:pt x="76" y="18"/>
                  </a:lnTo>
                  <a:lnTo>
                    <a:pt x="78" y="16"/>
                  </a:lnTo>
                  <a:lnTo>
                    <a:pt x="82" y="12"/>
                  </a:lnTo>
                  <a:lnTo>
                    <a:pt x="84" y="10"/>
                  </a:lnTo>
                  <a:lnTo>
                    <a:pt x="86" y="6"/>
                  </a:lnTo>
                  <a:lnTo>
                    <a:pt x="86" y="4"/>
                  </a:lnTo>
                  <a:lnTo>
                    <a:pt x="82" y="4"/>
                  </a:lnTo>
                  <a:lnTo>
                    <a:pt x="82" y="0"/>
                  </a:lnTo>
                  <a:lnTo>
                    <a:pt x="76" y="2"/>
                  </a:lnTo>
                  <a:lnTo>
                    <a:pt x="70" y="4"/>
                  </a:lnTo>
                  <a:lnTo>
                    <a:pt x="66" y="6"/>
                  </a:lnTo>
                  <a:lnTo>
                    <a:pt x="60" y="6"/>
                  </a:lnTo>
                  <a:lnTo>
                    <a:pt x="56" y="6"/>
                  </a:lnTo>
                  <a:lnTo>
                    <a:pt x="52" y="6"/>
                  </a:lnTo>
                  <a:lnTo>
                    <a:pt x="46" y="10"/>
                  </a:lnTo>
                  <a:lnTo>
                    <a:pt x="42" y="10"/>
                  </a:lnTo>
                  <a:lnTo>
                    <a:pt x="36" y="12"/>
                  </a:lnTo>
                  <a:lnTo>
                    <a:pt x="34" y="12"/>
                  </a:lnTo>
                  <a:lnTo>
                    <a:pt x="32" y="12"/>
                  </a:lnTo>
                  <a:lnTo>
                    <a:pt x="28" y="12"/>
                  </a:lnTo>
                  <a:lnTo>
                    <a:pt x="24" y="12"/>
                  </a:lnTo>
                  <a:lnTo>
                    <a:pt x="22" y="16"/>
                  </a:lnTo>
                  <a:lnTo>
                    <a:pt x="20" y="16"/>
                  </a:lnTo>
                  <a:lnTo>
                    <a:pt x="18" y="14"/>
                  </a:lnTo>
                  <a:lnTo>
                    <a:pt x="16" y="14"/>
                  </a:lnTo>
                  <a:lnTo>
                    <a:pt x="14" y="14"/>
                  </a:lnTo>
                  <a:lnTo>
                    <a:pt x="14" y="16"/>
                  </a:lnTo>
                  <a:lnTo>
                    <a:pt x="14" y="18"/>
                  </a:lnTo>
                  <a:lnTo>
                    <a:pt x="14" y="22"/>
                  </a:lnTo>
                  <a:lnTo>
                    <a:pt x="14" y="24"/>
                  </a:lnTo>
                  <a:lnTo>
                    <a:pt x="12" y="24"/>
                  </a:lnTo>
                  <a:lnTo>
                    <a:pt x="10" y="26"/>
                  </a:lnTo>
                  <a:lnTo>
                    <a:pt x="8" y="28"/>
                  </a:lnTo>
                  <a:lnTo>
                    <a:pt x="8" y="30"/>
                  </a:lnTo>
                  <a:lnTo>
                    <a:pt x="6" y="30"/>
                  </a:lnTo>
                  <a:lnTo>
                    <a:pt x="2" y="30"/>
                  </a:lnTo>
                  <a:lnTo>
                    <a:pt x="2" y="3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5" name="Freeform 459">
              <a:extLst>
                <a:ext uri="{FF2B5EF4-FFF2-40B4-BE49-F238E27FC236}">
                  <a16:creationId xmlns:a16="http://schemas.microsoft.com/office/drawing/2014/main" id="{2AFD0F3B-A29D-4DEF-AC91-98DD70A2253D}"/>
                </a:ext>
              </a:extLst>
            </p:cNvPr>
            <p:cNvSpPr>
              <a:spLocks/>
            </p:cNvSpPr>
            <p:nvPr/>
          </p:nvSpPr>
          <p:spPr bwMode="auto">
            <a:xfrm>
              <a:off x="3619387" y="4078977"/>
              <a:ext cx="354777" cy="339239"/>
            </a:xfrm>
            <a:custGeom>
              <a:avLst/>
              <a:gdLst/>
              <a:ahLst/>
              <a:cxnLst>
                <a:cxn ang="0">
                  <a:pos x="104" y="250"/>
                </a:cxn>
                <a:cxn ang="0">
                  <a:pos x="108" y="246"/>
                </a:cxn>
                <a:cxn ang="0">
                  <a:pos x="110" y="242"/>
                </a:cxn>
                <a:cxn ang="0">
                  <a:pos x="110" y="238"/>
                </a:cxn>
                <a:cxn ang="0">
                  <a:pos x="114" y="236"/>
                </a:cxn>
                <a:cxn ang="0">
                  <a:pos x="118" y="236"/>
                </a:cxn>
                <a:cxn ang="0">
                  <a:pos x="118" y="240"/>
                </a:cxn>
                <a:cxn ang="0">
                  <a:pos x="126" y="240"/>
                </a:cxn>
                <a:cxn ang="0">
                  <a:pos x="150" y="246"/>
                </a:cxn>
                <a:cxn ang="0">
                  <a:pos x="160" y="254"/>
                </a:cxn>
                <a:cxn ang="0">
                  <a:pos x="222" y="216"/>
                </a:cxn>
                <a:cxn ang="0">
                  <a:pos x="268" y="192"/>
                </a:cxn>
                <a:cxn ang="0">
                  <a:pos x="274" y="158"/>
                </a:cxn>
                <a:cxn ang="0">
                  <a:pos x="260" y="148"/>
                </a:cxn>
                <a:cxn ang="0">
                  <a:pos x="218" y="128"/>
                </a:cxn>
                <a:cxn ang="0">
                  <a:pos x="210" y="114"/>
                </a:cxn>
                <a:cxn ang="0">
                  <a:pos x="202" y="110"/>
                </a:cxn>
                <a:cxn ang="0">
                  <a:pos x="200" y="106"/>
                </a:cxn>
                <a:cxn ang="0">
                  <a:pos x="200" y="92"/>
                </a:cxn>
                <a:cxn ang="0">
                  <a:pos x="198" y="86"/>
                </a:cxn>
                <a:cxn ang="0">
                  <a:pos x="192" y="80"/>
                </a:cxn>
                <a:cxn ang="0">
                  <a:pos x="188" y="78"/>
                </a:cxn>
                <a:cxn ang="0">
                  <a:pos x="188" y="72"/>
                </a:cxn>
                <a:cxn ang="0">
                  <a:pos x="184" y="68"/>
                </a:cxn>
                <a:cxn ang="0">
                  <a:pos x="180" y="64"/>
                </a:cxn>
                <a:cxn ang="0">
                  <a:pos x="176" y="50"/>
                </a:cxn>
                <a:cxn ang="0">
                  <a:pos x="164" y="50"/>
                </a:cxn>
                <a:cxn ang="0">
                  <a:pos x="144" y="40"/>
                </a:cxn>
                <a:cxn ang="0">
                  <a:pos x="110" y="32"/>
                </a:cxn>
                <a:cxn ang="0">
                  <a:pos x="100" y="24"/>
                </a:cxn>
                <a:cxn ang="0">
                  <a:pos x="62" y="0"/>
                </a:cxn>
                <a:cxn ang="0">
                  <a:pos x="36" y="10"/>
                </a:cxn>
                <a:cxn ang="0">
                  <a:pos x="42" y="24"/>
                </a:cxn>
                <a:cxn ang="0">
                  <a:pos x="38" y="28"/>
                </a:cxn>
                <a:cxn ang="0">
                  <a:pos x="32" y="34"/>
                </a:cxn>
                <a:cxn ang="0">
                  <a:pos x="28" y="38"/>
                </a:cxn>
                <a:cxn ang="0">
                  <a:pos x="4" y="46"/>
                </a:cxn>
                <a:cxn ang="0">
                  <a:pos x="2" y="54"/>
                </a:cxn>
                <a:cxn ang="0">
                  <a:pos x="0" y="58"/>
                </a:cxn>
                <a:cxn ang="0">
                  <a:pos x="0" y="62"/>
                </a:cxn>
                <a:cxn ang="0">
                  <a:pos x="8" y="64"/>
                </a:cxn>
                <a:cxn ang="0">
                  <a:pos x="12" y="70"/>
                </a:cxn>
                <a:cxn ang="0">
                  <a:pos x="20" y="82"/>
                </a:cxn>
                <a:cxn ang="0">
                  <a:pos x="22" y="88"/>
                </a:cxn>
                <a:cxn ang="0">
                  <a:pos x="26" y="94"/>
                </a:cxn>
                <a:cxn ang="0">
                  <a:pos x="32" y="98"/>
                </a:cxn>
                <a:cxn ang="0">
                  <a:pos x="34" y="100"/>
                </a:cxn>
                <a:cxn ang="0">
                  <a:pos x="36" y="110"/>
                </a:cxn>
                <a:cxn ang="0">
                  <a:pos x="40" y="120"/>
                </a:cxn>
                <a:cxn ang="0">
                  <a:pos x="48" y="128"/>
                </a:cxn>
                <a:cxn ang="0">
                  <a:pos x="54" y="146"/>
                </a:cxn>
                <a:cxn ang="0">
                  <a:pos x="52" y="162"/>
                </a:cxn>
                <a:cxn ang="0">
                  <a:pos x="52" y="168"/>
                </a:cxn>
                <a:cxn ang="0">
                  <a:pos x="56" y="176"/>
                </a:cxn>
                <a:cxn ang="0">
                  <a:pos x="62" y="190"/>
                </a:cxn>
                <a:cxn ang="0">
                  <a:pos x="64" y="196"/>
                </a:cxn>
                <a:cxn ang="0">
                  <a:pos x="68" y="200"/>
                </a:cxn>
                <a:cxn ang="0">
                  <a:pos x="72" y="198"/>
                </a:cxn>
                <a:cxn ang="0">
                  <a:pos x="84" y="212"/>
                </a:cxn>
                <a:cxn ang="0">
                  <a:pos x="86" y="220"/>
                </a:cxn>
                <a:cxn ang="0">
                  <a:pos x="88" y="228"/>
                </a:cxn>
                <a:cxn ang="0">
                  <a:pos x="96" y="236"/>
                </a:cxn>
                <a:cxn ang="0">
                  <a:pos x="104" y="250"/>
                </a:cxn>
              </a:cxnLst>
              <a:rect l="0" t="0" r="r" b="b"/>
              <a:pathLst>
                <a:path w="274" h="262">
                  <a:moveTo>
                    <a:pt x="104" y="250"/>
                  </a:moveTo>
                  <a:lnTo>
                    <a:pt x="104" y="250"/>
                  </a:lnTo>
                  <a:lnTo>
                    <a:pt x="106" y="250"/>
                  </a:lnTo>
                  <a:lnTo>
                    <a:pt x="108" y="246"/>
                  </a:lnTo>
                  <a:lnTo>
                    <a:pt x="110" y="244"/>
                  </a:lnTo>
                  <a:lnTo>
                    <a:pt x="110" y="242"/>
                  </a:lnTo>
                  <a:lnTo>
                    <a:pt x="110" y="240"/>
                  </a:lnTo>
                  <a:lnTo>
                    <a:pt x="110" y="238"/>
                  </a:lnTo>
                  <a:lnTo>
                    <a:pt x="112" y="236"/>
                  </a:lnTo>
                  <a:lnTo>
                    <a:pt x="114" y="236"/>
                  </a:lnTo>
                  <a:lnTo>
                    <a:pt x="116" y="236"/>
                  </a:lnTo>
                  <a:lnTo>
                    <a:pt x="118" y="236"/>
                  </a:lnTo>
                  <a:lnTo>
                    <a:pt x="118" y="238"/>
                  </a:lnTo>
                  <a:lnTo>
                    <a:pt x="118" y="240"/>
                  </a:lnTo>
                  <a:lnTo>
                    <a:pt x="122" y="240"/>
                  </a:lnTo>
                  <a:lnTo>
                    <a:pt x="126" y="240"/>
                  </a:lnTo>
                  <a:lnTo>
                    <a:pt x="140" y="242"/>
                  </a:lnTo>
                  <a:lnTo>
                    <a:pt x="150" y="246"/>
                  </a:lnTo>
                  <a:lnTo>
                    <a:pt x="152" y="262"/>
                  </a:lnTo>
                  <a:lnTo>
                    <a:pt x="160" y="254"/>
                  </a:lnTo>
                  <a:lnTo>
                    <a:pt x="176" y="232"/>
                  </a:lnTo>
                  <a:lnTo>
                    <a:pt x="222" y="216"/>
                  </a:lnTo>
                  <a:lnTo>
                    <a:pt x="264" y="198"/>
                  </a:lnTo>
                  <a:lnTo>
                    <a:pt x="268" y="192"/>
                  </a:lnTo>
                  <a:lnTo>
                    <a:pt x="270" y="178"/>
                  </a:lnTo>
                  <a:lnTo>
                    <a:pt x="274" y="158"/>
                  </a:lnTo>
                  <a:lnTo>
                    <a:pt x="264" y="148"/>
                  </a:lnTo>
                  <a:lnTo>
                    <a:pt x="260" y="148"/>
                  </a:lnTo>
                  <a:lnTo>
                    <a:pt x="218" y="140"/>
                  </a:lnTo>
                  <a:lnTo>
                    <a:pt x="218" y="128"/>
                  </a:lnTo>
                  <a:lnTo>
                    <a:pt x="210" y="120"/>
                  </a:lnTo>
                  <a:lnTo>
                    <a:pt x="210" y="114"/>
                  </a:lnTo>
                  <a:lnTo>
                    <a:pt x="204" y="110"/>
                  </a:lnTo>
                  <a:lnTo>
                    <a:pt x="202" y="110"/>
                  </a:lnTo>
                  <a:lnTo>
                    <a:pt x="200" y="108"/>
                  </a:lnTo>
                  <a:lnTo>
                    <a:pt x="200" y="106"/>
                  </a:lnTo>
                  <a:lnTo>
                    <a:pt x="200" y="96"/>
                  </a:lnTo>
                  <a:lnTo>
                    <a:pt x="200" y="92"/>
                  </a:lnTo>
                  <a:lnTo>
                    <a:pt x="200" y="86"/>
                  </a:lnTo>
                  <a:lnTo>
                    <a:pt x="198" y="86"/>
                  </a:lnTo>
                  <a:lnTo>
                    <a:pt x="194" y="84"/>
                  </a:lnTo>
                  <a:lnTo>
                    <a:pt x="192" y="80"/>
                  </a:lnTo>
                  <a:lnTo>
                    <a:pt x="190" y="80"/>
                  </a:lnTo>
                  <a:lnTo>
                    <a:pt x="188" y="78"/>
                  </a:lnTo>
                  <a:lnTo>
                    <a:pt x="188" y="76"/>
                  </a:lnTo>
                  <a:lnTo>
                    <a:pt x="188" y="72"/>
                  </a:lnTo>
                  <a:lnTo>
                    <a:pt x="184" y="72"/>
                  </a:lnTo>
                  <a:lnTo>
                    <a:pt x="184" y="68"/>
                  </a:lnTo>
                  <a:lnTo>
                    <a:pt x="180" y="68"/>
                  </a:lnTo>
                  <a:lnTo>
                    <a:pt x="180" y="64"/>
                  </a:lnTo>
                  <a:lnTo>
                    <a:pt x="176" y="54"/>
                  </a:lnTo>
                  <a:lnTo>
                    <a:pt x="176" y="50"/>
                  </a:lnTo>
                  <a:lnTo>
                    <a:pt x="174" y="50"/>
                  </a:lnTo>
                  <a:lnTo>
                    <a:pt x="164" y="50"/>
                  </a:lnTo>
                  <a:lnTo>
                    <a:pt x="162" y="44"/>
                  </a:lnTo>
                  <a:lnTo>
                    <a:pt x="144" y="40"/>
                  </a:lnTo>
                  <a:lnTo>
                    <a:pt x="120" y="38"/>
                  </a:lnTo>
                  <a:lnTo>
                    <a:pt x="110" y="32"/>
                  </a:lnTo>
                  <a:lnTo>
                    <a:pt x="110" y="24"/>
                  </a:lnTo>
                  <a:lnTo>
                    <a:pt x="100" y="24"/>
                  </a:lnTo>
                  <a:lnTo>
                    <a:pt x="100" y="20"/>
                  </a:lnTo>
                  <a:lnTo>
                    <a:pt x="62" y="0"/>
                  </a:lnTo>
                  <a:lnTo>
                    <a:pt x="62" y="2"/>
                  </a:lnTo>
                  <a:lnTo>
                    <a:pt x="36" y="10"/>
                  </a:lnTo>
                  <a:lnTo>
                    <a:pt x="46" y="22"/>
                  </a:lnTo>
                  <a:lnTo>
                    <a:pt x="42" y="24"/>
                  </a:lnTo>
                  <a:lnTo>
                    <a:pt x="40" y="26"/>
                  </a:lnTo>
                  <a:lnTo>
                    <a:pt x="38" y="28"/>
                  </a:lnTo>
                  <a:lnTo>
                    <a:pt x="36" y="30"/>
                  </a:lnTo>
                  <a:lnTo>
                    <a:pt x="32" y="34"/>
                  </a:lnTo>
                  <a:lnTo>
                    <a:pt x="30" y="38"/>
                  </a:lnTo>
                  <a:lnTo>
                    <a:pt x="28" y="38"/>
                  </a:lnTo>
                  <a:lnTo>
                    <a:pt x="18" y="46"/>
                  </a:lnTo>
                  <a:lnTo>
                    <a:pt x="4" y="46"/>
                  </a:lnTo>
                  <a:lnTo>
                    <a:pt x="0" y="54"/>
                  </a:lnTo>
                  <a:lnTo>
                    <a:pt x="2" y="54"/>
                  </a:lnTo>
                  <a:lnTo>
                    <a:pt x="2" y="58"/>
                  </a:lnTo>
                  <a:lnTo>
                    <a:pt x="0" y="58"/>
                  </a:lnTo>
                  <a:lnTo>
                    <a:pt x="0" y="60"/>
                  </a:lnTo>
                  <a:lnTo>
                    <a:pt x="0" y="62"/>
                  </a:lnTo>
                  <a:lnTo>
                    <a:pt x="6" y="64"/>
                  </a:lnTo>
                  <a:lnTo>
                    <a:pt x="8" y="64"/>
                  </a:lnTo>
                  <a:lnTo>
                    <a:pt x="10" y="66"/>
                  </a:lnTo>
                  <a:lnTo>
                    <a:pt x="12" y="70"/>
                  </a:lnTo>
                  <a:lnTo>
                    <a:pt x="16" y="80"/>
                  </a:lnTo>
                  <a:lnTo>
                    <a:pt x="20" y="82"/>
                  </a:lnTo>
                  <a:lnTo>
                    <a:pt x="22" y="84"/>
                  </a:lnTo>
                  <a:lnTo>
                    <a:pt x="22" y="88"/>
                  </a:lnTo>
                  <a:lnTo>
                    <a:pt x="26" y="90"/>
                  </a:lnTo>
                  <a:lnTo>
                    <a:pt x="26" y="94"/>
                  </a:lnTo>
                  <a:lnTo>
                    <a:pt x="30" y="96"/>
                  </a:lnTo>
                  <a:lnTo>
                    <a:pt x="32" y="98"/>
                  </a:lnTo>
                  <a:lnTo>
                    <a:pt x="32" y="100"/>
                  </a:lnTo>
                  <a:lnTo>
                    <a:pt x="34" y="100"/>
                  </a:lnTo>
                  <a:lnTo>
                    <a:pt x="36" y="104"/>
                  </a:lnTo>
                  <a:lnTo>
                    <a:pt x="36" y="110"/>
                  </a:lnTo>
                  <a:lnTo>
                    <a:pt x="38" y="116"/>
                  </a:lnTo>
                  <a:lnTo>
                    <a:pt x="40" y="120"/>
                  </a:lnTo>
                  <a:lnTo>
                    <a:pt x="42" y="120"/>
                  </a:lnTo>
                  <a:lnTo>
                    <a:pt x="48" y="128"/>
                  </a:lnTo>
                  <a:lnTo>
                    <a:pt x="52" y="136"/>
                  </a:lnTo>
                  <a:lnTo>
                    <a:pt x="54" y="146"/>
                  </a:lnTo>
                  <a:lnTo>
                    <a:pt x="56" y="158"/>
                  </a:lnTo>
                  <a:lnTo>
                    <a:pt x="52" y="162"/>
                  </a:lnTo>
                  <a:lnTo>
                    <a:pt x="52" y="164"/>
                  </a:lnTo>
                  <a:lnTo>
                    <a:pt x="52" y="168"/>
                  </a:lnTo>
                  <a:lnTo>
                    <a:pt x="56" y="168"/>
                  </a:lnTo>
                  <a:lnTo>
                    <a:pt x="56" y="176"/>
                  </a:lnTo>
                  <a:lnTo>
                    <a:pt x="58" y="186"/>
                  </a:lnTo>
                  <a:lnTo>
                    <a:pt x="62" y="190"/>
                  </a:lnTo>
                  <a:lnTo>
                    <a:pt x="62" y="194"/>
                  </a:lnTo>
                  <a:lnTo>
                    <a:pt x="64" y="196"/>
                  </a:lnTo>
                  <a:lnTo>
                    <a:pt x="66" y="198"/>
                  </a:lnTo>
                  <a:lnTo>
                    <a:pt x="68" y="200"/>
                  </a:lnTo>
                  <a:lnTo>
                    <a:pt x="70" y="200"/>
                  </a:lnTo>
                  <a:lnTo>
                    <a:pt x="72" y="198"/>
                  </a:lnTo>
                  <a:lnTo>
                    <a:pt x="80" y="206"/>
                  </a:lnTo>
                  <a:lnTo>
                    <a:pt x="84" y="212"/>
                  </a:lnTo>
                  <a:lnTo>
                    <a:pt x="84" y="216"/>
                  </a:lnTo>
                  <a:lnTo>
                    <a:pt x="86" y="220"/>
                  </a:lnTo>
                  <a:lnTo>
                    <a:pt x="88" y="224"/>
                  </a:lnTo>
                  <a:lnTo>
                    <a:pt x="88" y="228"/>
                  </a:lnTo>
                  <a:lnTo>
                    <a:pt x="88" y="232"/>
                  </a:lnTo>
                  <a:lnTo>
                    <a:pt x="96" y="236"/>
                  </a:lnTo>
                  <a:lnTo>
                    <a:pt x="98" y="244"/>
                  </a:lnTo>
                  <a:lnTo>
                    <a:pt x="104" y="250"/>
                  </a:lnTo>
                  <a:lnTo>
                    <a:pt x="104" y="25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6" name="Freeform 460">
              <a:extLst>
                <a:ext uri="{FF2B5EF4-FFF2-40B4-BE49-F238E27FC236}">
                  <a16:creationId xmlns:a16="http://schemas.microsoft.com/office/drawing/2014/main" id="{A30A147E-9348-425E-8388-AF23BA9462C0}"/>
                </a:ext>
              </a:extLst>
            </p:cNvPr>
            <p:cNvSpPr>
              <a:spLocks noEditPoints="1"/>
            </p:cNvSpPr>
            <p:nvPr/>
          </p:nvSpPr>
          <p:spPr bwMode="auto">
            <a:xfrm>
              <a:off x="3906833" y="4203278"/>
              <a:ext cx="132070" cy="201990"/>
            </a:xfrm>
            <a:custGeom>
              <a:avLst/>
              <a:gdLst/>
              <a:ahLst/>
              <a:cxnLst>
                <a:cxn ang="0">
                  <a:pos x="54" y="6"/>
                </a:cxn>
                <a:cxn ang="0">
                  <a:pos x="56" y="12"/>
                </a:cxn>
                <a:cxn ang="0">
                  <a:pos x="52" y="2"/>
                </a:cxn>
                <a:cxn ang="0">
                  <a:pos x="52" y="6"/>
                </a:cxn>
                <a:cxn ang="0">
                  <a:pos x="58" y="18"/>
                </a:cxn>
                <a:cxn ang="0">
                  <a:pos x="66" y="28"/>
                </a:cxn>
                <a:cxn ang="0">
                  <a:pos x="72" y="38"/>
                </a:cxn>
                <a:cxn ang="0">
                  <a:pos x="84" y="42"/>
                </a:cxn>
                <a:cxn ang="0">
                  <a:pos x="90" y="46"/>
                </a:cxn>
                <a:cxn ang="0">
                  <a:pos x="96" y="52"/>
                </a:cxn>
                <a:cxn ang="0">
                  <a:pos x="96" y="56"/>
                </a:cxn>
                <a:cxn ang="0">
                  <a:pos x="102" y="60"/>
                </a:cxn>
                <a:cxn ang="0">
                  <a:pos x="98" y="70"/>
                </a:cxn>
                <a:cxn ang="0">
                  <a:pos x="96" y="78"/>
                </a:cxn>
                <a:cxn ang="0">
                  <a:pos x="92" y="84"/>
                </a:cxn>
                <a:cxn ang="0">
                  <a:pos x="86" y="94"/>
                </a:cxn>
                <a:cxn ang="0">
                  <a:pos x="86" y="102"/>
                </a:cxn>
                <a:cxn ang="0">
                  <a:pos x="78" y="110"/>
                </a:cxn>
                <a:cxn ang="0">
                  <a:pos x="72" y="122"/>
                </a:cxn>
                <a:cxn ang="0">
                  <a:pos x="66" y="126"/>
                </a:cxn>
                <a:cxn ang="0">
                  <a:pos x="62" y="136"/>
                </a:cxn>
                <a:cxn ang="0">
                  <a:pos x="46" y="138"/>
                </a:cxn>
                <a:cxn ang="0">
                  <a:pos x="42" y="150"/>
                </a:cxn>
                <a:cxn ang="0">
                  <a:pos x="32" y="152"/>
                </a:cxn>
                <a:cxn ang="0">
                  <a:pos x="26" y="156"/>
                </a:cxn>
                <a:cxn ang="0">
                  <a:pos x="14" y="152"/>
                </a:cxn>
                <a:cxn ang="0">
                  <a:pos x="0" y="120"/>
                </a:cxn>
                <a:cxn ang="0">
                  <a:pos x="46" y="96"/>
                </a:cxn>
                <a:cxn ang="0">
                  <a:pos x="52" y="62"/>
                </a:cxn>
                <a:cxn ang="0">
                  <a:pos x="44" y="48"/>
                </a:cxn>
                <a:cxn ang="0">
                  <a:pos x="48" y="40"/>
                </a:cxn>
                <a:cxn ang="0">
                  <a:pos x="48" y="32"/>
                </a:cxn>
                <a:cxn ang="0">
                  <a:pos x="48" y="28"/>
                </a:cxn>
                <a:cxn ang="0">
                  <a:pos x="50" y="24"/>
                </a:cxn>
                <a:cxn ang="0">
                  <a:pos x="48" y="18"/>
                </a:cxn>
                <a:cxn ang="0">
                  <a:pos x="52" y="22"/>
                </a:cxn>
                <a:cxn ang="0">
                  <a:pos x="56" y="20"/>
                </a:cxn>
                <a:cxn ang="0">
                  <a:pos x="58" y="18"/>
                </a:cxn>
              </a:cxnLst>
              <a:rect l="0" t="0" r="r" b="b"/>
              <a:pathLst>
                <a:path w="102" h="156">
                  <a:moveTo>
                    <a:pt x="52" y="6"/>
                  </a:moveTo>
                  <a:lnTo>
                    <a:pt x="54" y="6"/>
                  </a:lnTo>
                  <a:lnTo>
                    <a:pt x="52" y="12"/>
                  </a:lnTo>
                  <a:lnTo>
                    <a:pt x="56" y="12"/>
                  </a:lnTo>
                  <a:lnTo>
                    <a:pt x="56" y="0"/>
                  </a:lnTo>
                  <a:lnTo>
                    <a:pt x="52" y="2"/>
                  </a:lnTo>
                  <a:lnTo>
                    <a:pt x="52" y="6"/>
                  </a:lnTo>
                  <a:lnTo>
                    <a:pt x="52" y="6"/>
                  </a:lnTo>
                  <a:close/>
                  <a:moveTo>
                    <a:pt x="58" y="18"/>
                  </a:moveTo>
                  <a:lnTo>
                    <a:pt x="58" y="18"/>
                  </a:lnTo>
                  <a:lnTo>
                    <a:pt x="60" y="24"/>
                  </a:lnTo>
                  <a:lnTo>
                    <a:pt x="66" y="28"/>
                  </a:lnTo>
                  <a:lnTo>
                    <a:pt x="70" y="34"/>
                  </a:lnTo>
                  <a:lnTo>
                    <a:pt x="72" y="38"/>
                  </a:lnTo>
                  <a:lnTo>
                    <a:pt x="76" y="38"/>
                  </a:lnTo>
                  <a:lnTo>
                    <a:pt x="84" y="42"/>
                  </a:lnTo>
                  <a:lnTo>
                    <a:pt x="86" y="44"/>
                  </a:lnTo>
                  <a:lnTo>
                    <a:pt x="90" y="46"/>
                  </a:lnTo>
                  <a:lnTo>
                    <a:pt x="92" y="46"/>
                  </a:lnTo>
                  <a:lnTo>
                    <a:pt x="96" y="52"/>
                  </a:lnTo>
                  <a:lnTo>
                    <a:pt x="96" y="54"/>
                  </a:lnTo>
                  <a:lnTo>
                    <a:pt x="96" y="56"/>
                  </a:lnTo>
                  <a:lnTo>
                    <a:pt x="100" y="58"/>
                  </a:lnTo>
                  <a:lnTo>
                    <a:pt x="102" y="60"/>
                  </a:lnTo>
                  <a:lnTo>
                    <a:pt x="102" y="64"/>
                  </a:lnTo>
                  <a:lnTo>
                    <a:pt x="98" y="70"/>
                  </a:lnTo>
                  <a:lnTo>
                    <a:pt x="98" y="74"/>
                  </a:lnTo>
                  <a:lnTo>
                    <a:pt x="96" y="78"/>
                  </a:lnTo>
                  <a:lnTo>
                    <a:pt x="96" y="80"/>
                  </a:lnTo>
                  <a:lnTo>
                    <a:pt x="92" y="84"/>
                  </a:lnTo>
                  <a:lnTo>
                    <a:pt x="90" y="92"/>
                  </a:lnTo>
                  <a:lnTo>
                    <a:pt x="86" y="94"/>
                  </a:lnTo>
                  <a:lnTo>
                    <a:pt x="86" y="98"/>
                  </a:lnTo>
                  <a:lnTo>
                    <a:pt x="86" y="102"/>
                  </a:lnTo>
                  <a:lnTo>
                    <a:pt x="82" y="100"/>
                  </a:lnTo>
                  <a:lnTo>
                    <a:pt x="78" y="110"/>
                  </a:lnTo>
                  <a:lnTo>
                    <a:pt x="78" y="120"/>
                  </a:lnTo>
                  <a:lnTo>
                    <a:pt x="72" y="122"/>
                  </a:lnTo>
                  <a:lnTo>
                    <a:pt x="66" y="124"/>
                  </a:lnTo>
                  <a:lnTo>
                    <a:pt x="66" y="126"/>
                  </a:lnTo>
                  <a:lnTo>
                    <a:pt x="62" y="132"/>
                  </a:lnTo>
                  <a:lnTo>
                    <a:pt x="62" y="136"/>
                  </a:lnTo>
                  <a:lnTo>
                    <a:pt x="56" y="138"/>
                  </a:lnTo>
                  <a:lnTo>
                    <a:pt x="46" y="138"/>
                  </a:lnTo>
                  <a:lnTo>
                    <a:pt x="44" y="144"/>
                  </a:lnTo>
                  <a:lnTo>
                    <a:pt x="42" y="150"/>
                  </a:lnTo>
                  <a:lnTo>
                    <a:pt x="36" y="150"/>
                  </a:lnTo>
                  <a:lnTo>
                    <a:pt x="32" y="152"/>
                  </a:lnTo>
                  <a:lnTo>
                    <a:pt x="26" y="154"/>
                  </a:lnTo>
                  <a:lnTo>
                    <a:pt x="26" y="156"/>
                  </a:lnTo>
                  <a:lnTo>
                    <a:pt x="22" y="156"/>
                  </a:lnTo>
                  <a:lnTo>
                    <a:pt x="14" y="152"/>
                  </a:lnTo>
                  <a:lnTo>
                    <a:pt x="0" y="124"/>
                  </a:lnTo>
                  <a:lnTo>
                    <a:pt x="0" y="120"/>
                  </a:lnTo>
                  <a:lnTo>
                    <a:pt x="42" y="102"/>
                  </a:lnTo>
                  <a:lnTo>
                    <a:pt x="46" y="96"/>
                  </a:lnTo>
                  <a:lnTo>
                    <a:pt x="48" y="82"/>
                  </a:lnTo>
                  <a:lnTo>
                    <a:pt x="52" y="62"/>
                  </a:lnTo>
                  <a:lnTo>
                    <a:pt x="42" y="52"/>
                  </a:lnTo>
                  <a:lnTo>
                    <a:pt x="44" y="48"/>
                  </a:lnTo>
                  <a:lnTo>
                    <a:pt x="46" y="44"/>
                  </a:lnTo>
                  <a:lnTo>
                    <a:pt x="48" y="40"/>
                  </a:lnTo>
                  <a:lnTo>
                    <a:pt x="48" y="36"/>
                  </a:lnTo>
                  <a:lnTo>
                    <a:pt x="48" y="32"/>
                  </a:lnTo>
                  <a:lnTo>
                    <a:pt x="46" y="32"/>
                  </a:lnTo>
                  <a:lnTo>
                    <a:pt x="48" y="28"/>
                  </a:lnTo>
                  <a:lnTo>
                    <a:pt x="52" y="26"/>
                  </a:lnTo>
                  <a:lnTo>
                    <a:pt x="50" y="24"/>
                  </a:lnTo>
                  <a:lnTo>
                    <a:pt x="48" y="22"/>
                  </a:lnTo>
                  <a:lnTo>
                    <a:pt x="48" y="18"/>
                  </a:lnTo>
                  <a:lnTo>
                    <a:pt x="50" y="18"/>
                  </a:lnTo>
                  <a:lnTo>
                    <a:pt x="52" y="22"/>
                  </a:lnTo>
                  <a:lnTo>
                    <a:pt x="54" y="22"/>
                  </a:lnTo>
                  <a:lnTo>
                    <a:pt x="56" y="20"/>
                  </a:lnTo>
                  <a:lnTo>
                    <a:pt x="58" y="18"/>
                  </a:lnTo>
                  <a:lnTo>
                    <a:pt x="58"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7" name="Freeform 461">
              <a:extLst>
                <a:ext uri="{FF2B5EF4-FFF2-40B4-BE49-F238E27FC236}">
                  <a16:creationId xmlns:a16="http://schemas.microsoft.com/office/drawing/2014/main" id="{28EC79C0-B649-4A4C-8ACB-E27C5026E373}"/>
                </a:ext>
              </a:extLst>
            </p:cNvPr>
            <p:cNvSpPr>
              <a:spLocks/>
            </p:cNvSpPr>
            <p:nvPr/>
          </p:nvSpPr>
          <p:spPr bwMode="auto">
            <a:xfrm>
              <a:off x="2826966" y="3985751"/>
              <a:ext cx="186452" cy="186452"/>
            </a:xfrm>
            <a:custGeom>
              <a:avLst/>
              <a:gdLst/>
              <a:ahLst/>
              <a:cxnLst>
                <a:cxn ang="0">
                  <a:pos x="132" y="12"/>
                </a:cxn>
                <a:cxn ang="0">
                  <a:pos x="126" y="6"/>
                </a:cxn>
                <a:cxn ang="0">
                  <a:pos x="122" y="8"/>
                </a:cxn>
                <a:cxn ang="0">
                  <a:pos x="114" y="10"/>
                </a:cxn>
                <a:cxn ang="0">
                  <a:pos x="104" y="10"/>
                </a:cxn>
                <a:cxn ang="0">
                  <a:pos x="96" y="10"/>
                </a:cxn>
                <a:cxn ang="0">
                  <a:pos x="92" y="0"/>
                </a:cxn>
                <a:cxn ang="0">
                  <a:pos x="84" y="4"/>
                </a:cxn>
                <a:cxn ang="0">
                  <a:pos x="82" y="12"/>
                </a:cxn>
                <a:cxn ang="0">
                  <a:pos x="80" y="20"/>
                </a:cxn>
                <a:cxn ang="0">
                  <a:pos x="74" y="28"/>
                </a:cxn>
                <a:cxn ang="0">
                  <a:pos x="66" y="40"/>
                </a:cxn>
                <a:cxn ang="0">
                  <a:pos x="52" y="46"/>
                </a:cxn>
                <a:cxn ang="0">
                  <a:pos x="38" y="56"/>
                </a:cxn>
                <a:cxn ang="0">
                  <a:pos x="36" y="68"/>
                </a:cxn>
                <a:cxn ang="0">
                  <a:pos x="32" y="76"/>
                </a:cxn>
                <a:cxn ang="0">
                  <a:pos x="34" y="92"/>
                </a:cxn>
                <a:cxn ang="0">
                  <a:pos x="34" y="104"/>
                </a:cxn>
                <a:cxn ang="0">
                  <a:pos x="32" y="112"/>
                </a:cxn>
                <a:cxn ang="0">
                  <a:pos x="22" y="128"/>
                </a:cxn>
                <a:cxn ang="0">
                  <a:pos x="14" y="134"/>
                </a:cxn>
                <a:cxn ang="0">
                  <a:pos x="4" y="140"/>
                </a:cxn>
                <a:cxn ang="0">
                  <a:pos x="56" y="142"/>
                </a:cxn>
                <a:cxn ang="0">
                  <a:pos x="60" y="124"/>
                </a:cxn>
                <a:cxn ang="0">
                  <a:pos x="70" y="114"/>
                </a:cxn>
                <a:cxn ang="0">
                  <a:pos x="84" y="110"/>
                </a:cxn>
                <a:cxn ang="0">
                  <a:pos x="88" y="106"/>
                </a:cxn>
                <a:cxn ang="0">
                  <a:pos x="96" y="102"/>
                </a:cxn>
                <a:cxn ang="0">
                  <a:pos x="106" y="100"/>
                </a:cxn>
                <a:cxn ang="0">
                  <a:pos x="112" y="90"/>
                </a:cxn>
                <a:cxn ang="0">
                  <a:pos x="118" y="84"/>
                </a:cxn>
                <a:cxn ang="0">
                  <a:pos x="128" y="76"/>
                </a:cxn>
                <a:cxn ang="0">
                  <a:pos x="128" y="70"/>
                </a:cxn>
                <a:cxn ang="0">
                  <a:pos x="132" y="66"/>
                </a:cxn>
                <a:cxn ang="0">
                  <a:pos x="136" y="62"/>
                </a:cxn>
                <a:cxn ang="0">
                  <a:pos x="142" y="56"/>
                </a:cxn>
                <a:cxn ang="0">
                  <a:pos x="142" y="52"/>
                </a:cxn>
                <a:cxn ang="0">
                  <a:pos x="138" y="46"/>
                </a:cxn>
                <a:cxn ang="0">
                  <a:pos x="136" y="38"/>
                </a:cxn>
                <a:cxn ang="0">
                  <a:pos x="134" y="32"/>
                </a:cxn>
                <a:cxn ang="0">
                  <a:pos x="136" y="22"/>
                </a:cxn>
                <a:cxn ang="0">
                  <a:pos x="134" y="14"/>
                </a:cxn>
                <a:cxn ang="0">
                  <a:pos x="132" y="12"/>
                </a:cxn>
              </a:cxnLst>
              <a:rect l="0" t="0" r="r" b="b"/>
              <a:pathLst>
                <a:path w="144" h="144">
                  <a:moveTo>
                    <a:pt x="132" y="12"/>
                  </a:moveTo>
                  <a:lnTo>
                    <a:pt x="132" y="12"/>
                  </a:lnTo>
                  <a:lnTo>
                    <a:pt x="126" y="10"/>
                  </a:lnTo>
                  <a:lnTo>
                    <a:pt x="126" y="6"/>
                  </a:lnTo>
                  <a:lnTo>
                    <a:pt x="124" y="6"/>
                  </a:lnTo>
                  <a:lnTo>
                    <a:pt x="122" y="8"/>
                  </a:lnTo>
                  <a:lnTo>
                    <a:pt x="120" y="10"/>
                  </a:lnTo>
                  <a:lnTo>
                    <a:pt x="114" y="10"/>
                  </a:lnTo>
                  <a:lnTo>
                    <a:pt x="108" y="10"/>
                  </a:lnTo>
                  <a:lnTo>
                    <a:pt x="104" y="10"/>
                  </a:lnTo>
                  <a:lnTo>
                    <a:pt x="100" y="12"/>
                  </a:lnTo>
                  <a:lnTo>
                    <a:pt x="96" y="10"/>
                  </a:lnTo>
                  <a:lnTo>
                    <a:pt x="94" y="6"/>
                  </a:lnTo>
                  <a:lnTo>
                    <a:pt x="92" y="0"/>
                  </a:lnTo>
                  <a:lnTo>
                    <a:pt x="88" y="0"/>
                  </a:lnTo>
                  <a:lnTo>
                    <a:pt x="84" y="4"/>
                  </a:lnTo>
                  <a:lnTo>
                    <a:pt x="84" y="8"/>
                  </a:lnTo>
                  <a:lnTo>
                    <a:pt x="82" y="12"/>
                  </a:lnTo>
                  <a:lnTo>
                    <a:pt x="80" y="14"/>
                  </a:lnTo>
                  <a:lnTo>
                    <a:pt x="80" y="20"/>
                  </a:lnTo>
                  <a:lnTo>
                    <a:pt x="78" y="24"/>
                  </a:lnTo>
                  <a:lnTo>
                    <a:pt x="74" y="28"/>
                  </a:lnTo>
                  <a:lnTo>
                    <a:pt x="72" y="34"/>
                  </a:lnTo>
                  <a:lnTo>
                    <a:pt x="66" y="40"/>
                  </a:lnTo>
                  <a:lnTo>
                    <a:pt x="56" y="46"/>
                  </a:lnTo>
                  <a:lnTo>
                    <a:pt x="52" y="46"/>
                  </a:lnTo>
                  <a:lnTo>
                    <a:pt x="44" y="52"/>
                  </a:lnTo>
                  <a:lnTo>
                    <a:pt x="38" y="56"/>
                  </a:lnTo>
                  <a:lnTo>
                    <a:pt x="38" y="64"/>
                  </a:lnTo>
                  <a:lnTo>
                    <a:pt x="36" y="68"/>
                  </a:lnTo>
                  <a:lnTo>
                    <a:pt x="32" y="72"/>
                  </a:lnTo>
                  <a:lnTo>
                    <a:pt x="32" y="76"/>
                  </a:lnTo>
                  <a:lnTo>
                    <a:pt x="32" y="82"/>
                  </a:lnTo>
                  <a:lnTo>
                    <a:pt x="34" y="92"/>
                  </a:lnTo>
                  <a:lnTo>
                    <a:pt x="34" y="102"/>
                  </a:lnTo>
                  <a:lnTo>
                    <a:pt x="34" y="104"/>
                  </a:lnTo>
                  <a:lnTo>
                    <a:pt x="32" y="110"/>
                  </a:lnTo>
                  <a:lnTo>
                    <a:pt x="32" y="112"/>
                  </a:lnTo>
                  <a:lnTo>
                    <a:pt x="26" y="120"/>
                  </a:lnTo>
                  <a:lnTo>
                    <a:pt x="22" y="128"/>
                  </a:lnTo>
                  <a:lnTo>
                    <a:pt x="18" y="128"/>
                  </a:lnTo>
                  <a:lnTo>
                    <a:pt x="14" y="134"/>
                  </a:lnTo>
                  <a:lnTo>
                    <a:pt x="10" y="138"/>
                  </a:lnTo>
                  <a:lnTo>
                    <a:pt x="4" y="140"/>
                  </a:lnTo>
                  <a:lnTo>
                    <a:pt x="0" y="144"/>
                  </a:lnTo>
                  <a:lnTo>
                    <a:pt x="56" y="142"/>
                  </a:lnTo>
                  <a:lnTo>
                    <a:pt x="56" y="128"/>
                  </a:lnTo>
                  <a:lnTo>
                    <a:pt x="60" y="124"/>
                  </a:lnTo>
                  <a:lnTo>
                    <a:pt x="66" y="116"/>
                  </a:lnTo>
                  <a:lnTo>
                    <a:pt x="70" y="114"/>
                  </a:lnTo>
                  <a:lnTo>
                    <a:pt x="76" y="112"/>
                  </a:lnTo>
                  <a:lnTo>
                    <a:pt x="84" y="110"/>
                  </a:lnTo>
                  <a:lnTo>
                    <a:pt x="86" y="108"/>
                  </a:lnTo>
                  <a:lnTo>
                    <a:pt x="88" y="106"/>
                  </a:lnTo>
                  <a:lnTo>
                    <a:pt x="92" y="102"/>
                  </a:lnTo>
                  <a:lnTo>
                    <a:pt x="96" y="102"/>
                  </a:lnTo>
                  <a:lnTo>
                    <a:pt x="102" y="102"/>
                  </a:lnTo>
                  <a:lnTo>
                    <a:pt x="106" y="100"/>
                  </a:lnTo>
                  <a:lnTo>
                    <a:pt x="110" y="96"/>
                  </a:lnTo>
                  <a:lnTo>
                    <a:pt x="112" y="90"/>
                  </a:lnTo>
                  <a:lnTo>
                    <a:pt x="116" y="84"/>
                  </a:lnTo>
                  <a:lnTo>
                    <a:pt x="118" y="84"/>
                  </a:lnTo>
                  <a:lnTo>
                    <a:pt x="124" y="80"/>
                  </a:lnTo>
                  <a:lnTo>
                    <a:pt x="128" y="76"/>
                  </a:lnTo>
                  <a:lnTo>
                    <a:pt x="128" y="72"/>
                  </a:lnTo>
                  <a:lnTo>
                    <a:pt x="128" y="70"/>
                  </a:lnTo>
                  <a:lnTo>
                    <a:pt x="130" y="68"/>
                  </a:lnTo>
                  <a:lnTo>
                    <a:pt x="132" y="66"/>
                  </a:lnTo>
                  <a:lnTo>
                    <a:pt x="134" y="64"/>
                  </a:lnTo>
                  <a:lnTo>
                    <a:pt x="136" y="62"/>
                  </a:lnTo>
                  <a:lnTo>
                    <a:pt x="136" y="60"/>
                  </a:lnTo>
                  <a:lnTo>
                    <a:pt x="142" y="56"/>
                  </a:lnTo>
                  <a:lnTo>
                    <a:pt x="144" y="54"/>
                  </a:lnTo>
                  <a:lnTo>
                    <a:pt x="142" y="52"/>
                  </a:lnTo>
                  <a:lnTo>
                    <a:pt x="140" y="50"/>
                  </a:lnTo>
                  <a:lnTo>
                    <a:pt x="138" y="46"/>
                  </a:lnTo>
                  <a:lnTo>
                    <a:pt x="138" y="40"/>
                  </a:lnTo>
                  <a:lnTo>
                    <a:pt x="136" y="38"/>
                  </a:lnTo>
                  <a:lnTo>
                    <a:pt x="136" y="36"/>
                  </a:lnTo>
                  <a:lnTo>
                    <a:pt x="134" y="32"/>
                  </a:lnTo>
                  <a:lnTo>
                    <a:pt x="136" y="26"/>
                  </a:lnTo>
                  <a:lnTo>
                    <a:pt x="136" y="22"/>
                  </a:lnTo>
                  <a:lnTo>
                    <a:pt x="136" y="18"/>
                  </a:lnTo>
                  <a:lnTo>
                    <a:pt x="134" y="14"/>
                  </a:lnTo>
                  <a:lnTo>
                    <a:pt x="132" y="12"/>
                  </a:lnTo>
                  <a:lnTo>
                    <a:pt x="132"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8" name="Freeform 462">
              <a:extLst>
                <a:ext uri="{FF2B5EF4-FFF2-40B4-BE49-F238E27FC236}">
                  <a16:creationId xmlns:a16="http://schemas.microsoft.com/office/drawing/2014/main" id="{B369FB56-59DD-436B-B7C4-A242B0603258}"/>
                </a:ext>
              </a:extLst>
            </p:cNvPr>
            <p:cNvSpPr>
              <a:spLocks/>
            </p:cNvSpPr>
            <p:nvPr/>
          </p:nvSpPr>
          <p:spPr bwMode="auto">
            <a:xfrm>
              <a:off x="3173974" y="4042723"/>
              <a:ext cx="284857" cy="300395"/>
            </a:xfrm>
            <a:custGeom>
              <a:avLst/>
              <a:gdLst/>
              <a:ahLst/>
              <a:cxnLst>
                <a:cxn ang="0">
                  <a:pos x="36" y="8"/>
                </a:cxn>
                <a:cxn ang="0">
                  <a:pos x="36" y="12"/>
                </a:cxn>
                <a:cxn ang="0">
                  <a:pos x="30" y="20"/>
                </a:cxn>
                <a:cxn ang="0">
                  <a:pos x="24" y="22"/>
                </a:cxn>
                <a:cxn ang="0">
                  <a:pos x="20" y="24"/>
                </a:cxn>
                <a:cxn ang="0">
                  <a:pos x="20" y="36"/>
                </a:cxn>
                <a:cxn ang="0">
                  <a:pos x="18" y="40"/>
                </a:cxn>
                <a:cxn ang="0">
                  <a:pos x="16" y="46"/>
                </a:cxn>
                <a:cxn ang="0">
                  <a:pos x="12" y="48"/>
                </a:cxn>
                <a:cxn ang="0">
                  <a:pos x="6" y="50"/>
                </a:cxn>
                <a:cxn ang="0">
                  <a:pos x="8" y="52"/>
                </a:cxn>
                <a:cxn ang="0">
                  <a:pos x="8" y="82"/>
                </a:cxn>
                <a:cxn ang="0">
                  <a:pos x="10" y="90"/>
                </a:cxn>
                <a:cxn ang="0">
                  <a:pos x="8" y="94"/>
                </a:cxn>
                <a:cxn ang="0">
                  <a:pos x="8" y="98"/>
                </a:cxn>
                <a:cxn ang="0">
                  <a:pos x="8" y="114"/>
                </a:cxn>
                <a:cxn ang="0">
                  <a:pos x="4" y="118"/>
                </a:cxn>
                <a:cxn ang="0">
                  <a:pos x="4" y="126"/>
                </a:cxn>
                <a:cxn ang="0">
                  <a:pos x="10" y="136"/>
                </a:cxn>
                <a:cxn ang="0">
                  <a:pos x="12" y="144"/>
                </a:cxn>
                <a:cxn ang="0">
                  <a:pos x="16" y="152"/>
                </a:cxn>
                <a:cxn ang="0">
                  <a:pos x="28" y="154"/>
                </a:cxn>
                <a:cxn ang="0">
                  <a:pos x="32" y="160"/>
                </a:cxn>
                <a:cxn ang="0">
                  <a:pos x="36" y="160"/>
                </a:cxn>
                <a:cxn ang="0">
                  <a:pos x="42" y="166"/>
                </a:cxn>
                <a:cxn ang="0">
                  <a:pos x="74" y="180"/>
                </a:cxn>
                <a:cxn ang="0">
                  <a:pos x="96" y="164"/>
                </a:cxn>
                <a:cxn ang="0">
                  <a:pos x="208" y="220"/>
                </a:cxn>
                <a:cxn ang="0">
                  <a:pos x="220" y="188"/>
                </a:cxn>
                <a:cxn ang="0">
                  <a:pos x="216" y="66"/>
                </a:cxn>
                <a:cxn ang="0">
                  <a:pos x="214" y="58"/>
                </a:cxn>
                <a:cxn ang="0">
                  <a:pos x="216" y="50"/>
                </a:cxn>
                <a:cxn ang="0">
                  <a:pos x="218" y="44"/>
                </a:cxn>
                <a:cxn ang="0">
                  <a:pos x="214" y="32"/>
                </a:cxn>
                <a:cxn ang="0">
                  <a:pos x="208" y="26"/>
                </a:cxn>
                <a:cxn ang="0">
                  <a:pos x="202" y="22"/>
                </a:cxn>
                <a:cxn ang="0">
                  <a:pos x="196" y="20"/>
                </a:cxn>
                <a:cxn ang="0">
                  <a:pos x="192" y="18"/>
                </a:cxn>
                <a:cxn ang="0">
                  <a:pos x="192" y="14"/>
                </a:cxn>
                <a:cxn ang="0">
                  <a:pos x="176" y="10"/>
                </a:cxn>
                <a:cxn ang="0">
                  <a:pos x="170" y="10"/>
                </a:cxn>
                <a:cxn ang="0">
                  <a:pos x="162" y="16"/>
                </a:cxn>
                <a:cxn ang="0">
                  <a:pos x="156" y="20"/>
                </a:cxn>
                <a:cxn ang="0">
                  <a:pos x="150" y="26"/>
                </a:cxn>
                <a:cxn ang="0">
                  <a:pos x="156" y="38"/>
                </a:cxn>
                <a:cxn ang="0">
                  <a:pos x="148" y="48"/>
                </a:cxn>
                <a:cxn ang="0">
                  <a:pos x="140" y="52"/>
                </a:cxn>
                <a:cxn ang="0">
                  <a:pos x="118" y="44"/>
                </a:cxn>
                <a:cxn ang="0">
                  <a:pos x="112" y="42"/>
                </a:cxn>
                <a:cxn ang="0">
                  <a:pos x="104" y="42"/>
                </a:cxn>
                <a:cxn ang="0">
                  <a:pos x="94" y="34"/>
                </a:cxn>
                <a:cxn ang="0">
                  <a:pos x="88" y="24"/>
                </a:cxn>
                <a:cxn ang="0">
                  <a:pos x="84" y="22"/>
                </a:cxn>
                <a:cxn ang="0">
                  <a:pos x="80" y="18"/>
                </a:cxn>
                <a:cxn ang="0">
                  <a:pos x="76" y="16"/>
                </a:cxn>
                <a:cxn ang="0">
                  <a:pos x="66" y="12"/>
                </a:cxn>
                <a:cxn ang="0">
                  <a:pos x="56" y="12"/>
                </a:cxn>
                <a:cxn ang="0">
                  <a:pos x="50" y="10"/>
                </a:cxn>
                <a:cxn ang="0">
                  <a:pos x="42" y="6"/>
                </a:cxn>
                <a:cxn ang="0">
                  <a:pos x="40" y="2"/>
                </a:cxn>
                <a:cxn ang="0">
                  <a:pos x="40" y="0"/>
                </a:cxn>
              </a:cxnLst>
              <a:rect l="0" t="0" r="r" b="b"/>
              <a:pathLst>
                <a:path w="220" h="232">
                  <a:moveTo>
                    <a:pt x="40" y="0"/>
                  </a:moveTo>
                  <a:lnTo>
                    <a:pt x="36" y="8"/>
                  </a:lnTo>
                  <a:lnTo>
                    <a:pt x="36" y="10"/>
                  </a:lnTo>
                  <a:lnTo>
                    <a:pt x="36" y="12"/>
                  </a:lnTo>
                  <a:lnTo>
                    <a:pt x="34" y="16"/>
                  </a:lnTo>
                  <a:lnTo>
                    <a:pt x="30" y="20"/>
                  </a:lnTo>
                  <a:lnTo>
                    <a:pt x="28" y="20"/>
                  </a:lnTo>
                  <a:lnTo>
                    <a:pt x="24" y="22"/>
                  </a:lnTo>
                  <a:lnTo>
                    <a:pt x="20" y="22"/>
                  </a:lnTo>
                  <a:lnTo>
                    <a:pt x="20" y="24"/>
                  </a:lnTo>
                  <a:lnTo>
                    <a:pt x="18" y="28"/>
                  </a:lnTo>
                  <a:lnTo>
                    <a:pt x="20" y="36"/>
                  </a:lnTo>
                  <a:lnTo>
                    <a:pt x="20" y="38"/>
                  </a:lnTo>
                  <a:lnTo>
                    <a:pt x="18" y="40"/>
                  </a:lnTo>
                  <a:lnTo>
                    <a:pt x="16" y="42"/>
                  </a:lnTo>
                  <a:lnTo>
                    <a:pt x="16" y="46"/>
                  </a:lnTo>
                  <a:lnTo>
                    <a:pt x="14" y="46"/>
                  </a:lnTo>
                  <a:lnTo>
                    <a:pt x="12" y="48"/>
                  </a:lnTo>
                  <a:lnTo>
                    <a:pt x="10" y="48"/>
                  </a:lnTo>
                  <a:lnTo>
                    <a:pt x="6" y="50"/>
                  </a:lnTo>
                  <a:lnTo>
                    <a:pt x="6" y="52"/>
                  </a:lnTo>
                  <a:lnTo>
                    <a:pt x="8" y="52"/>
                  </a:lnTo>
                  <a:lnTo>
                    <a:pt x="8" y="54"/>
                  </a:lnTo>
                  <a:lnTo>
                    <a:pt x="8" y="82"/>
                  </a:lnTo>
                  <a:lnTo>
                    <a:pt x="12" y="88"/>
                  </a:lnTo>
                  <a:lnTo>
                    <a:pt x="10" y="90"/>
                  </a:lnTo>
                  <a:lnTo>
                    <a:pt x="8" y="92"/>
                  </a:lnTo>
                  <a:lnTo>
                    <a:pt x="8" y="94"/>
                  </a:lnTo>
                  <a:lnTo>
                    <a:pt x="10" y="94"/>
                  </a:lnTo>
                  <a:lnTo>
                    <a:pt x="8" y="98"/>
                  </a:lnTo>
                  <a:lnTo>
                    <a:pt x="10" y="104"/>
                  </a:lnTo>
                  <a:lnTo>
                    <a:pt x="8" y="114"/>
                  </a:lnTo>
                  <a:lnTo>
                    <a:pt x="6" y="116"/>
                  </a:lnTo>
                  <a:lnTo>
                    <a:pt x="4" y="118"/>
                  </a:lnTo>
                  <a:lnTo>
                    <a:pt x="0" y="120"/>
                  </a:lnTo>
                  <a:lnTo>
                    <a:pt x="4" y="126"/>
                  </a:lnTo>
                  <a:lnTo>
                    <a:pt x="6" y="130"/>
                  </a:lnTo>
                  <a:lnTo>
                    <a:pt x="10" y="136"/>
                  </a:lnTo>
                  <a:lnTo>
                    <a:pt x="12" y="140"/>
                  </a:lnTo>
                  <a:lnTo>
                    <a:pt x="12" y="144"/>
                  </a:lnTo>
                  <a:lnTo>
                    <a:pt x="14" y="150"/>
                  </a:lnTo>
                  <a:lnTo>
                    <a:pt x="16" y="152"/>
                  </a:lnTo>
                  <a:lnTo>
                    <a:pt x="18" y="152"/>
                  </a:lnTo>
                  <a:lnTo>
                    <a:pt x="28" y="154"/>
                  </a:lnTo>
                  <a:lnTo>
                    <a:pt x="30" y="158"/>
                  </a:lnTo>
                  <a:lnTo>
                    <a:pt x="32" y="160"/>
                  </a:lnTo>
                  <a:lnTo>
                    <a:pt x="34" y="160"/>
                  </a:lnTo>
                  <a:lnTo>
                    <a:pt x="36" y="160"/>
                  </a:lnTo>
                  <a:lnTo>
                    <a:pt x="38" y="162"/>
                  </a:lnTo>
                  <a:lnTo>
                    <a:pt x="42" y="166"/>
                  </a:lnTo>
                  <a:lnTo>
                    <a:pt x="74" y="182"/>
                  </a:lnTo>
                  <a:lnTo>
                    <a:pt x="74" y="180"/>
                  </a:lnTo>
                  <a:lnTo>
                    <a:pt x="84" y="174"/>
                  </a:lnTo>
                  <a:lnTo>
                    <a:pt x="96" y="164"/>
                  </a:lnTo>
                  <a:lnTo>
                    <a:pt x="208" y="232"/>
                  </a:lnTo>
                  <a:lnTo>
                    <a:pt x="208" y="220"/>
                  </a:lnTo>
                  <a:lnTo>
                    <a:pt x="220" y="220"/>
                  </a:lnTo>
                  <a:lnTo>
                    <a:pt x="220" y="188"/>
                  </a:lnTo>
                  <a:lnTo>
                    <a:pt x="220" y="72"/>
                  </a:lnTo>
                  <a:lnTo>
                    <a:pt x="216" y="66"/>
                  </a:lnTo>
                  <a:lnTo>
                    <a:pt x="214" y="64"/>
                  </a:lnTo>
                  <a:lnTo>
                    <a:pt x="214" y="58"/>
                  </a:lnTo>
                  <a:lnTo>
                    <a:pt x="214" y="52"/>
                  </a:lnTo>
                  <a:lnTo>
                    <a:pt x="216" y="50"/>
                  </a:lnTo>
                  <a:lnTo>
                    <a:pt x="218" y="48"/>
                  </a:lnTo>
                  <a:lnTo>
                    <a:pt x="218" y="44"/>
                  </a:lnTo>
                  <a:lnTo>
                    <a:pt x="214" y="38"/>
                  </a:lnTo>
                  <a:lnTo>
                    <a:pt x="214" y="32"/>
                  </a:lnTo>
                  <a:lnTo>
                    <a:pt x="214" y="28"/>
                  </a:lnTo>
                  <a:lnTo>
                    <a:pt x="208" y="26"/>
                  </a:lnTo>
                  <a:lnTo>
                    <a:pt x="208" y="24"/>
                  </a:lnTo>
                  <a:lnTo>
                    <a:pt x="202" y="22"/>
                  </a:lnTo>
                  <a:lnTo>
                    <a:pt x="196" y="24"/>
                  </a:lnTo>
                  <a:lnTo>
                    <a:pt x="196" y="20"/>
                  </a:lnTo>
                  <a:lnTo>
                    <a:pt x="196" y="18"/>
                  </a:lnTo>
                  <a:lnTo>
                    <a:pt x="192" y="18"/>
                  </a:lnTo>
                  <a:lnTo>
                    <a:pt x="192" y="16"/>
                  </a:lnTo>
                  <a:lnTo>
                    <a:pt x="192" y="14"/>
                  </a:lnTo>
                  <a:lnTo>
                    <a:pt x="186" y="14"/>
                  </a:lnTo>
                  <a:lnTo>
                    <a:pt x="176" y="10"/>
                  </a:lnTo>
                  <a:lnTo>
                    <a:pt x="172" y="8"/>
                  </a:lnTo>
                  <a:lnTo>
                    <a:pt x="170" y="10"/>
                  </a:lnTo>
                  <a:lnTo>
                    <a:pt x="166" y="12"/>
                  </a:lnTo>
                  <a:lnTo>
                    <a:pt x="162" y="16"/>
                  </a:lnTo>
                  <a:lnTo>
                    <a:pt x="158" y="16"/>
                  </a:lnTo>
                  <a:lnTo>
                    <a:pt x="156" y="20"/>
                  </a:lnTo>
                  <a:lnTo>
                    <a:pt x="154" y="24"/>
                  </a:lnTo>
                  <a:lnTo>
                    <a:pt x="150" y="26"/>
                  </a:lnTo>
                  <a:lnTo>
                    <a:pt x="154" y="32"/>
                  </a:lnTo>
                  <a:lnTo>
                    <a:pt x="156" y="38"/>
                  </a:lnTo>
                  <a:lnTo>
                    <a:pt x="154" y="42"/>
                  </a:lnTo>
                  <a:lnTo>
                    <a:pt x="148" y="48"/>
                  </a:lnTo>
                  <a:lnTo>
                    <a:pt x="146" y="52"/>
                  </a:lnTo>
                  <a:lnTo>
                    <a:pt x="140" y="52"/>
                  </a:lnTo>
                  <a:lnTo>
                    <a:pt x="132" y="50"/>
                  </a:lnTo>
                  <a:lnTo>
                    <a:pt x="118" y="44"/>
                  </a:lnTo>
                  <a:lnTo>
                    <a:pt x="114" y="44"/>
                  </a:lnTo>
                  <a:lnTo>
                    <a:pt x="112" y="42"/>
                  </a:lnTo>
                  <a:lnTo>
                    <a:pt x="106" y="42"/>
                  </a:lnTo>
                  <a:lnTo>
                    <a:pt x="104" y="42"/>
                  </a:lnTo>
                  <a:lnTo>
                    <a:pt x="100" y="40"/>
                  </a:lnTo>
                  <a:lnTo>
                    <a:pt x="94" y="34"/>
                  </a:lnTo>
                  <a:lnTo>
                    <a:pt x="88" y="28"/>
                  </a:lnTo>
                  <a:lnTo>
                    <a:pt x="88" y="24"/>
                  </a:lnTo>
                  <a:lnTo>
                    <a:pt x="86" y="22"/>
                  </a:lnTo>
                  <a:lnTo>
                    <a:pt x="84" y="22"/>
                  </a:lnTo>
                  <a:lnTo>
                    <a:pt x="84" y="20"/>
                  </a:lnTo>
                  <a:lnTo>
                    <a:pt x="80" y="18"/>
                  </a:lnTo>
                  <a:lnTo>
                    <a:pt x="76" y="18"/>
                  </a:lnTo>
                  <a:lnTo>
                    <a:pt x="76" y="16"/>
                  </a:lnTo>
                  <a:lnTo>
                    <a:pt x="70" y="14"/>
                  </a:lnTo>
                  <a:lnTo>
                    <a:pt x="66" y="12"/>
                  </a:lnTo>
                  <a:lnTo>
                    <a:pt x="58" y="12"/>
                  </a:lnTo>
                  <a:lnTo>
                    <a:pt x="56" y="12"/>
                  </a:lnTo>
                  <a:lnTo>
                    <a:pt x="52" y="12"/>
                  </a:lnTo>
                  <a:lnTo>
                    <a:pt x="50" y="10"/>
                  </a:lnTo>
                  <a:lnTo>
                    <a:pt x="48" y="8"/>
                  </a:lnTo>
                  <a:lnTo>
                    <a:pt x="42" y="6"/>
                  </a:lnTo>
                  <a:lnTo>
                    <a:pt x="40" y="4"/>
                  </a:lnTo>
                  <a:lnTo>
                    <a:pt x="40" y="2"/>
                  </a:lnTo>
                  <a:lnTo>
                    <a:pt x="40" y="0"/>
                  </a:lnTo>
                  <a:lnTo>
                    <a:pt x="4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99" name="Freeform 463">
              <a:extLst>
                <a:ext uri="{FF2B5EF4-FFF2-40B4-BE49-F238E27FC236}">
                  <a16:creationId xmlns:a16="http://schemas.microsoft.com/office/drawing/2014/main" id="{C12AAA32-1D8D-4327-863B-89E8941B6B95}"/>
                </a:ext>
              </a:extLst>
            </p:cNvPr>
            <p:cNvSpPr>
              <a:spLocks/>
            </p:cNvSpPr>
            <p:nvPr/>
          </p:nvSpPr>
          <p:spPr bwMode="auto">
            <a:xfrm>
              <a:off x="3624566" y="4050491"/>
              <a:ext cx="75099" cy="88047"/>
            </a:xfrm>
            <a:custGeom>
              <a:avLst/>
              <a:gdLst/>
              <a:ahLst/>
              <a:cxnLst>
                <a:cxn ang="0">
                  <a:pos x="10" y="22"/>
                </a:cxn>
                <a:cxn ang="0">
                  <a:pos x="10" y="22"/>
                </a:cxn>
                <a:cxn ang="0">
                  <a:pos x="12" y="20"/>
                </a:cxn>
                <a:cxn ang="0">
                  <a:pos x="12" y="18"/>
                </a:cxn>
                <a:cxn ang="0">
                  <a:pos x="14" y="14"/>
                </a:cxn>
                <a:cxn ang="0">
                  <a:pos x="18" y="10"/>
                </a:cxn>
                <a:cxn ang="0">
                  <a:pos x="20" y="10"/>
                </a:cxn>
                <a:cxn ang="0">
                  <a:pos x="22" y="10"/>
                </a:cxn>
                <a:cxn ang="0">
                  <a:pos x="28" y="12"/>
                </a:cxn>
                <a:cxn ang="0">
                  <a:pos x="32" y="14"/>
                </a:cxn>
                <a:cxn ang="0">
                  <a:pos x="52" y="0"/>
                </a:cxn>
                <a:cxn ang="0">
                  <a:pos x="58" y="22"/>
                </a:cxn>
                <a:cxn ang="0">
                  <a:pos x="58" y="24"/>
                </a:cxn>
                <a:cxn ang="0">
                  <a:pos x="32" y="32"/>
                </a:cxn>
                <a:cxn ang="0">
                  <a:pos x="42" y="46"/>
                </a:cxn>
                <a:cxn ang="0">
                  <a:pos x="38" y="48"/>
                </a:cxn>
                <a:cxn ang="0">
                  <a:pos x="36" y="50"/>
                </a:cxn>
                <a:cxn ang="0">
                  <a:pos x="34" y="52"/>
                </a:cxn>
                <a:cxn ang="0">
                  <a:pos x="32" y="52"/>
                </a:cxn>
                <a:cxn ang="0">
                  <a:pos x="28" y="56"/>
                </a:cxn>
                <a:cxn ang="0">
                  <a:pos x="26" y="60"/>
                </a:cxn>
                <a:cxn ang="0">
                  <a:pos x="24" y="60"/>
                </a:cxn>
                <a:cxn ang="0">
                  <a:pos x="14" y="68"/>
                </a:cxn>
                <a:cxn ang="0">
                  <a:pos x="0" y="68"/>
                </a:cxn>
                <a:cxn ang="0">
                  <a:pos x="0" y="66"/>
                </a:cxn>
                <a:cxn ang="0">
                  <a:pos x="4" y="60"/>
                </a:cxn>
                <a:cxn ang="0">
                  <a:pos x="8" y="54"/>
                </a:cxn>
                <a:cxn ang="0">
                  <a:pos x="8" y="52"/>
                </a:cxn>
                <a:cxn ang="0">
                  <a:pos x="8" y="46"/>
                </a:cxn>
                <a:cxn ang="0">
                  <a:pos x="10" y="42"/>
                </a:cxn>
                <a:cxn ang="0">
                  <a:pos x="12" y="36"/>
                </a:cxn>
                <a:cxn ang="0">
                  <a:pos x="12" y="30"/>
                </a:cxn>
                <a:cxn ang="0">
                  <a:pos x="12" y="28"/>
                </a:cxn>
                <a:cxn ang="0">
                  <a:pos x="10" y="22"/>
                </a:cxn>
                <a:cxn ang="0">
                  <a:pos x="10" y="22"/>
                </a:cxn>
              </a:cxnLst>
              <a:rect l="0" t="0" r="r" b="b"/>
              <a:pathLst>
                <a:path w="58" h="68">
                  <a:moveTo>
                    <a:pt x="10" y="22"/>
                  </a:moveTo>
                  <a:lnTo>
                    <a:pt x="10" y="22"/>
                  </a:lnTo>
                  <a:lnTo>
                    <a:pt x="12" y="20"/>
                  </a:lnTo>
                  <a:lnTo>
                    <a:pt x="12" y="18"/>
                  </a:lnTo>
                  <a:lnTo>
                    <a:pt x="14" y="14"/>
                  </a:lnTo>
                  <a:lnTo>
                    <a:pt x="18" y="10"/>
                  </a:lnTo>
                  <a:lnTo>
                    <a:pt x="20" y="10"/>
                  </a:lnTo>
                  <a:lnTo>
                    <a:pt x="22" y="10"/>
                  </a:lnTo>
                  <a:lnTo>
                    <a:pt x="28" y="12"/>
                  </a:lnTo>
                  <a:lnTo>
                    <a:pt x="32" y="14"/>
                  </a:lnTo>
                  <a:lnTo>
                    <a:pt x="52" y="0"/>
                  </a:lnTo>
                  <a:lnTo>
                    <a:pt x="58" y="22"/>
                  </a:lnTo>
                  <a:lnTo>
                    <a:pt x="58" y="24"/>
                  </a:lnTo>
                  <a:lnTo>
                    <a:pt x="32" y="32"/>
                  </a:lnTo>
                  <a:lnTo>
                    <a:pt x="42" y="46"/>
                  </a:lnTo>
                  <a:lnTo>
                    <a:pt x="38" y="48"/>
                  </a:lnTo>
                  <a:lnTo>
                    <a:pt x="36" y="50"/>
                  </a:lnTo>
                  <a:lnTo>
                    <a:pt x="34" y="52"/>
                  </a:lnTo>
                  <a:lnTo>
                    <a:pt x="32" y="52"/>
                  </a:lnTo>
                  <a:lnTo>
                    <a:pt x="28" y="56"/>
                  </a:lnTo>
                  <a:lnTo>
                    <a:pt x="26" y="60"/>
                  </a:lnTo>
                  <a:lnTo>
                    <a:pt x="24" y="60"/>
                  </a:lnTo>
                  <a:lnTo>
                    <a:pt x="14" y="68"/>
                  </a:lnTo>
                  <a:lnTo>
                    <a:pt x="0" y="68"/>
                  </a:lnTo>
                  <a:lnTo>
                    <a:pt x="0" y="66"/>
                  </a:lnTo>
                  <a:lnTo>
                    <a:pt x="4" y="60"/>
                  </a:lnTo>
                  <a:lnTo>
                    <a:pt x="8" y="54"/>
                  </a:lnTo>
                  <a:lnTo>
                    <a:pt x="8" y="52"/>
                  </a:lnTo>
                  <a:lnTo>
                    <a:pt x="8" y="46"/>
                  </a:lnTo>
                  <a:lnTo>
                    <a:pt x="10" y="42"/>
                  </a:lnTo>
                  <a:lnTo>
                    <a:pt x="12" y="36"/>
                  </a:lnTo>
                  <a:lnTo>
                    <a:pt x="12" y="30"/>
                  </a:lnTo>
                  <a:lnTo>
                    <a:pt x="12" y="28"/>
                  </a:lnTo>
                  <a:lnTo>
                    <a:pt x="10" y="22"/>
                  </a:lnTo>
                  <a:lnTo>
                    <a:pt x="10" y="2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0" name="Freeform 464">
              <a:extLst>
                <a:ext uri="{FF2B5EF4-FFF2-40B4-BE49-F238E27FC236}">
                  <a16:creationId xmlns:a16="http://schemas.microsoft.com/office/drawing/2014/main" id="{2C1CD2CE-97D7-43CA-9BEC-D321FC007157}"/>
                </a:ext>
              </a:extLst>
            </p:cNvPr>
            <p:cNvSpPr>
              <a:spLocks/>
            </p:cNvSpPr>
            <p:nvPr/>
          </p:nvSpPr>
          <p:spPr bwMode="auto">
            <a:xfrm>
              <a:off x="3689306" y="3954676"/>
              <a:ext cx="173504" cy="176094"/>
            </a:xfrm>
            <a:custGeom>
              <a:avLst/>
              <a:gdLst/>
              <a:ahLst/>
              <a:cxnLst>
                <a:cxn ang="0">
                  <a:pos x="132" y="124"/>
                </a:cxn>
                <a:cxn ang="0">
                  <a:pos x="128" y="118"/>
                </a:cxn>
                <a:cxn ang="0">
                  <a:pos x="128" y="110"/>
                </a:cxn>
                <a:cxn ang="0">
                  <a:pos x="122" y="104"/>
                </a:cxn>
                <a:cxn ang="0">
                  <a:pos x="122" y="94"/>
                </a:cxn>
                <a:cxn ang="0">
                  <a:pos x="114" y="82"/>
                </a:cxn>
                <a:cxn ang="0">
                  <a:pos x="108" y="80"/>
                </a:cxn>
                <a:cxn ang="0">
                  <a:pos x="108" y="78"/>
                </a:cxn>
                <a:cxn ang="0">
                  <a:pos x="104" y="72"/>
                </a:cxn>
                <a:cxn ang="0">
                  <a:pos x="94" y="66"/>
                </a:cxn>
                <a:cxn ang="0">
                  <a:pos x="92" y="60"/>
                </a:cxn>
                <a:cxn ang="0">
                  <a:pos x="88" y="54"/>
                </a:cxn>
                <a:cxn ang="0">
                  <a:pos x="88" y="48"/>
                </a:cxn>
                <a:cxn ang="0">
                  <a:pos x="88" y="44"/>
                </a:cxn>
                <a:cxn ang="0">
                  <a:pos x="90" y="42"/>
                </a:cxn>
                <a:cxn ang="0">
                  <a:pos x="94" y="42"/>
                </a:cxn>
                <a:cxn ang="0">
                  <a:pos x="92" y="34"/>
                </a:cxn>
                <a:cxn ang="0">
                  <a:pos x="94" y="32"/>
                </a:cxn>
                <a:cxn ang="0">
                  <a:pos x="98" y="32"/>
                </a:cxn>
                <a:cxn ang="0">
                  <a:pos x="100" y="28"/>
                </a:cxn>
                <a:cxn ang="0">
                  <a:pos x="96" y="28"/>
                </a:cxn>
                <a:cxn ang="0">
                  <a:pos x="88" y="26"/>
                </a:cxn>
                <a:cxn ang="0">
                  <a:pos x="84" y="26"/>
                </a:cxn>
                <a:cxn ang="0">
                  <a:pos x="80" y="24"/>
                </a:cxn>
                <a:cxn ang="0">
                  <a:pos x="78" y="22"/>
                </a:cxn>
                <a:cxn ang="0">
                  <a:pos x="76" y="20"/>
                </a:cxn>
                <a:cxn ang="0">
                  <a:pos x="78" y="16"/>
                </a:cxn>
                <a:cxn ang="0">
                  <a:pos x="74" y="16"/>
                </a:cxn>
                <a:cxn ang="0">
                  <a:pos x="76" y="12"/>
                </a:cxn>
                <a:cxn ang="0">
                  <a:pos x="74" y="4"/>
                </a:cxn>
                <a:cxn ang="0">
                  <a:pos x="64" y="6"/>
                </a:cxn>
                <a:cxn ang="0">
                  <a:pos x="60" y="0"/>
                </a:cxn>
                <a:cxn ang="0">
                  <a:pos x="56" y="4"/>
                </a:cxn>
                <a:cxn ang="0">
                  <a:pos x="52" y="2"/>
                </a:cxn>
                <a:cxn ang="0">
                  <a:pos x="46" y="4"/>
                </a:cxn>
                <a:cxn ang="0">
                  <a:pos x="44" y="10"/>
                </a:cxn>
                <a:cxn ang="0">
                  <a:pos x="38" y="16"/>
                </a:cxn>
                <a:cxn ang="0">
                  <a:pos x="36" y="20"/>
                </a:cxn>
                <a:cxn ang="0">
                  <a:pos x="38" y="26"/>
                </a:cxn>
                <a:cxn ang="0">
                  <a:pos x="34" y="30"/>
                </a:cxn>
                <a:cxn ang="0">
                  <a:pos x="36" y="38"/>
                </a:cxn>
                <a:cxn ang="0">
                  <a:pos x="32" y="48"/>
                </a:cxn>
                <a:cxn ang="0">
                  <a:pos x="0" y="72"/>
                </a:cxn>
                <a:cxn ang="0">
                  <a:pos x="46" y="116"/>
                </a:cxn>
                <a:cxn ang="0">
                  <a:pos x="56" y="122"/>
                </a:cxn>
                <a:cxn ang="0">
                  <a:pos x="66" y="134"/>
                </a:cxn>
                <a:cxn ang="0">
                  <a:pos x="96" y="134"/>
                </a:cxn>
                <a:cxn ang="0">
                  <a:pos x="108" y="122"/>
                </a:cxn>
                <a:cxn ang="0">
                  <a:pos x="112" y="118"/>
                </a:cxn>
                <a:cxn ang="0">
                  <a:pos x="122" y="120"/>
                </a:cxn>
                <a:cxn ang="0">
                  <a:pos x="128" y="124"/>
                </a:cxn>
                <a:cxn ang="0">
                  <a:pos x="132" y="124"/>
                </a:cxn>
                <a:cxn ang="0">
                  <a:pos x="134" y="126"/>
                </a:cxn>
              </a:cxnLst>
              <a:rect l="0" t="0" r="r" b="b"/>
              <a:pathLst>
                <a:path w="134" h="136">
                  <a:moveTo>
                    <a:pt x="134" y="126"/>
                  </a:moveTo>
                  <a:lnTo>
                    <a:pt x="132" y="124"/>
                  </a:lnTo>
                  <a:lnTo>
                    <a:pt x="130" y="120"/>
                  </a:lnTo>
                  <a:lnTo>
                    <a:pt x="128" y="118"/>
                  </a:lnTo>
                  <a:lnTo>
                    <a:pt x="128" y="116"/>
                  </a:lnTo>
                  <a:lnTo>
                    <a:pt x="128" y="110"/>
                  </a:lnTo>
                  <a:lnTo>
                    <a:pt x="124" y="110"/>
                  </a:lnTo>
                  <a:lnTo>
                    <a:pt x="122" y="104"/>
                  </a:lnTo>
                  <a:lnTo>
                    <a:pt x="122" y="98"/>
                  </a:lnTo>
                  <a:lnTo>
                    <a:pt x="122" y="94"/>
                  </a:lnTo>
                  <a:lnTo>
                    <a:pt x="120" y="90"/>
                  </a:lnTo>
                  <a:lnTo>
                    <a:pt x="114" y="82"/>
                  </a:lnTo>
                  <a:lnTo>
                    <a:pt x="112" y="80"/>
                  </a:lnTo>
                  <a:lnTo>
                    <a:pt x="108" y="80"/>
                  </a:lnTo>
                  <a:lnTo>
                    <a:pt x="106" y="80"/>
                  </a:lnTo>
                  <a:lnTo>
                    <a:pt x="108" y="78"/>
                  </a:lnTo>
                  <a:lnTo>
                    <a:pt x="108" y="76"/>
                  </a:lnTo>
                  <a:lnTo>
                    <a:pt x="104" y="72"/>
                  </a:lnTo>
                  <a:lnTo>
                    <a:pt x="98" y="68"/>
                  </a:lnTo>
                  <a:lnTo>
                    <a:pt x="94" y="66"/>
                  </a:lnTo>
                  <a:lnTo>
                    <a:pt x="94" y="62"/>
                  </a:lnTo>
                  <a:lnTo>
                    <a:pt x="92" y="60"/>
                  </a:lnTo>
                  <a:lnTo>
                    <a:pt x="90" y="56"/>
                  </a:lnTo>
                  <a:lnTo>
                    <a:pt x="88" y="54"/>
                  </a:lnTo>
                  <a:lnTo>
                    <a:pt x="86" y="50"/>
                  </a:lnTo>
                  <a:lnTo>
                    <a:pt x="88" y="48"/>
                  </a:lnTo>
                  <a:lnTo>
                    <a:pt x="90" y="46"/>
                  </a:lnTo>
                  <a:lnTo>
                    <a:pt x="88" y="44"/>
                  </a:lnTo>
                  <a:lnTo>
                    <a:pt x="88" y="42"/>
                  </a:lnTo>
                  <a:lnTo>
                    <a:pt x="90" y="42"/>
                  </a:lnTo>
                  <a:lnTo>
                    <a:pt x="92" y="42"/>
                  </a:lnTo>
                  <a:lnTo>
                    <a:pt x="94" y="42"/>
                  </a:lnTo>
                  <a:lnTo>
                    <a:pt x="94" y="38"/>
                  </a:lnTo>
                  <a:lnTo>
                    <a:pt x="92" y="34"/>
                  </a:lnTo>
                  <a:lnTo>
                    <a:pt x="92" y="32"/>
                  </a:lnTo>
                  <a:lnTo>
                    <a:pt x="94" y="32"/>
                  </a:lnTo>
                  <a:lnTo>
                    <a:pt x="96" y="32"/>
                  </a:lnTo>
                  <a:lnTo>
                    <a:pt x="98" y="32"/>
                  </a:lnTo>
                  <a:lnTo>
                    <a:pt x="100" y="30"/>
                  </a:lnTo>
                  <a:lnTo>
                    <a:pt x="100" y="28"/>
                  </a:lnTo>
                  <a:lnTo>
                    <a:pt x="98" y="28"/>
                  </a:lnTo>
                  <a:lnTo>
                    <a:pt x="96" y="28"/>
                  </a:lnTo>
                  <a:lnTo>
                    <a:pt x="92" y="28"/>
                  </a:lnTo>
                  <a:lnTo>
                    <a:pt x="88" y="26"/>
                  </a:lnTo>
                  <a:lnTo>
                    <a:pt x="86" y="26"/>
                  </a:lnTo>
                  <a:lnTo>
                    <a:pt x="84" y="26"/>
                  </a:lnTo>
                  <a:lnTo>
                    <a:pt x="84" y="24"/>
                  </a:lnTo>
                  <a:lnTo>
                    <a:pt x="80" y="24"/>
                  </a:lnTo>
                  <a:lnTo>
                    <a:pt x="80" y="24"/>
                  </a:lnTo>
                  <a:lnTo>
                    <a:pt x="78" y="22"/>
                  </a:lnTo>
                  <a:lnTo>
                    <a:pt x="78" y="20"/>
                  </a:lnTo>
                  <a:lnTo>
                    <a:pt x="76" y="20"/>
                  </a:lnTo>
                  <a:lnTo>
                    <a:pt x="78" y="18"/>
                  </a:lnTo>
                  <a:lnTo>
                    <a:pt x="78" y="16"/>
                  </a:lnTo>
                  <a:lnTo>
                    <a:pt x="76" y="16"/>
                  </a:lnTo>
                  <a:lnTo>
                    <a:pt x="74" y="16"/>
                  </a:lnTo>
                  <a:lnTo>
                    <a:pt x="76" y="14"/>
                  </a:lnTo>
                  <a:lnTo>
                    <a:pt x="76" y="12"/>
                  </a:lnTo>
                  <a:lnTo>
                    <a:pt x="76" y="10"/>
                  </a:lnTo>
                  <a:lnTo>
                    <a:pt x="74" y="4"/>
                  </a:lnTo>
                  <a:lnTo>
                    <a:pt x="68" y="2"/>
                  </a:lnTo>
                  <a:lnTo>
                    <a:pt x="64" y="6"/>
                  </a:lnTo>
                  <a:lnTo>
                    <a:pt x="62" y="2"/>
                  </a:lnTo>
                  <a:lnTo>
                    <a:pt x="60" y="0"/>
                  </a:lnTo>
                  <a:lnTo>
                    <a:pt x="58" y="4"/>
                  </a:lnTo>
                  <a:lnTo>
                    <a:pt x="56" y="4"/>
                  </a:lnTo>
                  <a:lnTo>
                    <a:pt x="54" y="4"/>
                  </a:lnTo>
                  <a:lnTo>
                    <a:pt x="52" y="2"/>
                  </a:lnTo>
                  <a:lnTo>
                    <a:pt x="50" y="2"/>
                  </a:lnTo>
                  <a:lnTo>
                    <a:pt x="46" y="4"/>
                  </a:lnTo>
                  <a:lnTo>
                    <a:pt x="46" y="6"/>
                  </a:lnTo>
                  <a:lnTo>
                    <a:pt x="44" y="10"/>
                  </a:lnTo>
                  <a:lnTo>
                    <a:pt x="42" y="12"/>
                  </a:lnTo>
                  <a:lnTo>
                    <a:pt x="38" y="16"/>
                  </a:lnTo>
                  <a:lnTo>
                    <a:pt x="36" y="18"/>
                  </a:lnTo>
                  <a:lnTo>
                    <a:pt x="36" y="20"/>
                  </a:lnTo>
                  <a:lnTo>
                    <a:pt x="36" y="24"/>
                  </a:lnTo>
                  <a:lnTo>
                    <a:pt x="38" y="26"/>
                  </a:lnTo>
                  <a:lnTo>
                    <a:pt x="34" y="28"/>
                  </a:lnTo>
                  <a:lnTo>
                    <a:pt x="34" y="30"/>
                  </a:lnTo>
                  <a:lnTo>
                    <a:pt x="34" y="34"/>
                  </a:lnTo>
                  <a:lnTo>
                    <a:pt x="36" y="38"/>
                  </a:lnTo>
                  <a:lnTo>
                    <a:pt x="34" y="40"/>
                  </a:lnTo>
                  <a:lnTo>
                    <a:pt x="32" y="48"/>
                  </a:lnTo>
                  <a:lnTo>
                    <a:pt x="28" y="52"/>
                  </a:lnTo>
                  <a:lnTo>
                    <a:pt x="0" y="72"/>
                  </a:lnTo>
                  <a:lnTo>
                    <a:pt x="8" y="96"/>
                  </a:lnTo>
                  <a:lnTo>
                    <a:pt x="46" y="116"/>
                  </a:lnTo>
                  <a:lnTo>
                    <a:pt x="46" y="122"/>
                  </a:lnTo>
                  <a:lnTo>
                    <a:pt x="56" y="122"/>
                  </a:lnTo>
                  <a:lnTo>
                    <a:pt x="58" y="128"/>
                  </a:lnTo>
                  <a:lnTo>
                    <a:pt x="66" y="134"/>
                  </a:lnTo>
                  <a:lnTo>
                    <a:pt x="90" y="136"/>
                  </a:lnTo>
                  <a:lnTo>
                    <a:pt x="96" y="134"/>
                  </a:lnTo>
                  <a:lnTo>
                    <a:pt x="102" y="128"/>
                  </a:lnTo>
                  <a:lnTo>
                    <a:pt x="108" y="122"/>
                  </a:lnTo>
                  <a:lnTo>
                    <a:pt x="110" y="120"/>
                  </a:lnTo>
                  <a:lnTo>
                    <a:pt x="112" y="118"/>
                  </a:lnTo>
                  <a:lnTo>
                    <a:pt x="120" y="120"/>
                  </a:lnTo>
                  <a:lnTo>
                    <a:pt x="122" y="120"/>
                  </a:lnTo>
                  <a:lnTo>
                    <a:pt x="124" y="124"/>
                  </a:lnTo>
                  <a:lnTo>
                    <a:pt x="128" y="124"/>
                  </a:lnTo>
                  <a:lnTo>
                    <a:pt x="130" y="122"/>
                  </a:lnTo>
                  <a:lnTo>
                    <a:pt x="132" y="124"/>
                  </a:lnTo>
                  <a:lnTo>
                    <a:pt x="134" y="126"/>
                  </a:lnTo>
                  <a:lnTo>
                    <a:pt x="134" y="12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1" name="Freeform 465">
              <a:extLst>
                <a:ext uri="{FF2B5EF4-FFF2-40B4-BE49-F238E27FC236}">
                  <a16:creationId xmlns:a16="http://schemas.microsoft.com/office/drawing/2014/main" id="{720581B8-1375-4904-951A-F23AE7138A3B}"/>
                </a:ext>
              </a:extLst>
            </p:cNvPr>
            <p:cNvSpPr>
              <a:spLocks/>
            </p:cNvSpPr>
            <p:nvPr/>
          </p:nvSpPr>
          <p:spPr bwMode="auto">
            <a:xfrm>
              <a:off x="3453652" y="4076387"/>
              <a:ext cx="183862" cy="214938"/>
            </a:xfrm>
            <a:custGeom>
              <a:avLst/>
              <a:gdLst/>
              <a:ahLst/>
              <a:cxnLst>
                <a:cxn ang="0">
                  <a:pos x="142" y="144"/>
                </a:cxn>
                <a:cxn ang="0">
                  <a:pos x="138" y="132"/>
                </a:cxn>
                <a:cxn ang="0">
                  <a:pos x="138" y="126"/>
                </a:cxn>
                <a:cxn ang="0">
                  <a:pos x="130" y="106"/>
                </a:cxn>
                <a:cxn ang="0">
                  <a:pos x="124" y="98"/>
                </a:cxn>
                <a:cxn ang="0">
                  <a:pos x="120" y="84"/>
                </a:cxn>
                <a:cxn ang="0">
                  <a:pos x="118" y="78"/>
                </a:cxn>
                <a:cxn ang="0">
                  <a:pos x="114" y="70"/>
                </a:cxn>
                <a:cxn ang="0">
                  <a:pos x="110" y="62"/>
                </a:cxn>
                <a:cxn ang="0">
                  <a:pos x="102" y="48"/>
                </a:cxn>
                <a:cxn ang="0">
                  <a:pos x="108" y="46"/>
                </a:cxn>
                <a:cxn ang="0">
                  <a:pos x="112" y="56"/>
                </a:cxn>
                <a:cxn ang="0">
                  <a:pos x="120" y="68"/>
                </a:cxn>
                <a:cxn ang="0">
                  <a:pos x="130" y="56"/>
                </a:cxn>
                <a:cxn ang="0">
                  <a:pos x="130" y="42"/>
                </a:cxn>
                <a:cxn ang="0">
                  <a:pos x="126" y="14"/>
                </a:cxn>
                <a:cxn ang="0">
                  <a:pos x="122" y="12"/>
                </a:cxn>
                <a:cxn ang="0">
                  <a:pos x="114" y="14"/>
                </a:cxn>
                <a:cxn ang="0">
                  <a:pos x="108" y="14"/>
                </a:cxn>
                <a:cxn ang="0">
                  <a:pos x="104" y="12"/>
                </a:cxn>
                <a:cxn ang="0">
                  <a:pos x="98" y="16"/>
                </a:cxn>
                <a:cxn ang="0">
                  <a:pos x="92" y="14"/>
                </a:cxn>
                <a:cxn ang="0">
                  <a:pos x="92" y="12"/>
                </a:cxn>
                <a:cxn ang="0">
                  <a:pos x="88" y="10"/>
                </a:cxn>
                <a:cxn ang="0">
                  <a:pos x="84" y="12"/>
                </a:cxn>
                <a:cxn ang="0">
                  <a:pos x="86" y="14"/>
                </a:cxn>
                <a:cxn ang="0">
                  <a:pos x="86" y="18"/>
                </a:cxn>
                <a:cxn ang="0">
                  <a:pos x="82" y="14"/>
                </a:cxn>
                <a:cxn ang="0">
                  <a:pos x="78" y="14"/>
                </a:cxn>
                <a:cxn ang="0">
                  <a:pos x="70" y="18"/>
                </a:cxn>
                <a:cxn ang="0">
                  <a:pos x="64" y="16"/>
                </a:cxn>
                <a:cxn ang="0">
                  <a:pos x="56" y="18"/>
                </a:cxn>
                <a:cxn ang="0">
                  <a:pos x="44" y="16"/>
                </a:cxn>
                <a:cxn ang="0">
                  <a:pos x="36" y="14"/>
                </a:cxn>
                <a:cxn ang="0">
                  <a:pos x="26" y="8"/>
                </a:cxn>
                <a:cxn ang="0">
                  <a:pos x="16" y="6"/>
                </a:cxn>
                <a:cxn ang="0">
                  <a:pos x="4" y="2"/>
                </a:cxn>
                <a:cxn ang="0">
                  <a:pos x="0" y="2"/>
                </a:cxn>
                <a:cxn ang="0">
                  <a:pos x="0" y="12"/>
                </a:cxn>
                <a:cxn ang="0">
                  <a:pos x="2" y="22"/>
                </a:cxn>
                <a:cxn ang="0">
                  <a:pos x="0" y="26"/>
                </a:cxn>
                <a:cxn ang="0">
                  <a:pos x="0" y="38"/>
                </a:cxn>
                <a:cxn ang="0">
                  <a:pos x="4" y="46"/>
                </a:cxn>
                <a:cxn ang="0">
                  <a:pos x="98" y="162"/>
                </a:cxn>
                <a:cxn ang="0">
                  <a:pos x="102" y="162"/>
                </a:cxn>
                <a:cxn ang="0">
                  <a:pos x="116" y="166"/>
                </a:cxn>
                <a:cxn ang="0">
                  <a:pos x="122" y="156"/>
                </a:cxn>
                <a:cxn ang="0">
                  <a:pos x="130" y="146"/>
                </a:cxn>
                <a:cxn ang="0">
                  <a:pos x="142" y="144"/>
                </a:cxn>
              </a:cxnLst>
              <a:rect l="0" t="0" r="r" b="b"/>
              <a:pathLst>
                <a:path w="142" h="166">
                  <a:moveTo>
                    <a:pt x="142" y="144"/>
                  </a:moveTo>
                  <a:lnTo>
                    <a:pt x="142" y="144"/>
                  </a:lnTo>
                  <a:lnTo>
                    <a:pt x="140" y="142"/>
                  </a:lnTo>
                  <a:lnTo>
                    <a:pt x="138" y="132"/>
                  </a:lnTo>
                  <a:lnTo>
                    <a:pt x="142" y="130"/>
                  </a:lnTo>
                  <a:lnTo>
                    <a:pt x="138" y="126"/>
                  </a:lnTo>
                  <a:lnTo>
                    <a:pt x="138" y="122"/>
                  </a:lnTo>
                  <a:lnTo>
                    <a:pt x="130" y="106"/>
                  </a:lnTo>
                  <a:lnTo>
                    <a:pt x="126" y="104"/>
                  </a:lnTo>
                  <a:lnTo>
                    <a:pt x="124" y="98"/>
                  </a:lnTo>
                  <a:lnTo>
                    <a:pt x="122" y="90"/>
                  </a:lnTo>
                  <a:lnTo>
                    <a:pt x="120" y="84"/>
                  </a:lnTo>
                  <a:lnTo>
                    <a:pt x="118" y="80"/>
                  </a:lnTo>
                  <a:lnTo>
                    <a:pt x="118" y="78"/>
                  </a:lnTo>
                  <a:lnTo>
                    <a:pt x="114" y="76"/>
                  </a:lnTo>
                  <a:lnTo>
                    <a:pt x="114" y="70"/>
                  </a:lnTo>
                  <a:lnTo>
                    <a:pt x="114" y="66"/>
                  </a:lnTo>
                  <a:lnTo>
                    <a:pt x="110" y="62"/>
                  </a:lnTo>
                  <a:lnTo>
                    <a:pt x="106" y="56"/>
                  </a:lnTo>
                  <a:lnTo>
                    <a:pt x="102" y="48"/>
                  </a:lnTo>
                  <a:lnTo>
                    <a:pt x="104" y="44"/>
                  </a:lnTo>
                  <a:lnTo>
                    <a:pt x="108" y="46"/>
                  </a:lnTo>
                  <a:lnTo>
                    <a:pt x="110" y="50"/>
                  </a:lnTo>
                  <a:lnTo>
                    <a:pt x="112" y="56"/>
                  </a:lnTo>
                  <a:lnTo>
                    <a:pt x="112" y="60"/>
                  </a:lnTo>
                  <a:lnTo>
                    <a:pt x="120" y="68"/>
                  </a:lnTo>
                  <a:lnTo>
                    <a:pt x="126" y="68"/>
                  </a:lnTo>
                  <a:lnTo>
                    <a:pt x="130" y="56"/>
                  </a:lnTo>
                  <a:lnTo>
                    <a:pt x="132" y="48"/>
                  </a:lnTo>
                  <a:lnTo>
                    <a:pt x="130" y="42"/>
                  </a:lnTo>
                  <a:lnTo>
                    <a:pt x="128" y="22"/>
                  </a:lnTo>
                  <a:lnTo>
                    <a:pt x="126" y="14"/>
                  </a:lnTo>
                  <a:lnTo>
                    <a:pt x="126" y="12"/>
                  </a:lnTo>
                  <a:lnTo>
                    <a:pt x="122" y="12"/>
                  </a:lnTo>
                  <a:lnTo>
                    <a:pt x="118" y="12"/>
                  </a:lnTo>
                  <a:lnTo>
                    <a:pt x="114" y="14"/>
                  </a:lnTo>
                  <a:lnTo>
                    <a:pt x="108" y="16"/>
                  </a:lnTo>
                  <a:lnTo>
                    <a:pt x="108" y="14"/>
                  </a:lnTo>
                  <a:lnTo>
                    <a:pt x="108" y="12"/>
                  </a:lnTo>
                  <a:lnTo>
                    <a:pt x="104" y="12"/>
                  </a:lnTo>
                  <a:lnTo>
                    <a:pt x="100" y="14"/>
                  </a:lnTo>
                  <a:lnTo>
                    <a:pt x="98" y="16"/>
                  </a:lnTo>
                  <a:lnTo>
                    <a:pt x="96" y="14"/>
                  </a:lnTo>
                  <a:lnTo>
                    <a:pt x="92" y="14"/>
                  </a:lnTo>
                  <a:lnTo>
                    <a:pt x="90" y="12"/>
                  </a:lnTo>
                  <a:lnTo>
                    <a:pt x="92" y="12"/>
                  </a:lnTo>
                  <a:lnTo>
                    <a:pt x="92" y="10"/>
                  </a:lnTo>
                  <a:lnTo>
                    <a:pt x="88" y="10"/>
                  </a:lnTo>
                  <a:lnTo>
                    <a:pt x="86" y="10"/>
                  </a:lnTo>
                  <a:lnTo>
                    <a:pt x="84" y="12"/>
                  </a:lnTo>
                  <a:lnTo>
                    <a:pt x="86" y="12"/>
                  </a:lnTo>
                  <a:lnTo>
                    <a:pt x="86" y="14"/>
                  </a:lnTo>
                  <a:lnTo>
                    <a:pt x="86" y="16"/>
                  </a:lnTo>
                  <a:lnTo>
                    <a:pt x="86" y="18"/>
                  </a:lnTo>
                  <a:lnTo>
                    <a:pt x="82" y="16"/>
                  </a:lnTo>
                  <a:lnTo>
                    <a:pt x="82" y="14"/>
                  </a:lnTo>
                  <a:lnTo>
                    <a:pt x="84" y="12"/>
                  </a:lnTo>
                  <a:lnTo>
                    <a:pt x="78" y="14"/>
                  </a:lnTo>
                  <a:lnTo>
                    <a:pt x="72" y="12"/>
                  </a:lnTo>
                  <a:lnTo>
                    <a:pt x="70" y="18"/>
                  </a:lnTo>
                  <a:lnTo>
                    <a:pt x="68" y="18"/>
                  </a:lnTo>
                  <a:lnTo>
                    <a:pt x="64" y="16"/>
                  </a:lnTo>
                  <a:lnTo>
                    <a:pt x="62" y="18"/>
                  </a:lnTo>
                  <a:lnTo>
                    <a:pt x="56" y="18"/>
                  </a:lnTo>
                  <a:lnTo>
                    <a:pt x="52" y="14"/>
                  </a:lnTo>
                  <a:lnTo>
                    <a:pt x="44" y="16"/>
                  </a:lnTo>
                  <a:lnTo>
                    <a:pt x="36" y="16"/>
                  </a:lnTo>
                  <a:lnTo>
                    <a:pt x="36" y="14"/>
                  </a:lnTo>
                  <a:lnTo>
                    <a:pt x="28" y="12"/>
                  </a:lnTo>
                  <a:lnTo>
                    <a:pt x="26" y="8"/>
                  </a:lnTo>
                  <a:lnTo>
                    <a:pt x="20" y="6"/>
                  </a:lnTo>
                  <a:lnTo>
                    <a:pt x="16" y="6"/>
                  </a:lnTo>
                  <a:lnTo>
                    <a:pt x="8" y="8"/>
                  </a:lnTo>
                  <a:lnTo>
                    <a:pt x="4" y="2"/>
                  </a:lnTo>
                  <a:lnTo>
                    <a:pt x="2" y="0"/>
                  </a:lnTo>
                  <a:lnTo>
                    <a:pt x="0" y="2"/>
                  </a:lnTo>
                  <a:lnTo>
                    <a:pt x="0" y="6"/>
                  </a:lnTo>
                  <a:lnTo>
                    <a:pt x="0" y="12"/>
                  </a:lnTo>
                  <a:lnTo>
                    <a:pt x="2" y="18"/>
                  </a:lnTo>
                  <a:lnTo>
                    <a:pt x="2" y="22"/>
                  </a:lnTo>
                  <a:lnTo>
                    <a:pt x="0" y="24"/>
                  </a:lnTo>
                  <a:lnTo>
                    <a:pt x="0" y="26"/>
                  </a:lnTo>
                  <a:lnTo>
                    <a:pt x="0" y="32"/>
                  </a:lnTo>
                  <a:lnTo>
                    <a:pt x="0" y="38"/>
                  </a:lnTo>
                  <a:lnTo>
                    <a:pt x="0" y="40"/>
                  </a:lnTo>
                  <a:lnTo>
                    <a:pt x="4" y="46"/>
                  </a:lnTo>
                  <a:lnTo>
                    <a:pt x="4" y="162"/>
                  </a:lnTo>
                  <a:lnTo>
                    <a:pt x="98" y="162"/>
                  </a:lnTo>
                  <a:lnTo>
                    <a:pt x="102" y="160"/>
                  </a:lnTo>
                  <a:lnTo>
                    <a:pt x="102" y="162"/>
                  </a:lnTo>
                  <a:lnTo>
                    <a:pt x="114" y="162"/>
                  </a:lnTo>
                  <a:lnTo>
                    <a:pt x="116" y="166"/>
                  </a:lnTo>
                  <a:lnTo>
                    <a:pt x="122" y="164"/>
                  </a:lnTo>
                  <a:lnTo>
                    <a:pt x="122" y="156"/>
                  </a:lnTo>
                  <a:lnTo>
                    <a:pt x="126" y="154"/>
                  </a:lnTo>
                  <a:lnTo>
                    <a:pt x="130" y="146"/>
                  </a:lnTo>
                  <a:lnTo>
                    <a:pt x="134" y="146"/>
                  </a:lnTo>
                  <a:lnTo>
                    <a:pt x="142" y="144"/>
                  </a:lnTo>
                  <a:lnTo>
                    <a:pt x="142" y="14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2" name="Freeform 466">
              <a:extLst>
                <a:ext uri="{FF2B5EF4-FFF2-40B4-BE49-F238E27FC236}">
                  <a16:creationId xmlns:a16="http://schemas.microsoft.com/office/drawing/2014/main" id="{4E0D9767-C6EF-4634-922A-7C85D520D1BC}"/>
                </a:ext>
              </a:extLst>
            </p:cNvPr>
            <p:cNvSpPr>
              <a:spLocks noEditPoints="1"/>
            </p:cNvSpPr>
            <p:nvPr/>
          </p:nvSpPr>
          <p:spPr bwMode="auto">
            <a:xfrm>
              <a:off x="3479548" y="3843323"/>
              <a:ext cx="315932" cy="147608"/>
            </a:xfrm>
            <a:custGeom>
              <a:avLst/>
              <a:gdLst/>
              <a:ahLst/>
              <a:cxnLst>
                <a:cxn ang="0">
                  <a:pos x="16" y="6"/>
                </a:cxn>
                <a:cxn ang="0">
                  <a:pos x="12" y="12"/>
                </a:cxn>
                <a:cxn ang="0">
                  <a:pos x="10" y="18"/>
                </a:cxn>
                <a:cxn ang="0">
                  <a:pos x="4" y="22"/>
                </a:cxn>
                <a:cxn ang="0">
                  <a:pos x="4" y="28"/>
                </a:cxn>
                <a:cxn ang="0">
                  <a:pos x="2" y="36"/>
                </a:cxn>
                <a:cxn ang="0">
                  <a:pos x="20" y="22"/>
                </a:cxn>
                <a:cxn ang="0">
                  <a:pos x="30" y="12"/>
                </a:cxn>
                <a:cxn ang="0">
                  <a:pos x="24" y="6"/>
                </a:cxn>
                <a:cxn ang="0">
                  <a:pos x="130" y="114"/>
                </a:cxn>
                <a:cxn ang="0">
                  <a:pos x="136" y="108"/>
                </a:cxn>
                <a:cxn ang="0">
                  <a:pos x="136" y="100"/>
                </a:cxn>
                <a:cxn ang="0">
                  <a:pos x="144" y="102"/>
                </a:cxn>
                <a:cxn ang="0">
                  <a:pos x="156" y="98"/>
                </a:cxn>
                <a:cxn ang="0">
                  <a:pos x="174" y="92"/>
                </a:cxn>
                <a:cxn ang="0">
                  <a:pos x="192" y="90"/>
                </a:cxn>
                <a:cxn ang="0">
                  <a:pos x="208" y="90"/>
                </a:cxn>
                <a:cxn ang="0">
                  <a:pos x="218" y="90"/>
                </a:cxn>
                <a:cxn ang="0">
                  <a:pos x="228" y="92"/>
                </a:cxn>
                <a:cxn ang="0">
                  <a:pos x="236" y="84"/>
                </a:cxn>
                <a:cxn ang="0">
                  <a:pos x="230" y="68"/>
                </a:cxn>
                <a:cxn ang="0">
                  <a:pos x="232" y="58"/>
                </a:cxn>
                <a:cxn ang="0">
                  <a:pos x="234" y="46"/>
                </a:cxn>
                <a:cxn ang="0">
                  <a:pos x="244" y="42"/>
                </a:cxn>
                <a:cxn ang="0">
                  <a:pos x="228" y="34"/>
                </a:cxn>
                <a:cxn ang="0">
                  <a:pos x="230" y="24"/>
                </a:cxn>
                <a:cxn ang="0">
                  <a:pos x="226" y="14"/>
                </a:cxn>
                <a:cxn ang="0">
                  <a:pos x="216" y="12"/>
                </a:cxn>
                <a:cxn ang="0">
                  <a:pos x="202" y="8"/>
                </a:cxn>
                <a:cxn ang="0">
                  <a:pos x="196" y="8"/>
                </a:cxn>
                <a:cxn ang="0">
                  <a:pos x="184" y="16"/>
                </a:cxn>
                <a:cxn ang="0">
                  <a:pos x="174" y="18"/>
                </a:cxn>
                <a:cxn ang="0">
                  <a:pos x="154" y="20"/>
                </a:cxn>
                <a:cxn ang="0">
                  <a:pos x="140" y="12"/>
                </a:cxn>
                <a:cxn ang="0">
                  <a:pos x="126" y="6"/>
                </a:cxn>
                <a:cxn ang="0">
                  <a:pos x="110" y="2"/>
                </a:cxn>
                <a:cxn ang="0">
                  <a:pos x="92" y="0"/>
                </a:cxn>
                <a:cxn ang="0">
                  <a:pos x="78" y="8"/>
                </a:cxn>
                <a:cxn ang="0">
                  <a:pos x="58" y="18"/>
                </a:cxn>
                <a:cxn ang="0">
                  <a:pos x="40" y="16"/>
                </a:cxn>
                <a:cxn ang="0">
                  <a:pos x="38" y="24"/>
                </a:cxn>
                <a:cxn ang="0">
                  <a:pos x="26" y="28"/>
                </a:cxn>
                <a:cxn ang="0">
                  <a:pos x="14" y="32"/>
                </a:cxn>
                <a:cxn ang="0">
                  <a:pos x="2" y="44"/>
                </a:cxn>
                <a:cxn ang="0">
                  <a:pos x="8" y="62"/>
                </a:cxn>
                <a:cxn ang="0">
                  <a:pos x="8" y="68"/>
                </a:cxn>
                <a:cxn ang="0">
                  <a:pos x="4" y="70"/>
                </a:cxn>
                <a:cxn ang="0">
                  <a:pos x="14" y="84"/>
                </a:cxn>
                <a:cxn ang="0">
                  <a:pos x="24" y="98"/>
                </a:cxn>
                <a:cxn ang="0">
                  <a:pos x="38" y="100"/>
                </a:cxn>
                <a:cxn ang="0">
                  <a:pos x="54" y="106"/>
                </a:cxn>
                <a:cxn ang="0">
                  <a:pos x="80" y="106"/>
                </a:cxn>
                <a:cxn ang="0">
                  <a:pos x="106" y="104"/>
                </a:cxn>
                <a:cxn ang="0">
                  <a:pos x="116" y="102"/>
                </a:cxn>
                <a:cxn ang="0">
                  <a:pos x="124" y="104"/>
                </a:cxn>
                <a:cxn ang="0">
                  <a:pos x="124" y="114"/>
                </a:cxn>
              </a:cxnLst>
              <a:rect l="0" t="0" r="r" b="b"/>
              <a:pathLst>
                <a:path w="244" h="114">
                  <a:moveTo>
                    <a:pt x="24" y="6"/>
                  </a:moveTo>
                  <a:lnTo>
                    <a:pt x="24" y="6"/>
                  </a:lnTo>
                  <a:lnTo>
                    <a:pt x="20" y="6"/>
                  </a:lnTo>
                  <a:lnTo>
                    <a:pt x="16" y="6"/>
                  </a:lnTo>
                  <a:lnTo>
                    <a:pt x="12" y="4"/>
                  </a:lnTo>
                  <a:lnTo>
                    <a:pt x="8" y="6"/>
                  </a:lnTo>
                  <a:lnTo>
                    <a:pt x="8" y="8"/>
                  </a:lnTo>
                  <a:lnTo>
                    <a:pt x="12" y="12"/>
                  </a:lnTo>
                  <a:lnTo>
                    <a:pt x="14" y="14"/>
                  </a:lnTo>
                  <a:lnTo>
                    <a:pt x="14" y="16"/>
                  </a:lnTo>
                  <a:lnTo>
                    <a:pt x="12" y="18"/>
                  </a:lnTo>
                  <a:lnTo>
                    <a:pt x="10" y="18"/>
                  </a:lnTo>
                  <a:lnTo>
                    <a:pt x="6" y="18"/>
                  </a:lnTo>
                  <a:lnTo>
                    <a:pt x="6" y="16"/>
                  </a:lnTo>
                  <a:lnTo>
                    <a:pt x="4" y="18"/>
                  </a:lnTo>
                  <a:lnTo>
                    <a:pt x="4" y="22"/>
                  </a:lnTo>
                  <a:lnTo>
                    <a:pt x="2" y="24"/>
                  </a:lnTo>
                  <a:lnTo>
                    <a:pt x="0" y="26"/>
                  </a:lnTo>
                  <a:lnTo>
                    <a:pt x="2" y="28"/>
                  </a:lnTo>
                  <a:lnTo>
                    <a:pt x="4" y="28"/>
                  </a:lnTo>
                  <a:lnTo>
                    <a:pt x="0" y="30"/>
                  </a:lnTo>
                  <a:lnTo>
                    <a:pt x="0" y="34"/>
                  </a:lnTo>
                  <a:lnTo>
                    <a:pt x="0" y="36"/>
                  </a:lnTo>
                  <a:lnTo>
                    <a:pt x="2" y="36"/>
                  </a:lnTo>
                  <a:lnTo>
                    <a:pt x="10" y="28"/>
                  </a:lnTo>
                  <a:lnTo>
                    <a:pt x="18" y="26"/>
                  </a:lnTo>
                  <a:lnTo>
                    <a:pt x="18" y="24"/>
                  </a:lnTo>
                  <a:lnTo>
                    <a:pt x="20" y="22"/>
                  </a:lnTo>
                  <a:lnTo>
                    <a:pt x="28" y="22"/>
                  </a:lnTo>
                  <a:lnTo>
                    <a:pt x="34" y="20"/>
                  </a:lnTo>
                  <a:lnTo>
                    <a:pt x="36" y="16"/>
                  </a:lnTo>
                  <a:lnTo>
                    <a:pt x="30" y="12"/>
                  </a:lnTo>
                  <a:lnTo>
                    <a:pt x="26" y="10"/>
                  </a:lnTo>
                  <a:lnTo>
                    <a:pt x="24" y="8"/>
                  </a:lnTo>
                  <a:lnTo>
                    <a:pt x="24" y="6"/>
                  </a:lnTo>
                  <a:lnTo>
                    <a:pt x="24" y="6"/>
                  </a:lnTo>
                  <a:close/>
                  <a:moveTo>
                    <a:pt x="124" y="114"/>
                  </a:moveTo>
                  <a:lnTo>
                    <a:pt x="124" y="114"/>
                  </a:lnTo>
                  <a:lnTo>
                    <a:pt x="128" y="114"/>
                  </a:lnTo>
                  <a:lnTo>
                    <a:pt x="130" y="114"/>
                  </a:lnTo>
                  <a:lnTo>
                    <a:pt x="130" y="112"/>
                  </a:lnTo>
                  <a:lnTo>
                    <a:pt x="132" y="110"/>
                  </a:lnTo>
                  <a:lnTo>
                    <a:pt x="134" y="108"/>
                  </a:lnTo>
                  <a:lnTo>
                    <a:pt x="136" y="108"/>
                  </a:lnTo>
                  <a:lnTo>
                    <a:pt x="136" y="106"/>
                  </a:lnTo>
                  <a:lnTo>
                    <a:pt x="136" y="104"/>
                  </a:lnTo>
                  <a:lnTo>
                    <a:pt x="136" y="102"/>
                  </a:lnTo>
                  <a:lnTo>
                    <a:pt x="136" y="100"/>
                  </a:lnTo>
                  <a:lnTo>
                    <a:pt x="138" y="100"/>
                  </a:lnTo>
                  <a:lnTo>
                    <a:pt x="140" y="100"/>
                  </a:lnTo>
                  <a:lnTo>
                    <a:pt x="142" y="102"/>
                  </a:lnTo>
                  <a:lnTo>
                    <a:pt x="144" y="102"/>
                  </a:lnTo>
                  <a:lnTo>
                    <a:pt x="146" y="98"/>
                  </a:lnTo>
                  <a:lnTo>
                    <a:pt x="150" y="98"/>
                  </a:lnTo>
                  <a:lnTo>
                    <a:pt x="154" y="98"/>
                  </a:lnTo>
                  <a:lnTo>
                    <a:pt x="156" y="98"/>
                  </a:lnTo>
                  <a:lnTo>
                    <a:pt x="158" y="98"/>
                  </a:lnTo>
                  <a:lnTo>
                    <a:pt x="166" y="96"/>
                  </a:lnTo>
                  <a:lnTo>
                    <a:pt x="170" y="96"/>
                  </a:lnTo>
                  <a:lnTo>
                    <a:pt x="174" y="92"/>
                  </a:lnTo>
                  <a:lnTo>
                    <a:pt x="178" y="92"/>
                  </a:lnTo>
                  <a:lnTo>
                    <a:pt x="182" y="92"/>
                  </a:lnTo>
                  <a:lnTo>
                    <a:pt x="188" y="92"/>
                  </a:lnTo>
                  <a:lnTo>
                    <a:pt x="192" y="90"/>
                  </a:lnTo>
                  <a:lnTo>
                    <a:pt x="198" y="86"/>
                  </a:lnTo>
                  <a:lnTo>
                    <a:pt x="204" y="84"/>
                  </a:lnTo>
                  <a:lnTo>
                    <a:pt x="204" y="88"/>
                  </a:lnTo>
                  <a:lnTo>
                    <a:pt x="208" y="90"/>
                  </a:lnTo>
                  <a:lnTo>
                    <a:pt x="212" y="88"/>
                  </a:lnTo>
                  <a:lnTo>
                    <a:pt x="214" y="88"/>
                  </a:lnTo>
                  <a:lnTo>
                    <a:pt x="216" y="90"/>
                  </a:lnTo>
                  <a:lnTo>
                    <a:pt x="218" y="90"/>
                  </a:lnTo>
                  <a:lnTo>
                    <a:pt x="220" y="90"/>
                  </a:lnTo>
                  <a:lnTo>
                    <a:pt x="224" y="86"/>
                  </a:lnTo>
                  <a:lnTo>
                    <a:pt x="226" y="88"/>
                  </a:lnTo>
                  <a:lnTo>
                    <a:pt x="228" y="92"/>
                  </a:lnTo>
                  <a:lnTo>
                    <a:pt x="232" y="88"/>
                  </a:lnTo>
                  <a:lnTo>
                    <a:pt x="236" y="90"/>
                  </a:lnTo>
                  <a:lnTo>
                    <a:pt x="236" y="88"/>
                  </a:lnTo>
                  <a:lnTo>
                    <a:pt x="236" y="84"/>
                  </a:lnTo>
                  <a:lnTo>
                    <a:pt x="234" y="80"/>
                  </a:lnTo>
                  <a:lnTo>
                    <a:pt x="234" y="76"/>
                  </a:lnTo>
                  <a:lnTo>
                    <a:pt x="232" y="72"/>
                  </a:lnTo>
                  <a:lnTo>
                    <a:pt x="230" y="68"/>
                  </a:lnTo>
                  <a:lnTo>
                    <a:pt x="232" y="66"/>
                  </a:lnTo>
                  <a:lnTo>
                    <a:pt x="232" y="64"/>
                  </a:lnTo>
                  <a:lnTo>
                    <a:pt x="232" y="60"/>
                  </a:lnTo>
                  <a:lnTo>
                    <a:pt x="232" y="58"/>
                  </a:lnTo>
                  <a:lnTo>
                    <a:pt x="232" y="56"/>
                  </a:lnTo>
                  <a:lnTo>
                    <a:pt x="232" y="52"/>
                  </a:lnTo>
                  <a:lnTo>
                    <a:pt x="232" y="50"/>
                  </a:lnTo>
                  <a:lnTo>
                    <a:pt x="234" y="46"/>
                  </a:lnTo>
                  <a:lnTo>
                    <a:pt x="236" y="46"/>
                  </a:lnTo>
                  <a:lnTo>
                    <a:pt x="240" y="48"/>
                  </a:lnTo>
                  <a:lnTo>
                    <a:pt x="242" y="44"/>
                  </a:lnTo>
                  <a:lnTo>
                    <a:pt x="244" y="42"/>
                  </a:lnTo>
                  <a:lnTo>
                    <a:pt x="242" y="42"/>
                  </a:lnTo>
                  <a:lnTo>
                    <a:pt x="238" y="38"/>
                  </a:lnTo>
                  <a:lnTo>
                    <a:pt x="232" y="36"/>
                  </a:lnTo>
                  <a:lnTo>
                    <a:pt x="228" y="34"/>
                  </a:lnTo>
                  <a:lnTo>
                    <a:pt x="226" y="32"/>
                  </a:lnTo>
                  <a:lnTo>
                    <a:pt x="226" y="30"/>
                  </a:lnTo>
                  <a:lnTo>
                    <a:pt x="228" y="26"/>
                  </a:lnTo>
                  <a:lnTo>
                    <a:pt x="230" y="24"/>
                  </a:lnTo>
                  <a:lnTo>
                    <a:pt x="232" y="22"/>
                  </a:lnTo>
                  <a:lnTo>
                    <a:pt x="230" y="18"/>
                  </a:lnTo>
                  <a:lnTo>
                    <a:pt x="228" y="14"/>
                  </a:lnTo>
                  <a:lnTo>
                    <a:pt x="226" y="14"/>
                  </a:lnTo>
                  <a:lnTo>
                    <a:pt x="226" y="12"/>
                  </a:lnTo>
                  <a:lnTo>
                    <a:pt x="226" y="10"/>
                  </a:lnTo>
                  <a:lnTo>
                    <a:pt x="224" y="10"/>
                  </a:lnTo>
                  <a:lnTo>
                    <a:pt x="216" y="12"/>
                  </a:lnTo>
                  <a:lnTo>
                    <a:pt x="214" y="10"/>
                  </a:lnTo>
                  <a:lnTo>
                    <a:pt x="210" y="8"/>
                  </a:lnTo>
                  <a:lnTo>
                    <a:pt x="206" y="8"/>
                  </a:lnTo>
                  <a:lnTo>
                    <a:pt x="202" y="8"/>
                  </a:lnTo>
                  <a:lnTo>
                    <a:pt x="200" y="10"/>
                  </a:lnTo>
                  <a:lnTo>
                    <a:pt x="200" y="8"/>
                  </a:lnTo>
                  <a:lnTo>
                    <a:pt x="198" y="8"/>
                  </a:lnTo>
                  <a:lnTo>
                    <a:pt x="196" y="8"/>
                  </a:lnTo>
                  <a:lnTo>
                    <a:pt x="194" y="10"/>
                  </a:lnTo>
                  <a:lnTo>
                    <a:pt x="192" y="14"/>
                  </a:lnTo>
                  <a:lnTo>
                    <a:pt x="188" y="16"/>
                  </a:lnTo>
                  <a:lnTo>
                    <a:pt x="184" y="16"/>
                  </a:lnTo>
                  <a:lnTo>
                    <a:pt x="182" y="18"/>
                  </a:lnTo>
                  <a:lnTo>
                    <a:pt x="180" y="20"/>
                  </a:lnTo>
                  <a:lnTo>
                    <a:pt x="176" y="20"/>
                  </a:lnTo>
                  <a:lnTo>
                    <a:pt x="174" y="18"/>
                  </a:lnTo>
                  <a:lnTo>
                    <a:pt x="170" y="16"/>
                  </a:lnTo>
                  <a:lnTo>
                    <a:pt x="168" y="20"/>
                  </a:lnTo>
                  <a:lnTo>
                    <a:pt x="162" y="20"/>
                  </a:lnTo>
                  <a:lnTo>
                    <a:pt x="154" y="20"/>
                  </a:lnTo>
                  <a:lnTo>
                    <a:pt x="152" y="18"/>
                  </a:lnTo>
                  <a:lnTo>
                    <a:pt x="146" y="18"/>
                  </a:lnTo>
                  <a:lnTo>
                    <a:pt x="144" y="14"/>
                  </a:lnTo>
                  <a:lnTo>
                    <a:pt x="140" y="12"/>
                  </a:lnTo>
                  <a:lnTo>
                    <a:pt x="134" y="12"/>
                  </a:lnTo>
                  <a:lnTo>
                    <a:pt x="134" y="16"/>
                  </a:lnTo>
                  <a:lnTo>
                    <a:pt x="130" y="16"/>
                  </a:lnTo>
                  <a:lnTo>
                    <a:pt x="126" y="6"/>
                  </a:lnTo>
                  <a:lnTo>
                    <a:pt x="120" y="6"/>
                  </a:lnTo>
                  <a:lnTo>
                    <a:pt x="114" y="4"/>
                  </a:lnTo>
                  <a:lnTo>
                    <a:pt x="114" y="0"/>
                  </a:lnTo>
                  <a:lnTo>
                    <a:pt x="110" y="2"/>
                  </a:lnTo>
                  <a:lnTo>
                    <a:pt x="106" y="4"/>
                  </a:lnTo>
                  <a:lnTo>
                    <a:pt x="100" y="2"/>
                  </a:lnTo>
                  <a:lnTo>
                    <a:pt x="96" y="0"/>
                  </a:lnTo>
                  <a:lnTo>
                    <a:pt x="92" y="0"/>
                  </a:lnTo>
                  <a:lnTo>
                    <a:pt x="92" y="2"/>
                  </a:lnTo>
                  <a:lnTo>
                    <a:pt x="86" y="2"/>
                  </a:lnTo>
                  <a:lnTo>
                    <a:pt x="80" y="4"/>
                  </a:lnTo>
                  <a:lnTo>
                    <a:pt x="78" y="8"/>
                  </a:lnTo>
                  <a:lnTo>
                    <a:pt x="70" y="10"/>
                  </a:lnTo>
                  <a:lnTo>
                    <a:pt x="70" y="14"/>
                  </a:lnTo>
                  <a:lnTo>
                    <a:pt x="64" y="18"/>
                  </a:lnTo>
                  <a:lnTo>
                    <a:pt x="58" y="18"/>
                  </a:lnTo>
                  <a:lnTo>
                    <a:pt x="54" y="16"/>
                  </a:lnTo>
                  <a:lnTo>
                    <a:pt x="52" y="16"/>
                  </a:lnTo>
                  <a:lnTo>
                    <a:pt x="50" y="18"/>
                  </a:lnTo>
                  <a:lnTo>
                    <a:pt x="40" y="16"/>
                  </a:lnTo>
                  <a:lnTo>
                    <a:pt x="38" y="20"/>
                  </a:lnTo>
                  <a:lnTo>
                    <a:pt x="46" y="24"/>
                  </a:lnTo>
                  <a:lnTo>
                    <a:pt x="40" y="24"/>
                  </a:lnTo>
                  <a:lnTo>
                    <a:pt x="38" y="24"/>
                  </a:lnTo>
                  <a:lnTo>
                    <a:pt x="40" y="26"/>
                  </a:lnTo>
                  <a:lnTo>
                    <a:pt x="30" y="30"/>
                  </a:lnTo>
                  <a:lnTo>
                    <a:pt x="28" y="30"/>
                  </a:lnTo>
                  <a:lnTo>
                    <a:pt x="26" y="28"/>
                  </a:lnTo>
                  <a:lnTo>
                    <a:pt x="24" y="28"/>
                  </a:lnTo>
                  <a:lnTo>
                    <a:pt x="22" y="28"/>
                  </a:lnTo>
                  <a:lnTo>
                    <a:pt x="22" y="32"/>
                  </a:lnTo>
                  <a:lnTo>
                    <a:pt x="14" y="32"/>
                  </a:lnTo>
                  <a:lnTo>
                    <a:pt x="10" y="32"/>
                  </a:lnTo>
                  <a:lnTo>
                    <a:pt x="0" y="40"/>
                  </a:lnTo>
                  <a:lnTo>
                    <a:pt x="2" y="42"/>
                  </a:lnTo>
                  <a:lnTo>
                    <a:pt x="2" y="44"/>
                  </a:lnTo>
                  <a:lnTo>
                    <a:pt x="0" y="48"/>
                  </a:lnTo>
                  <a:lnTo>
                    <a:pt x="10" y="48"/>
                  </a:lnTo>
                  <a:lnTo>
                    <a:pt x="10" y="56"/>
                  </a:lnTo>
                  <a:lnTo>
                    <a:pt x="8" y="62"/>
                  </a:lnTo>
                  <a:lnTo>
                    <a:pt x="12" y="64"/>
                  </a:lnTo>
                  <a:lnTo>
                    <a:pt x="12" y="66"/>
                  </a:lnTo>
                  <a:lnTo>
                    <a:pt x="10" y="68"/>
                  </a:lnTo>
                  <a:lnTo>
                    <a:pt x="8" y="68"/>
                  </a:lnTo>
                  <a:lnTo>
                    <a:pt x="6" y="66"/>
                  </a:lnTo>
                  <a:lnTo>
                    <a:pt x="4" y="66"/>
                  </a:lnTo>
                  <a:lnTo>
                    <a:pt x="4" y="68"/>
                  </a:lnTo>
                  <a:lnTo>
                    <a:pt x="4" y="70"/>
                  </a:lnTo>
                  <a:lnTo>
                    <a:pt x="4" y="74"/>
                  </a:lnTo>
                  <a:lnTo>
                    <a:pt x="10" y="72"/>
                  </a:lnTo>
                  <a:lnTo>
                    <a:pt x="14" y="76"/>
                  </a:lnTo>
                  <a:lnTo>
                    <a:pt x="14" y="84"/>
                  </a:lnTo>
                  <a:lnTo>
                    <a:pt x="14" y="92"/>
                  </a:lnTo>
                  <a:lnTo>
                    <a:pt x="24" y="92"/>
                  </a:lnTo>
                  <a:lnTo>
                    <a:pt x="24" y="96"/>
                  </a:lnTo>
                  <a:lnTo>
                    <a:pt x="24" y="98"/>
                  </a:lnTo>
                  <a:lnTo>
                    <a:pt x="30" y="96"/>
                  </a:lnTo>
                  <a:lnTo>
                    <a:pt x="32" y="100"/>
                  </a:lnTo>
                  <a:lnTo>
                    <a:pt x="34" y="100"/>
                  </a:lnTo>
                  <a:lnTo>
                    <a:pt x="38" y="100"/>
                  </a:lnTo>
                  <a:lnTo>
                    <a:pt x="38" y="102"/>
                  </a:lnTo>
                  <a:lnTo>
                    <a:pt x="38" y="104"/>
                  </a:lnTo>
                  <a:lnTo>
                    <a:pt x="46" y="112"/>
                  </a:lnTo>
                  <a:lnTo>
                    <a:pt x="54" y="106"/>
                  </a:lnTo>
                  <a:lnTo>
                    <a:pt x="58" y="98"/>
                  </a:lnTo>
                  <a:lnTo>
                    <a:pt x="68" y="100"/>
                  </a:lnTo>
                  <a:lnTo>
                    <a:pt x="76" y="104"/>
                  </a:lnTo>
                  <a:lnTo>
                    <a:pt x="80" y="106"/>
                  </a:lnTo>
                  <a:lnTo>
                    <a:pt x="84" y="108"/>
                  </a:lnTo>
                  <a:lnTo>
                    <a:pt x="90" y="110"/>
                  </a:lnTo>
                  <a:lnTo>
                    <a:pt x="96" y="108"/>
                  </a:lnTo>
                  <a:lnTo>
                    <a:pt x="106" y="104"/>
                  </a:lnTo>
                  <a:lnTo>
                    <a:pt x="108" y="104"/>
                  </a:lnTo>
                  <a:lnTo>
                    <a:pt x="108" y="100"/>
                  </a:lnTo>
                  <a:lnTo>
                    <a:pt x="112" y="100"/>
                  </a:lnTo>
                  <a:lnTo>
                    <a:pt x="116" y="102"/>
                  </a:lnTo>
                  <a:lnTo>
                    <a:pt x="122" y="94"/>
                  </a:lnTo>
                  <a:lnTo>
                    <a:pt x="124" y="94"/>
                  </a:lnTo>
                  <a:lnTo>
                    <a:pt x="126" y="100"/>
                  </a:lnTo>
                  <a:lnTo>
                    <a:pt x="124" y="104"/>
                  </a:lnTo>
                  <a:lnTo>
                    <a:pt x="122" y="104"/>
                  </a:lnTo>
                  <a:lnTo>
                    <a:pt x="122" y="108"/>
                  </a:lnTo>
                  <a:lnTo>
                    <a:pt x="122" y="112"/>
                  </a:lnTo>
                  <a:lnTo>
                    <a:pt x="124" y="114"/>
                  </a:lnTo>
                  <a:lnTo>
                    <a:pt x="124" y="1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3" name="Freeform 467">
              <a:extLst>
                <a:ext uri="{FF2B5EF4-FFF2-40B4-BE49-F238E27FC236}">
                  <a16:creationId xmlns:a16="http://schemas.microsoft.com/office/drawing/2014/main" id="{93B87AC9-46FE-4795-BF37-702C786FD7CD}"/>
                </a:ext>
              </a:extLst>
            </p:cNvPr>
            <p:cNvSpPr>
              <a:spLocks/>
            </p:cNvSpPr>
            <p:nvPr/>
          </p:nvSpPr>
          <p:spPr bwMode="auto">
            <a:xfrm>
              <a:off x="5048851" y="4221406"/>
              <a:ext cx="33665" cy="67330"/>
            </a:xfrm>
            <a:custGeom>
              <a:avLst/>
              <a:gdLst/>
              <a:ahLst/>
              <a:cxnLst>
                <a:cxn ang="0">
                  <a:pos x="18" y="0"/>
                </a:cxn>
                <a:cxn ang="0">
                  <a:pos x="18" y="0"/>
                </a:cxn>
                <a:cxn ang="0">
                  <a:pos x="14" y="4"/>
                </a:cxn>
                <a:cxn ang="0">
                  <a:pos x="12" y="10"/>
                </a:cxn>
                <a:cxn ang="0">
                  <a:pos x="8" y="14"/>
                </a:cxn>
                <a:cxn ang="0">
                  <a:pos x="6" y="18"/>
                </a:cxn>
                <a:cxn ang="0">
                  <a:pos x="6" y="22"/>
                </a:cxn>
                <a:cxn ang="0">
                  <a:pos x="6" y="24"/>
                </a:cxn>
                <a:cxn ang="0">
                  <a:pos x="2" y="28"/>
                </a:cxn>
                <a:cxn ang="0">
                  <a:pos x="0" y="34"/>
                </a:cxn>
                <a:cxn ang="0">
                  <a:pos x="0" y="40"/>
                </a:cxn>
                <a:cxn ang="0">
                  <a:pos x="2" y="44"/>
                </a:cxn>
                <a:cxn ang="0">
                  <a:pos x="4" y="48"/>
                </a:cxn>
                <a:cxn ang="0">
                  <a:pos x="8" y="52"/>
                </a:cxn>
                <a:cxn ang="0">
                  <a:pos x="10" y="46"/>
                </a:cxn>
                <a:cxn ang="0">
                  <a:pos x="14" y="44"/>
                </a:cxn>
                <a:cxn ang="0">
                  <a:pos x="16" y="42"/>
                </a:cxn>
                <a:cxn ang="0">
                  <a:pos x="16" y="38"/>
                </a:cxn>
                <a:cxn ang="0">
                  <a:pos x="18" y="36"/>
                </a:cxn>
                <a:cxn ang="0">
                  <a:pos x="18" y="24"/>
                </a:cxn>
                <a:cxn ang="0">
                  <a:pos x="26" y="4"/>
                </a:cxn>
                <a:cxn ang="0">
                  <a:pos x="24" y="2"/>
                </a:cxn>
                <a:cxn ang="0">
                  <a:pos x="22" y="0"/>
                </a:cxn>
                <a:cxn ang="0">
                  <a:pos x="18" y="0"/>
                </a:cxn>
                <a:cxn ang="0">
                  <a:pos x="18" y="0"/>
                </a:cxn>
              </a:cxnLst>
              <a:rect l="0" t="0" r="r" b="b"/>
              <a:pathLst>
                <a:path w="26" h="52">
                  <a:moveTo>
                    <a:pt x="18" y="0"/>
                  </a:moveTo>
                  <a:lnTo>
                    <a:pt x="18" y="0"/>
                  </a:lnTo>
                  <a:lnTo>
                    <a:pt x="14" y="4"/>
                  </a:lnTo>
                  <a:lnTo>
                    <a:pt x="12" y="10"/>
                  </a:lnTo>
                  <a:lnTo>
                    <a:pt x="8" y="14"/>
                  </a:lnTo>
                  <a:lnTo>
                    <a:pt x="6" y="18"/>
                  </a:lnTo>
                  <a:lnTo>
                    <a:pt x="6" y="22"/>
                  </a:lnTo>
                  <a:lnTo>
                    <a:pt x="6" y="24"/>
                  </a:lnTo>
                  <a:lnTo>
                    <a:pt x="2" y="28"/>
                  </a:lnTo>
                  <a:lnTo>
                    <a:pt x="0" y="34"/>
                  </a:lnTo>
                  <a:lnTo>
                    <a:pt x="0" y="40"/>
                  </a:lnTo>
                  <a:lnTo>
                    <a:pt x="2" y="44"/>
                  </a:lnTo>
                  <a:lnTo>
                    <a:pt x="4" y="48"/>
                  </a:lnTo>
                  <a:lnTo>
                    <a:pt x="8" y="52"/>
                  </a:lnTo>
                  <a:lnTo>
                    <a:pt x="10" y="46"/>
                  </a:lnTo>
                  <a:lnTo>
                    <a:pt x="14" y="44"/>
                  </a:lnTo>
                  <a:lnTo>
                    <a:pt x="16" y="42"/>
                  </a:lnTo>
                  <a:lnTo>
                    <a:pt x="16" y="38"/>
                  </a:lnTo>
                  <a:lnTo>
                    <a:pt x="18" y="36"/>
                  </a:lnTo>
                  <a:lnTo>
                    <a:pt x="18" y="24"/>
                  </a:lnTo>
                  <a:lnTo>
                    <a:pt x="26" y="4"/>
                  </a:lnTo>
                  <a:lnTo>
                    <a:pt x="24" y="2"/>
                  </a:lnTo>
                  <a:lnTo>
                    <a:pt x="22" y="0"/>
                  </a:lnTo>
                  <a:lnTo>
                    <a:pt x="18" y="0"/>
                  </a:lnTo>
                  <a:lnTo>
                    <a:pt x="1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4" name="Freeform 468">
              <a:extLst>
                <a:ext uri="{FF2B5EF4-FFF2-40B4-BE49-F238E27FC236}">
                  <a16:creationId xmlns:a16="http://schemas.microsoft.com/office/drawing/2014/main" id="{6CF9C869-03EC-423E-9404-6B7B6812ACB7}"/>
                </a:ext>
              </a:extLst>
            </p:cNvPr>
            <p:cNvSpPr>
              <a:spLocks/>
            </p:cNvSpPr>
            <p:nvPr/>
          </p:nvSpPr>
          <p:spPr bwMode="auto">
            <a:xfrm>
              <a:off x="1640925" y="4552876"/>
              <a:ext cx="100995" cy="54382"/>
            </a:xfrm>
            <a:custGeom>
              <a:avLst/>
              <a:gdLst/>
              <a:ahLst/>
              <a:cxnLst>
                <a:cxn ang="0">
                  <a:pos x="76" y="18"/>
                </a:cxn>
                <a:cxn ang="0">
                  <a:pos x="70" y="12"/>
                </a:cxn>
                <a:cxn ang="0">
                  <a:pos x="64" y="2"/>
                </a:cxn>
                <a:cxn ang="0">
                  <a:pos x="62" y="2"/>
                </a:cxn>
                <a:cxn ang="0">
                  <a:pos x="46" y="0"/>
                </a:cxn>
                <a:cxn ang="0">
                  <a:pos x="38" y="4"/>
                </a:cxn>
                <a:cxn ang="0">
                  <a:pos x="30" y="8"/>
                </a:cxn>
                <a:cxn ang="0">
                  <a:pos x="24" y="10"/>
                </a:cxn>
                <a:cxn ang="0">
                  <a:pos x="18" y="6"/>
                </a:cxn>
                <a:cxn ang="0">
                  <a:pos x="10" y="4"/>
                </a:cxn>
                <a:cxn ang="0">
                  <a:pos x="10" y="0"/>
                </a:cxn>
                <a:cxn ang="0">
                  <a:pos x="2" y="0"/>
                </a:cxn>
                <a:cxn ang="0">
                  <a:pos x="2" y="4"/>
                </a:cxn>
                <a:cxn ang="0">
                  <a:pos x="2" y="10"/>
                </a:cxn>
                <a:cxn ang="0">
                  <a:pos x="4" y="14"/>
                </a:cxn>
                <a:cxn ang="0">
                  <a:pos x="6" y="18"/>
                </a:cxn>
                <a:cxn ang="0">
                  <a:pos x="10" y="20"/>
                </a:cxn>
                <a:cxn ang="0">
                  <a:pos x="18" y="20"/>
                </a:cxn>
                <a:cxn ang="0">
                  <a:pos x="28" y="28"/>
                </a:cxn>
                <a:cxn ang="0">
                  <a:pos x="34" y="34"/>
                </a:cxn>
                <a:cxn ang="0">
                  <a:pos x="40" y="30"/>
                </a:cxn>
                <a:cxn ang="0">
                  <a:pos x="36" y="22"/>
                </a:cxn>
                <a:cxn ang="0">
                  <a:pos x="32" y="20"/>
                </a:cxn>
                <a:cxn ang="0">
                  <a:pos x="44" y="14"/>
                </a:cxn>
                <a:cxn ang="0">
                  <a:pos x="52" y="10"/>
                </a:cxn>
                <a:cxn ang="0">
                  <a:pos x="58" y="22"/>
                </a:cxn>
                <a:cxn ang="0">
                  <a:pos x="66" y="24"/>
                </a:cxn>
                <a:cxn ang="0">
                  <a:pos x="62" y="28"/>
                </a:cxn>
                <a:cxn ang="0">
                  <a:pos x="62" y="38"/>
                </a:cxn>
                <a:cxn ang="0">
                  <a:pos x="72" y="42"/>
                </a:cxn>
                <a:cxn ang="0">
                  <a:pos x="76" y="36"/>
                </a:cxn>
                <a:cxn ang="0">
                  <a:pos x="76" y="26"/>
                </a:cxn>
                <a:cxn ang="0">
                  <a:pos x="76" y="18"/>
                </a:cxn>
              </a:cxnLst>
              <a:rect l="0" t="0" r="r" b="b"/>
              <a:pathLst>
                <a:path w="78" h="42">
                  <a:moveTo>
                    <a:pt x="76" y="18"/>
                  </a:moveTo>
                  <a:lnTo>
                    <a:pt x="76" y="18"/>
                  </a:lnTo>
                  <a:lnTo>
                    <a:pt x="70" y="16"/>
                  </a:lnTo>
                  <a:lnTo>
                    <a:pt x="70" y="12"/>
                  </a:lnTo>
                  <a:lnTo>
                    <a:pt x="62" y="8"/>
                  </a:lnTo>
                  <a:lnTo>
                    <a:pt x="64" y="2"/>
                  </a:lnTo>
                  <a:lnTo>
                    <a:pt x="62" y="4"/>
                  </a:lnTo>
                  <a:lnTo>
                    <a:pt x="62" y="2"/>
                  </a:lnTo>
                  <a:lnTo>
                    <a:pt x="54" y="0"/>
                  </a:lnTo>
                  <a:lnTo>
                    <a:pt x="46" y="0"/>
                  </a:lnTo>
                  <a:lnTo>
                    <a:pt x="44" y="2"/>
                  </a:lnTo>
                  <a:lnTo>
                    <a:pt x="38" y="4"/>
                  </a:lnTo>
                  <a:lnTo>
                    <a:pt x="32" y="6"/>
                  </a:lnTo>
                  <a:lnTo>
                    <a:pt x="30" y="8"/>
                  </a:lnTo>
                  <a:lnTo>
                    <a:pt x="26" y="10"/>
                  </a:lnTo>
                  <a:lnTo>
                    <a:pt x="24" y="10"/>
                  </a:lnTo>
                  <a:lnTo>
                    <a:pt x="22" y="8"/>
                  </a:lnTo>
                  <a:lnTo>
                    <a:pt x="18" y="6"/>
                  </a:lnTo>
                  <a:lnTo>
                    <a:pt x="12" y="8"/>
                  </a:lnTo>
                  <a:lnTo>
                    <a:pt x="10" y="4"/>
                  </a:lnTo>
                  <a:lnTo>
                    <a:pt x="10" y="2"/>
                  </a:lnTo>
                  <a:lnTo>
                    <a:pt x="10" y="0"/>
                  </a:lnTo>
                  <a:lnTo>
                    <a:pt x="4" y="0"/>
                  </a:lnTo>
                  <a:lnTo>
                    <a:pt x="2" y="0"/>
                  </a:lnTo>
                  <a:lnTo>
                    <a:pt x="2" y="2"/>
                  </a:lnTo>
                  <a:lnTo>
                    <a:pt x="2" y="4"/>
                  </a:lnTo>
                  <a:lnTo>
                    <a:pt x="0" y="8"/>
                  </a:lnTo>
                  <a:lnTo>
                    <a:pt x="2" y="10"/>
                  </a:lnTo>
                  <a:lnTo>
                    <a:pt x="4" y="12"/>
                  </a:lnTo>
                  <a:lnTo>
                    <a:pt x="4" y="14"/>
                  </a:lnTo>
                  <a:lnTo>
                    <a:pt x="2" y="20"/>
                  </a:lnTo>
                  <a:lnTo>
                    <a:pt x="6" y="18"/>
                  </a:lnTo>
                  <a:lnTo>
                    <a:pt x="10" y="18"/>
                  </a:lnTo>
                  <a:lnTo>
                    <a:pt x="10" y="20"/>
                  </a:lnTo>
                  <a:lnTo>
                    <a:pt x="16" y="20"/>
                  </a:lnTo>
                  <a:lnTo>
                    <a:pt x="18" y="20"/>
                  </a:lnTo>
                  <a:lnTo>
                    <a:pt x="22" y="28"/>
                  </a:lnTo>
                  <a:lnTo>
                    <a:pt x="28" y="28"/>
                  </a:lnTo>
                  <a:lnTo>
                    <a:pt x="30" y="36"/>
                  </a:lnTo>
                  <a:lnTo>
                    <a:pt x="34" y="34"/>
                  </a:lnTo>
                  <a:lnTo>
                    <a:pt x="36" y="30"/>
                  </a:lnTo>
                  <a:lnTo>
                    <a:pt x="40" y="30"/>
                  </a:lnTo>
                  <a:lnTo>
                    <a:pt x="40" y="26"/>
                  </a:lnTo>
                  <a:lnTo>
                    <a:pt x="36" y="22"/>
                  </a:lnTo>
                  <a:lnTo>
                    <a:pt x="34" y="22"/>
                  </a:lnTo>
                  <a:lnTo>
                    <a:pt x="32" y="20"/>
                  </a:lnTo>
                  <a:lnTo>
                    <a:pt x="40" y="18"/>
                  </a:lnTo>
                  <a:lnTo>
                    <a:pt x="44" y="14"/>
                  </a:lnTo>
                  <a:lnTo>
                    <a:pt x="48" y="8"/>
                  </a:lnTo>
                  <a:lnTo>
                    <a:pt x="52" y="10"/>
                  </a:lnTo>
                  <a:lnTo>
                    <a:pt x="56" y="16"/>
                  </a:lnTo>
                  <a:lnTo>
                    <a:pt x="58" y="22"/>
                  </a:lnTo>
                  <a:lnTo>
                    <a:pt x="66" y="20"/>
                  </a:lnTo>
                  <a:lnTo>
                    <a:pt x="66" y="24"/>
                  </a:lnTo>
                  <a:lnTo>
                    <a:pt x="64" y="26"/>
                  </a:lnTo>
                  <a:lnTo>
                    <a:pt x="62" y="28"/>
                  </a:lnTo>
                  <a:lnTo>
                    <a:pt x="60" y="34"/>
                  </a:lnTo>
                  <a:lnTo>
                    <a:pt x="62" y="38"/>
                  </a:lnTo>
                  <a:lnTo>
                    <a:pt x="66" y="40"/>
                  </a:lnTo>
                  <a:lnTo>
                    <a:pt x="72" y="42"/>
                  </a:lnTo>
                  <a:lnTo>
                    <a:pt x="74" y="38"/>
                  </a:lnTo>
                  <a:lnTo>
                    <a:pt x="76" y="36"/>
                  </a:lnTo>
                  <a:lnTo>
                    <a:pt x="78" y="30"/>
                  </a:lnTo>
                  <a:lnTo>
                    <a:pt x="76" y="26"/>
                  </a:lnTo>
                  <a:lnTo>
                    <a:pt x="74" y="24"/>
                  </a:lnTo>
                  <a:lnTo>
                    <a:pt x="76" y="18"/>
                  </a:lnTo>
                  <a:lnTo>
                    <a:pt x="76"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5" name="Freeform 469">
              <a:extLst>
                <a:ext uri="{FF2B5EF4-FFF2-40B4-BE49-F238E27FC236}">
                  <a16:creationId xmlns:a16="http://schemas.microsoft.com/office/drawing/2014/main" id="{A6975FFB-CD85-4D35-A9DD-16CA1E4CDAB7}"/>
                </a:ext>
              </a:extLst>
            </p:cNvPr>
            <p:cNvSpPr>
              <a:spLocks noEditPoints="1"/>
            </p:cNvSpPr>
            <p:nvPr/>
          </p:nvSpPr>
          <p:spPr bwMode="auto">
            <a:xfrm>
              <a:off x="5206817" y="3757865"/>
              <a:ext cx="266730" cy="339239"/>
            </a:xfrm>
            <a:custGeom>
              <a:avLst/>
              <a:gdLst/>
              <a:ahLst/>
              <a:cxnLst>
                <a:cxn ang="0">
                  <a:pos x="10" y="218"/>
                </a:cxn>
                <a:cxn ang="0">
                  <a:pos x="4" y="220"/>
                </a:cxn>
                <a:cxn ang="0">
                  <a:pos x="4" y="228"/>
                </a:cxn>
                <a:cxn ang="0">
                  <a:pos x="4" y="230"/>
                </a:cxn>
                <a:cxn ang="0">
                  <a:pos x="6" y="238"/>
                </a:cxn>
                <a:cxn ang="0">
                  <a:pos x="8" y="228"/>
                </a:cxn>
                <a:cxn ang="0">
                  <a:pos x="12" y="236"/>
                </a:cxn>
                <a:cxn ang="0">
                  <a:pos x="6" y="254"/>
                </a:cxn>
                <a:cxn ang="0">
                  <a:pos x="12" y="252"/>
                </a:cxn>
                <a:cxn ang="0">
                  <a:pos x="18" y="258"/>
                </a:cxn>
                <a:cxn ang="0">
                  <a:pos x="26" y="236"/>
                </a:cxn>
                <a:cxn ang="0">
                  <a:pos x="24" y="222"/>
                </a:cxn>
                <a:cxn ang="0">
                  <a:pos x="12" y="212"/>
                </a:cxn>
                <a:cxn ang="0">
                  <a:pos x="52" y="210"/>
                </a:cxn>
                <a:cxn ang="0">
                  <a:pos x="36" y="220"/>
                </a:cxn>
                <a:cxn ang="0">
                  <a:pos x="38" y="228"/>
                </a:cxn>
                <a:cxn ang="0">
                  <a:pos x="46" y="232"/>
                </a:cxn>
                <a:cxn ang="0">
                  <a:pos x="56" y="220"/>
                </a:cxn>
                <a:cxn ang="0">
                  <a:pos x="64" y="214"/>
                </a:cxn>
                <a:cxn ang="0">
                  <a:pos x="140" y="82"/>
                </a:cxn>
                <a:cxn ang="0">
                  <a:pos x="130" y="96"/>
                </a:cxn>
                <a:cxn ang="0">
                  <a:pos x="134" y="106"/>
                </a:cxn>
                <a:cxn ang="0">
                  <a:pos x="124" y="130"/>
                </a:cxn>
                <a:cxn ang="0">
                  <a:pos x="110" y="154"/>
                </a:cxn>
                <a:cxn ang="0">
                  <a:pos x="98" y="160"/>
                </a:cxn>
                <a:cxn ang="0">
                  <a:pos x="88" y="160"/>
                </a:cxn>
                <a:cxn ang="0">
                  <a:pos x="94" y="150"/>
                </a:cxn>
                <a:cxn ang="0">
                  <a:pos x="86" y="164"/>
                </a:cxn>
                <a:cxn ang="0">
                  <a:pos x="74" y="188"/>
                </a:cxn>
                <a:cxn ang="0">
                  <a:pos x="58" y="188"/>
                </a:cxn>
                <a:cxn ang="0">
                  <a:pos x="50" y="190"/>
                </a:cxn>
                <a:cxn ang="0">
                  <a:pos x="44" y="188"/>
                </a:cxn>
                <a:cxn ang="0">
                  <a:pos x="34" y="196"/>
                </a:cxn>
                <a:cxn ang="0">
                  <a:pos x="18" y="206"/>
                </a:cxn>
                <a:cxn ang="0">
                  <a:pos x="34" y="210"/>
                </a:cxn>
                <a:cxn ang="0">
                  <a:pos x="56" y="204"/>
                </a:cxn>
                <a:cxn ang="0">
                  <a:pos x="68" y="208"/>
                </a:cxn>
                <a:cxn ang="0">
                  <a:pos x="76" y="220"/>
                </a:cxn>
                <a:cxn ang="0">
                  <a:pos x="88" y="204"/>
                </a:cxn>
                <a:cxn ang="0">
                  <a:pos x="96" y="206"/>
                </a:cxn>
                <a:cxn ang="0">
                  <a:pos x="112" y="202"/>
                </a:cxn>
                <a:cxn ang="0">
                  <a:pos x="122" y="196"/>
                </a:cxn>
                <a:cxn ang="0">
                  <a:pos x="130" y="184"/>
                </a:cxn>
                <a:cxn ang="0">
                  <a:pos x="132" y="192"/>
                </a:cxn>
                <a:cxn ang="0">
                  <a:pos x="138" y="180"/>
                </a:cxn>
                <a:cxn ang="0">
                  <a:pos x="144" y="144"/>
                </a:cxn>
                <a:cxn ang="0">
                  <a:pos x="154" y="126"/>
                </a:cxn>
                <a:cxn ang="0">
                  <a:pos x="152" y="94"/>
                </a:cxn>
                <a:cxn ang="0">
                  <a:pos x="140" y="82"/>
                </a:cxn>
                <a:cxn ang="0">
                  <a:pos x="152" y="6"/>
                </a:cxn>
                <a:cxn ang="0">
                  <a:pos x="154" y="24"/>
                </a:cxn>
                <a:cxn ang="0">
                  <a:pos x="152" y="44"/>
                </a:cxn>
                <a:cxn ang="0">
                  <a:pos x="138" y="42"/>
                </a:cxn>
                <a:cxn ang="0">
                  <a:pos x="130" y="60"/>
                </a:cxn>
                <a:cxn ang="0">
                  <a:pos x="142" y="70"/>
                </a:cxn>
                <a:cxn ang="0">
                  <a:pos x="146" y="56"/>
                </a:cxn>
                <a:cxn ang="0">
                  <a:pos x="156" y="56"/>
                </a:cxn>
                <a:cxn ang="0">
                  <a:pos x="180" y="52"/>
                </a:cxn>
                <a:cxn ang="0">
                  <a:pos x="194" y="48"/>
                </a:cxn>
                <a:cxn ang="0">
                  <a:pos x="204" y="42"/>
                </a:cxn>
                <a:cxn ang="0">
                  <a:pos x="192" y="32"/>
                </a:cxn>
                <a:cxn ang="0">
                  <a:pos x="172" y="22"/>
                </a:cxn>
                <a:cxn ang="0">
                  <a:pos x="156" y="0"/>
                </a:cxn>
              </a:cxnLst>
              <a:rect l="0" t="0" r="r" b="b"/>
              <a:pathLst>
                <a:path w="206" h="262">
                  <a:moveTo>
                    <a:pt x="12" y="212"/>
                  </a:moveTo>
                  <a:lnTo>
                    <a:pt x="12" y="212"/>
                  </a:lnTo>
                  <a:lnTo>
                    <a:pt x="10" y="212"/>
                  </a:lnTo>
                  <a:lnTo>
                    <a:pt x="10" y="214"/>
                  </a:lnTo>
                  <a:lnTo>
                    <a:pt x="10" y="218"/>
                  </a:lnTo>
                  <a:lnTo>
                    <a:pt x="8" y="216"/>
                  </a:lnTo>
                  <a:lnTo>
                    <a:pt x="6" y="216"/>
                  </a:lnTo>
                  <a:lnTo>
                    <a:pt x="6" y="220"/>
                  </a:lnTo>
                  <a:lnTo>
                    <a:pt x="6" y="220"/>
                  </a:lnTo>
                  <a:lnTo>
                    <a:pt x="4" y="220"/>
                  </a:lnTo>
                  <a:lnTo>
                    <a:pt x="4" y="220"/>
                  </a:lnTo>
                  <a:lnTo>
                    <a:pt x="2" y="220"/>
                  </a:lnTo>
                  <a:lnTo>
                    <a:pt x="0" y="220"/>
                  </a:lnTo>
                  <a:lnTo>
                    <a:pt x="2" y="226"/>
                  </a:lnTo>
                  <a:lnTo>
                    <a:pt x="4" y="228"/>
                  </a:lnTo>
                  <a:lnTo>
                    <a:pt x="6" y="230"/>
                  </a:lnTo>
                  <a:lnTo>
                    <a:pt x="6" y="234"/>
                  </a:lnTo>
                  <a:lnTo>
                    <a:pt x="4" y="234"/>
                  </a:lnTo>
                  <a:lnTo>
                    <a:pt x="4" y="232"/>
                  </a:lnTo>
                  <a:lnTo>
                    <a:pt x="4" y="230"/>
                  </a:lnTo>
                  <a:lnTo>
                    <a:pt x="2" y="232"/>
                  </a:lnTo>
                  <a:lnTo>
                    <a:pt x="2" y="234"/>
                  </a:lnTo>
                  <a:lnTo>
                    <a:pt x="4" y="236"/>
                  </a:lnTo>
                  <a:lnTo>
                    <a:pt x="6" y="238"/>
                  </a:lnTo>
                  <a:lnTo>
                    <a:pt x="6" y="238"/>
                  </a:lnTo>
                  <a:lnTo>
                    <a:pt x="6" y="236"/>
                  </a:lnTo>
                  <a:lnTo>
                    <a:pt x="8" y="238"/>
                  </a:lnTo>
                  <a:lnTo>
                    <a:pt x="10" y="238"/>
                  </a:lnTo>
                  <a:lnTo>
                    <a:pt x="12" y="236"/>
                  </a:lnTo>
                  <a:lnTo>
                    <a:pt x="8" y="228"/>
                  </a:lnTo>
                  <a:lnTo>
                    <a:pt x="12" y="228"/>
                  </a:lnTo>
                  <a:lnTo>
                    <a:pt x="12" y="230"/>
                  </a:lnTo>
                  <a:lnTo>
                    <a:pt x="14" y="234"/>
                  </a:lnTo>
                  <a:lnTo>
                    <a:pt x="14" y="236"/>
                  </a:lnTo>
                  <a:lnTo>
                    <a:pt x="12" y="236"/>
                  </a:lnTo>
                  <a:lnTo>
                    <a:pt x="10" y="240"/>
                  </a:lnTo>
                  <a:lnTo>
                    <a:pt x="6" y="244"/>
                  </a:lnTo>
                  <a:lnTo>
                    <a:pt x="6" y="250"/>
                  </a:lnTo>
                  <a:lnTo>
                    <a:pt x="6" y="252"/>
                  </a:lnTo>
                  <a:lnTo>
                    <a:pt x="6" y="254"/>
                  </a:lnTo>
                  <a:lnTo>
                    <a:pt x="6" y="256"/>
                  </a:lnTo>
                  <a:lnTo>
                    <a:pt x="8" y="258"/>
                  </a:lnTo>
                  <a:lnTo>
                    <a:pt x="10" y="252"/>
                  </a:lnTo>
                  <a:lnTo>
                    <a:pt x="10" y="250"/>
                  </a:lnTo>
                  <a:lnTo>
                    <a:pt x="12" y="252"/>
                  </a:lnTo>
                  <a:lnTo>
                    <a:pt x="12" y="254"/>
                  </a:lnTo>
                  <a:lnTo>
                    <a:pt x="12" y="258"/>
                  </a:lnTo>
                  <a:lnTo>
                    <a:pt x="12" y="262"/>
                  </a:lnTo>
                  <a:lnTo>
                    <a:pt x="14" y="262"/>
                  </a:lnTo>
                  <a:lnTo>
                    <a:pt x="18" y="258"/>
                  </a:lnTo>
                  <a:lnTo>
                    <a:pt x="18" y="256"/>
                  </a:lnTo>
                  <a:lnTo>
                    <a:pt x="22" y="254"/>
                  </a:lnTo>
                  <a:lnTo>
                    <a:pt x="22" y="248"/>
                  </a:lnTo>
                  <a:lnTo>
                    <a:pt x="22" y="242"/>
                  </a:lnTo>
                  <a:lnTo>
                    <a:pt x="26" y="236"/>
                  </a:lnTo>
                  <a:lnTo>
                    <a:pt x="30" y="230"/>
                  </a:lnTo>
                  <a:lnTo>
                    <a:pt x="26" y="228"/>
                  </a:lnTo>
                  <a:lnTo>
                    <a:pt x="26" y="224"/>
                  </a:lnTo>
                  <a:lnTo>
                    <a:pt x="24" y="224"/>
                  </a:lnTo>
                  <a:lnTo>
                    <a:pt x="24" y="222"/>
                  </a:lnTo>
                  <a:lnTo>
                    <a:pt x="24" y="218"/>
                  </a:lnTo>
                  <a:lnTo>
                    <a:pt x="18" y="218"/>
                  </a:lnTo>
                  <a:lnTo>
                    <a:pt x="18" y="216"/>
                  </a:lnTo>
                  <a:lnTo>
                    <a:pt x="18" y="214"/>
                  </a:lnTo>
                  <a:lnTo>
                    <a:pt x="12" y="212"/>
                  </a:lnTo>
                  <a:lnTo>
                    <a:pt x="12" y="212"/>
                  </a:lnTo>
                  <a:close/>
                  <a:moveTo>
                    <a:pt x="56" y="206"/>
                  </a:moveTo>
                  <a:lnTo>
                    <a:pt x="56" y="206"/>
                  </a:lnTo>
                  <a:lnTo>
                    <a:pt x="52" y="206"/>
                  </a:lnTo>
                  <a:lnTo>
                    <a:pt x="52" y="210"/>
                  </a:lnTo>
                  <a:lnTo>
                    <a:pt x="50" y="212"/>
                  </a:lnTo>
                  <a:lnTo>
                    <a:pt x="46" y="212"/>
                  </a:lnTo>
                  <a:lnTo>
                    <a:pt x="42" y="212"/>
                  </a:lnTo>
                  <a:lnTo>
                    <a:pt x="40" y="216"/>
                  </a:lnTo>
                  <a:lnTo>
                    <a:pt x="36" y="220"/>
                  </a:lnTo>
                  <a:lnTo>
                    <a:pt x="34" y="220"/>
                  </a:lnTo>
                  <a:lnTo>
                    <a:pt x="32" y="220"/>
                  </a:lnTo>
                  <a:lnTo>
                    <a:pt x="34" y="222"/>
                  </a:lnTo>
                  <a:lnTo>
                    <a:pt x="38" y="226"/>
                  </a:lnTo>
                  <a:lnTo>
                    <a:pt x="38" y="228"/>
                  </a:lnTo>
                  <a:lnTo>
                    <a:pt x="40" y="232"/>
                  </a:lnTo>
                  <a:lnTo>
                    <a:pt x="42" y="234"/>
                  </a:lnTo>
                  <a:lnTo>
                    <a:pt x="42" y="236"/>
                  </a:lnTo>
                  <a:lnTo>
                    <a:pt x="44" y="236"/>
                  </a:lnTo>
                  <a:lnTo>
                    <a:pt x="46" y="232"/>
                  </a:lnTo>
                  <a:lnTo>
                    <a:pt x="46" y="228"/>
                  </a:lnTo>
                  <a:lnTo>
                    <a:pt x="48" y="224"/>
                  </a:lnTo>
                  <a:lnTo>
                    <a:pt x="52" y="224"/>
                  </a:lnTo>
                  <a:lnTo>
                    <a:pt x="54" y="222"/>
                  </a:lnTo>
                  <a:lnTo>
                    <a:pt x="56" y="220"/>
                  </a:lnTo>
                  <a:lnTo>
                    <a:pt x="56" y="224"/>
                  </a:lnTo>
                  <a:lnTo>
                    <a:pt x="60" y="222"/>
                  </a:lnTo>
                  <a:lnTo>
                    <a:pt x="60" y="220"/>
                  </a:lnTo>
                  <a:lnTo>
                    <a:pt x="64" y="218"/>
                  </a:lnTo>
                  <a:lnTo>
                    <a:pt x="64" y="214"/>
                  </a:lnTo>
                  <a:lnTo>
                    <a:pt x="60" y="212"/>
                  </a:lnTo>
                  <a:lnTo>
                    <a:pt x="60" y="206"/>
                  </a:lnTo>
                  <a:lnTo>
                    <a:pt x="56" y="206"/>
                  </a:lnTo>
                  <a:lnTo>
                    <a:pt x="56" y="206"/>
                  </a:lnTo>
                  <a:close/>
                  <a:moveTo>
                    <a:pt x="140" y="82"/>
                  </a:moveTo>
                  <a:lnTo>
                    <a:pt x="140" y="82"/>
                  </a:lnTo>
                  <a:lnTo>
                    <a:pt x="136" y="82"/>
                  </a:lnTo>
                  <a:lnTo>
                    <a:pt x="136" y="90"/>
                  </a:lnTo>
                  <a:lnTo>
                    <a:pt x="130" y="94"/>
                  </a:lnTo>
                  <a:lnTo>
                    <a:pt x="130" y="96"/>
                  </a:lnTo>
                  <a:lnTo>
                    <a:pt x="132" y="96"/>
                  </a:lnTo>
                  <a:lnTo>
                    <a:pt x="132" y="102"/>
                  </a:lnTo>
                  <a:lnTo>
                    <a:pt x="126" y="108"/>
                  </a:lnTo>
                  <a:lnTo>
                    <a:pt x="128" y="108"/>
                  </a:lnTo>
                  <a:lnTo>
                    <a:pt x="134" y="106"/>
                  </a:lnTo>
                  <a:lnTo>
                    <a:pt x="132" y="112"/>
                  </a:lnTo>
                  <a:lnTo>
                    <a:pt x="132" y="116"/>
                  </a:lnTo>
                  <a:lnTo>
                    <a:pt x="128" y="120"/>
                  </a:lnTo>
                  <a:lnTo>
                    <a:pt x="128" y="128"/>
                  </a:lnTo>
                  <a:lnTo>
                    <a:pt x="124" y="130"/>
                  </a:lnTo>
                  <a:lnTo>
                    <a:pt x="122" y="136"/>
                  </a:lnTo>
                  <a:lnTo>
                    <a:pt x="116" y="146"/>
                  </a:lnTo>
                  <a:lnTo>
                    <a:pt x="114" y="148"/>
                  </a:lnTo>
                  <a:lnTo>
                    <a:pt x="112" y="150"/>
                  </a:lnTo>
                  <a:lnTo>
                    <a:pt x="110" y="154"/>
                  </a:lnTo>
                  <a:lnTo>
                    <a:pt x="110" y="156"/>
                  </a:lnTo>
                  <a:lnTo>
                    <a:pt x="108" y="158"/>
                  </a:lnTo>
                  <a:lnTo>
                    <a:pt x="108" y="160"/>
                  </a:lnTo>
                  <a:lnTo>
                    <a:pt x="104" y="160"/>
                  </a:lnTo>
                  <a:lnTo>
                    <a:pt x="98" y="160"/>
                  </a:lnTo>
                  <a:lnTo>
                    <a:pt x="94" y="164"/>
                  </a:lnTo>
                  <a:lnTo>
                    <a:pt x="90" y="162"/>
                  </a:lnTo>
                  <a:lnTo>
                    <a:pt x="90" y="160"/>
                  </a:lnTo>
                  <a:lnTo>
                    <a:pt x="88" y="160"/>
                  </a:lnTo>
                  <a:lnTo>
                    <a:pt x="88" y="160"/>
                  </a:lnTo>
                  <a:lnTo>
                    <a:pt x="88" y="158"/>
                  </a:lnTo>
                  <a:lnTo>
                    <a:pt x="92" y="156"/>
                  </a:lnTo>
                  <a:lnTo>
                    <a:pt x="94" y="154"/>
                  </a:lnTo>
                  <a:lnTo>
                    <a:pt x="94" y="152"/>
                  </a:lnTo>
                  <a:lnTo>
                    <a:pt x="94" y="150"/>
                  </a:lnTo>
                  <a:lnTo>
                    <a:pt x="92" y="152"/>
                  </a:lnTo>
                  <a:lnTo>
                    <a:pt x="88" y="154"/>
                  </a:lnTo>
                  <a:lnTo>
                    <a:pt x="86" y="158"/>
                  </a:lnTo>
                  <a:lnTo>
                    <a:pt x="86" y="160"/>
                  </a:lnTo>
                  <a:lnTo>
                    <a:pt x="86" y="164"/>
                  </a:lnTo>
                  <a:lnTo>
                    <a:pt x="80" y="174"/>
                  </a:lnTo>
                  <a:lnTo>
                    <a:pt x="80" y="182"/>
                  </a:lnTo>
                  <a:lnTo>
                    <a:pt x="80" y="184"/>
                  </a:lnTo>
                  <a:lnTo>
                    <a:pt x="76" y="186"/>
                  </a:lnTo>
                  <a:lnTo>
                    <a:pt x="74" y="188"/>
                  </a:lnTo>
                  <a:lnTo>
                    <a:pt x="68" y="186"/>
                  </a:lnTo>
                  <a:lnTo>
                    <a:pt x="68" y="184"/>
                  </a:lnTo>
                  <a:lnTo>
                    <a:pt x="66" y="184"/>
                  </a:lnTo>
                  <a:lnTo>
                    <a:pt x="62" y="184"/>
                  </a:lnTo>
                  <a:lnTo>
                    <a:pt x="58" y="188"/>
                  </a:lnTo>
                  <a:lnTo>
                    <a:pt x="52" y="188"/>
                  </a:lnTo>
                  <a:lnTo>
                    <a:pt x="48" y="186"/>
                  </a:lnTo>
                  <a:lnTo>
                    <a:pt x="48" y="188"/>
                  </a:lnTo>
                  <a:lnTo>
                    <a:pt x="48" y="190"/>
                  </a:lnTo>
                  <a:lnTo>
                    <a:pt x="50" y="190"/>
                  </a:lnTo>
                  <a:lnTo>
                    <a:pt x="50" y="192"/>
                  </a:lnTo>
                  <a:lnTo>
                    <a:pt x="48" y="192"/>
                  </a:lnTo>
                  <a:lnTo>
                    <a:pt x="46" y="192"/>
                  </a:lnTo>
                  <a:lnTo>
                    <a:pt x="46" y="188"/>
                  </a:lnTo>
                  <a:lnTo>
                    <a:pt x="44" y="188"/>
                  </a:lnTo>
                  <a:lnTo>
                    <a:pt x="42" y="190"/>
                  </a:lnTo>
                  <a:lnTo>
                    <a:pt x="40" y="192"/>
                  </a:lnTo>
                  <a:lnTo>
                    <a:pt x="40" y="194"/>
                  </a:lnTo>
                  <a:lnTo>
                    <a:pt x="36" y="196"/>
                  </a:lnTo>
                  <a:lnTo>
                    <a:pt x="34" y="196"/>
                  </a:lnTo>
                  <a:lnTo>
                    <a:pt x="34" y="200"/>
                  </a:lnTo>
                  <a:lnTo>
                    <a:pt x="32" y="202"/>
                  </a:lnTo>
                  <a:lnTo>
                    <a:pt x="26" y="206"/>
                  </a:lnTo>
                  <a:lnTo>
                    <a:pt x="20" y="206"/>
                  </a:lnTo>
                  <a:lnTo>
                    <a:pt x="18" y="206"/>
                  </a:lnTo>
                  <a:lnTo>
                    <a:pt x="18" y="204"/>
                  </a:lnTo>
                  <a:lnTo>
                    <a:pt x="14" y="210"/>
                  </a:lnTo>
                  <a:lnTo>
                    <a:pt x="24" y="212"/>
                  </a:lnTo>
                  <a:lnTo>
                    <a:pt x="34" y="212"/>
                  </a:lnTo>
                  <a:lnTo>
                    <a:pt x="34" y="210"/>
                  </a:lnTo>
                  <a:lnTo>
                    <a:pt x="36" y="206"/>
                  </a:lnTo>
                  <a:lnTo>
                    <a:pt x="42" y="208"/>
                  </a:lnTo>
                  <a:lnTo>
                    <a:pt x="50" y="206"/>
                  </a:lnTo>
                  <a:lnTo>
                    <a:pt x="54" y="202"/>
                  </a:lnTo>
                  <a:lnTo>
                    <a:pt x="56" y="204"/>
                  </a:lnTo>
                  <a:lnTo>
                    <a:pt x="58" y="204"/>
                  </a:lnTo>
                  <a:lnTo>
                    <a:pt x="62" y="200"/>
                  </a:lnTo>
                  <a:lnTo>
                    <a:pt x="72" y="202"/>
                  </a:lnTo>
                  <a:lnTo>
                    <a:pt x="70" y="206"/>
                  </a:lnTo>
                  <a:lnTo>
                    <a:pt x="68" y="208"/>
                  </a:lnTo>
                  <a:lnTo>
                    <a:pt x="68" y="214"/>
                  </a:lnTo>
                  <a:lnTo>
                    <a:pt x="66" y="214"/>
                  </a:lnTo>
                  <a:lnTo>
                    <a:pt x="70" y="220"/>
                  </a:lnTo>
                  <a:lnTo>
                    <a:pt x="72" y="220"/>
                  </a:lnTo>
                  <a:lnTo>
                    <a:pt x="76" y="220"/>
                  </a:lnTo>
                  <a:lnTo>
                    <a:pt x="78" y="220"/>
                  </a:lnTo>
                  <a:lnTo>
                    <a:pt x="80" y="218"/>
                  </a:lnTo>
                  <a:lnTo>
                    <a:pt x="84" y="214"/>
                  </a:lnTo>
                  <a:lnTo>
                    <a:pt x="90" y="210"/>
                  </a:lnTo>
                  <a:lnTo>
                    <a:pt x="88" y="204"/>
                  </a:lnTo>
                  <a:lnTo>
                    <a:pt x="88" y="202"/>
                  </a:lnTo>
                  <a:lnTo>
                    <a:pt x="92" y="202"/>
                  </a:lnTo>
                  <a:lnTo>
                    <a:pt x="98" y="202"/>
                  </a:lnTo>
                  <a:lnTo>
                    <a:pt x="98" y="204"/>
                  </a:lnTo>
                  <a:lnTo>
                    <a:pt x="96" y="206"/>
                  </a:lnTo>
                  <a:lnTo>
                    <a:pt x="102" y="206"/>
                  </a:lnTo>
                  <a:lnTo>
                    <a:pt x="104" y="202"/>
                  </a:lnTo>
                  <a:lnTo>
                    <a:pt x="106" y="204"/>
                  </a:lnTo>
                  <a:lnTo>
                    <a:pt x="112" y="204"/>
                  </a:lnTo>
                  <a:lnTo>
                    <a:pt x="112" y="202"/>
                  </a:lnTo>
                  <a:lnTo>
                    <a:pt x="116" y="202"/>
                  </a:lnTo>
                  <a:lnTo>
                    <a:pt x="120" y="198"/>
                  </a:lnTo>
                  <a:lnTo>
                    <a:pt x="120" y="206"/>
                  </a:lnTo>
                  <a:lnTo>
                    <a:pt x="120" y="206"/>
                  </a:lnTo>
                  <a:lnTo>
                    <a:pt x="122" y="196"/>
                  </a:lnTo>
                  <a:lnTo>
                    <a:pt x="126" y="194"/>
                  </a:lnTo>
                  <a:lnTo>
                    <a:pt x="128" y="196"/>
                  </a:lnTo>
                  <a:lnTo>
                    <a:pt x="130" y="194"/>
                  </a:lnTo>
                  <a:lnTo>
                    <a:pt x="128" y="194"/>
                  </a:lnTo>
                  <a:lnTo>
                    <a:pt x="130" y="184"/>
                  </a:lnTo>
                  <a:lnTo>
                    <a:pt x="136" y="182"/>
                  </a:lnTo>
                  <a:lnTo>
                    <a:pt x="136" y="184"/>
                  </a:lnTo>
                  <a:lnTo>
                    <a:pt x="136" y="186"/>
                  </a:lnTo>
                  <a:lnTo>
                    <a:pt x="134" y="188"/>
                  </a:lnTo>
                  <a:lnTo>
                    <a:pt x="132" y="192"/>
                  </a:lnTo>
                  <a:lnTo>
                    <a:pt x="132" y="196"/>
                  </a:lnTo>
                  <a:lnTo>
                    <a:pt x="136" y="198"/>
                  </a:lnTo>
                  <a:lnTo>
                    <a:pt x="144" y="184"/>
                  </a:lnTo>
                  <a:lnTo>
                    <a:pt x="144" y="182"/>
                  </a:lnTo>
                  <a:lnTo>
                    <a:pt x="138" y="180"/>
                  </a:lnTo>
                  <a:lnTo>
                    <a:pt x="142" y="178"/>
                  </a:lnTo>
                  <a:lnTo>
                    <a:pt x="140" y="166"/>
                  </a:lnTo>
                  <a:lnTo>
                    <a:pt x="142" y="160"/>
                  </a:lnTo>
                  <a:lnTo>
                    <a:pt x="144" y="154"/>
                  </a:lnTo>
                  <a:lnTo>
                    <a:pt x="144" y="144"/>
                  </a:lnTo>
                  <a:lnTo>
                    <a:pt x="144" y="132"/>
                  </a:lnTo>
                  <a:lnTo>
                    <a:pt x="150" y="132"/>
                  </a:lnTo>
                  <a:lnTo>
                    <a:pt x="150" y="128"/>
                  </a:lnTo>
                  <a:lnTo>
                    <a:pt x="150" y="126"/>
                  </a:lnTo>
                  <a:lnTo>
                    <a:pt x="154" y="126"/>
                  </a:lnTo>
                  <a:lnTo>
                    <a:pt x="154" y="122"/>
                  </a:lnTo>
                  <a:lnTo>
                    <a:pt x="158" y="116"/>
                  </a:lnTo>
                  <a:lnTo>
                    <a:pt x="156" y="100"/>
                  </a:lnTo>
                  <a:lnTo>
                    <a:pt x="154" y="100"/>
                  </a:lnTo>
                  <a:lnTo>
                    <a:pt x="152" y="94"/>
                  </a:lnTo>
                  <a:lnTo>
                    <a:pt x="152" y="90"/>
                  </a:lnTo>
                  <a:lnTo>
                    <a:pt x="150" y="88"/>
                  </a:lnTo>
                  <a:lnTo>
                    <a:pt x="142" y="86"/>
                  </a:lnTo>
                  <a:lnTo>
                    <a:pt x="142" y="84"/>
                  </a:lnTo>
                  <a:lnTo>
                    <a:pt x="140" y="82"/>
                  </a:lnTo>
                  <a:lnTo>
                    <a:pt x="140" y="82"/>
                  </a:lnTo>
                  <a:close/>
                  <a:moveTo>
                    <a:pt x="156" y="0"/>
                  </a:moveTo>
                  <a:lnTo>
                    <a:pt x="156" y="0"/>
                  </a:lnTo>
                  <a:lnTo>
                    <a:pt x="152" y="4"/>
                  </a:lnTo>
                  <a:lnTo>
                    <a:pt x="152" y="6"/>
                  </a:lnTo>
                  <a:lnTo>
                    <a:pt x="152" y="10"/>
                  </a:lnTo>
                  <a:lnTo>
                    <a:pt x="154" y="14"/>
                  </a:lnTo>
                  <a:lnTo>
                    <a:pt x="158" y="16"/>
                  </a:lnTo>
                  <a:lnTo>
                    <a:pt x="156" y="20"/>
                  </a:lnTo>
                  <a:lnTo>
                    <a:pt x="154" y="24"/>
                  </a:lnTo>
                  <a:lnTo>
                    <a:pt x="154" y="32"/>
                  </a:lnTo>
                  <a:lnTo>
                    <a:pt x="152" y="34"/>
                  </a:lnTo>
                  <a:lnTo>
                    <a:pt x="150" y="36"/>
                  </a:lnTo>
                  <a:lnTo>
                    <a:pt x="150" y="40"/>
                  </a:lnTo>
                  <a:lnTo>
                    <a:pt x="152" y="44"/>
                  </a:lnTo>
                  <a:lnTo>
                    <a:pt x="152" y="46"/>
                  </a:lnTo>
                  <a:lnTo>
                    <a:pt x="150" y="46"/>
                  </a:lnTo>
                  <a:lnTo>
                    <a:pt x="144" y="46"/>
                  </a:lnTo>
                  <a:lnTo>
                    <a:pt x="142" y="44"/>
                  </a:lnTo>
                  <a:lnTo>
                    <a:pt x="138" y="42"/>
                  </a:lnTo>
                  <a:lnTo>
                    <a:pt x="136" y="44"/>
                  </a:lnTo>
                  <a:lnTo>
                    <a:pt x="138" y="46"/>
                  </a:lnTo>
                  <a:lnTo>
                    <a:pt x="136" y="50"/>
                  </a:lnTo>
                  <a:lnTo>
                    <a:pt x="130" y="54"/>
                  </a:lnTo>
                  <a:lnTo>
                    <a:pt x="130" y="60"/>
                  </a:lnTo>
                  <a:lnTo>
                    <a:pt x="134" y="64"/>
                  </a:lnTo>
                  <a:lnTo>
                    <a:pt x="134" y="74"/>
                  </a:lnTo>
                  <a:lnTo>
                    <a:pt x="136" y="74"/>
                  </a:lnTo>
                  <a:lnTo>
                    <a:pt x="138" y="74"/>
                  </a:lnTo>
                  <a:lnTo>
                    <a:pt x="142" y="70"/>
                  </a:lnTo>
                  <a:lnTo>
                    <a:pt x="150" y="70"/>
                  </a:lnTo>
                  <a:lnTo>
                    <a:pt x="140" y="64"/>
                  </a:lnTo>
                  <a:lnTo>
                    <a:pt x="140" y="58"/>
                  </a:lnTo>
                  <a:lnTo>
                    <a:pt x="142" y="56"/>
                  </a:lnTo>
                  <a:lnTo>
                    <a:pt x="146" y="56"/>
                  </a:lnTo>
                  <a:lnTo>
                    <a:pt x="148" y="58"/>
                  </a:lnTo>
                  <a:lnTo>
                    <a:pt x="150" y="58"/>
                  </a:lnTo>
                  <a:lnTo>
                    <a:pt x="152" y="56"/>
                  </a:lnTo>
                  <a:lnTo>
                    <a:pt x="154" y="56"/>
                  </a:lnTo>
                  <a:lnTo>
                    <a:pt x="156" y="56"/>
                  </a:lnTo>
                  <a:lnTo>
                    <a:pt x="158" y="56"/>
                  </a:lnTo>
                  <a:lnTo>
                    <a:pt x="160" y="60"/>
                  </a:lnTo>
                  <a:lnTo>
                    <a:pt x="160" y="64"/>
                  </a:lnTo>
                  <a:lnTo>
                    <a:pt x="176" y="64"/>
                  </a:lnTo>
                  <a:lnTo>
                    <a:pt x="180" y="52"/>
                  </a:lnTo>
                  <a:lnTo>
                    <a:pt x="184" y="50"/>
                  </a:lnTo>
                  <a:lnTo>
                    <a:pt x="190" y="48"/>
                  </a:lnTo>
                  <a:lnTo>
                    <a:pt x="192" y="52"/>
                  </a:lnTo>
                  <a:lnTo>
                    <a:pt x="194" y="50"/>
                  </a:lnTo>
                  <a:lnTo>
                    <a:pt x="194" y="48"/>
                  </a:lnTo>
                  <a:lnTo>
                    <a:pt x="202" y="48"/>
                  </a:lnTo>
                  <a:lnTo>
                    <a:pt x="206" y="46"/>
                  </a:lnTo>
                  <a:lnTo>
                    <a:pt x="206" y="44"/>
                  </a:lnTo>
                  <a:lnTo>
                    <a:pt x="204" y="42"/>
                  </a:lnTo>
                  <a:lnTo>
                    <a:pt x="204" y="42"/>
                  </a:lnTo>
                  <a:lnTo>
                    <a:pt x="200" y="42"/>
                  </a:lnTo>
                  <a:lnTo>
                    <a:pt x="200" y="40"/>
                  </a:lnTo>
                  <a:lnTo>
                    <a:pt x="202" y="34"/>
                  </a:lnTo>
                  <a:lnTo>
                    <a:pt x="194" y="34"/>
                  </a:lnTo>
                  <a:lnTo>
                    <a:pt x="192" y="32"/>
                  </a:lnTo>
                  <a:lnTo>
                    <a:pt x="188" y="28"/>
                  </a:lnTo>
                  <a:lnTo>
                    <a:pt x="182" y="30"/>
                  </a:lnTo>
                  <a:lnTo>
                    <a:pt x="178" y="30"/>
                  </a:lnTo>
                  <a:lnTo>
                    <a:pt x="176" y="30"/>
                  </a:lnTo>
                  <a:lnTo>
                    <a:pt x="172" y="22"/>
                  </a:lnTo>
                  <a:lnTo>
                    <a:pt x="168" y="12"/>
                  </a:lnTo>
                  <a:lnTo>
                    <a:pt x="162" y="10"/>
                  </a:lnTo>
                  <a:lnTo>
                    <a:pt x="160" y="4"/>
                  </a:lnTo>
                  <a:lnTo>
                    <a:pt x="156" y="0"/>
                  </a:lnTo>
                  <a:lnTo>
                    <a:pt x="15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6" name="Freeform 470">
              <a:extLst>
                <a:ext uri="{FF2B5EF4-FFF2-40B4-BE49-F238E27FC236}">
                  <a16:creationId xmlns:a16="http://schemas.microsoft.com/office/drawing/2014/main" id="{E44D0B84-6562-4E27-8C8C-A73E3A599054}"/>
                </a:ext>
              </a:extLst>
            </p:cNvPr>
            <p:cNvSpPr>
              <a:spLocks/>
            </p:cNvSpPr>
            <p:nvPr/>
          </p:nvSpPr>
          <p:spPr bwMode="auto">
            <a:xfrm>
              <a:off x="1591722" y="4511442"/>
              <a:ext cx="62151" cy="67330"/>
            </a:xfrm>
            <a:custGeom>
              <a:avLst/>
              <a:gdLst/>
              <a:ahLst/>
              <a:cxnLst>
                <a:cxn ang="0">
                  <a:pos x="16" y="6"/>
                </a:cxn>
                <a:cxn ang="0">
                  <a:pos x="16" y="6"/>
                </a:cxn>
                <a:cxn ang="0">
                  <a:pos x="20" y="6"/>
                </a:cxn>
                <a:cxn ang="0">
                  <a:pos x="22" y="6"/>
                </a:cxn>
                <a:cxn ang="0">
                  <a:pos x="24" y="6"/>
                </a:cxn>
                <a:cxn ang="0">
                  <a:pos x="26" y="8"/>
                </a:cxn>
                <a:cxn ang="0">
                  <a:pos x="32" y="8"/>
                </a:cxn>
                <a:cxn ang="0">
                  <a:pos x="32" y="14"/>
                </a:cxn>
                <a:cxn ang="0">
                  <a:pos x="34" y="18"/>
                </a:cxn>
                <a:cxn ang="0">
                  <a:pos x="40" y="24"/>
                </a:cxn>
                <a:cxn ang="0">
                  <a:pos x="48" y="30"/>
                </a:cxn>
                <a:cxn ang="0">
                  <a:pos x="42" y="32"/>
                </a:cxn>
                <a:cxn ang="0">
                  <a:pos x="40" y="32"/>
                </a:cxn>
                <a:cxn ang="0">
                  <a:pos x="40" y="34"/>
                </a:cxn>
                <a:cxn ang="0">
                  <a:pos x="40" y="38"/>
                </a:cxn>
                <a:cxn ang="0">
                  <a:pos x="38" y="40"/>
                </a:cxn>
                <a:cxn ang="0">
                  <a:pos x="40" y="42"/>
                </a:cxn>
                <a:cxn ang="0">
                  <a:pos x="42" y="44"/>
                </a:cxn>
                <a:cxn ang="0">
                  <a:pos x="42" y="46"/>
                </a:cxn>
                <a:cxn ang="0">
                  <a:pos x="40" y="52"/>
                </a:cxn>
                <a:cxn ang="0">
                  <a:pos x="38" y="44"/>
                </a:cxn>
                <a:cxn ang="0">
                  <a:pos x="34" y="44"/>
                </a:cxn>
                <a:cxn ang="0">
                  <a:pos x="34" y="50"/>
                </a:cxn>
                <a:cxn ang="0">
                  <a:pos x="30" y="44"/>
                </a:cxn>
                <a:cxn ang="0">
                  <a:pos x="32" y="38"/>
                </a:cxn>
                <a:cxn ang="0">
                  <a:pos x="24" y="34"/>
                </a:cxn>
                <a:cxn ang="0">
                  <a:pos x="20" y="34"/>
                </a:cxn>
                <a:cxn ang="0">
                  <a:pos x="20" y="30"/>
                </a:cxn>
                <a:cxn ang="0">
                  <a:pos x="18" y="26"/>
                </a:cxn>
                <a:cxn ang="0">
                  <a:pos x="14" y="24"/>
                </a:cxn>
                <a:cxn ang="0">
                  <a:pos x="12" y="24"/>
                </a:cxn>
                <a:cxn ang="0">
                  <a:pos x="14" y="28"/>
                </a:cxn>
                <a:cxn ang="0">
                  <a:pos x="12" y="30"/>
                </a:cxn>
                <a:cxn ang="0">
                  <a:pos x="12" y="32"/>
                </a:cxn>
                <a:cxn ang="0">
                  <a:pos x="8" y="32"/>
                </a:cxn>
                <a:cxn ang="0">
                  <a:pos x="6" y="28"/>
                </a:cxn>
                <a:cxn ang="0">
                  <a:pos x="2" y="26"/>
                </a:cxn>
                <a:cxn ang="0">
                  <a:pos x="2" y="18"/>
                </a:cxn>
                <a:cxn ang="0">
                  <a:pos x="6" y="16"/>
                </a:cxn>
                <a:cxn ang="0">
                  <a:pos x="4" y="14"/>
                </a:cxn>
                <a:cxn ang="0">
                  <a:pos x="4" y="10"/>
                </a:cxn>
                <a:cxn ang="0">
                  <a:pos x="2" y="4"/>
                </a:cxn>
                <a:cxn ang="0">
                  <a:pos x="0" y="2"/>
                </a:cxn>
                <a:cxn ang="0">
                  <a:pos x="2" y="0"/>
                </a:cxn>
                <a:cxn ang="0">
                  <a:pos x="6" y="2"/>
                </a:cxn>
                <a:cxn ang="0">
                  <a:pos x="8" y="4"/>
                </a:cxn>
                <a:cxn ang="0">
                  <a:pos x="16" y="6"/>
                </a:cxn>
                <a:cxn ang="0">
                  <a:pos x="16" y="6"/>
                </a:cxn>
              </a:cxnLst>
              <a:rect l="0" t="0" r="r" b="b"/>
              <a:pathLst>
                <a:path w="48" h="52">
                  <a:moveTo>
                    <a:pt x="16" y="6"/>
                  </a:moveTo>
                  <a:lnTo>
                    <a:pt x="16" y="6"/>
                  </a:lnTo>
                  <a:lnTo>
                    <a:pt x="20" y="6"/>
                  </a:lnTo>
                  <a:lnTo>
                    <a:pt x="22" y="6"/>
                  </a:lnTo>
                  <a:lnTo>
                    <a:pt x="24" y="6"/>
                  </a:lnTo>
                  <a:lnTo>
                    <a:pt x="26" y="8"/>
                  </a:lnTo>
                  <a:lnTo>
                    <a:pt x="32" y="8"/>
                  </a:lnTo>
                  <a:lnTo>
                    <a:pt x="32" y="14"/>
                  </a:lnTo>
                  <a:lnTo>
                    <a:pt x="34" y="18"/>
                  </a:lnTo>
                  <a:lnTo>
                    <a:pt x="40" y="24"/>
                  </a:lnTo>
                  <a:lnTo>
                    <a:pt x="48" y="30"/>
                  </a:lnTo>
                  <a:lnTo>
                    <a:pt x="42" y="32"/>
                  </a:lnTo>
                  <a:lnTo>
                    <a:pt x="40" y="32"/>
                  </a:lnTo>
                  <a:lnTo>
                    <a:pt x="40" y="34"/>
                  </a:lnTo>
                  <a:lnTo>
                    <a:pt x="40" y="38"/>
                  </a:lnTo>
                  <a:lnTo>
                    <a:pt x="38" y="40"/>
                  </a:lnTo>
                  <a:lnTo>
                    <a:pt x="40" y="42"/>
                  </a:lnTo>
                  <a:lnTo>
                    <a:pt x="42" y="44"/>
                  </a:lnTo>
                  <a:lnTo>
                    <a:pt x="42" y="46"/>
                  </a:lnTo>
                  <a:lnTo>
                    <a:pt x="40" y="52"/>
                  </a:lnTo>
                  <a:lnTo>
                    <a:pt x="38" y="44"/>
                  </a:lnTo>
                  <a:lnTo>
                    <a:pt x="34" y="44"/>
                  </a:lnTo>
                  <a:lnTo>
                    <a:pt x="34" y="50"/>
                  </a:lnTo>
                  <a:lnTo>
                    <a:pt x="30" y="44"/>
                  </a:lnTo>
                  <a:lnTo>
                    <a:pt x="32" y="38"/>
                  </a:lnTo>
                  <a:lnTo>
                    <a:pt x="24" y="34"/>
                  </a:lnTo>
                  <a:lnTo>
                    <a:pt x="20" y="34"/>
                  </a:lnTo>
                  <a:lnTo>
                    <a:pt x="20" y="30"/>
                  </a:lnTo>
                  <a:lnTo>
                    <a:pt x="18" y="26"/>
                  </a:lnTo>
                  <a:lnTo>
                    <a:pt x="14" y="24"/>
                  </a:lnTo>
                  <a:lnTo>
                    <a:pt x="12" y="24"/>
                  </a:lnTo>
                  <a:lnTo>
                    <a:pt x="14" y="28"/>
                  </a:lnTo>
                  <a:lnTo>
                    <a:pt x="12" y="30"/>
                  </a:lnTo>
                  <a:lnTo>
                    <a:pt x="12" y="32"/>
                  </a:lnTo>
                  <a:lnTo>
                    <a:pt x="8" y="32"/>
                  </a:lnTo>
                  <a:lnTo>
                    <a:pt x="6" y="28"/>
                  </a:lnTo>
                  <a:lnTo>
                    <a:pt x="2" y="26"/>
                  </a:lnTo>
                  <a:lnTo>
                    <a:pt x="2" y="18"/>
                  </a:lnTo>
                  <a:lnTo>
                    <a:pt x="6" y="16"/>
                  </a:lnTo>
                  <a:lnTo>
                    <a:pt x="4" y="14"/>
                  </a:lnTo>
                  <a:lnTo>
                    <a:pt x="4" y="10"/>
                  </a:lnTo>
                  <a:lnTo>
                    <a:pt x="2" y="4"/>
                  </a:lnTo>
                  <a:lnTo>
                    <a:pt x="0" y="2"/>
                  </a:lnTo>
                  <a:lnTo>
                    <a:pt x="2" y="0"/>
                  </a:lnTo>
                  <a:lnTo>
                    <a:pt x="6" y="2"/>
                  </a:lnTo>
                  <a:lnTo>
                    <a:pt x="8" y="4"/>
                  </a:lnTo>
                  <a:lnTo>
                    <a:pt x="16" y="6"/>
                  </a:lnTo>
                  <a:lnTo>
                    <a:pt x="16"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7" name="Freeform 471">
              <a:extLst>
                <a:ext uri="{FF2B5EF4-FFF2-40B4-BE49-F238E27FC236}">
                  <a16:creationId xmlns:a16="http://schemas.microsoft.com/office/drawing/2014/main" id="{353B6A9D-3F8A-458C-BD61-8DEF4D4AC8FA}"/>
                </a:ext>
              </a:extLst>
            </p:cNvPr>
            <p:cNvSpPr>
              <a:spLocks/>
            </p:cNvSpPr>
            <p:nvPr/>
          </p:nvSpPr>
          <p:spPr bwMode="auto">
            <a:xfrm>
              <a:off x="1783353" y="4648691"/>
              <a:ext cx="673299" cy="820907"/>
            </a:xfrm>
            <a:custGeom>
              <a:avLst/>
              <a:gdLst/>
              <a:ahLst/>
              <a:cxnLst>
                <a:cxn ang="0">
                  <a:pos x="368" y="474"/>
                </a:cxn>
                <a:cxn ang="0">
                  <a:pos x="398" y="458"/>
                </a:cxn>
                <a:cxn ang="0">
                  <a:pos x="428" y="446"/>
                </a:cxn>
                <a:cxn ang="0">
                  <a:pos x="432" y="420"/>
                </a:cxn>
                <a:cxn ang="0">
                  <a:pos x="456" y="376"/>
                </a:cxn>
                <a:cxn ang="0">
                  <a:pos x="462" y="330"/>
                </a:cxn>
                <a:cxn ang="0">
                  <a:pos x="470" y="284"/>
                </a:cxn>
                <a:cxn ang="0">
                  <a:pos x="498" y="246"/>
                </a:cxn>
                <a:cxn ang="0">
                  <a:pos x="520" y="204"/>
                </a:cxn>
                <a:cxn ang="0">
                  <a:pos x="506" y="164"/>
                </a:cxn>
                <a:cxn ang="0">
                  <a:pos x="486" y="158"/>
                </a:cxn>
                <a:cxn ang="0">
                  <a:pos x="436" y="130"/>
                </a:cxn>
                <a:cxn ang="0">
                  <a:pos x="400" y="128"/>
                </a:cxn>
                <a:cxn ang="0">
                  <a:pos x="388" y="112"/>
                </a:cxn>
                <a:cxn ang="0">
                  <a:pos x="370" y="96"/>
                </a:cxn>
                <a:cxn ang="0">
                  <a:pos x="334" y="108"/>
                </a:cxn>
                <a:cxn ang="0">
                  <a:pos x="330" y="108"/>
                </a:cxn>
                <a:cxn ang="0">
                  <a:pos x="340" y="88"/>
                </a:cxn>
                <a:cxn ang="0">
                  <a:pos x="320" y="84"/>
                </a:cxn>
                <a:cxn ang="0">
                  <a:pos x="302" y="100"/>
                </a:cxn>
                <a:cxn ang="0">
                  <a:pos x="286" y="102"/>
                </a:cxn>
                <a:cxn ang="0">
                  <a:pos x="300" y="80"/>
                </a:cxn>
                <a:cxn ang="0">
                  <a:pos x="318" y="70"/>
                </a:cxn>
                <a:cxn ang="0">
                  <a:pos x="312" y="58"/>
                </a:cxn>
                <a:cxn ang="0">
                  <a:pos x="302" y="12"/>
                </a:cxn>
                <a:cxn ang="0">
                  <a:pos x="264" y="54"/>
                </a:cxn>
                <a:cxn ang="0">
                  <a:pos x="236" y="60"/>
                </a:cxn>
                <a:cxn ang="0">
                  <a:pos x="208" y="64"/>
                </a:cxn>
                <a:cxn ang="0">
                  <a:pos x="186" y="56"/>
                </a:cxn>
                <a:cxn ang="0">
                  <a:pos x="194" y="14"/>
                </a:cxn>
                <a:cxn ang="0">
                  <a:pos x="176" y="10"/>
                </a:cxn>
                <a:cxn ang="0">
                  <a:pos x="150" y="18"/>
                </a:cxn>
                <a:cxn ang="0">
                  <a:pos x="118" y="18"/>
                </a:cxn>
                <a:cxn ang="0">
                  <a:pos x="134" y="48"/>
                </a:cxn>
                <a:cxn ang="0">
                  <a:pos x="132" y="62"/>
                </a:cxn>
                <a:cxn ang="0">
                  <a:pos x="98" y="70"/>
                </a:cxn>
                <a:cxn ang="0">
                  <a:pos x="60" y="76"/>
                </a:cxn>
                <a:cxn ang="0">
                  <a:pos x="50" y="150"/>
                </a:cxn>
                <a:cxn ang="0">
                  <a:pos x="10" y="180"/>
                </a:cxn>
                <a:cxn ang="0">
                  <a:pos x="4" y="206"/>
                </a:cxn>
                <a:cxn ang="0">
                  <a:pos x="20" y="232"/>
                </a:cxn>
                <a:cxn ang="0">
                  <a:pos x="60" y="278"/>
                </a:cxn>
                <a:cxn ang="0">
                  <a:pos x="88" y="260"/>
                </a:cxn>
                <a:cxn ang="0">
                  <a:pos x="118" y="276"/>
                </a:cxn>
                <a:cxn ang="0">
                  <a:pos x="154" y="296"/>
                </a:cxn>
                <a:cxn ang="0">
                  <a:pos x="186" y="322"/>
                </a:cxn>
                <a:cxn ang="0">
                  <a:pos x="210" y="362"/>
                </a:cxn>
                <a:cxn ang="0">
                  <a:pos x="216" y="408"/>
                </a:cxn>
                <a:cxn ang="0">
                  <a:pos x="238" y="438"/>
                </a:cxn>
                <a:cxn ang="0">
                  <a:pos x="252" y="470"/>
                </a:cxn>
                <a:cxn ang="0">
                  <a:pos x="262" y="498"/>
                </a:cxn>
                <a:cxn ang="0">
                  <a:pos x="252" y="532"/>
                </a:cxn>
                <a:cxn ang="0">
                  <a:pos x="226" y="564"/>
                </a:cxn>
                <a:cxn ang="0">
                  <a:pos x="250" y="596"/>
                </a:cxn>
                <a:cxn ang="0">
                  <a:pos x="274" y="630"/>
                </a:cxn>
                <a:cxn ang="0">
                  <a:pos x="294" y="598"/>
                </a:cxn>
                <a:cxn ang="0">
                  <a:pos x="308" y="588"/>
                </a:cxn>
                <a:cxn ang="0">
                  <a:pos x="328" y="558"/>
                </a:cxn>
                <a:cxn ang="0">
                  <a:pos x="332" y="526"/>
                </a:cxn>
                <a:cxn ang="0">
                  <a:pos x="332" y="502"/>
                </a:cxn>
              </a:cxnLst>
              <a:rect l="0" t="0" r="r" b="b"/>
              <a:pathLst>
                <a:path w="520" h="634">
                  <a:moveTo>
                    <a:pt x="332" y="500"/>
                  </a:moveTo>
                  <a:lnTo>
                    <a:pt x="332" y="500"/>
                  </a:lnTo>
                  <a:lnTo>
                    <a:pt x="340" y="496"/>
                  </a:lnTo>
                  <a:lnTo>
                    <a:pt x="344" y="492"/>
                  </a:lnTo>
                  <a:lnTo>
                    <a:pt x="348" y="488"/>
                  </a:lnTo>
                  <a:lnTo>
                    <a:pt x="354" y="486"/>
                  </a:lnTo>
                  <a:lnTo>
                    <a:pt x="360" y="484"/>
                  </a:lnTo>
                  <a:lnTo>
                    <a:pt x="362" y="480"/>
                  </a:lnTo>
                  <a:lnTo>
                    <a:pt x="362" y="476"/>
                  </a:lnTo>
                  <a:lnTo>
                    <a:pt x="368" y="474"/>
                  </a:lnTo>
                  <a:lnTo>
                    <a:pt x="374" y="474"/>
                  </a:lnTo>
                  <a:lnTo>
                    <a:pt x="376" y="472"/>
                  </a:lnTo>
                  <a:lnTo>
                    <a:pt x="380" y="470"/>
                  </a:lnTo>
                  <a:lnTo>
                    <a:pt x="386" y="470"/>
                  </a:lnTo>
                  <a:lnTo>
                    <a:pt x="384" y="464"/>
                  </a:lnTo>
                  <a:lnTo>
                    <a:pt x="386" y="464"/>
                  </a:lnTo>
                  <a:lnTo>
                    <a:pt x="390" y="460"/>
                  </a:lnTo>
                  <a:lnTo>
                    <a:pt x="392" y="462"/>
                  </a:lnTo>
                  <a:lnTo>
                    <a:pt x="394" y="462"/>
                  </a:lnTo>
                  <a:lnTo>
                    <a:pt x="398" y="458"/>
                  </a:lnTo>
                  <a:lnTo>
                    <a:pt x="400" y="458"/>
                  </a:lnTo>
                  <a:lnTo>
                    <a:pt x="406" y="458"/>
                  </a:lnTo>
                  <a:lnTo>
                    <a:pt x="406" y="454"/>
                  </a:lnTo>
                  <a:lnTo>
                    <a:pt x="408" y="454"/>
                  </a:lnTo>
                  <a:lnTo>
                    <a:pt x="408" y="456"/>
                  </a:lnTo>
                  <a:lnTo>
                    <a:pt x="410" y="458"/>
                  </a:lnTo>
                  <a:lnTo>
                    <a:pt x="418" y="458"/>
                  </a:lnTo>
                  <a:lnTo>
                    <a:pt x="422" y="454"/>
                  </a:lnTo>
                  <a:lnTo>
                    <a:pt x="422" y="448"/>
                  </a:lnTo>
                  <a:lnTo>
                    <a:pt x="428" y="446"/>
                  </a:lnTo>
                  <a:lnTo>
                    <a:pt x="428" y="444"/>
                  </a:lnTo>
                  <a:lnTo>
                    <a:pt x="430" y="442"/>
                  </a:lnTo>
                  <a:lnTo>
                    <a:pt x="428" y="442"/>
                  </a:lnTo>
                  <a:lnTo>
                    <a:pt x="428" y="434"/>
                  </a:lnTo>
                  <a:lnTo>
                    <a:pt x="426" y="434"/>
                  </a:lnTo>
                  <a:lnTo>
                    <a:pt x="428" y="434"/>
                  </a:lnTo>
                  <a:lnTo>
                    <a:pt x="428" y="430"/>
                  </a:lnTo>
                  <a:lnTo>
                    <a:pt x="432" y="428"/>
                  </a:lnTo>
                  <a:lnTo>
                    <a:pt x="432" y="424"/>
                  </a:lnTo>
                  <a:lnTo>
                    <a:pt x="432" y="420"/>
                  </a:lnTo>
                  <a:lnTo>
                    <a:pt x="436" y="416"/>
                  </a:lnTo>
                  <a:lnTo>
                    <a:pt x="440" y="412"/>
                  </a:lnTo>
                  <a:lnTo>
                    <a:pt x="440" y="408"/>
                  </a:lnTo>
                  <a:lnTo>
                    <a:pt x="442" y="406"/>
                  </a:lnTo>
                  <a:lnTo>
                    <a:pt x="442" y="404"/>
                  </a:lnTo>
                  <a:lnTo>
                    <a:pt x="446" y="400"/>
                  </a:lnTo>
                  <a:lnTo>
                    <a:pt x="452" y="396"/>
                  </a:lnTo>
                  <a:lnTo>
                    <a:pt x="452" y="390"/>
                  </a:lnTo>
                  <a:lnTo>
                    <a:pt x="452" y="380"/>
                  </a:lnTo>
                  <a:lnTo>
                    <a:pt x="456" y="376"/>
                  </a:lnTo>
                  <a:lnTo>
                    <a:pt x="460" y="372"/>
                  </a:lnTo>
                  <a:lnTo>
                    <a:pt x="458" y="364"/>
                  </a:lnTo>
                  <a:lnTo>
                    <a:pt x="456" y="358"/>
                  </a:lnTo>
                  <a:lnTo>
                    <a:pt x="458" y="354"/>
                  </a:lnTo>
                  <a:lnTo>
                    <a:pt x="462" y="352"/>
                  </a:lnTo>
                  <a:lnTo>
                    <a:pt x="462" y="348"/>
                  </a:lnTo>
                  <a:lnTo>
                    <a:pt x="462" y="342"/>
                  </a:lnTo>
                  <a:lnTo>
                    <a:pt x="462" y="338"/>
                  </a:lnTo>
                  <a:lnTo>
                    <a:pt x="462" y="334"/>
                  </a:lnTo>
                  <a:lnTo>
                    <a:pt x="462" y="330"/>
                  </a:lnTo>
                  <a:lnTo>
                    <a:pt x="460" y="318"/>
                  </a:lnTo>
                  <a:lnTo>
                    <a:pt x="462" y="308"/>
                  </a:lnTo>
                  <a:lnTo>
                    <a:pt x="458" y="306"/>
                  </a:lnTo>
                  <a:lnTo>
                    <a:pt x="462" y="302"/>
                  </a:lnTo>
                  <a:lnTo>
                    <a:pt x="462" y="298"/>
                  </a:lnTo>
                  <a:lnTo>
                    <a:pt x="462" y="294"/>
                  </a:lnTo>
                  <a:lnTo>
                    <a:pt x="462" y="292"/>
                  </a:lnTo>
                  <a:lnTo>
                    <a:pt x="464" y="290"/>
                  </a:lnTo>
                  <a:lnTo>
                    <a:pt x="464" y="282"/>
                  </a:lnTo>
                  <a:lnTo>
                    <a:pt x="470" y="284"/>
                  </a:lnTo>
                  <a:lnTo>
                    <a:pt x="472" y="288"/>
                  </a:lnTo>
                  <a:lnTo>
                    <a:pt x="476" y="282"/>
                  </a:lnTo>
                  <a:lnTo>
                    <a:pt x="476" y="278"/>
                  </a:lnTo>
                  <a:lnTo>
                    <a:pt x="480" y="276"/>
                  </a:lnTo>
                  <a:lnTo>
                    <a:pt x="480" y="272"/>
                  </a:lnTo>
                  <a:lnTo>
                    <a:pt x="482" y="270"/>
                  </a:lnTo>
                  <a:lnTo>
                    <a:pt x="484" y="266"/>
                  </a:lnTo>
                  <a:lnTo>
                    <a:pt x="486" y="262"/>
                  </a:lnTo>
                  <a:lnTo>
                    <a:pt x="488" y="256"/>
                  </a:lnTo>
                  <a:lnTo>
                    <a:pt x="498" y="246"/>
                  </a:lnTo>
                  <a:lnTo>
                    <a:pt x="502" y="246"/>
                  </a:lnTo>
                  <a:lnTo>
                    <a:pt x="504" y="242"/>
                  </a:lnTo>
                  <a:lnTo>
                    <a:pt x="510" y="238"/>
                  </a:lnTo>
                  <a:lnTo>
                    <a:pt x="510" y="234"/>
                  </a:lnTo>
                  <a:lnTo>
                    <a:pt x="512" y="232"/>
                  </a:lnTo>
                  <a:lnTo>
                    <a:pt x="518" y="218"/>
                  </a:lnTo>
                  <a:lnTo>
                    <a:pt x="520" y="216"/>
                  </a:lnTo>
                  <a:lnTo>
                    <a:pt x="520" y="212"/>
                  </a:lnTo>
                  <a:lnTo>
                    <a:pt x="520" y="208"/>
                  </a:lnTo>
                  <a:lnTo>
                    <a:pt x="520" y="204"/>
                  </a:lnTo>
                  <a:lnTo>
                    <a:pt x="520" y="198"/>
                  </a:lnTo>
                  <a:lnTo>
                    <a:pt x="518" y="196"/>
                  </a:lnTo>
                  <a:lnTo>
                    <a:pt x="518" y="192"/>
                  </a:lnTo>
                  <a:lnTo>
                    <a:pt x="518" y="186"/>
                  </a:lnTo>
                  <a:lnTo>
                    <a:pt x="516" y="182"/>
                  </a:lnTo>
                  <a:lnTo>
                    <a:pt x="512" y="180"/>
                  </a:lnTo>
                  <a:lnTo>
                    <a:pt x="512" y="176"/>
                  </a:lnTo>
                  <a:lnTo>
                    <a:pt x="510" y="176"/>
                  </a:lnTo>
                  <a:lnTo>
                    <a:pt x="508" y="166"/>
                  </a:lnTo>
                  <a:lnTo>
                    <a:pt x="506" y="164"/>
                  </a:lnTo>
                  <a:lnTo>
                    <a:pt x="502" y="162"/>
                  </a:lnTo>
                  <a:lnTo>
                    <a:pt x="498" y="162"/>
                  </a:lnTo>
                  <a:lnTo>
                    <a:pt x="496" y="164"/>
                  </a:lnTo>
                  <a:lnTo>
                    <a:pt x="496" y="160"/>
                  </a:lnTo>
                  <a:lnTo>
                    <a:pt x="494" y="158"/>
                  </a:lnTo>
                  <a:lnTo>
                    <a:pt x="490" y="158"/>
                  </a:lnTo>
                  <a:lnTo>
                    <a:pt x="488" y="158"/>
                  </a:lnTo>
                  <a:lnTo>
                    <a:pt x="486" y="162"/>
                  </a:lnTo>
                  <a:lnTo>
                    <a:pt x="486" y="160"/>
                  </a:lnTo>
                  <a:lnTo>
                    <a:pt x="486" y="158"/>
                  </a:lnTo>
                  <a:lnTo>
                    <a:pt x="482" y="158"/>
                  </a:lnTo>
                  <a:lnTo>
                    <a:pt x="482" y="156"/>
                  </a:lnTo>
                  <a:lnTo>
                    <a:pt x="476" y="148"/>
                  </a:lnTo>
                  <a:lnTo>
                    <a:pt x="474" y="148"/>
                  </a:lnTo>
                  <a:lnTo>
                    <a:pt x="466" y="142"/>
                  </a:lnTo>
                  <a:lnTo>
                    <a:pt x="462" y="136"/>
                  </a:lnTo>
                  <a:lnTo>
                    <a:pt x="454" y="134"/>
                  </a:lnTo>
                  <a:lnTo>
                    <a:pt x="450" y="130"/>
                  </a:lnTo>
                  <a:lnTo>
                    <a:pt x="442" y="130"/>
                  </a:lnTo>
                  <a:lnTo>
                    <a:pt x="436" y="130"/>
                  </a:lnTo>
                  <a:lnTo>
                    <a:pt x="426" y="126"/>
                  </a:lnTo>
                  <a:lnTo>
                    <a:pt x="422" y="126"/>
                  </a:lnTo>
                  <a:lnTo>
                    <a:pt x="418" y="128"/>
                  </a:lnTo>
                  <a:lnTo>
                    <a:pt x="416" y="124"/>
                  </a:lnTo>
                  <a:lnTo>
                    <a:pt x="412" y="120"/>
                  </a:lnTo>
                  <a:lnTo>
                    <a:pt x="408" y="120"/>
                  </a:lnTo>
                  <a:lnTo>
                    <a:pt x="406" y="122"/>
                  </a:lnTo>
                  <a:lnTo>
                    <a:pt x="402" y="120"/>
                  </a:lnTo>
                  <a:lnTo>
                    <a:pt x="400" y="126"/>
                  </a:lnTo>
                  <a:lnTo>
                    <a:pt x="400" y="128"/>
                  </a:lnTo>
                  <a:lnTo>
                    <a:pt x="396" y="130"/>
                  </a:lnTo>
                  <a:lnTo>
                    <a:pt x="394" y="128"/>
                  </a:lnTo>
                  <a:lnTo>
                    <a:pt x="394" y="126"/>
                  </a:lnTo>
                  <a:lnTo>
                    <a:pt x="396" y="122"/>
                  </a:lnTo>
                  <a:lnTo>
                    <a:pt x="392" y="120"/>
                  </a:lnTo>
                  <a:lnTo>
                    <a:pt x="394" y="118"/>
                  </a:lnTo>
                  <a:lnTo>
                    <a:pt x="392" y="114"/>
                  </a:lnTo>
                  <a:lnTo>
                    <a:pt x="392" y="112"/>
                  </a:lnTo>
                  <a:lnTo>
                    <a:pt x="390" y="112"/>
                  </a:lnTo>
                  <a:lnTo>
                    <a:pt x="388" y="112"/>
                  </a:lnTo>
                  <a:lnTo>
                    <a:pt x="388" y="110"/>
                  </a:lnTo>
                  <a:lnTo>
                    <a:pt x="390" y="108"/>
                  </a:lnTo>
                  <a:lnTo>
                    <a:pt x="388" y="106"/>
                  </a:lnTo>
                  <a:lnTo>
                    <a:pt x="388" y="104"/>
                  </a:lnTo>
                  <a:lnTo>
                    <a:pt x="382" y="104"/>
                  </a:lnTo>
                  <a:lnTo>
                    <a:pt x="378" y="108"/>
                  </a:lnTo>
                  <a:lnTo>
                    <a:pt x="380" y="102"/>
                  </a:lnTo>
                  <a:lnTo>
                    <a:pt x="372" y="100"/>
                  </a:lnTo>
                  <a:lnTo>
                    <a:pt x="372" y="96"/>
                  </a:lnTo>
                  <a:lnTo>
                    <a:pt x="370" y="96"/>
                  </a:lnTo>
                  <a:lnTo>
                    <a:pt x="368" y="100"/>
                  </a:lnTo>
                  <a:lnTo>
                    <a:pt x="364" y="96"/>
                  </a:lnTo>
                  <a:lnTo>
                    <a:pt x="362" y="94"/>
                  </a:lnTo>
                  <a:lnTo>
                    <a:pt x="358" y="92"/>
                  </a:lnTo>
                  <a:lnTo>
                    <a:pt x="352" y="92"/>
                  </a:lnTo>
                  <a:lnTo>
                    <a:pt x="346" y="94"/>
                  </a:lnTo>
                  <a:lnTo>
                    <a:pt x="340" y="100"/>
                  </a:lnTo>
                  <a:lnTo>
                    <a:pt x="342" y="102"/>
                  </a:lnTo>
                  <a:lnTo>
                    <a:pt x="338" y="102"/>
                  </a:lnTo>
                  <a:lnTo>
                    <a:pt x="334" y="108"/>
                  </a:lnTo>
                  <a:lnTo>
                    <a:pt x="334" y="110"/>
                  </a:lnTo>
                  <a:lnTo>
                    <a:pt x="332" y="110"/>
                  </a:lnTo>
                  <a:lnTo>
                    <a:pt x="330" y="110"/>
                  </a:lnTo>
                  <a:lnTo>
                    <a:pt x="332" y="108"/>
                  </a:lnTo>
                  <a:lnTo>
                    <a:pt x="324" y="110"/>
                  </a:lnTo>
                  <a:lnTo>
                    <a:pt x="314" y="110"/>
                  </a:lnTo>
                  <a:lnTo>
                    <a:pt x="310" y="104"/>
                  </a:lnTo>
                  <a:lnTo>
                    <a:pt x="316" y="108"/>
                  </a:lnTo>
                  <a:lnTo>
                    <a:pt x="322" y="106"/>
                  </a:lnTo>
                  <a:lnTo>
                    <a:pt x="330" y="108"/>
                  </a:lnTo>
                  <a:lnTo>
                    <a:pt x="330" y="106"/>
                  </a:lnTo>
                  <a:lnTo>
                    <a:pt x="334" y="104"/>
                  </a:lnTo>
                  <a:lnTo>
                    <a:pt x="334" y="102"/>
                  </a:lnTo>
                  <a:lnTo>
                    <a:pt x="338" y="102"/>
                  </a:lnTo>
                  <a:lnTo>
                    <a:pt x="338" y="100"/>
                  </a:lnTo>
                  <a:lnTo>
                    <a:pt x="338" y="96"/>
                  </a:lnTo>
                  <a:lnTo>
                    <a:pt x="340" y="96"/>
                  </a:lnTo>
                  <a:lnTo>
                    <a:pt x="340" y="94"/>
                  </a:lnTo>
                  <a:lnTo>
                    <a:pt x="340" y="90"/>
                  </a:lnTo>
                  <a:lnTo>
                    <a:pt x="340" y="88"/>
                  </a:lnTo>
                  <a:lnTo>
                    <a:pt x="340" y="86"/>
                  </a:lnTo>
                  <a:lnTo>
                    <a:pt x="340" y="84"/>
                  </a:lnTo>
                  <a:lnTo>
                    <a:pt x="340" y="82"/>
                  </a:lnTo>
                  <a:lnTo>
                    <a:pt x="330" y="82"/>
                  </a:lnTo>
                  <a:lnTo>
                    <a:pt x="332" y="80"/>
                  </a:lnTo>
                  <a:lnTo>
                    <a:pt x="330" y="78"/>
                  </a:lnTo>
                  <a:lnTo>
                    <a:pt x="330" y="76"/>
                  </a:lnTo>
                  <a:lnTo>
                    <a:pt x="326" y="78"/>
                  </a:lnTo>
                  <a:lnTo>
                    <a:pt x="322" y="80"/>
                  </a:lnTo>
                  <a:lnTo>
                    <a:pt x="320" y="84"/>
                  </a:lnTo>
                  <a:lnTo>
                    <a:pt x="316" y="84"/>
                  </a:lnTo>
                  <a:lnTo>
                    <a:pt x="314" y="86"/>
                  </a:lnTo>
                  <a:lnTo>
                    <a:pt x="312" y="92"/>
                  </a:lnTo>
                  <a:lnTo>
                    <a:pt x="310" y="92"/>
                  </a:lnTo>
                  <a:lnTo>
                    <a:pt x="308" y="94"/>
                  </a:lnTo>
                  <a:lnTo>
                    <a:pt x="308" y="100"/>
                  </a:lnTo>
                  <a:lnTo>
                    <a:pt x="310" y="102"/>
                  </a:lnTo>
                  <a:lnTo>
                    <a:pt x="308" y="100"/>
                  </a:lnTo>
                  <a:lnTo>
                    <a:pt x="306" y="96"/>
                  </a:lnTo>
                  <a:lnTo>
                    <a:pt x="302" y="100"/>
                  </a:lnTo>
                  <a:lnTo>
                    <a:pt x="298" y="100"/>
                  </a:lnTo>
                  <a:lnTo>
                    <a:pt x="298" y="106"/>
                  </a:lnTo>
                  <a:lnTo>
                    <a:pt x="298" y="112"/>
                  </a:lnTo>
                  <a:lnTo>
                    <a:pt x="296" y="118"/>
                  </a:lnTo>
                  <a:lnTo>
                    <a:pt x="296" y="112"/>
                  </a:lnTo>
                  <a:lnTo>
                    <a:pt x="296" y="106"/>
                  </a:lnTo>
                  <a:lnTo>
                    <a:pt x="296" y="102"/>
                  </a:lnTo>
                  <a:lnTo>
                    <a:pt x="296" y="100"/>
                  </a:lnTo>
                  <a:lnTo>
                    <a:pt x="290" y="100"/>
                  </a:lnTo>
                  <a:lnTo>
                    <a:pt x="286" y="102"/>
                  </a:lnTo>
                  <a:lnTo>
                    <a:pt x="282" y="104"/>
                  </a:lnTo>
                  <a:lnTo>
                    <a:pt x="276" y="104"/>
                  </a:lnTo>
                  <a:lnTo>
                    <a:pt x="282" y="100"/>
                  </a:lnTo>
                  <a:lnTo>
                    <a:pt x="290" y="100"/>
                  </a:lnTo>
                  <a:lnTo>
                    <a:pt x="294" y="100"/>
                  </a:lnTo>
                  <a:lnTo>
                    <a:pt x="294" y="96"/>
                  </a:lnTo>
                  <a:lnTo>
                    <a:pt x="296" y="92"/>
                  </a:lnTo>
                  <a:lnTo>
                    <a:pt x="298" y="88"/>
                  </a:lnTo>
                  <a:lnTo>
                    <a:pt x="300" y="84"/>
                  </a:lnTo>
                  <a:lnTo>
                    <a:pt x="300" y="80"/>
                  </a:lnTo>
                  <a:lnTo>
                    <a:pt x="306" y="76"/>
                  </a:lnTo>
                  <a:lnTo>
                    <a:pt x="308" y="74"/>
                  </a:lnTo>
                  <a:lnTo>
                    <a:pt x="310" y="72"/>
                  </a:lnTo>
                  <a:lnTo>
                    <a:pt x="310" y="74"/>
                  </a:lnTo>
                  <a:lnTo>
                    <a:pt x="310" y="80"/>
                  </a:lnTo>
                  <a:lnTo>
                    <a:pt x="316" y="80"/>
                  </a:lnTo>
                  <a:lnTo>
                    <a:pt x="318" y="80"/>
                  </a:lnTo>
                  <a:lnTo>
                    <a:pt x="320" y="78"/>
                  </a:lnTo>
                  <a:lnTo>
                    <a:pt x="318" y="76"/>
                  </a:lnTo>
                  <a:lnTo>
                    <a:pt x="318" y="70"/>
                  </a:lnTo>
                  <a:lnTo>
                    <a:pt x="320" y="72"/>
                  </a:lnTo>
                  <a:lnTo>
                    <a:pt x="322" y="62"/>
                  </a:lnTo>
                  <a:lnTo>
                    <a:pt x="318" y="62"/>
                  </a:lnTo>
                  <a:lnTo>
                    <a:pt x="314" y="66"/>
                  </a:lnTo>
                  <a:lnTo>
                    <a:pt x="316" y="66"/>
                  </a:lnTo>
                  <a:lnTo>
                    <a:pt x="316" y="68"/>
                  </a:lnTo>
                  <a:lnTo>
                    <a:pt x="312" y="68"/>
                  </a:lnTo>
                  <a:lnTo>
                    <a:pt x="316" y="62"/>
                  </a:lnTo>
                  <a:lnTo>
                    <a:pt x="316" y="60"/>
                  </a:lnTo>
                  <a:lnTo>
                    <a:pt x="312" y="58"/>
                  </a:lnTo>
                  <a:lnTo>
                    <a:pt x="318" y="54"/>
                  </a:lnTo>
                  <a:lnTo>
                    <a:pt x="320" y="48"/>
                  </a:lnTo>
                  <a:lnTo>
                    <a:pt x="310" y="48"/>
                  </a:lnTo>
                  <a:lnTo>
                    <a:pt x="312" y="42"/>
                  </a:lnTo>
                  <a:lnTo>
                    <a:pt x="310" y="38"/>
                  </a:lnTo>
                  <a:lnTo>
                    <a:pt x="308" y="36"/>
                  </a:lnTo>
                  <a:lnTo>
                    <a:pt x="308" y="30"/>
                  </a:lnTo>
                  <a:lnTo>
                    <a:pt x="308" y="26"/>
                  </a:lnTo>
                  <a:lnTo>
                    <a:pt x="302" y="16"/>
                  </a:lnTo>
                  <a:lnTo>
                    <a:pt x="302" y="12"/>
                  </a:lnTo>
                  <a:lnTo>
                    <a:pt x="298" y="10"/>
                  </a:lnTo>
                  <a:lnTo>
                    <a:pt x="294" y="22"/>
                  </a:lnTo>
                  <a:lnTo>
                    <a:pt x="290" y="30"/>
                  </a:lnTo>
                  <a:lnTo>
                    <a:pt x="288" y="42"/>
                  </a:lnTo>
                  <a:lnTo>
                    <a:pt x="284" y="50"/>
                  </a:lnTo>
                  <a:lnTo>
                    <a:pt x="280" y="54"/>
                  </a:lnTo>
                  <a:lnTo>
                    <a:pt x="276" y="50"/>
                  </a:lnTo>
                  <a:lnTo>
                    <a:pt x="270" y="52"/>
                  </a:lnTo>
                  <a:lnTo>
                    <a:pt x="266" y="54"/>
                  </a:lnTo>
                  <a:lnTo>
                    <a:pt x="264" y="54"/>
                  </a:lnTo>
                  <a:lnTo>
                    <a:pt x="262" y="54"/>
                  </a:lnTo>
                  <a:lnTo>
                    <a:pt x="258" y="50"/>
                  </a:lnTo>
                  <a:lnTo>
                    <a:pt x="258" y="46"/>
                  </a:lnTo>
                  <a:lnTo>
                    <a:pt x="252" y="46"/>
                  </a:lnTo>
                  <a:lnTo>
                    <a:pt x="250" y="44"/>
                  </a:lnTo>
                  <a:lnTo>
                    <a:pt x="246" y="46"/>
                  </a:lnTo>
                  <a:lnTo>
                    <a:pt x="236" y="42"/>
                  </a:lnTo>
                  <a:lnTo>
                    <a:pt x="234" y="50"/>
                  </a:lnTo>
                  <a:lnTo>
                    <a:pt x="238" y="54"/>
                  </a:lnTo>
                  <a:lnTo>
                    <a:pt x="236" y="60"/>
                  </a:lnTo>
                  <a:lnTo>
                    <a:pt x="226" y="56"/>
                  </a:lnTo>
                  <a:lnTo>
                    <a:pt x="220" y="58"/>
                  </a:lnTo>
                  <a:lnTo>
                    <a:pt x="218" y="58"/>
                  </a:lnTo>
                  <a:lnTo>
                    <a:pt x="216" y="56"/>
                  </a:lnTo>
                  <a:lnTo>
                    <a:pt x="214" y="56"/>
                  </a:lnTo>
                  <a:lnTo>
                    <a:pt x="212" y="58"/>
                  </a:lnTo>
                  <a:lnTo>
                    <a:pt x="210" y="60"/>
                  </a:lnTo>
                  <a:lnTo>
                    <a:pt x="208" y="60"/>
                  </a:lnTo>
                  <a:lnTo>
                    <a:pt x="208" y="62"/>
                  </a:lnTo>
                  <a:lnTo>
                    <a:pt x="208" y="64"/>
                  </a:lnTo>
                  <a:lnTo>
                    <a:pt x="206" y="64"/>
                  </a:lnTo>
                  <a:lnTo>
                    <a:pt x="204" y="64"/>
                  </a:lnTo>
                  <a:lnTo>
                    <a:pt x="202" y="66"/>
                  </a:lnTo>
                  <a:lnTo>
                    <a:pt x="200" y="68"/>
                  </a:lnTo>
                  <a:lnTo>
                    <a:pt x="196" y="68"/>
                  </a:lnTo>
                  <a:lnTo>
                    <a:pt x="194" y="64"/>
                  </a:lnTo>
                  <a:lnTo>
                    <a:pt x="194" y="62"/>
                  </a:lnTo>
                  <a:lnTo>
                    <a:pt x="192" y="62"/>
                  </a:lnTo>
                  <a:lnTo>
                    <a:pt x="188" y="58"/>
                  </a:lnTo>
                  <a:lnTo>
                    <a:pt x="186" y="56"/>
                  </a:lnTo>
                  <a:lnTo>
                    <a:pt x="184" y="52"/>
                  </a:lnTo>
                  <a:lnTo>
                    <a:pt x="184" y="50"/>
                  </a:lnTo>
                  <a:lnTo>
                    <a:pt x="186" y="40"/>
                  </a:lnTo>
                  <a:lnTo>
                    <a:pt x="186" y="32"/>
                  </a:lnTo>
                  <a:lnTo>
                    <a:pt x="192" y="26"/>
                  </a:lnTo>
                  <a:lnTo>
                    <a:pt x="194" y="22"/>
                  </a:lnTo>
                  <a:lnTo>
                    <a:pt x="192" y="20"/>
                  </a:lnTo>
                  <a:lnTo>
                    <a:pt x="192" y="18"/>
                  </a:lnTo>
                  <a:lnTo>
                    <a:pt x="192" y="16"/>
                  </a:lnTo>
                  <a:lnTo>
                    <a:pt x="194" y="14"/>
                  </a:lnTo>
                  <a:lnTo>
                    <a:pt x="192" y="14"/>
                  </a:lnTo>
                  <a:lnTo>
                    <a:pt x="186" y="10"/>
                  </a:lnTo>
                  <a:lnTo>
                    <a:pt x="190" y="6"/>
                  </a:lnTo>
                  <a:lnTo>
                    <a:pt x="190" y="4"/>
                  </a:lnTo>
                  <a:lnTo>
                    <a:pt x="188" y="2"/>
                  </a:lnTo>
                  <a:lnTo>
                    <a:pt x="186" y="2"/>
                  </a:lnTo>
                  <a:lnTo>
                    <a:pt x="180" y="2"/>
                  </a:lnTo>
                  <a:lnTo>
                    <a:pt x="176" y="0"/>
                  </a:lnTo>
                  <a:lnTo>
                    <a:pt x="176" y="4"/>
                  </a:lnTo>
                  <a:lnTo>
                    <a:pt x="176" y="10"/>
                  </a:lnTo>
                  <a:lnTo>
                    <a:pt x="168" y="10"/>
                  </a:lnTo>
                  <a:lnTo>
                    <a:pt x="168" y="12"/>
                  </a:lnTo>
                  <a:lnTo>
                    <a:pt x="166" y="12"/>
                  </a:lnTo>
                  <a:lnTo>
                    <a:pt x="164" y="14"/>
                  </a:lnTo>
                  <a:lnTo>
                    <a:pt x="164" y="16"/>
                  </a:lnTo>
                  <a:lnTo>
                    <a:pt x="160" y="18"/>
                  </a:lnTo>
                  <a:lnTo>
                    <a:pt x="160" y="20"/>
                  </a:lnTo>
                  <a:lnTo>
                    <a:pt x="158" y="20"/>
                  </a:lnTo>
                  <a:lnTo>
                    <a:pt x="152" y="18"/>
                  </a:lnTo>
                  <a:lnTo>
                    <a:pt x="150" y="18"/>
                  </a:lnTo>
                  <a:lnTo>
                    <a:pt x="148" y="20"/>
                  </a:lnTo>
                  <a:lnTo>
                    <a:pt x="146" y="22"/>
                  </a:lnTo>
                  <a:lnTo>
                    <a:pt x="148" y="24"/>
                  </a:lnTo>
                  <a:lnTo>
                    <a:pt x="146" y="24"/>
                  </a:lnTo>
                  <a:lnTo>
                    <a:pt x="140" y="22"/>
                  </a:lnTo>
                  <a:lnTo>
                    <a:pt x="136" y="20"/>
                  </a:lnTo>
                  <a:lnTo>
                    <a:pt x="132" y="20"/>
                  </a:lnTo>
                  <a:lnTo>
                    <a:pt x="128" y="20"/>
                  </a:lnTo>
                  <a:lnTo>
                    <a:pt x="122" y="18"/>
                  </a:lnTo>
                  <a:lnTo>
                    <a:pt x="118" y="18"/>
                  </a:lnTo>
                  <a:lnTo>
                    <a:pt x="120" y="20"/>
                  </a:lnTo>
                  <a:lnTo>
                    <a:pt x="122" y="20"/>
                  </a:lnTo>
                  <a:lnTo>
                    <a:pt x="122" y="22"/>
                  </a:lnTo>
                  <a:lnTo>
                    <a:pt x="124" y="26"/>
                  </a:lnTo>
                  <a:lnTo>
                    <a:pt x="126" y="34"/>
                  </a:lnTo>
                  <a:lnTo>
                    <a:pt x="126" y="40"/>
                  </a:lnTo>
                  <a:lnTo>
                    <a:pt x="126" y="44"/>
                  </a:lnTo>
                  <a:lnTo>
                    <a:pt x="128" y="46"/>
                  </a:lnTo>
                  <a:lnTo>
                    <a:pt x="130" y="48"/>
                  </a:lnTo>
                  <a:lnTo>
                    <a:pt x="134" y="48"/>
                  </a:lnTo>
                  <a:lnTo>
                    <a:pt x="140" y="46"/>
                  </a:lnTo>
                  <a:lnTo>
                    <a:pt x="142" y="48"/>
                  </a:lnTo>
                  <a:lnTo>
                    <a:pt x="144" y="48"/>
                  </a:lnTo>
                  <a:lnTo>
                    <a:pt x="146" y="52"/>
                  </a:lnTo>
                  <a:lnTo>
                    <a:pt x="144" y="52"/>
                  </a:lnTo>
                  <a:lnTo>
                    <a:pt x="140" y="54"/>
                  </a:lnTo>
                  <a:lnTo>
                    <a:pt x="138" y="54"/>
                  </a:lnTo>
                  <a:lnTo>
                    <a:pt x="136" y="58"/>
                  </a:lnTo>
                  <a:lnTo>
                    <a:pt x="134" y="60"/>
                  </a:lnTo>
                  <a:lnTo>
                    <a:pt x="132" y="62"/>
                  </a:lnTo>
                  <a:lnTo>
                    <a:pt x="130" y="64"/>
                  </a:lnTo>
                  <a:lnTo>
                    <a:pt x="126" y="66"/>
                  </a:lnTo>
                  <a:lnTo>
                    <a:pt x="124" y="66"/>
                  </a:lnTo>
                  <a:lnTo>
                    <a:pt x="122" y="68"/>
                  </a:lnTo>
                  <a:lnTo>
                    <a:pt x="120" y="70"/>
                  </a:lnTo>
                  <a:lnTo>
                    <a:pt x="118" y="72"/>
                  </a:lnTo>
                  <a:lnTo>
                    <a:pt x="112" y="74"/>
                  </a:lnTo>
                  <a:lnTo>
                    <a:pt x="110" y="76"/>
                  </a:lnTo>
                  <a:lnTo>
                    <a:pt x="102" y="70"/>
                  </a:lnTo>
                  <a:lnTo>
                    <a:pt x="98" y="70"/>
                  </a:lnTo>
                  <a:lnTo>
                    <a:pt x="98" y="64"/>
                  </a:lnTo>
                  <a:lnTo>
                    <a:pt x="92" y="62"/>
                  </a:lnTo>
                  <a:lnTo>
                    <a:pt x="92" y="70"/>
                  </a:lnTo>
                  <a:lnTo>
                    <a:pt x="88" y="70"/>
                  </a:lnTo>
                  <a:lnTo>
                    <a:pt x="84" y="68"/>
                  </a:lnTo>
                  <a:lnTo>
                    <a:pt x="84" y="72"/>
                  </a:lnTo>
                  <a:lnTo>
                    <a:pt x="70" y="72"/>
                  </a:lnTo>
                  <a:lnTo>
                    <a:pt x="64" y="72"/>
                  </a:lnTo>
                  <a:lnTo>
                    <a:pt x="62" y="70"/>
                  </a:lnTo>
                  <a:lnTo>
                    <a:pt x="60" y="76"/>
                  </a:lnTo>
                  <a:lnTo>
                    <a:pt x="68" y="78"/>
                  </a:lnTo>
                  <a:lnTo>
                    <a:pt x="66" y="80"/>
                  </a:lnTo>
                  <a:lnTo>
                    <a:pt x="58" y="80"/>
                  </a:lnTo>
                  <a:lnTo>
                    <a:pt x="58" y="86"/>
                  </a:lnTo>
                  <a:lnTo>
                    <a:pt x="62" y="88"/>
                  </a:lnTo>
                  <a:lnTo>
                    <a:pt x="68" y="100"/>
                  </a:lnTo>
                  <a:lnTo>
                    <a:pt x="68" y="102"/>
                  </a:lnTo>
                  <a:lnTo>
                    <a:pt x="66" y="106"/>
                  </a:lnTo>
                  <a:lnTo>
                    <a:pt x="64" y="112"/>
                  </a:lnTo>
                  <a:lnTo>
                    <a:pt x="50" y="150"/>
                  </a:lnTo>
                  <a:lnTo>
                    <a:pt x="50" y="152"/>
                  </a:lnTo>
                  <a:lnTo>
                    <a:pt x="48" y="154"/>
                  </a:lnTo>
                  <a:lnTo>
                    <a:pt x="46" y="154"/>
                  </a:lnTo>
                  <a:lnTo>
                    <a:pt x="36" y="156"/>
                  </a:lnTo>
                  <a:lnTo>
                    <a:pt x="32" y="158"/>
                  </a:lnTo>
                  <a:lnTo>
                    <a:pt x="26" y="158"/>
                  </a:lnTo>
                  <a:lnTo>
                    <a:pt x="18" y="164"/>
                  </a:lnTo>
                  <a:lnTo>
                    <a:pt x="14" y="168"/>
                  </a:lnTo>
                  <a:lnTo>
                    <a:pt x="12" y="174"/>
                  </a:lnTo>
                  <a:lnTo>
                    <a:pt x="10" y="180"/>
                  </a:lnTo>
                  <a:lnTo>
                    <a:pt x="8" y="184"/>
                  </a:lnTo>
                  <a:lnTo>
                    <a:pt x="6" y="188"/>
                  </a:lnTo>
                  <a:lnTo>
                    <a:pt x="6" y="196"/>
                  </a:lnTo>
                  <a:lnTo>
                    <a:pt x="4" y="194"/>
                  </a:lnTo>
                  <a:lnTo>
                    <a:pt x="2" y="194"/>
                  </a:lnTo>
                  <a:lnTo>
                    <a:pt x="0" y="196"/>
                  </a:lnTo>
                  <a:lnTo>
                    <a:pt x="2" y="200"/>
                  </a:lnTo>
                  <a:lnTo>
                    <a:pt x="2" y="204"/>
                  </a:lnTo>
                  <a:lnTo>
                    <a:pt x="4" y="204"/>
                  </a:lnTo>
                  <a:lnTo>
                    <a:pt x="4" y="206"/>
                  </a:lnTo>
                  <a:lnTo>
                    <a:pt x="6" y="208"/>
                  </a:lnTo>
                  <a:lnTo>
                    <a:pt x="6" y="212"/>
                  </a:lnTo>
                  <a:lnTo>
                    <a:pt x="4" y="216"/>
                  </a:lnTo>
                  <a:lnTo>
                    <a:pt x="6" y="218"/>
                  </a:lnTo>
                  <a:lnTo>
                    <a:pt x="10" y="220"/>
                  </a:lnTo>
                  <a:lnTo>
                    <a:pt x="12" y="222"/>
                  </a:lnTo>
                  <a:lnTo>
                    <a:pt x="14" y="226"/>
                  </a:lnTo>
                  <a:lnTo>
                    <a:pt x="16" y="228"/>
                  </a:lnTo>
                  <a:lnTo>
                    <a:pt x="20" y="230"/>
                  </a:lnTo>
                  <a:lnTo>
                    <a:pt x="20" y="232"/>
                  </a:lnTo>
                  <a:lnTo>
                    <a:pt x="22" y="236"/>
                  </a:lnTo>
                  <a:lnTo>
                    <a:pt x="24" y="238"/>
                  </a:lnTo>
                  <a:lnTo>
                    <a:pt x="34" y="238"/>
                  </a:lnTo>
                  <a:lnTo>
                    <a:pt x="44" y="232"/>
                  </a:lnTo>
                  <a:lnTo>
                    <a:pt x="46" y="230"/>
                  </a:lnTo>
                  <a:lnTo>
                    <a:pt x="46" y="232"/>
                  </a:lnTo>
                  <a:lnTo>
                    <a:pt x="46" y="234"/>
                  </a:lnTo>
                  <a:lnTo>
                    <a:pt x="44" y="272"/>
                  </a:lnTo>
                  <a:lnTo>
                    <a:pt x="58" y="278"/>
                  </a:lnTo>
                  <a:lnTo>
                    <a:pt x="60" y="278"/>
                  </a:lnTo>
                  <a:lnTo>
                    <a:pt x="64" y="278"/>
                  </a:lnTo>
                  <a:lnTo>
                    <a:pt x="68" y="280"/>
                  </a:lnTo>
                  <a:lnTo>
                    <a:pt x="70" y="278"/>
                  </a:lnTo>
                  <a:lnTo>
                    <a:pt x="72" y="278"/>
                  </a:lnTo>
                  <a:lnTo>
                    <a:pt x="72" y="276"/>
                  </a:lnTo>
                  <a:lnTo>
                    <a:pt x="72" y="274"/>
                  </a:lnTo>
                  <a:lnTo>
                    <a:pt x="74" y="272"/>
                  </a:lnTo>
                  <a:lnTo>
                    <a:pt x="80" y="272"/>
                  </a:lnTo>
                  <a:lnTo>
                    <a:pt x="84" y="264"/>
                  </a:lnTo>
                  <a:lnTo>
                    <a:pt x="88" y="260"/>
                  </a:lnTo>
                  <a:lnTo>
                    <a:pt x="92" y="256"/>
                  </a:lnTo>
                  <a:lnTo>
                    <a:pt x="100" y="254"/>
                  </a:lnTo>
                  <a:lnTo>
                    <a:pt x="108" y="252"/>
                  </a:lnTo>
                  <a:lnTo>
                    <a:pt x="114" y="252"/>
                  </a:lnTo>
                  <a:lnTo>
                    <a:pt x="116" y="256"/>
                  </a:lnTo>
                  <a:lnTo>
                    <a:pt x="114" y="262"/>
                  </a:lnTo>
                  <a:lnTo>
                    <a:pt x="112" y="266"/>
                  </a:lnTo>
                  <a:lnTo>
                    <a:pt x="112" y="270"/>
                  </a:lnTo>
                  <a:lnTo>
                    <a:pt x="114" y="272"/>
                  </a:lnTo>
                  <a:lnTo>
                    <a:pt x="118" y="276"/>
                  </a:lnTo>
                  <a:lnTo>
                    <a:pt x="124" y="278"/>
                  </a:lnTo>
                  <a:lnTo>
                    <a:pt x="126" y="278"/>
                  </a:lnTo>
                  <a:lnTo>
                    <a:pt x="128" y="276"/>
                  </a:lnTo>
                  <a:lnTo>
                    <a:pt x="130" y="276"/>
                  </a:lnTo>
                  <a:lnTo>
                    <a:pt x="134" y="278"/>
                  </a:lnTo>
                  <a:lnTo>
                    <a:pt x="138" y="282"/>
                  </a:lnTo>
                  <a:lnTo>
                    <a:pt x="144" y="286"/>
                  </a:lnTo>
                  <a:lnTo>
                    <a:pt x="148" y="290"/>
                  </a:lnTo>
                  <a:lnTo>
                    <a:pt x="150" y="292"/>
                  </a:lnTo>
                  <a:lnTo>
                    <a:pt x="154" y="296"/>
                  </a:lnTo>
                  <a:lnTo>
                    <a:pt x="156" y="298"/>
                  </a:lnTo>
                  <a:lnTo>
                    <a:pt x="158" y="298"/>
                  </a:lnTo>
                  <a:lnTo>
                    <a:pt x="164" y="300"/>
                  </a:lnTo>
                  <a:lnTo>
                    <a:pt x="168" y="300"/>
                  </a:lnTo>
                  <a:lnTo>
                    <a:pt x="174" y="300"/>
                  </a:lnTo>
                  <a:lnTo>
                    <a:pt x="176" y="300"/>
                  </a:lnTo>
                  <a:lnTo>
                    <a:pt x="178" y="300"/>
                  </a:lnTo>
                  <a:lnTo>
                    <a:pt x="180" y="306"/>
                  </a:lnTo>
                  <a:lnTo>
                    <a:pt x="182" y="312"/>
                  </a:lnTo>
                  <a:lnTo>
                    <a:pt x="186" y="322"/>
                  </a:lnTo>
                  <a:lnTo>
                    <a:pt x="180" y="328"/>
                  </a:lnTo>
                  <a:lnTo>
                    <a:pt x="180" y="332"/>
                  </a:lnTo>
                  <a:lnTo>
                    <a:pt x="182" y="336"/>
                  </a:lnTo>
                  <a:lnTo>
                    <a:pt x="184" y="342"/>
                  </a:lnTo>
                  <a:lnTo>
                    <a:pt x="186" y="344"/>
                  </a:lnTo>
                  <a:lnTo>
                    <a:pt x="206" y="344"/>
                  </a:lnTo>
                  <a:lnTo>
                    <a:pt x="204" y="346"/>
                  </a:lnTo>
                  <a:lnTo>
                    <a:pt x="204" y="352"/>
                  </a:lnTo>
                  <a:lnTo>
                    <a:pt x="206" y="358"/>
                  </a:lnTo>
                  <a:lnTo>
                    <a:pt x="210" y="362"/>
                  </a:lnTo>
                  <a:lnTo>
                    <a:pt x="214" y="366"/>
                  </a:lnTo>
                  <a:lnTo>
                    <a:pt x="216" y="370"/>
                  </a:lnTo>
                  <a:lnTo>
                    <a:pt x="216" y="374"/>
                  </a:lnTo>
                  <a:lnTo>
                    <a:pt x="216" y="378"/>
                  </a:lnTo>
                  <a:lnTo>
                    <a:pt x="214" y="388"/>
                  </a:lnTo>
                  <a:lnTo>
                    <a:pt x="212" y="394"/>
                  </a:lnTo>
                  <a:lnTo>
                    <a:pt x="214" y="398"/>
                  </a:lnTo>
                  <a:lnTo>
                    <a:pt x="210" y="400"/>
                  </a:lnTo>
                  <a:lnTo>
                    <a:pt x="212" y="402"/>
                  </a:lnTo>
                  <a:lnTo>
                    <a:pt x="216" y="408"/>
                  </a:lnTo>
                  <a:lnTo>
                    <a:pt x="218" y="414"/>
                  </a:lnTo>
                  <a:lnTo>
                    <a:pt x="216" y="422"/>
                  </a:lnTo>
                  <a:lnTo>
                    <a:pt x="216" y="424"/>
                  </a:lnTo>
                  <a:lnTo>
                    <a:pt x="218" y="428"/>
                  </a:lnTo>
                  <a:lnTo>
                    <a:pt x="218" y="432"/>
                  </a:lnTo>
                  <a:lnTo>
                    <a:pt x="218" y="434"/>
                  </a:lnTo>
                  <a:lnTo>
                    <a:pt x="224" y="436"/>
                  </a:lnTo>
                  <a:lnTo>
                    <a:pt x="232" y="436"/>
                  </a:lnTo>
                  <a:lnTo>
                    <a:pt x="236" y="434"/>
                  </a:lnTo>
                  <a:lnTo>
                    <a:pt x="238" y="438"/>
                  </a:lnTo>
                  <a:lnTo>
                    <a:pt x="238" y="440"/>
                  </a:lnTo>
                  <a:lnTo>
                    <a:pt x="240" y="442"/>
                  </a:lnTo>
                  <a:lnTo>
                    <a:pt x="242" y="442"/>
                  </a:lnTo>
                  <a:lnTo>
                    <a:pt x="246" y="444"/>
                  </a:lnTo>
                  <a:lnTo>
                    <a:pt x="248" y="446"/>
                  </a:lnTo>
                  <a:lnTo>
                    <a:pt x="248" y="448"/>
                  </a:lnTo>
                  <a:lnTo>
                    <a:pt x="248" y="462"/>
                  </a:lnTo>
                  <a:lnTo>
                    <a:pt x="250" y="468"/>
                  </a:lnTo>
                  <a:lnTo>
                    <a:pt x="250" y="470"/>
                  </a:lnTo>
                  <a:lnTo>
                    <a:pt x="252" y="470"/>
                  </a:lnTo>
                  <a:lnTo>
                    <a:pt x="256" y="468"/>
                  </a:lnTo>
                  <a:lnTo>
                    <a:pt x="258" y="468"/>
                  </a:lnTo>
                  <a:lnTo>
                    <a:pt x="260" y="468"/>
                  </a:lnTo>
                  <a:lnTo>
                    <a:pt x="258" y="474"/>
                  </a:lnTo>
                  <a:lnTo>
                    <a:pt x="258" y="482"/>
                  </a:lnTo>
                  <a:lnTo>
                    <a:pt x="256" y="490"/>
                  </a:lnTo>
                  <a:lnTo>
                    <a:pt x="256" y="498"/>
                  </a:lnTo>
                  <a:lnTo>
                    <a:pt x="260" y="500"/>
                  </a:lnTo>
                  <a:lnTo>
                    <a:pt x="262" y="500"/>
                  </a:lnTo>
                  <a:lnTo>
                    <a:pt x="262" y="498"/>
                  </a:lnTo>
                  <a:lnTo>
                    <a:pt x="264" y="498"/>
                  </a:lnTo>
                  <a:lnTo>
                    <a:pt x="268" y="498"/>
                  </a:lnTo>
                  <a:lnTo>
                    <a:pt x="268" y="508"/>
                  </a:lnTo>
                  <a:lnTo>
                    <a:pt x="268" y="522"/>
                  </a:lnTo>
                  <a:lnTo>
                    <a:pt x="268" y="524"/>
                  </a:lnTo>
                  <a:lnTo>
                    <a:pt x="264" y="528"/>
                  </a:lnTo>
                  <a:lnTo>
                    <a:pt x="262" y="528"/>
                  </a:lnTo>
                  <a:lnTo>
                    <a:pt x="258" y="530"/>
                  </a:lnTo>
                  <a:lnTo>
                    <a:pt x="254" y="530"/>
                  </a:lnTo>
                  <a:lnTo>
                    <a:pt x="252" y="532"/>
                  </a:lnTo>
                  <a:lnTo>
                    <a:pt x="250" y="538"/>
                  </a:lnTo>
                  <a:lnTo>
                    <a:pt x="246" y="542"/>
                  </a:lnTo>
                  <a:lnTo>
                    <a:pt x="242" y="544"/>
                  </a:lnTo>
                  <a:lnTo>
                    <a:pt x="240" y="548"/>
                  </a:lnTo>
                  <a:lnTo>
                    <a:pt x="238" y="550"/>
                  </a:lnTo>
                  <a:lnTo>
                    <a:pt x="234" y="550"/>
                  </a:lnTo>
                  <a:lnTo>
                    <a:pt x="232" y="552"/>
                  </a:lnTo>
                  <a:lnTo>
                    <a:pt x="230" y="554"/>
                  </a:lnTo>
                  <a:lnTo>
                    <a:pt x="230" y="560"/>
                  </a:lnTo>
                  <a:lnTo>
                    <a:pt x="226" y="564"/>
                  </a:lnTo>
                  <a:lnTo>
                    <a:pt x="222" y="566"/>
                  </a:lnTo>
                  <a:lnTo>
                    <a:pt x="220" y="570"/>
                  </a:lnTo>
                  <a:lnTo>
                    <a:pt x="218" y="580"/>
                  </a:lnTo>
                  <a:lnTo>
                    <a:pt x="228" y="576"/>
                  </a:lnTo>
                  <a:lnTo>
                    <a:pt x="238" y="584"/>
                  </a:lnTo>
                  <a:lnTo>
                    <a:pt x="242" y="592"/>
                  </a:lnTo>
                  <a:lnTo>
                    <a:pt x="244" y="594"/>
                  </a:lnTo>
                  <a:lnTo>
                    <a:pt x="246" y="594"/>
                  </a:lnTo>
                  <a:lnTo>
                    <a:pt x="248" y="594"/>
                  </a:lnTo>
                  <a:lnTo>
                    <a:pt x="250" y="596"/>
                  </a:lnTo>
                  <a:lnTo>
                    <a:pt x="254" y="600"/>
                  </a:lnTo>
                  <a:lnTo>
                    <a:pt x="258" y="604"/>
                  </a:lnTo>
                  <a:lnTo>
                    <a:pt x="264" y="606"/>
                  </a:lnTo>
                  <a:lnTo>
                    <a:pt x="266" y="608"/>
                  </a:lnTo>
                  <a:lnTo>
                    <a:pt x="268" y="610"/>
                  </a:lnTo>
                  <a:lnTo>
                    <a:pt x="270" y="614"/>
                  </a:lnTo>
                  <a:lnTo>
                    <a:pt x="274" y="618"/>
                  </a:lnTo>
                  <a:lnTo>
                    <a:pt x="278" y="620"/>
                  </a:lnTo>
                  <a:lnTo>
                    <a:pt x="278" y="620"/>
                  </a:lnTo>
                  <a:lnTo>
                    <a:pt x="274" y="630"/>
                  </a:lnTo>
                  <a:lnTo>
                    <a:pt x="274" y="634"/>
                  </a:lnTo>
                  <a:lnTo>
                    <a:pt x="278" y="628"/>
                  </a:lnTo>
                  <a:lnTo>
                    <a:pt x="282" y="624"/>
                  </a:lnTo>
                  <a:lnTo>
                    <a:pt x="280" y="620"/>
                  </a:lnTo>
                  <a:lnTo>
                    <a:pt x="278" y="616"/>
                  </a:lnTo>
                  <a:lnTo>
                    <a:pt x="284" y="610"/>
                  </a:lnTo>
                  <a:lnTo>
                    <a:pt x="288" y="604"/>
                  </a:lnTo>
                  <a:lnTo>
                    <a:pt x="288" y="600"/>
                  </a:lnTo>
                  <a:lnTo>
                    <a:pt x="290" y="598"/>
                  </a:lnTo>
                  <a:lnTo>
                    <a:pt x="294" y="598"/>
                  </a:lnTo>
                  <a:lnTo>
                    <a:pt x="294" y="596"/>
                  </a:lnTo>
                  <a:lnTo>
                    <a:pt x="296" y="594"/>
                  </a:lnTo>
                  <a:lnTo>
                    <a:pt x="298" y="590"/>
                  </a:lnTo>
                  <a:lnTo>
                    <a:pt x="298" y="582"/>
                  </a:lnTo>
                  <a:lnTo>
                    <a:pt x="302" y="584"/>
                  </a:lnTo>
                  <a:lnTo>
                    <a:pt x="302" y="586"/>
                  </a:lnTo>
                  <a:lnTo>
                    <a:pt x="306" y="586"/>
                  </a:lnTo>
                  <a:lnTo>
                    <a:pt x="306" y="584"/>
                  </a:lnTo>
                  <a:lnTo>
                    <a:pt x="308" y="584"/>
                  </a:lnTo>
                  <a:lnTo>
                    <a:pt x="308" y="588"/>
                  </a:lnTo>
                  <a:lnTo>
                    <a:pt x="306" y="594"/>
                  </a:lnTo>
                  <a:lnTo>
                    <a:pt x="304" y="600"/>
                  </a:lnTo>
                  <a:lnTo>
                    <a:pt x="302" y="602"/>
                  </a:lnTo>
                  <a:lnTo>
                    <a:pt x="302" y="606"/>
                  </a:lnTo>
                  <a:lnTo>
                    <a:pt x="304" y="604"/>
                  </a:lnTo>
                  <a:lnTo>
                    <a:pt x="308" y="598"/>
                  </a:lnTo>
                  <a:lnTo>
                    <a:pt x="314" y="582"/>
                  </a:lnTo>
                  <a:lnTo>
                    <a:pt x="316" y="574"/>
                  </a:lnTo>
                  <a:lnTo>
                    <a:pt x="320" y="566"/>
                  </a:lnTo>
                  <a:lnTo>
                    <a:pt x="328" y="558"/>
                  </a:lnTo>
                  <a:lnTo>
                    <a:pt x="330" y="558"/>
                  </a:lnTo>
                  <a:lnTo>
                    <a:pt x="332" y="558"/>
                  </a:lnTo>
                  <a:lnTo>
                    <a:pt x="332" y="554"/>
                  </a:lnTo>
                  <a:lnTo>
                    <a:pt x="332" y="552"/>
                  </a:lnTo>
                  <a:lnTo>
                    <a:pt x="334" y="550"/>
                  </a:lnTo>
                  <a:lnTo>
                    <a:pt x="334" y="546"/>
                  </a:lnTo>
                  <a:lnTo>
                    <a:pt x="334" y="542"/>
                  </a:lnTo>
                  <a:lnTo>
                    <a:pt x="334" y="530"/>
                  </a:lnTo>
                  <a:lnTo>
                    <a:pt x="332" y="528"/>
                  </a:lnTo>
                  <a:lnTo>
                    <a:pt x="332" y="526"/>
                  </a:lnTo>
                  <a:lnTo>
                    <a:pt x="332" y="524"/>
                  </a:lnTo>
                  <a:lnTo>
                    <a:pt x="330" y="524"/>
                  </a:lnTo>
                  <a:lnTo>
                    <a:pt x="330" y="520"/>
                  </a:lnTo>
                  <a:lnTo>
                    <a:pt x="332" y="520"/>
                  </a:lnTo>
                  <a:lnTo>
                    <a:pt x="332" y="518"/>
                  </a:lnTo>
                  <a:lnTo>
                    <a:pt x="332" y="510"/>
                  </a:lnTo>
                  <a:lnTo>
                    <a:pt x="330" y="510"/>
                  </a:lnTo>
                  <a:lnTo>
                    <a:pt x="330" y="508"/>
                  </a:lnTo>
                  <a:lnTo>
                    <a:pt x="332" y="506"/>
                  </a:lnTo>
                  <a:lnTo>
                    <a:pt x="332" y="502"/>
                  </a:lnTo>
                  <a:lnTo>
                    <a:pt x="332" y="500"/>
                  </a:lnTo>
                  <a:lnTo>
                    <a:pt x="332" y="50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8" name="Freeform 472">
              <a:extLst>
                <a:ext uri="{FF2B5EF4-FFF2-40B4-BE49-F238E27FC236}">
                  <a16:creationId xmlns:a16="http://schemas.microsoft.com/office/drawing/2014/main" id="{F29448DF-9CBB-47DF-B43E-8A09575D05D1}"/>
                </a:ext>
              </a:extLst>
            </p:cNvPr>
            <p:cNvSpPr>
              <a:spLocks noEditPoints="1"/>
            </p:cNvSpPr>
            <p:nvPr/>
          </p:nvSpPr>
          <p:spPr bwMode="auto">
            <a:xfrm>
              <a:off x="4927140" y="4995699"/>
              <a:ext cx="670709" cy="714732"/>
            </a:xfrm>
            <a:custGeom>
              <a:avLst/>
              <a:gdLst/>
              <a:ahLst/>
              <a:cxnLst>
                <a:cxn ang="0">
                  <a:pos x="392" y="464"/>
                </a:cxn>
                <a:cxn ang="0">
                  <a:pos x="410" y="448"/>
                </a:cxn>
                <a:cxn ang="0">
                  <a:pos x="420" y="462"/>
                </a:cxn>
                <a:cxn ang="0">
                  <a:pos x="438" y="458"/>
                </a:cxn>
                <a:cxn ang="0">
                  <a:pos x="470" y="438"/>
                </a:cxn>
                <a:cxn ang="0">
                  <a:pos x="482" y="398"/>
                </a:cxn>
                <a:cxn ang="0">
                  <a:pos x="494" y="360"/>
                </a:cxn>
                <a:cxn ang="0">
                  <a:pos x="510" y="322"/>
                </a:cxn>
                <a:cxn ang="0">
                  <a:pos x="518" y="282"/>
                </a:cxn>
                <a:cxn ang="0">
                  <a:pos x="508" y="234"/>
                </a:cxn>
                <a:cxn ang="0">
                  <a:pos x="484" y="202"/>
                </a:cxn>
                <a:cxn ang="0">
                  <a:pos x="468" y="174"/>
                </a:cxn>
                <a:cxn ang="0">
                  <a:pos x="452" y="138"/>
                </a:cxn>
                <a:cxn ang="0">
                  <a:pos x="428" y="112"/>
                </a:cxn>
                <a:cxn ang="0">
                  <a:pos x="412" y="62"/>
                </a:cxn>
                <a:cxn ang="0">
                  <a:pos x="388" y="24"/>
                </a:cxn>
                <a:cxn ang="0">
                  <a:pos x="372" y="6"/>
                </a:cxn>
                <a:cxn ang="0">
                  <a:pos x="370" y="66"/>
                </a:cxn>
                <a:cxn ang="0">
                  <a:pos x="352" y="108"/>
                </a:cxn>
                <a:cxn ang="0">
                  <a:pos x="314" y="80"/>
                </a:cxn>
                <a:cxn ang="0">
                  <a:pos x="294" y="42"/>
                </a:cxn>
                <a:cxn ang="0">
                  <a:pos x="304" y="18"/>
                </a:cxn>
                <a:cxn ang="0">
                  <a:pos x="272" y="16"/>
                </a:cxn>
                <a:cxn ang="0">
                  <a:pos x="242" y="4"/>
                </a:cxn>
                <a:cxn ang="0">
                  <a:pos x="242" y="18"/>
                </a:cxn>
                <a:cxn ang="0">
                  <a:pos x="224" y="38"/>
                </a:cxn>
                <a:cxn ang="0">
                  <a:pos x="216" y="64"/>
                </a:cxn>
                <a:cxn ang="0">
                  <a:pos x="194" y="62"/>
                </a:cxn>
                <a:cxn ang="0">
                  <a:pos x="170" y="46"/>
                </a:cxn>
                <a:cxn ang="0">
                  <a:pos x="160" y="60"/>
                </a:cxn>
                <a:cxn ang="0">
                  <a:pos x="142" y="80"/>
                </a:cxn>
                <a:cxn ang="0">
                  <a:pos x="134" y="96"/>
                </a:cxn>
                <a:cxn ang="0">
                  <a:pos x="118" y="106"/>
                </a:cxn>
                <a:cxn ang="0">
                  <a:pos x="84" y="140"/>
                </a:cxn>
                <a:cxn ang="0">
                  <a:pos x="58" y="154"/>
                </a:cxn>
                <a:cxn ang="0">
                  <a:pos x="30" y="170"/>
                </a:cxn>
                <a:cxn ang="0">
                  <a:pos x="10" y="178"/>
                </a:cxn>
                <a:cxn ang="0">
                  <a:pos x="2" y="212"/>
                </a:cxn>
                <a:cxn ang="0">
                  <a:pos x="10" y="252"/>
                </a:cxn>
                <a:cxn ang="0">
                  <a:pos x="14" y="262"/>
                </a:cxn>
                <a:cxn ang="0">
                  <a:pos x="26" y="292"/>
                </a:cxn>
                <a:cxn ang="0">
                  <a:pos x="34" y="342"/>
                </a:cxn>
                <a:cxn ang="0">
                  <a:pos x="24" y="368"/>
                </a:cxn>
                <a:cxn ang="0">
                  <a:pos x="50" y="390"/>
                </a:cxn>
                <a:cxn ang="0">
                  <a:pos x="82" y="382"/>
                </a:cxn>
                <a:cxn ang="0">
                  <a:pos x="110" y="374"/>
                </a:cxn>
                <a:cxn ang="0">
                  <a:pos x="136" y="372"/>
                </a:cxn>
                <a:cxn ang="0">
                  <a:pos x="180" y="346"/>
                </a:cxn>
                <a:cxn ang="0">
                  <a:pos x="226" y="336"/>
                </a:cxn>
                <a:cxn ang="0">
                  <a:pos x="264" y="344"/>
                </a:cxn>
                <a:cxn ang="0">
                  <a:pos x="280" y="376"/>
                </a:cxn>
                <a:cxn ang="0">
                  <a:pos x="312" y="366"/>
                </a:cxn>
                <a:cxn ang="0">
                  <a:pos x="304" y="398"/>
                </a:cxn>
                <a:cxn ang="0">
                  <a:pos x="320" y="386"/>
                </a:cxn>
                <a:cxn ang="0">
                  <a:pos x="342" y="418"/>
                </a:cxn>
                <a:cxn ang="0">
                  <a:pos x="362" y="454"/>
                </a:cxn>
                <a:cxn ang="0">
                  <a:pos x="412" y="524"/>
                </a:cxn>
                <a:cxn ang="0">
                  <a:pos x="424" y="546"/>
                </a:cxn>
                <a:cxn ang="0">
                  <a:pos x="436" y="546"/>
                </a:cxn>
                <a:cxn ang="0">
                  <a:pos x="444" y="544"/>
                </a:cxn>
                <a:cxn ang="0">
                  <a:pos x="434" y="508"/>
                </a:cxn>
              </a:cxnLst>
              <a:rect l="0" t="0" r="r" b="b"/>
              <a:pathLst>
                <a:path w="518" h="552">
                  <a:moveTo>
                    <a:pt x="372" y="454"/>
                  </a:moveTo>
                  <a:lnTo>
                    <a:pt x="372" y="454"/>
                  </a:lnTo>
                  <a:lnTo>
                    <a:pt x="374" y="458"/>
                  </a:lnTo>
                  <a:lnTo>
                    <a:pt x="378" y="458"/>
                  </a:lnTo>
                  <a:lnTo>
                    <a:pt x="378" y="460"/>
                  </a:lnTo>
                  <a:lnTo>
                    <a:pt x="380" y="462"/>
                  </a:lnTo>
                  <a:lnTo>
                    <a:pt x="382" y="462"/>
                  </a:lnTo>
                  <a:lnTo>
                    <a:pt x="384" y="464"/>
                  </a:lnTo>
                  <a:lnTo>
                    <a:pt x="386" y="466"/>
                  </a:lnTo>
                  <a:lnTo>
                    <a:pt x="392" y="464"/>
                  </a:lnTo>
                  <a:lnTo>
                    <a:pt x="394" y="460"/>
                  </a:lnTo>
                  <a:lnTo>
                    <a:pt x="396" y="460"/>
                  </a:lnTo>
                  <a:lnTo>
                    <a:pt x="398" y="456"/>
                  </a:lnTo>
                  <a:lnTo>
                    <a:pt x="400" y="456"/>
                  </a:lnTo>
                  <a:lnTo>
                    <a:pt x="402" y="454"/>
                  </a:lnTo>
                  <a:lnTo>
                    <a:pt x="402" y="452"/>
                  </a:lnTo>
                  <a:lnTo>
                    <a:pt x="402" y="450"/>
                  </a:lnTo>
                  <a:lnTo>
                    <a:pt x="406" y="448"/>
                  </a:lnTo>
                  <a:lnTo>
                    <a:pt x="406" y="446"/>
                  </a:lnTo>
                  <a:lnTo>
                    <a:pt x="410" y="448"/>
                  </a:lnTo>
                  <a:lnTo>
                    <a:pt x="412" y="450"/>
                  </a:lnTo>
                  <a:lnTo>
                    <a:pt x="412" y="452"/>
                  </a:lnTo>
                  <a:lnTo>
                    <a:pt x="406" y="454"/>
                  </a:lnTo>
                  <a:lnTo>
                    <a:pt x="406" y="458"/>
                  </a:lnTo>
                  <a:lnTo>
                    <a:pt x="410" y="458"/>
                  </a:lnTo>
                  <a:lnTo>
                    <a:pt x="416" y="454"/>
                  </a:lnTo>
                  <a:lnTo>
                    <a:pt x="416" y="458"/>
                  </a:lnTo>
                  <a:lnTo>
                    <a:pt x="412" y="458"/>
                  </a:lnTo>
                  <a:lnTo>
                    <a:pt x="412" y="458"/>
                  </a:lnTo>
                  <a:lnTo>
                    <a:pt x="420" y="462"/>
                  </a:lnTo>
                  <a:lnTo>
                    <a:pt x="422" y="466"/>
                  </a:lnTo>
                  <a:lnTo>
                    <a:pt x="424" y="466"/>
                  </a:lnTo>
                  <a:lnTo>
                    <a:pt x="424" y="468"/>
                  </a:lnTo>
                  <a:lnTo>
                    <a:pt x="426" y="470"/>
                  </a:lnTo>
                  <a:lnTo>
                    <a:pt x="428" y="472"/>
                  </a:lnTo>
                  <a:lnTo>
                    <a:pt x="430" y="468"/>
                  </a:lnTo>
                  <a:lnTo>
                    <a:pt x="432" y="466"/>
                  </a:lnTo>
                  <a:lnTo>
                    <a:pt x="434" y="464"/>
                  </a:lnTo>
                  <a:lnTo>
                    <a:pt x="434" y="460"/>
                  </a:lnTo>
                  <a:lnTo>
                    <a:pt x="438" y="458"/>
                  </a:lnTo>
                  <a:lnTo>
                    <a:pt x="442" y="454"/>
                  </a:lnTo>
                  <a:lnTo>
                    <a:pt x="442" y="452"/>
                  </a:lnTo>
                  <a:lnTo>
                    <a:pt x="440" y="450"/>
                  </a:lnTo>
                  <a:lnTo>
                    <a:pt x="444" y="446"/>
                  </a:lnTo>
                  <a:lnTo>
                    <a:pt x="456" y="446"/>
                  </a:lnTo>
                  <a:lnTo>
                    <a:pt x="466" y="448"/>
                  </a:lnTo>
                  <a:lnTo>
                    <a:pt x="468" y="442"/>
                  </a:lnTo>
                  <a:lnTo>
                    <a:pt x="472" y="442"/>
                  </a:lnTo>
                  <a:lnTo>
                    <a:pt x="472" y="440"/>
                  </a:lnTo>
                  <a:lnTo>
                    <a:pt x="470" y="438"/>
                  </a:lnTo>
                  <a:lnTo>
                    <a:pt x="472" y="436"/>
                  </a:lnTo>
                  <a:lnTo>
                    <a:pt x="474" y="434"/>
                  </a:lnTo>
                  <a:lnTo>
                    <a:pt x="470" y="434"/>
                  </a:lnTo>
                  <a:lnTo>
                    <a:pt x="468" y="430"/>
                  </a:lnTo>
                  <a:lnTo>
                    <a:pt x="472" y="422"/>
                  </a:lnTo>
                  <a:lnTo>
                    <a:pt x="476" y="414"/>
                  </a:lnTo>
                  <a:lnTo>
                    <a:pt x="476" y="410"/>
                  </a:lnTo>
                  <a:lnTo>
                    <a:pt x="476" y="402"/>
                  </a:lnTo>
                  <a:lnTo>
                    <a:pt x="480" y="398"/>
                  </a:lnTo>
                  <a:lnTo>
                    <a:pt x="482" y="398"/>
                  </a:lnTo>
                  <a:lnTo>
                    <a:pt x="482" y="394"/>
                  </a:lnTo>
                  <a:lnTo>
                    <a:pt x="482" y="392"/>
                  </a:lnTo>
                  <a:lnTo>
                    <a:pt x="484" y="390"/>
                  </a:lnTo>
                  <a:lnTo>
                    <a:pt x="484" y="386"/>
                  </a:lnTo>
                  <a:lnTo>
                    <a:pt x="486" y="384"/>
                  </a:lnTo>
                  <a:lnTo>
                    <a:pt x="488" y="376"/>
                  </a:lnTo>
                  <a:lnTo>
                    <a:pt x="486" y="368"/>
                  </a:lnTo>
                  <a:lnTo>
                    <a:pt x="492" y="366"/>
                  </a:lnTo>
                  <a:lnTo>
                    <a:pt x="492" y="362"/>
                  </a:lnTo>
                  <a:lnTo>
                    <a:pt x="494" y="360"/>
                  </a:lnTo>
                  <a:lnTo>
                    <a:pt x="496" y="358"/>
                  </a:lnTo>
                  <a:lnTo>
                    <a:pt x="498" y="354"/>
                  </a:lnTo>
                  <a:lnTo>
                    <a:pt x="504" y="352"/>
                  </a:lnTo>
                  <a:lnTo>
                    <a:pt x="504" y="346"/>
                  </a:lnTo>
                  <a:lnTo>
                    <a:pt x="506" y="342"/>
                  </a:lnTo>
                  <a:lnTo>
                    <a:pt x="508" y="342"/>
                  </a:lnTo>
                  <a:lnTo>
                    <a:pt x="508" y="338"/>
                  </a:lnTo>
                  <a:lnTo>
                    <a:pt x="512" y="330"/>
                  </a:lnTo>
                  <a:lnTo>
                    <a:pt x="512" y="326"/>
                  </a:lnTo>
                  <a:lnTo>
                    <a:pt x="510" y="322"/>
                  </a:lnTo>
                  <a:lnTo>
                    <a:pt x="512" y="320"/>
                  </a:lnTo>
                  <a:lnTo>
                    <a:pt x="512" y="312"/>
                  </a:lnTo>
                  <a:lnTo>
                    <a:pt x="514" y="302"/>
                  </a:lnTo>
                  <a:lnTo>
                    <a:pt x="512" y="302"/>
                  </a:lnTo>
                  <a:lnTo>
                    <a:pt x="510" y="300"/>
                  </a:lnTo>
                  <a:lnTo>
                    <a:pt x="516" y="296"/>
                  </a:lnTo>
                  <a:lnTo>
                    <a:pt x="512" y="292"/>
                  </a:lnTo>
                  <a:lnTo>
                    <a:pt x="516" y="290"/>
                  </a:lnTo>
                  <a:lnTo>
                    <a:pt x="518" y="286"/>
                  </a:lnTo>
                  <a:lnTo>
                    <a:pt x="518" y="282"/>
                  </a:lnTo>
                  <a:lnTo>
                    <a:pt x="514" y="278"/>
                  </a:lnTo>
                  <a:lnTo>
                    <a:pt x="512" y="276"/>
                  </a:lnTo>
                  <a:lnTo>
                    <a:pt x="508" y="266"/>
                  </a:lnTo>
                  <a:lnTo>
                    <a:pt x="508" y="256"/>
                  </a:lnTo>
                  <a:lnTo>
                    <a:pt x="510" y="248"/>
                  </a:lnTo>
                  <a:lnTo>
                    <a:pt x="510" y="244"/>
                  </a:lnTo>
                  <a:lnTo>
                    <a:pt x="510" y="242"/>
                  </a:lnTo>
                  <a:lnTo>
                    <a:pt x="510" y="238"/>
                  </a:lnTo>
                  <a:lnTo>
                    <a:pt x="508" y="236"/>
                  </a:lnTo>
                  <a:lnTo>
                    <a:pt x="508" y="234"/>
                  </a:lnTo>
                  <a:lnTo>
                    <a:pt x="506" y="234"/>
                  </a:lnTo>
                  <a:lnTo>
                    <a:pt x="504" y="232"/>
                  </a:lnTo>
                  <a:lnTo>
                    <a:pt x="504" y="228"/>
                  </a:lnTo>
                  <a:lnTo>
                    <a:pt x="502" y="226"/>
                  </a:lnTo>
                  <a:lnTo>
                    <a:pt x="496" y="224"/>
                  </a:lnTo>
                  <a:lnTo>
                    <a:pt x="496" y="218"/>
                  </a:lnTo>
                  <a:lnTo>
                    <a:pt x="494" y="212"/>
                  </a:lnTo>
                  <a:lnTo>
                    <a:pt x="488" y="210"/>
                  </a:lnTo>
                  <a:lnTo>
                    <a:pt x="486" y="206"/>
                  </a:lnTo>
                  <a:lnTo>
                    <a:pt x="484" y="202"/>
                  </a:lnTo>
                  <a:lnTo>
                    <a:pt x="484" y="196"/>
                  </a:lnTo>
                  <a:lnTo>
                    <a:pt x="484" y="192"/>
                  </a:lnTo>
                  <a:lnTo>
                    <a:pt x="484" y="188"/>
                  </a:lnTo>
                  <a:lnTo>
                    <a:pt x="482" y="188"/>
                  </a:lnTo>
                  <a:lnTo>
                    <a:pt x="476" y="182"/>
                  </a:lnTo>
                  <a:lnTo>
                    <a:pt x="474" y="184"/>
                  </a:lnTo>
                  <a:lnTo>
                    <a:pt x="470" y="184"/>
                  </a:lnTo>
                  <a:lnTo>
                    <a:pt x="468" y="182"/>
                  </a:lnTo>
                  <a:lnTo>
                    <a:pt x="468" y="178"/>
                  </a:lnTo>
                  <a:lnTo>
                    <a:pt x="468" y="174"/>
                  </a:lnTo>
                  <a:lnTo>
                    <a:pt x="470" y="172"/>
                  </a:lnTo>
                  <a:lnTo>
                    <a:pt x="470" y="170"/>
                  </a:lnTo>
                  <a:lnTo>
                    <a:pt x="468" y="168"/>
                  </a:lnTo>
                  <a:lnTo>
                    <a:pt x="466" y="162"/>
                  </a:lnTo>
                  <a:lnTo>
                    <a:pt x="464" y="160"/>
                  </a:lnTo>
                  <a:lnTo>
                    <a:pt x="460" y="158"/>
                  </a:lnTo>
                  <a:lnTo>
                    <a:pt x="458" y="156"/>
                  </a:lnTo>
                  <a:lnTo>
                    <a:pt x="460" y="148"/>
                  </a:lnTo>
                  <a:lnTo>
                    <a:pt x="452" y="142"/>
                  </a:lnTo>
                  <a:lnTo>
                    <a:pt x="452" y="138"/>
                  </a:lnTo>
                  <a:lnTo>
                    <a:pt x="444" y="136"/>
                  </a:lnTo>
                  <a:lnTo>
                    <a:pt x="442" y="138"/>
                  </a:lnTo>
                  <a:lnTo>
                    <a:pt x="440" y="136"/>
                  </a:lnTo>
                  <a:lnTo>
                    <a:pt x="440" y="132"/>
                  </a:lnTo>
                  <a:lnTo>
                    <a:pt x="434" y="132"/>
                  </a:lnTo>
                  <a:lnTo>
                    <a:pt x="430" y="128"/>
                  </a:lnTo>
                  <a:lnTo>
                    <a:pt x="428" y="128"/>
                  </a:lnTo>
                  <a:lnTo>
                    <a:pt x="428" y="122"/>
                  </a:lnTo>
                  <a:lnTo>
                    <a:pt x="428" y="122"/>
                  </a:lnTo>
                  <a:lnTo>
                    <a:pt x="428" y="112"/>
                  </a:lnTo>
                  <a:lnTo>
                    <a:pt x="426" y="100"/>
                  </a:lnTo>
                  <a:lnTo>
                    <a:pt x="424" y="96"/>
                  </a:lnTo>
                  <a:lnTo>
                    <a:pt x="424" y="92"/>
                  </a:lnTo>
                  <a:lnTo>
                    <a:pt x="420" y="86"/>
                  </a:lnTo>
                  <a:lnTo>
                    <a:pt x="416" y="82"/>
                  </a:lnTo>
                  <a:lnTo>
                    <a:pt x="416" y="72"/>
                  </a:lnTo>
                  <a:lnTo>
                    <a:pt x="416" y="62"/>
                  </a:lnTo>
                  <a:lnTo>
                    <a:pt x="416" y="60"/>
                  </a:lnTo>
                  <a:lnTo>
                    <a:pt x="414" y="60"/>
                  </a:lnTo>
                  <a:lnTo>
                    <a:pt x="412" y="62"/>
                  </a:lnTo>
                  <a:lnTo>
                    <a:pt x="404" y="50"/>
                  </a:lnTo>
                  <a:lnTo>
                    <a:pt x="396" y="58"/>
                  </a:lnTo>
                  <a:lnTo>
                    <a:pt x="392" y="54"/>
                  </a:lnTo>
                  <a:lnTo>
                    <a:pt x="392" y="46"/>
                  </a:lnTo>
                  <a:lnTo>
                    <a:pt x="394" y="40"/>
                  </a:lnTo>
                  <a:lnTo>
                    <a:pt x="394" y="38"/>
                  </a:lnTo>
                  <a:lnTo>
                    <a:pt x="394" y="36"/>
                  </a:lnTo>
                  <a:lnTo>
                    <a:pt x="392" y="32"/>
                  </a:lnTo>
                  <a:lnTo>
                    <a:pt x="392" y="26"/>
                  </a:lnTo>
                  <a:lnTo>
                    <a:pt x="388" y="24"/>
                  </a:lnTo>
                  <a:lnTo>
                    <a:pt x="386" y="22"/>
                  </a:lnTo>
                  <a:lnTo>
                    <a:pt x="386" y="16"/>
                  </a:lnTo>
                  <a:lnTo>
                    <a:pt x="382" y="14"/>
                  </a:lnTo>
                  <a:lnTo>
                    <a:pt x="382" y="8"/>
                  </a:lnTo>
                  <a:lnTo>
                    <a:pt x="380" y="6"/>
                  </a:lnTo>
                  <a:lnTo>
                    <a:pt x="378" y="0"/>
                  </a:lnTo>
                  <a:lnTo>
                    <a:pt x="374" y="0"/>
                  </a:lnTo>
                  <a:lnTo>
                    <a:pt x="374" y="0"/>
                  </a:lnTo>
                  <a:lnTo>
                    <a:pt x="372" y="0"/>
                  </a:lnTo>
                  <a:lnTo>
                    <a:pt x="372" y="6"/>
                  </a:lnTo>
                  <a:lnTo>
                    <a:pt x="372" y="14"/>
                  </a:lnTo>
                  <a:lnTo>
                    <a:pt x="370" y="16"/>
                  </a:lnTo>
                  <a:lnTo>
                    <a:pt x="368" y="20"/>
                  </a:lnTo>
                  <a:lnTo>
                    <a:pt x="368" y="22"/>
                  </a:lnTo>
                  <a:lnTo>
                    <a:pt x="370" y="22"/>
                  </a:lnTo>
                  <a:lnTo>
                    <a:pt x="370" y="38"/>
                  </a:lnTo>
                  <a:lnTo>
                    <a:pt x="368" y="40"/>
                  </a:lnTo>
                  <a:lnTo>
                    <a:pt x="366" y="46"/>
                  </a:lnTo>
                  <a:lnTo>
                    <a:pt x="368" y="62"/>
                  </a:lnTo>
                  <a:lnTo>
                    <a:pt x="370" y="66"/>
                  </a:lnTo>
                  <a:lnTo>
                    <a:pt x="366" y="68"/>
                  </a:lnTo>
                  <a:lnTo>
                    <a:pt x="366" y="74"/>
                  </a:lnTo>
                  <a:lnTo>
                    <a:pt x="366" y="78"/>
                  </a:lnTo>
                  <a:lnTo>
                    <a:pt x="364" y="82"/>
                  </a:lnTo>
                  <a:lnTo>
                    <a:pt x="362" y="86"/>
                  </a:lnTo>
                  <a:lnTo>
                    <a:pt x="362" y="88"/>
                  </a:lnTo>
                  <a:lnTo>
                    <a:pt x="362" y="92"/>
                  </a:lnTo>
                  <a:lnTo>
                    <a:pt x="358" y="98"/>
                  </a:lnTo>
                  <a:lnTo>
                    <a:pt x="358" y="106"/>
                  </a:lnTo>
                  <a:lnTo>
                    <a:pt x="352" y="108"/>
                  </a:lnTo>
                  <a:lnTo>
                    <a:pt x="346" y="108"/>
                  </a:lnTo>
                  <a:lnTo>
                    <a:pt x="342" y="108"/>
                  </a:lnTo>
                  <a:lnTo>
                    <a:pt x="342" y="106"/>
                  </a:lnTo>
                  <a:lnTo>
                    <a:pt x="336" y="96"/>
                  </a:lnTo>
                  <a:lnTo>
                    <a:pt x="334" y="94"/>
                  </a:lnTo>
                  <a:lnTo>
                    <a:pt x="330" y="94"/>
                  </a:lnTo>
                  <a:lnTo>
                    <a:pt x="324" y="88"/>
                  </a:lnTo>
                  <a:lnTo>
                    <a:pt x="320" y="82"/>
                  </a:lnTo>
                  <a:lnTo>
                    <a:pt x="318" y="80"/>
                  </a:lnTo>
                  <a:lnTo>
                    <a:pt x="314" y="80"/>
                  </a:lnTo>
                  <a:lnTo>
                    <a:pt x="312" y="78"/>
                  </a:lnTo>
                  <a:lnTo>
                    <a:pt x="308" y="74"/>
                  </a:lnTo>
                  <a:lnTo>
                    <a:pt x="304" y="74"/>
                  </a:lnTo>
                  <a:lnTo>
                    <a:pt x="300" y="68"/>
                  </a:lnTo>
                  <a:lnTo>
                    <a:pt x="296" y="68"/>
                  </a:lnTo>
                  <a:lnTo>
                    <a:pt x="290" y="62"/>
                  </a:lnTo>
                  <a:lnTo>
                    <a:pt x="290" y="58"/>
                  </a:lnTo>
                  <a:lnTo>
                    <a:pt x="292" y="50"/>
                  </a:lnTo>
                  <a:lnTo>
                    <a:pt x="294" y="48"/>
                  </a:lnTo>
                  <a:lnTo>
                    <a:pt x="294" y="42"/>
                  </a:lnTo>
                  <a:lnTo>
                    <a:pt x="294" y="36"/>
                  </a:lnTo>
                  <a:lnTo>
                    <a:pt x="300" y="38"/>
                  </a:lnTo>
                  <a:lnTo>
                    <a:pt x="302" y="36"/>
                  </a:lnTo>
                  <a:lnTo>
                    <a:pt x="302" y="34"/>
                  </a:lnTo>
                  <a:lnTo>
                    <a:pt x="300" y="28"/>
                  </a:lnTo>
                  <a:lnTo>
                    <a:pt x="308" y="24"/>
                  </a:lnTo>
                  <a:lnTo>
                    <a:pt x="308" y="20"/>
                  </a:lnTo>
                  <a:lnTo>
                    <a:pt x="306" y="20"/>
                  </a:lnTo>
                  <a:lnTo>
                    <a:pt x="306" y="18"/>
                  </a:lnTo>
                  <a:lnTo>
                    <a:pt x="304" y="18"/>
                  </a:lnTo>
                  <a:lnTo>
                    <a:pt x="306" y="14"/>
                  </a:lnTo>
                  <a:lnTo>
                    <a:pt x="298" y="18"/>
                  </a:lnTo>
                  <a:lnTo>
                    <a:pt x="298" y="20"/>
                  </a:lnTo>
                  <a:lnTo>
                    <a:pt x="292" y="14"/>
                  </a:lnTo>
                  <a:lnTo>
                    <a:pt x="288" y="14"/>
                  </a:lnTo>
                  <a:lnTo>
                    <a:pt x="286" y="16"/>
                  </a:lnTo>
                  <a:lnTo>
                    <a:pt x="282" y="16"/>
                  </a:lnTo>
                  <a:lnTo>
                    <a:pt x="280" y="14"/>
                  </a:lnTo>
                  <a:lnTo>
                    <a:pt x="276" y="14"/>
                  </a:lnTo>
                  <a:lnTo>
                    <a:pt x="272" y="16"/>
                  </a:lnTo>
                  <a:lnTo>
                    <a:pt x="270" y="12"/>
                  </a:lnTo>
                  <a:lnTo>
                    <a:pt x="268" y="12"/>
                  </a:lnTo>
                  <a:lnTo>
                    <a:pt x="264" y="14"/>
                  </a:lnTo>
                  <a:lnTo>
                    <a:pt x="262" y="10"/>
                  </a:lnTo>
                  <a:lnTo>
                    <a:pt x="262" y="8"/>
                  </a:lnTo>
                  <a:lnTo>
                    <a:pt x="256" y="10"/>
                  </a:lnTo>
                  <a:lnTo>
                    <a:pt x="252" y="6"/>
                  </a:lnTo>
                  <a:lnTo>
                    <a:pt x="250" y="6"/>
                  </a:lnTo>
                  <a:lnTo>
                    <a:pt x="248" y="6"/>
                  </a:lnTo>
                  <a:lnTo>
                    <a:pt x="242" y="4"/>
                  </a:lnTo>
                  <a:lnTo>
                    <a:pt x="242" y="6"/>
                  </a:lnTo>
                  <a:lnTo>
                    <a:pt x="246" y="10"/>
                  </a:lnTo>
                  <a:lnTo>
                    <a:pt x="252" y="10"/>
                  </a:lnTo>
                  <a:lnTo>
                    <a:pt x="254" y="12"/>
                  </a:lnTo>
                  <a:lnTo>
                    <a:pt x="254" y="14"/>
                  </a:lnTo>
                  <a:lnTo>
                    <a:pt x="256" y="20"/>
                  </a:lnTo>
                  <a:lnTo>
                    <a:pt x="254" y="20"/>
                  </a:lnTo>
                  <a:lnTo>
                    <a:pt x="252" y="24"/>
                  </a:lnTo>
                  <a:lnTo>
                    <a:pt x="246" y="20"/>
                  </a:lnTo>
                  <a:lnTo>
                    <a:pt x="242" y="18"/>
                  </a:lnTo>
                  <a:lnTo>
                    <a:pt x="238" y="20"/>
                  </a:lnTo>
                  <a:lnTo>
                    <a:pt x="236" y="22"/>
                  </a:lnTo>
                  <a:lnTo>
                    <a:pt x="236" y="18"/>
                  </a:lnTo>
                  <a:lnTo>
                    <a:pt x="234" y="18"/>
                  </a:lnTo>
                  <a:lnTo>
                    <a:pt x="230" y="22"/>
                  </a:lnTo>
                  <a:lnTo>
                    <a:pt x="224" y="20"/>
                  </a:lnTo>
                  <a:lnTo>
                    <a:pt x="226" y="26"/>
                  </a:lnTo>
                  <a:lnTo>
                    <a:pt x="220" y="28"/>
                  </a:lnTo>
                  <a:lnTo>
                    <a:pt x="220" y="30"/>
                  </a:lnTo>
                  <a:lnTo>
                    <a:pt x="224" y="38"/>
                  </a:lnTo>
                  <a:lnTo>
                    <a:pt x="220" y="38"/>
                  </a:lnTo>
                  <a:lnTo>
                    <a:pt x="216" y="40"/>
                  </a:lnTo>
                  <a:lnTo>
                    <a:pt x="216" y="48"/>
                  </a:lnTo>
                  <a:lnTo>
                    <a:pt x="210" y="48"/>
                  </a:lnTo>
                  <a:lnTo>
                    <a:pt x="210" y="54"/>
                  </a:lnTo>
                  <a:lnTo>
                    <a:pt x="210" y="58"/>
                  </a:lnTo>
                  <a:lnTo>
                    <a:pt x="212" y="60"/>
                  </a:lnTo>
                  <a:lnTo>
                    <a:pt x="214" y="60"/>
                  </a:lnTo>
                  <a:lnTo>
                    <a:pt x="216" y="62"/>
                  </a:lnTo>
                  <a:lnTo>
                    <a:pt x="216" y="64"/>
                  </a:lnTo>
                  <a:lnTo>
                    <a:pt x="206" y="62"/>
                  </a:lnTo>
                  <a:lnTo>
                    <a:pt x="206" y="62"/>
                  </a:lnTo>
                  <a:lnTo>
                    <a:pt x="200" y="60"/>
                  </a:lnTo>
                  <a:lnTo>
                    <a:pt x="198" y="60"/>
                  </a:lnTo>
                  <a:lnTo>
                    <a:pt x="198" y="62"/>
                  </a:lnTo>
                  <a:lnTo>
                    <a:pt x="196" y="68"/>
                  </a:lnTo>
                  <a:lnTo>
                    <a:pt x="194" y="68"/>
                  </a:lnTo>
                  <a:lnTo>
                    <a:pt x="192" y="68"/>
                  </a:lnTo>
                  <a:lnTo>
                    <a:pt x="192" y="66"/>
                  </a:lnTo>
                  <a:lnTo>
                    <a:pt x="194" y="62"/>
                  </a:lnTo>
                  <a:lnTo>
                    <a:pt x="194" y="56"/>
                  </a:lnTo>
                  <a:lnTo>
                    <a:pt x="192" y="56"/>
                  </a:lnTo>
                  <a:lnTo>
                    <a:pt x="190" y="52"/>
                  </a:lnTo>
                  <a:lnTo>
                    <a:pt x="188" y="52"/>
                  </a:lnTo>
                  <a:lnTo>
                    <a:pt x="188" y="46"/>
                  </a:lnTo>
                  <a:lnTo>
                    <a:pt x="184" y="44"/>
                  </a:lnTo>
                  <a:lnTo>
                    <a:pt x="178" y="44"/>
                  </a:lnTo>
                  <a:lnTo>
                    <a:pt x="174" y="46"/>
                  </a:lnTo>
                  <a:lnTo>
                    <a:pt x="170" y="48"/>
                  </a:lnTo>
                  <a:lnTo>
                    <a:pt x="170" y="46"/>
                  </a:lnTo>
                  <a:lnTo>
                    <a:pt x="170" y="44"/>
                  </a:lnTo>
                  <a:lnTo>
                    <a:pt x="168" y="56"/>
                  </a:lnTo>
                  <a:lnTo>
                    <a:pt x="166" y="54"/>
                  </a:lnTo>
                  <a:lnTo>
                    <a:pt x="166" y="52"/>
                  </a:lnTo>
                  <a:lnTo>
                    <a:pt x="164" y="56"/>
                  </a:lnTo>
                  <a:lnTo>
                    <a:pt x="162" y="56"/>
                  </a:lnTo>
                  <a:lnTo>
                    <a:pt x="160" y="56"/>
                  </a:lnTo>
                  <a:lnTo>
                    <a:pt x="158" y="58"/>
                  </a:lnTo>
                  <a:lnTo>
                    <a:pt x="158" y="60"/>
                  </a:lnTo>
                  <a:lnTo>
                    <a:pt x="160" y="60"/>
                  </a:lnTo>
                  <a:lnTo>
                    <a:pt x="162" y="60"/>
                  </a:lnTo>
                  <a:lnTo>
                    <a:pt x="162" y="62"/>
                  </a:lnTo>
                  <a:lnTo>
                    <a:pt x="158" y="62"/>
                  </a:lnTo>
                  <a:lnTo>
                    <a:pt x="156" y="62"/>
                  </a:lnTo>
                  <a:lnTo>
                    <a:pt x="158" y="68"/>
                  </a:lnTo>
                  <a:lnTo>
                    <a:pt x="154" y="66"/>
                  </a:lnTo>
                  <a:lnTo>
                    <a:pt x="148" y="68"/>
                  </a:lnTo>
                  <a:lnTo>
                    <a:pt x="148" y="76"/>
                  </a:lnTo>
                  <a:lnTo>
                    <a:pt x="146" y="82"/>
                  </a:lnTo>
                  <a:lnTo>
                    <a:pt x="142" y="80"/>
                  </a:lnTo>
                  <a:lnTo>
                    <a:pt x="142" y="76"/>
                  </a:lnTo>
                  <a:lnTo>
                    <a:pt x="140" y="76"/>
                  </a:lnTo>
                  <a:lnTo>
                    <a:pt x="140" y="78"/>
                  </a:lnTo>
                  <a:lnTo>
                    <a:pt x="138" y="78"/>
                  </a:lnTo>
                  <a:lnTo>
                    <a:pt x="136" y="86"/>
                  </a:lnTo>
                  <a:lnTo>
                    <a:pt x="138" y="92"/>
                  </a:lnTo>
                  <a:lnTo>
                    <a:pt x="140" y="94"/>
                  </a:lnTo>
                  <a:lnTo>
                    <a:pt x="136" y="96"/>
                  </a:lnTo>
                  <a:lnTo>
                    <a:pt x="136" y="100"/>
                  </a:lnTo>
                  <a:lnTo>
                    <a:pt x="134" y="96"/>
                  </a:lnTo>
                  <a:lnTo>
                    <a:pt x="132" y="94"/>
                  </a:lnTo>
                  <a:lnTo>
                    <a:pt x="132" y="90"/>
                  </a:lnTo>
                  <a:lnTo>
                    <a:pt x="130" y="86"/>
                  </a:lnTo>
                  <a:lnTo>
                    <a:pt x="128" y="84"/>
                  </a:lnTo>
                  <a:lnTo>
                    <a:pt x="128" y="88"/>
                  </a:lnTo>
                  <a:lnTo>
                    <a:pt x="122" y="92"/>
                  </a:lnTo>
                  <a:lnTo>
                    <a:pt x="120" y="96"/>
                  </a:lnTo>
                  <a:lnTo>
                    <a:pt x="120" y="100"/>
                  </a:lnTo>
                  <a:lnTo>
                    <a:pt x="120" y="106"/>
                  </a:lnTo>
                  <a:lnTo>
                    <a:pt x="118" y="106"/>
                  </a:lnTo>
                  <a:lnTo>
                    <a:pt x="118" y="110"/>
                  </a:lnTo>
                  <a:lnTo>
                    <a:pt x="120" y="110"/>
                  </a:lnTo>
                  <a:lnTo>
                    <a:pt x="120" y="116"/>
                  </a:lnTo>
                  <a:lnTo>
                    <a:pt x="116" y="118"/>
                  </a:lnTo>
                  <a:lnTo>
                    <a:pt x="112" y="118"/>
                  </a:lnTo>
                  <a:lnTo>
                    <a:pt x="112" y="122"/>
                  </a:lnTo>
                  <a:lnTo>
                    <a:pt x="102" y="132"/>
                  </a:lnTo>
                  <a:lnTo>
                    <a:pt x="96" y="134"/>
                  </a:lnTo>
                  <a:lnTo>
                    <a:pt x="88" y="136"/>
                  </a:lnTo>
                  <a:lnTo>
                    <a:pt x="84" y="140"/>
                  </a:lnTo>
                  <a:lnTo>
                    <a:pt x="80" y="140"/>
                  </a:lnTo>
                  <a:lnTo>
                    <a:pt x="78" y="138"/>
                  </a:lnTo>
                  <a:lnTo>
                    <a:pt x="76" y="140"/>
                  </a:lnTo>
                  <a:lnTo>
                    <a:pt x="74" y="144"/>
                  </a:lnTo>
                  <a:lnTo>
                    <a:pt x="74" y="146"/>
                  </a:lnTo>
                  <a:lnTo>
                    <a:pt x="72" y="148"/>
                  </a:lnTo>
                  <a:lnTo>
                    <a:pt x="68" y="148"/>
                  </a:lnTo>
                  <a:lnTo>
                    <a:pt x="64" y="150"/>
                  </a:lnTo>
                  <a:lnTo>
                    <a:pt x="62" y="152"/>
                  </a:lnTo>
                  <a:lnTo>
                    <a:pt x="58" y="154"/>
                  </a:lnTo>
                  <a:lnTo>
                    <a:pt x="56" y="154"/>
                  </a:lnTo>
                  <a:lnTo>
                    <a:pt x="50" y="152"/>
                  </a:lnTo>
                  <a:lnTo>
                    <a:pt x="46" y="156"/>
                  </a:lnTo>
                  <a:lnTo>
                    <a:pt x="40" y="156"/>
                  </a:lnTo>
                  <a:lnTo>
                    <a:pt x="38" y="158"/>
                  </a:lnTo>
                  <a:lnTo>
                    <a:pt x="36" y="162"/>
                  </a:lnTo>
                  <a:lnTo>
                    <a:pt x="34" y="164"/>
                  </a:lnTo>
                  <a:lnTo>
                    <a:pt x="32" y="166"/>
                  </a:lnTo>
                  <a:lnTo>
                    <a:pt x="30" y="166"/>
                  </a:lnTo>
                  <a:lnTo>
                    <a:pt x="30" y="170"/>
                  </a:lnTo>
                  <a:lnTo>
                    <a:pt x="26" y="170"/>
                  </a:lnTo>
                  <a:lnTo>
                    <a:pt x="24" y="172"/>
                  </a:lnTo>
                  <a:lnTo>
                    <a:pt x="22" y="178"/>
                  </a:lnTo>
                  <a:lnTo>
                    <a:pt x="12" y="182"/>
                  </a:lnTo>
                  <a:lnTo>
                    <a:pt x="12" y="178"/>
                  </a:lnTo>
                  <a:lnTo>
                    <a:pt x="14" y="178"/>
                  </a:lnTo>
                  <a:lnTo>
                    <a:pt x="12" y="174"/>
                  </a:lnTo>
                  <a:lnTo>
                    <a:pt x="12" y="172"/>
                  </a:lnTo>
                  <a:lnTo>
                    <a:pt x="10" y="178"/>
                  </a:lnTo>
                  <a:lnTo>
                    <a:pt x="10" y="178"/>
                  </a:lnTo>
                  <a:lnTo>
                    <a:pt x="8" y="182"/>
                  </a:lnTo>
                  <a:lnTo>
                    <a:pt x="6" y="184"/>
                  </a:lnTo>
                  <a:lnTo>
                    <a:pt x="8" y="186"/>
                  </a:lnTo>
                  <a:lnTo>
                    <a:pt x="10" y="190"/>
                  </a:lnTo>
                  <a:lnTo>
                    <a:pt x="8" y="196"/>
                  </a:lnTo>
                  <a:lnTo>
                    <a:pt x="10" y="198"/>
                  </a:lnTo>
                  <a:lnTo>
                    <a:pt x="8" y="204"/>
                  </a:lnTo>
                  <a:lnTo>
                    <a:pt x="6" y="208"/>
                  </a:lnTo>
                  <a:lnTo>
                    <a:pt x="2" y="208"/>
                  </a:lnTo>
                  <a:lnTo>
                    <a:pt x="2" y="212"/>
                  </a:lnTo>
                  <a:lnTo>
                    <a:pt x="4" y="214"/>
                  </a:lnTo>
                  <a:lnTo>
                    <a:pt x="8" y="216"/>
                  </a:lnTo>
                  <a:lnTo>
                    <a:pt x="10" y="220"/>
                  </a:lnTo>
                  <a:lnTo>
                    <a:pt x="12" y="226"/>
                  </a:lnTo>
                  <a:lnTo>
                    <a:pt x="10" y="228"/>
                  </a:lnTo>
                  <a:lnTo>
                    <a:pt x="14" y="242"/>
                  </a:lnTo>
                  <a:lnTo>
                    <a:pt x="8" y="240"/>
                  </a:lnTo>
                  <a:lnTo>
                    <a:pt x="8" y="236"/>
                  </a:lnTo>
                  <a:lnTo>
                    <a:pt x="6" y="236"/>
                  </a:lnTo>
                  <a:lnTo>
                    <a:pt x="10" y="252"/>
                  </a:lnTo>
                  <a:lnTo>
                    <a:pt x="8" y="252"/>
                  </a:lnTo>
                  <a:lnTo>
                    <a:pt x="6" y="248"/>
                  </a:lnTo>
                  <a:lnTo>
                    <a:pt x="4" y="246"/>
                  </a:lnTo>
                  <a:lnTo>
                    <a:pt x="2" y="236"/>
                  </a:lnTo>
                  <a:lnTo>
                    <a:pt x="0" y="236"/>
                  </a:lnTo>
                  <a:lnTo>
                    <a:pt x="2" y="242"/>
                  </a:lnTo>
                  <a:lnTo>
                    <a:pt x="2" y="250"/>
                  </a:lnTo>
                  <a:lnTo>
                    <a:pt x="4" y="250"/>
                  </a:lnTo>
                  <a:lnTo>
                    <a:pt x="10" y="256"/>
                  </a:lnTo>
                  <a:lnTo>
                    <a:pt x="14" y="262"/>
                  </a:lnTo>
                  <a:lnTo>
                    <a:pt x="14" y="268"/>
                  </a:lnTo>
                  <a:lnTo>
                    <a:pt x="18" y="268"/>
                  </a:lnTo>
                  <a:lnTo>
                    <a:pt x="18" y="270"/>
                  </a:lnTo>
                  <a:lnTo>
                    <a:pt x="16" y="272"/>
                  </a:lnTo>
                  <a:lnTo>
                    <a:pt x="16" y="276"/>
                  </a:lnTo>
                  <a:lnTo>
                    <a:pt x="20" y="280"/>
                  </a:lnTo>
                  <a:lnTo>
                    <a:pt x="24" y="282"/>
                  </a:lnTo>
                  <a:lnTo>
                    <a:pt x="22" y="286"/>
                  </a:lnTo>
                  <a:lnTo>
                    <a:pt x="22" y="290"/>
                  </a:lnTo>
                  <a:lnTo>
                    <a:pt x="26" y="292"/>
                  </a:lnTo>
                  <a:lnTo>
                    <a:pt x="26" y="294"/>
                  </a:lnTo>
                  <a:lnTo>
                    <a:pt x="28" y="298"/>
                  </a:lnTo>
                  <a:lnTo>
                    <a:pt x="26" y="300"/>
                  </a:lnTo>
                  <a:lnTo>
                    <a:pt x="26" y="308"/>
                  </a:lnTo>
                  <a:lnTo>
                    <a:pt x="26" y="314"/>
                  </a:lnTo>
                  <a:lnTo>
                    <a:pt x="30" y="324"/>
                  </a:lnTo>
                  <a:lnTo>
                    <a:pt x="30" y="328"/>
                  </a:lnTo>
                  <a:lnTo>
                    <a:pt x="32" y="334"/>
                  </a:lnTo>
                  <a:lnTo>
                    <a:pt x="34" y="338"/>
                  </a:lnTo>
                  <a:lnTo>
                    <a:pt x="34" y="342"/>
                  </a:lnTo>
                  <a:lnTo>
                    <a:pt x="32" y="344"/>
                  </a:lnTo>
                  <a:lnTo>
                    <a:pt x="34" y="346"/>
                  </a:lnTo>
                  <a:lnTo>
                    <a:pt x="34" y="350"/>
                  </a:lnTo>
                  <a:lnTo>
                    <a:pt x="32" y="352"/>
                  </a:lnTo>
                  <a:lnTo>
                    <a:pt x="32" y="362"/>
                  </a:lnTo>
                  <a:lnTo>
                    <a:pt x="32" y="370"/>
                  </a:lnTo>
                  <a:lnTo>
                    <a:pt x="30" y="372"/>
                  </a:lnTo>
                  <a:lnTo>
                    <a:pt x="26" y="368"/>
                  </a:lnTo>
                  <a:lnTo>
                    <a:pt x="26" y="368"/>
                  </a:lnTo>
                  <a:lnTo>
                    <a:pt x="24" y="368"/>
                  </a:lnTo>
                  <a:lnTo>
                    <a:pt x="26" y="368"/>
                  </a:lnTo>
                  <a:lnTo>
                    <a:pt x="26" y="374"/>
                  </a:lnTo>
                  <a:lnTo>
                    <a:pt x="26" y="378"/>
                  </a:lnTo>
                  <a:lnTo>
                    <a:pt x="30" y="380"/>
                  </a:lnTo>
                  <a:lnTo>
                    <a:pt x="36" y="384"/>
                  </a:lnTo>
                  <a:lnTo>
                    <a:pt x="38" y="386"/>
                  </a:lnTo>
                  <a:lnTo>
                    <a:pt x="40" y="390"/>
                  </a:lnTo>
                  <a:lnTo>
                    <a:pt x="44" y="392"/>
                  </a:lnTo>
                  <a:lnTo>
                    <a:pt x="48" y="392"/>
                  </a:lnTo>
                  <a:lnTo>
                    <a:pt x="50" y="390"/>
                  </a:lnTo>
                  <a:lnTo>
                    <a:pt x="56" y="390"/>
                  </a:lnTo>
                  <a:lnTo>
                    <a:pt x="58" y="392"/>
                  </a:lnTo>
                  <a:lnTo>
                    <a:pt x="62" y="394"/>
                  </a:lnTo>
                  <a:lnTo>
                    <a:pt x="62" y="390"/>
                  </a:lnTo>
                  <a:lnTo>
                    <a:pt x="66" y="392"/>
                  </a:lnTo>
                  <a:lnTo>
                    <a:pt x="74" y="380"/>
                  </a:lnTo>
                  <a:lnTo>
                    <a:pt x="76" y="380"/>
                  </a:lnTo>
                  <a:lnTo>
                    <a:pt x="76" y="384"/>
                  </a:lnTo>
                  <a:lnTo>
                    <a:pt x="80" y="386"/>
                  </a:lnTo>
                  <a:lnTo>
                    <a:pt x="82" y="382"/>
                  </a:lnTo>
                  <a:lnTo>
                    <a:pt x="82" y="378"/>
                  </a:lnTo>
                  <a:lnTo>
                    <a:pt x="82" y="376"/>
                  </a:lnTo>
                  <a:lnTo>
                    <a:pt x="86" y="376"/>
                  </a:lnTo>
                  <a:lnTo>
                    <a:pt x="88" y="376"/>
                  </a:lnTo>
                  <a:lnTo>
                    <a:pt x="90" y="374"/>
                  </a:lnTo>
                  <a:lnTo>
                    <a:pt x="94" y="374"/>
                  </a:lnTo>
                  <a:lnTo>
                    <a:pt x="96" y="374"/>
                  </a:lnTo>
                  <a:lnTo>
                    <a:pt x="96" y="372"/>
                  </a:lnTo>
                  <a:lnTo>
                    <a:pt x="104" y="372"/>
                  </a:lnTo>
                  <a:lnTo>
                    <a:pt x="110" y="374"/>
                  </a:lnTo>
                  <a:lnTo>
                    <a:pt x="114" y="372"/>
                  </a:lnTo>
                  <a:lnTo>
                    <a:pt x="118" y="374"/>
                  </a:lnTo>
                  <a:lnTo>
                    <a:pt x="118" y="372"/>
                  </a:lnTo>
                  <a:lnTo>
                    <a:pt x="124" y="372"/>
                  </a:lnTo>
                  <a:lnTo>
                    <a:pt x="128" y="372"/>
                  </a:lnTo>
                  <a:lnTo>
                    <a:pt x="130" y="374"/>
                  </a:lnTo>
                  <a:lnTo>
                    <a:pt x="132" y="374"/>
                  </a:lnTo>
                  <a:lnTo>
                    <a:pt x="132" y="372"/>
                  </a:lnTo>
                  <a:lnTo>
                    <a:pt x="134" y="372"/>
                  </a:lnTo>
                  <a:lnTo>
                    <a:pt x="136" y="372"/>
                  </a:lnTo>
                  <a:lnTo>
                    <a:pt x="138" y="370"/>
                  </a:lnTo>
                  <a:lnTo>
                    <a:pt x="140" y="366"/>
                  </a:lnTo>
                  <a:lnTo>
                    <a:pt x="142" y="362"/>
                  </a:lnTo>
                  <a:lnTo>
                    <a:pt x="144" y="358"/>
                  </a:lnTo>
                  <a:lnTo>
                    <a:pt x="148" y="358"/>
                  </a:lnTo>
                  <a:lnTo>
                    <a:pt x="152" y="358"/>
                  </a:lnTo>
                  <a:lnTo>
                    <a:pt x="156" y="352"/>
                  </a:lnTo>
                  <a:lnTo>
                    <a:pt x="158" y="352"/>
                  </a:lnTo>
                  <a:lnTo>
                    <a:pt x="164" y="346"/>
                  </a:lnTo>
                  <a:lnTo>
                    <a:pt x="180" y="346"/>
                  </a:lnTo>
                  <a:lnTo>
                    <a:pt x="194" y="344"/>
                  </a:lnTo>
                  <a:lnTo>
                    <a:pt x="194" y="342"/>
                  </a:lnTo>
                  <a:lnTo>
                    <a:pt x="200" y="340"/>
                  </a:lnTo>
                  <a:lnTo>
                    <a:pt x="202" y="340"/>
                  </a:lnTo>
                  <a:lnTo>
                    <a:pt x="204" y="340"/>
                  </a:lnTo>
                  <a:lnTo>
                    <a:pt x="206" y="338"/>
                  </a:lnTo>
                  <a:lnTo>
                    <a:pt x="216" y="338"/>
                  </a:lnTo>
                  <a:lnTo>
                    <a:pt x="218" y="336"/>
                  </a:lnTo>
                  <a:lnTo>
                    <a:pt x="222" y="336"/>
                  </a:lnTo>
                  <a:lnTo>
                    <a:pt x="226" y="336"/>
                  </a:lnTo>
                  <a:lnTo>
                    <a:pt x="230" y="334"/>
                  </a:lnTo>
                  <a:lnTo>
                    <a:pt x="232" y="332"/>
                  </a:lnTo>
                  <a:lnTo>
                    <a:pt x="240" y="338"/>
                  </a:lnTo>
                  <a:lnTo>
                    <a:pt x="242" y="338"/>
                  </a:lnTo>
                  <a:lnTo>
                    <a:pt x="244" y="342"/>
                  </a:lnTo>
                  <a:lnTo>
                    <a:pt x="252" y="342"/>
                  </a:lnTo>
                  <a:lnTo>
                    <a:pt x="258" y="342"/>
                  </a:lnTo>
                  <a:lnTo>
                    <a:pt x="258" y="346"/>
                  </a:lnTo>
                  <a:lnTo>
                    <a:pt x="262" y="342"/>
                  </a:lnTo>
                  <a:lnTo>
                    <a:pt x="264" y="344"/>
                  </a:lnTo>
                  <a:lnTo>
                    <a:pt x="264" y="346"/>
                  </a:lnTo>
                  <a:lnTo>
                    <a:pt x="264" y="350"/>
                  </a:lnTo>
                  <a:lnTo>
                    <a:pt x="270" y="350"/>
                  </a:lnTo>
                  <a:lnTo>
                    <a:pt x="272" y="352"/>
                  </a:lnTo>
                  <a:lnTo>
                    <a:pt x="272" y="354"/>
                  </a:lnTo>
                  <a:lnTo>
                    <a:pt x="270" y="354"/>
                  </a:lnTo>
                  <a:lnTo>
                    <a:pt x="268" y="358"/>
                  </a:lnTo>
                  <a:lnTo>
                    <a:pt x="278" y="362"/>
                  </a:lnTo>
                  <a:lnTo>
                    <a:pt x="278" y="370"/>
                  </a:lnTo>
                  <a:lnTo>
                    <a:pt x="280" y="376"/>
                  </a:lnTo>
                  <a:lnTo>
                    <a:pt x="284" y="378"/>
                  </a:lnTo>
                  <a:lnTo>
                    <a:pt x="284" y="380"/>
                  </a:lnTo>
                  <a:lnTo>
                    <a:pt x="284" y="382"/>
                  </a:lnTo>
                  <a:lnTo>
                    <a:pt x="288" y="386"/>
                  </a:lnTo>
                  <a:lnTo>
                    <a:pt x="292" y="384"/>
                  </a:lnTo>
                  <a:lnTo>
                    <a:pt x="296" y="380"/>
                  </a:lnTo>
                  <a:lnTo>
                    <a:pt x="300" y="374"/>
                  </a:lnTo>
                  <a:lnTo>
                    <a:pt x="300" y="372"/>
                  </a:lnTo>
                  <a:lnTo>
                    <a:pt x="306" y="370"/>
                  </a:lnTo>
                  <a:lnTo>
                    <a:pt x="312" y="366"/>
                  </a:lnTo>
                  <a:lnTo>
                    <a:pt x="312" y="360"/>
                  </a:lnTo>
                  <a:lnTo>
                    <a:pt x="318" y="358"/>
                  </a:lnTo>
                  <a:lnTo>
                    <a:pt x="316" y="364"/>
                  </a:lnTo>
                  <a:lnTo>
                    <a:pt x="316" y="370"/>
                  </a:lnTo>
                  <a:lnTo>
                    <a:pt x="312" y="374"/>
                  </a:lnTo>
                  <a:lnTo>
                    <a:pt x="312" y="382"/>
                  </a:lnTo>
                  <a:lnTo>
                    <a:pt x="312" y="390"/>
                  </a:lnTo>
                  <a:lnTo>
                    <a:pt x="308" y="394"/>
                  </a:lnTo>
                  <a:lnTo>
                    <a:pt x="304" y="394"/>
                  </a:lnTo>
                  <a:lnTo>
                    <a:pt x="304" y="398"/>
                  </a:lnTo>
                  <a:lnTo>
                    <a:pt x="306" y="398"/>
                  </a:lnTo>
                  <a:lnTo>
                    <a:pt x="308" y="396"/>
                  </a:lnTo>
                  <a:lnTo>
                    <a:pt x="314" y="396"/>
                  </a:lnTo>
                  <a:lnTo>
                    <a:pt x="316" y="394"/>
                  </a:lnTo>
                  <a:lnTo>
                    <a:pt x="316" y="390"/>
                  </a:lnTo>
                  <a:lnTo>
                    <a:pt x="316" y="386"/>
                  </a:lnTo>
                  <a:lnTo>
                    <a:pt x="318" y="382"/>
                  </a:lnTo>
                  <a:lnTo>
                    <a:pt x="320" y="380"/>
                  </a:lnTo>
                  <a:lnTo>
                    <a:pt x="320" y="380"/>
                  </a:lnTo>
                  <a:lnTo>
                    <a:pt x="320" y="386"/>
                  </a:lnTo>
                  <a:lnTo>
                    <a:pt x="324" y="390"/>
                  </a:lnTo>
                  <a:lnTo>
                    <a:pt x="324" y="398"/>
                  </a:lnTo>
                  <a:lnTo>
                    <a:pt x="324" y="406"/>
                  </a:lnTo>
                  <a:lnTo>
                    <a:pt x="328" y="406"/>
                  </a:lnTo>
                  <a:lnTo>
                    <a:pt x="330" y="404"/>
                  </a:lnTo>
                  <a:lnTo>
                    <a:pt x="332" y="402"/>
                  </a:lnTo>
                  <a:lnTo>
                    <a:pt x="336" y="402"/>
                  </a:lnTo>
                  <a:lnTo>
                    <a:pt x="336" y="410"/>
                  </a:lnTo>
                  <a:lnTo>
                    <a:pt x="340" y="418"/>
                  </a:lnTo>
                  <a:lnTo>
                    <a:pt x="342" y="418"/>
                  </a:lnTo>
                  <a:lnTo>
                    <a:pt x="342" y="428"/>
                  </a:lnTo>
                  <a:lnTo>
                    <a:pt x="340" y="432"/>
                  </a:lnTo>
                  <a:lnTo>
                    <a:pt x="340" y="436"/>
                  </a:lnTo>
                  <a:lnTo>
                    <a:pt x="342" y="440"/>
                  </a:lnTo>
                  <a:lnTo>
                    <a:pt x="346" y="442"/>
                  </a:lnTo>
                  <a:lnTo>
                    <a:pt x="350" y="446"/>
                  </a:lnTo>
                  <a:lnTo>
                    <a:pt x="350" y="448"/>
                  </a:lnTo>
                  <a:lnTo>
                    <a:pt x="352" y="450"/>
                  </a:lnTo>
                  <a:lnTo>
                    <a:pt x="356" y="450"/>
                  </a:lnTo>
                  <a:lnTo>
                    <a:pt x="362" y="454"/>
                  </a:lnTo>
                  <a:lnTo>
                    <a:pt x="364" y="456"/>
                  </a:lnTo>
                  <a:lnTo>
                    <a:pt x="366" y="456"/>
                  </a:lnTo>
                  <a:lnTo>
                    <a:pt x="368" y="456"/>
                  </a:lnTo>
                  <a:lnTo>
                    <a:pt x="372" y="454"/>
                  </a:lnTo>
                  <a:lnTo>
                    <a:pt x="372" y="454"/>
                  </a:lnTo>
                  <a:close/>
                  <a:moveTo>
                    <a:pt x="402" y="498"/>
                  </a:moveTo>
                  <a:lnTo>
                    <a:pt x="402" y="498"/>
                  </a:lnTo>
                  <a:lnTo>
                    <a:pt x="400" y="506"/>
                  </a:lnTo>
                  <a:lnTo>
                    <a:pt x="402" y="512"/>
                  </a:lnTo>
                  <a:lnTo>
                    <a:pt x="412" y="524"/>
                  </a:lnTo>
                  <a:lnTo>
                    <a:pt x="412" y="526"/>
                  </a:lnTo>
                  <a:lnTo>
                    <a:pt x="416" y="526"/>
                  </a:lnTo>
                  <a:lnTo>
                    <a:pt x="412" y="528"/>
                  </a:lnTo>
                  <a:lnTo>
                    <a:pt x="412" y="534"/>
                  </a:lnTo>
                  <a:lnTo>
                    <a:pt x="414" y="538"/>
                  </a:lnTo>
                  <a:lnTo>
                    <a:pt x="418" y="540"/>
                  </a:lnTo>
                  <a:lnTo>
                    <a:pt x="418" y="544"/>
                  </a:lnTo>
                  <a:lnTo>
                    <a:pt x="420" y="546"/>
                  </a:lnTo>
                  <a:lnTo>
                    <a:pt x="422" y="546"/>
                  </a:lnTo>
                  <a:lnTo>
                    <a:pt x="424" y="546"/>
                  </a:lnTo>
                  <a:lnTo>
                    <a:pt x="422" y="548"/>
                  </a:lnTo>
                  <a:lnTo>
                    <a:pt x="422" y="550"/>
                  </a:lnTo>
                  <a:lnTo>
                    <a:pt x="424" y="550"/>
                  </a:lnTo>
                  <a:lnTo>
                    <a:pt x="424" y="552"/>
                  </a:lnTo>
                  <a:lnTo>
                    <a:pt x="434" y="552"/>
                  </a:lnTo>
                  <a:lnTo>
                    <a:pt x="434" y="550"/>
                  </a:lnTo>
                  <a:lnTo>
                    <a:pt x="434" y="550"/>
                  </a:lnTo>
                  <a:lnTo>
                    <a:pt x="436" y="550"/>
                  </a:lnTo>
                  <a:lnTo>
                    <a:pt x="436" y="548"/>
                  </a:lnTo>
                  <a:lnTo>
                    <a:pt x="436" y="546"/>
                  </a:lnTo>
                  <a:lnTo>
                    <a:pt x="436" y="548"/>
                  </a:lnTo>
                  <a:lnTo>
                    <a:pt x="434" y="548"/>
                  </a:lnTo>
                  <a:lnTo>
                    <a:pt x="434" y="544"/>
                  </a:lnTo>
                  <a:lnTo>
                    <a:pt x="436" y="542"/>
                  </a:lnTo>
                  <a:lnTo>
                    <a:pt x="436" y="540"/>
                  </a:lnTo>
                  <a:lnTo>
                    <a:pt x="438" y="540"/>
                  </a:lnTo>
                  <a:lnTo>
                    <a:pt x="440" y="540"/>
                  </a:lnTo>
                  <a:lnTo>
                    <a:pt x="438" y="540"/>
                  </a:lnTo>
                  <a:lnTo>
                    <a:pt x="440" y="546"/>
                  </a:lnTo>
                  <a:lnTo>
                    <a:pt x="444" y="544"/>
                  </a:lnTo>
                  <a:lnTo>
                    <a:pt x="442" y="538"/>
                  </a:lnTo>
                  <a:lnTo>
                    <a:pt x="442" y="534"/>
                  </a:lnTo>
                  <a:lnTo>
                    <a:pt x="444" y="524"/>
                  </a:lnTo>
                  <a:lnTo>
                    <a:pt x="446" y="524"/>
                  </a:lnTo>
                  <a:lnTo>
                    <a:pt x="448" y="524"/>
                  </a:lnTo>
                  <a:lnTo>
                    <a:pt x="448" y="516"/>
                  </a:lnTo>
                  <a:lnTo>
                    <a:pt x="448" y="512"/>
                  </a:lnTo>
                  <a:lnTo>
                    <a:pt x="444" y="500"/>
                  </a:lnTo>
                  <a:lnTo>
                    <a:pt x="436" y="506"/>
                  </a:lnTo>
                  <a:lnTo>
                    <a:pt x="434" y="508"/>
                  </a:lnTo>
                  <a:lnTo>
                    <a:pt x="430" y="508"/>
                  </a:lnTo>
                  <a:lnTo>
                    <a:pt x="424" y="506"/>
                  </a:lnTo>
                  <a:lnTo>
                    <a:pt x="412" y="500"/>
                  </a:lnTo>
                  <a:lnTo>
                    <a:pt x="410" y="502"/>
                  </a:lnTo>
                  <a:lnTo>
                    <a:pt x="408" y="502"/>
                  </a:lnTo>
                  <a:lnTo>
                    <a:pt x="404" y="498"/>
                  </a:lnTo>
                  <a:lnTo>
                    <a:pt x="402" y="498"/>
                  </a:lnTo>
                  <a:lnTo>
                    <a:pt x="402" y="49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09" name="Freeform 473">
              <a:extLst>
                <a:ext uri="{FF2B5EF4-FFF2-40B4-BE49-F238E27FC236}">
                  <a16:creationId xmlns:a16="http://schemas.microsoft.com/office/drawing/2014/main" id="{65F795EC-AFC3-48F4-9AF5-A9641450F435}"/>
                </a:ext>
              </a:extLst>
            </p:cNvPr>
            <p:cNvSpPr>
              <a:spLocks noEditPoints="1"/>
            </p:cNvSpPr>
            <p:nvPr/>
          </p:nvSpPr>
          <p:spPr bwMode="auto">
            <a:xfrm>
              <a:off x="216639" y="3037954"/>
              <a:ext cx="1693605" cy="1180862"/>
            </a:xfrm>
            <a:custGeom>
              <a:avLst/>
              <a:gdLst/>
              <a:ahLst/>
              <a:cxnLst>
                <a:cxn ang="0">
                  <a:pos x="1022" y="830"/>
                </a:cxn>
                <a:cxn ang="0">
                  <a:pos x="1052" y="824"/>
                </a:cxn>
                <a:cxn ang="0">
                  <a:pos x="1106" y="844"/>
                </a:cxn>
                <a:cxn ang="0">
                  <a:pos x="1134" y="906"/>
                </a:cxn>
                <a:cxn ang="0">
                  <a:pos x="1120" y="826"/>
                </a:cxn>
                <a:cxn ang="0">
                  <a:pos x="1156" y="772"/>
                </a:cxn>
                <a:cxn ang="0">
                  <a:pos x="1182" y="726"/>
                </a:cxn>
                <a:cxn ang="0">
                  <a:pos x="1182" y="666"/>
                </a:cxn>
                <a:cxn ang="0">
                  <a:pos x="1202" y="690"/>
                </a:cxn>
                <a:cxn ang="0">
                  <a:pos x="1222" y="640"/>
                </a:cxn>
                <a:cxn ang="0">
                  <a:pos x="1270" y="620"/>
                </a:cxn>
                <a:cxn ang="0">
                  <a:pos x="1290" y="574"/>
                </a:cxn>
                <a:cxn ang="0">
                  <a:pos x="1298" y="526"/>
                </a:cxn>
                <a:cxn ang="0">
                  <a:pos x="1194" y="572"/>
                </a:cxn>
                <a:cxn ang="0">
                  <a:pos x="1150" y="600"/>
                </a:cxn>
                <a:cxn ang="0">
                  <a:pos x="1102" y="614"/>
                </a:cxn>
                <a:cxn ang="0">
                  <a:pos x="1094" y="562"/>
                </a:cxn>
                <a:cxn ang="0">
                  <a:pos x="1060" y="606"/>
                </a:cxn>
                <a:cxn ang="0">
                  <a:pos x="1044" y="556"/>
                </a:cxn>
                <a:cxn ang="0">
                  <a:pos x="1052" y="536"/>
                </a:cxn>
                <a:cxn ang="0">
                  <a:pos x="1000" y="528"/>
                </a:cxn>
                <a:cxn ang="0">
                  <a:pos x="978" y="496"/>
                </a:cxn>
                <a:cxn ang="0">
                  <a:pos x="584" y="498"/>
                </a:cxn>
                <a:cxn ang="0">
                  <a:pos x="568" y="566"/>
                </a:cxn>
                <a:cxn ang="0">
                  <a:pos x="576" y="668"/>
                </a:cxn>
                <a:cxn ang="0">
                  <a:pos x="594" y="702"/>
                </a:cxn>
                <a:cxn ang="0">
                  <a:pos x="652" y="772"/>
                </a:cxn>
                <a:cxn ang="0">
                  <a:pos x="830" y="842"/>
                </a:cxn>
                <a:cxn ang="0">
                  <a:pos x="902" y="898"/>
                </a:cxn>
                <a:cxn ang="0">
                  <a:pos x="928" y="852"/>
                </a:cxn>
                <a:cxn ang="0">
                  <a:pos x="990" y="838"/>
                </a:cxn>
                <a:cxn ang="0">
                  <a:pos x="470" y="314"/>
                </a:cxn>
                <a:cxn ang="0">
                  <a:pos x="408" y="266"/>
                </a:cxn>
                <a:cxn ang="0">
                  <a:pos x="332" y="28"/>
                </a:cxn>
                <a:cxn ang="0">
                  <a:pos x="254" y="22"/>
                </a:cxn>
                <a:cxn ang="0">
                  <a:pos x="172" y="12"/>
                </a:cxn>
                <a:cxn ang="0">
                  <a:pos x="100" y="14"/>
                </a:cxn>
                <a:cxn ang="0">
                  <a:pos x="28" y="64"/>
                </a:cxn>
                <a:cxn ang="0">
                  <a:pos x="64" y="100"/>
                </a:cxn>
                <a:cxn ang="0">
                  <a:pos x="78" y="120"/>
                </a:cxn>
                <a:cxn ang="0">
                  <a:pos x="24" y="126"/>
                </a:cxn>
                <a:cxn ang="0">
                  <a:pos x="60" y="152"/>
                </a:cxn>
                <a:cxn ang="0">
                  <a:pos x="52" y="186"/>
                </a:cxn>
                <a:cxn ang="0">
                  <a:pos x="34" y="232"/>
                </a:cxn>
                <a:cxn ang="0">
                  <a:pos x="68" y="250"/>
                </a:cxn>
                <a:cxn ang="0">
                  <a:pos x="98" y="272"/>
                </a:cxn>
                <a:cxn ang="0">
                  <a:pos x="138" y="288"/>
                </a:cxn>
                <a:cxn ang="0">
                  <a:pos x="92" y="342"/>
                </a:cxn>
                <a:cxn ang="0">
                  <a:pos x="90" y="354"/>
                </a:cxn>
                <a:cxn ang="0">
                  <a:pos x="132" y="328"/>
                </a:cxn>
                <a:cxn ang="0">
                  <a:pos x="176" y="274"/>
                </a:cxn>
                <a:cxn ang="0">
                  <a:pos x="226" y="226"/>
                </a:cxn>
                <a:cxn ang="0">
                  <a:pos x="214" y="266"/>
                </a:cxn>
                <a:cxn ang="0">
                  <a:pos x="244" y="256"/>
                </a:cxn>
                <a:cxn ang="0">
                  <a:pos x="276" y="238"/>
                </a:cxn>
                <a:cxn ang="0">
                  <a:pos x="354" y="264"/>
                </a:cxn>
                <a:cxn ang="0">
                  <a:pos x="410" y="306"/>
                </a:cxn>
                <a:cxn ang="0">
                  <a:pos x="426" y="290"/>
                </a:cxn>
                <a:cxn ang="0">
                  <a:pos x="464" y="336"/>
                </a:cxn>
                <a:cxn ang="0">
                  <a:pos x="482" y="364"/>
                </a:cxn>
                <a:cxn ang="0">
                  <a:pos x="500" y="348"/>
                </a:cxn>
              </a:cxnLst>
              <a:rect l="0" t="0" r="r" b="b"/>
              <a:pathLst>
                <a:path w="1308" h="912">
                  <a:moveTo>
                    <a:pt x="994" y="844"/>
                  </a:moveTo>
                  <a:lnTo>
                    <a:pt x="994" y="844"/>
                  </a:lnTo>
                  <a:lnTo>
                    <a:pt x="996" y="844"/>
                  </a:lnTo>
                  <a:lnTo>
                    <a:pt x="1000" y="844"/>
                  </a:lnTo>
                  <a:lnTo>
                    <a:pt x="1002" y="842"/>
                  </a:lnTo>
                  <a:lnTo>
                    <a:pt x="1004" y="842"/>
                  </a:lnTo>
                  <a:lnTo>
                    <a:pt x="1006" y="844"/>
                  </a:lnTo>
                  <a:lnTo>
                    <a:pt x="1004" y="840"/>
                  </a:lnTo>
                  <a:lnTo>
                    <a:pt x="1006" y="836"/>
                  </a:lnTo>
                  <a:lnTo>
                    <a:pt x="1016" y="840"/>
                  </a:lnTo>
                  <a:lnTo>
                    <a:pt x="1016" y="840"/>
                  </a:lnTo>
                  <a:lnTo>
                    <a:pt x="1016" y="842"/>
                  </a:lnTo>
                  <a:lnTo>
                    <a:pt x="1022" y="842"/>
                  </a:lnTo>
                  <a:lnTo>
                    <a:pt x="1022" y="846"/>
                  </a:lnTo>
                  <a:lnTo>
                    <a:pt x="1024" y="846"/>
                  </a:lnTo>
                  <a:lnTo>
                    <a:pt x="1024" y="840"/>
                  </a:lnTo>
                  <a:lnTo>
                    <a:pt x="1020" y="840"/>
                  </a:lnTo>
                  <a:lnTo>
                    <a:pt x="1020" y="838"/>
                  </a:lnTo>
                  <a:lnTo>
                    <a:pt x="1024" y="836"/>
                  </a:lnTo>
                  <a:lnTo>
                    <a:pt x="1024" y="832"/>
                  </a:lnTo>
                  <a:lnTo>
                    <a:pt x="1022" y="830"/>
                  </a:lnTo>
                  <a:lnTo>
                    <a:pt x="1020" y="832"/>
                  </a:lnTo>
                  <a:lnTo>
                    <a:pt x="1018" y="828"/>
                  </a:lnTo>
                  <a:lnTo>
                    <a:pt x="1014" y="830"/>
                  </a:lnTo>
                  <a:lnTo>
                    <a:pt x="1012" y="830"/>
                  </a:lnTo>
                  <a:lnTo>
                    <a:pt x="1012" y="828"/>
                  </a:lnTo>
                  <a:lnTo>
                    <a:pt x="1010" y="826"/>
                  </a:lnTo>
                  <a:lnTo>
                    <a:pt x="1010" y="824"/>
                  </a:lnTo>
                  <a:lnTo>
                    <a:pt x="1014" y="826"/>
                  </a:lnTo>
                  <a:lnTo>
                    <a:pt x="1020" y="826"/>
                  </a:lnTo>
                  <a:lnTo>
                    <a:pt x="1020" y="822"/>
                  </a:lnTo>
                  <a:lnTo>
                    <a:pt x="1026" y="820"/>
                  </a:lnTo>
                  <a:lnTo>
                    <a:pt x="1030" y="822"/>
                  </a:lnTo>
                  <a:lnTo>
                    <a:pt x="1034" y="824"/>
                  </a:lnTo>
                  <a:lnTo>
                    <a:pt x="1038" y="824"/>
                  </a:lnTo>
                  <a:lnTo>
                    <a:pt x="1038" y="820"/>
                  </a:lnTo>
                  <a:lnTo>
                    <a:pt x="1040" y="820"/>
                  </a:lnTo>
                  <a:lnTo>
                    <a:pt x="1042" y="826"/>
                  </a:lnTo>
                  <a:lnTo>
                    <a:pt x="1046" y="826"/>
                  </a:lnTo>
                  <a:lnTo>
                    <a:pt x="1050" y="820"/>
                  </a:lnTo>
                  <a:lnTo>
                    <a:pt x="1052" y="822"/>
                  </a:lnTo>
                  <a:lnTo>
                    <a:pt x="1052" y="824"/>
                  </a:lnTo>
                  <a:lnTo>
                    <a:pt x="1054" y="824"/>
                  </a:lnTo>
                  <a:lnTo>
                    <a:pt x="1056" y="824"/>
                  </a:lnTo>
                  <a:lnTo>
                    <a:pt x="1056" y="820"/>
                  </a:lnTo>
                  <a:lnTo>
                    <a:pt x="1058" y="820"/>
                  </a:lnTo>
                  <a:lnTo>
                    <a:pt x="1062" y="822"/>
                  </a:lnTo>
                  <a:lnTo>
                    <a:pt x="1060" y="824"/>
                  </a:lnTo>
                  <a:lnTo>
                    <a:pt x="1060" y="826"/>
                  </a:lnTo>
                  <a:lnTo>
                    <a:pt x="1062" y="828"/>
                  </a:lnTo>
                  <a:lnTo>
                    <a:pt x="1070" y="828"/>
                  </a:lnTo>
                  <a:lnTo>
                    <a:pt x="1070" y="830"/>
                  </a:lnTo>
                  <a:lnTo>
                    <a:pt x="1072" y="832"/>
                  </a:lnTo>
                  <a:lnTo>
                    <a:pt x="1078" y="836"/>
                  </a:lnTo>
                  <a:lnTo>
                    <a:pt x="1084" y="838"/>
                  </a:lnTo>
                  <a:lnTo>
                    <a:pt x="1086" y="834"/>
                  </a:lnTo>
                  <a:lnTo>
                    <a:pt x="1088" y="830"/>
                  </a:lnTo>
                  <a:lnTo>
                    <a:pt x="1094" y="830"/>
                  </a:lnTo>
                  <a:lnTo>
                    <a:pt x="1098" y="834"/>
                  </a:lnTo>
                  <a:lnTo>
                    <a:pt x="1098" y="838"/>
                  </a:lnTo>
                  <a:lnTo>
                    <a:pt x="1100" y="840"/>
                  </a:lnTo>
                  <a:lnTo>
                    <a:pt x="1102" y="842"/>
                  </a:lnTo>
                  <a:lnTo>
                    <a:pt x="1106" y="844"/>
                  </a:lnTo>
                  <a:lnTo>
                    <a:pt x="1106" y="858"/>
                  </a:lnTo>
                  <a:lnTo>
                    <a:pt x="1104" y="860"/>
                  </a:lnTo>
                  <a:lnTo>
                    <a:pt x="1104" y="866"/>
                  </a:lnTo>
                  <a:lnTo>
                    <a:pt x="1106" y="870"/>
                  </a:lnTo>
                  <a:lnTo>
                    <a:pt x="1110" y="864"/>
                  </a:lnTo>
                  <a:lnTo>
                    <a:pt x="1114" y="864"/>
                  </a:lnTo>
                  <a:lnTo>
                    <a:pt x="1110" y="882"/>
                  </a:lnTo>
                  <a:lnTo>
                    <a:pt x="1114" y="884"/>
                  </a:lnTo>
                  <a:lnTo>
                    <a:pt x="1116" y="886"/>
                  </a:lnTo>
                  <a:lnTo>
                    <a:pt x="1120" y="892"/>
                  </a:lnTo>
                  <a:lnTo>
                    <a:pt x="1120" y="898"/>
                  </a:lnTo>
                  <a:lnTo>
                    <a:pt x="1122" y="900"/>
                  </a:lnTo>
                  <a:lnTo>
                    <a:pt x="1124" y="906"/>
                  </a:lnTo>
                  <a:lnTo>
                    <a:pt x="1126" y="906"/>
                  </a:lnTo>
                  <a:lnTo>
                    <a:pt x="1128" y="906"/>
                  </a:lnTo>
                  <a:lnTo>
                    <a:pt x="1128" y="908"/>
                  </a:lnTo>
                  <a:lnTo>
                    <a:pt x="1130" y="912"/>
                  </a:lnTo>
                  <a:lnTo>
                    <a:pt x="1132" y="912"/>
                  </a:lnTo>
                  <a:lnTo>
                    <a:pt x="1134" y="912"/>
                  </a:lnTo>
                  <a:lnTo>
                    <a:pt x="1134" y="908"/>
                  </a:lnTo>
                  <a:lnTo>
                    <a:pt x="1134" y="906"/>
                  </a:lnTo>
                  <a:lnTo>
                    <a:pt x="1134" y="904"/>
                  </a:lnTo>
                  <a:lnTo>
                    <a:pt x="1138" y="900"/>
                  </a:lnTo>
                  <a:lnTo>
                    <a:pt x="1138" y="892"/>
                  </a:lnTo>
                  <a:lnTo>
                    <a:pt x="1140" y="886"/>
                  </a:lnTo>
                  <a:lnTo>
                    <a:pt x="1138" y="886"/>
                  </a:lnTo>
                  <a:lnTo>
                    <a:pt x="1138" y="884"/>
                  </a:lnTo>
                  <a:lnTo>
                    <a:pt x="1138" y="880"/>
                  </a:lnTo>
                  <a:lnTo>
                    <a:pt x="1136" y="880"/>
                  </a:lnTo>
                  <a:lnTo>
                    <a:pt x="1136" y="874"/>
                  </a:lnTo>
                  <a:lnTo>
                    <a:pt x="1136" y="870"/>
                  </a:lnTo>
                  <a:lnTo>
                    <a:pt x="1132" y="864"/>
                  </a:lnTo>
                  <a:lnTo>
                    <a:pt x="1132" y="862"/>
                  </a:lnTo>
                  <a:lnTo>
                    <a:pt x="1132" y="858"/>
                  </a:lnTo>
                  <a:lnTo>
                    <a:pt x="1130" y="856"/>
                  </a:lnTo>
                  <a:lnTo>
                    <a:pt x="1128" y="854"/>
                  </a:lnTo>
                  <a:lnTo>
                    <a:pt x="1130" y="850"/>
                  </a:lnTo>
                  <a:lnTo>
                    <a:pt x="1126" y="844"/>
                  </a:lnTo>
                  <a:lnTo>
                    <a:pt x="1124" y="840"/>
                  </a:lnTo>
                  <a:lnTo>
                    <a:pt x="1124" y="834"/>
                  </a:lnTo>
                  <a:lnTo>
                    <a:pt x="1122" y="828"/>
                  </a:lnTo>
                  <a:lnTo>
                    <a:pt x="1120" y="826"/>
                  </a:lnTo>
                  <a:lnTo>
                    <a:pt x="1120" y="824"/>
                  </a:lnTo>
                  <a:lnTo>
                    <a:pt x="1122" y="820"/>
                  </a:lnTo>
                  <a:lnTo>
                    <a:pt x="1122" y="816"/>
                  </a:lnTo>
                  <a:lnTo>
                    <a:pt x="1122" y="812"/>
                  </a:lnTo>
                  <a:lnTo>
                    <a:pt x="1124" y="812"/>
                  </a:lnTo>
                  <a:lnTo>
                    <a:pt x="1126" y="802"/>
                  </a:lnTo>
                  <a:lnTo>
                    <a:pt x="1126" y="800"/>
                  </a:lnTo>
                  <a:lnTo>
                    <a:pt x="1132" y="796"/>
                  </a:lnTo>
                  <a:lnTo>
                    <a:pt x="1130" y="792"/>
                  </a:lnTo>
                  <a:lnTo>
                    <a:pt x="1132" y="792"/>
                  </a:lnTo>
                  <a:lnTo>
                    <a:pt x="1136" y="790"/>
                  </a:lnTo>
                  <a:lnTo>
                    <a:pt x="1136" y="788"/>
                  </a:lnTo>
                  <a:lnTo>
                    <a:pt x="1138" y="784"/>
                  </a:lnTo>
                  <a:lnTo>
                    <a:pt x="1140" y="784"/>
                  </a:lnTo>
                  <a:lnTo>
                    <a:pt x="1142" y="784"/>
                  </a:lnTo>
                  <a:lnTo>
                    <a:pt x="1146" y="780"/>
                  </a:lnTo>
                  <a:lnTo>
                    <a:pt x="1146" y="780"/>
                  </a:lnTo>
                  <a:lnTo>
                    <a:pt x="1150" y="780"/>
                  </a:lnTo>
                  <a:lnTo>
                    <a:pt x="1152" y="772"/>
                  </a:lnTo>
                  <a:lnTo>
                    <a:pt x="1154" y="772"/>
                  </a:lnTo>
                  <a:lnTo>
                    <a:pt x="1156" y="772"/>
                  </a:lnTo>
                  <a:lnTo>
                    <a:pt x="1160" y="770"/>
                  </a:lnTo>
                  <a:lnTo>
                    <a:pt x="1162" y="768"/>
                  </a:lnTo>
                  <a:lnTo>
                    <a:pt x="1164" y="768"/>
                  </a:lnTo>
                  <a:lnTo>
                    <a:pt x="1168" y="768"/>
                  </a:lnTo>
                  <a:lnTo>
                    <a:pt x="1174" y="758"/>
                  </a:lnTo>
                  <a:lnTo>
                    <a:pt x="1174" y="756"/>
                  </a:lnTo>
                  <a:lnTo>
                    <a:pt x="1180" y="752"/>
                  </a:lnTo>
                  <a:lnTo>
                    <a:pt x="1178" y="746"/>
                  </a:lnTo>
                  <a:lnTo>
                    <a:pt x="1180" y="746"/>
                  </a:lnTo>
                  <a:lnTo>
                    <a:pt x="1180" y="744"/>
                  </a:lnTo>
                  <a:lnTo>
                    <a:pt x="1182" y="744"/>
                  </a:lnTo>
                  <a:lnTo>
                    <a:pt x="1180" y="738"/>
                  </a:lnTo>
                  <a:lnTo>
                    <a:pt x="1186" y="736"/>
                  </a:lnTo>
                  <a:lnTo>
                    <a:pt x="1186" y="738"/>
                  </a:lnTo>
                  <a:lnTo>
                    <a:pt x="1190" y="740"/>
                  </a:lnTo>
                  <a:lnTo>
                    <a:pt x="1194" y="736"/>
                  </a:lnTo>
                  <a:lnTo>
                    <a:pt x="1194" y="734"/>
                  </a:lnTo>
                  <a:lnTo>
                    <a:pt x="1190" y="736"/>
                  </a:lnTo>
                  <a:lnTo>
                    <a:pt x="1190" y="732"/>
                  </a:lnTo>
                  <a:lnTo>
                    <a:pt x="1182" y="730"/>
                  </a:lnTo>
                  <a:lnTo>
                    <a:pt x="1182" y="726"/>
                  </a:lnTo>
                  <a:lnTo>
                    <a:pt x="1186" y="726"/>
                  </a:lnTo>
                  <a:lnTo>
                    <a:pt x="1190" y="724"/>
                  </a:lnTo>
                  <a:lnTo>
                    <a:pt x="1190" y="724"/>
                  </a:lnTo>
                  <a:lnTo>
                    <a:pt x="1190" y="722"/>
                  </a:lnTo>
                  <a:lnTo>
                    <a:pt x="1188" y="720"/>
                  </a:lnTo>
                  <a:lnTo>
                    <a:pt x="1190" y="720"/>
                  </a:lnTo>
                  <a:lnTo>
                    <a:pt x="1190" y="718"/>
                  </a:lnTo>
                  <a:lnTo>
                    <a:pt x="1180" y="714"/>
                  </a:lnTo>
                  <a:lnTo>
                    <a:pt x="1180" y="710"/>
                  </a:lnTo>
                  <a:lnTo>
                    <a:pt x="1180" y="708"/>
                  </a:lnTo>
                  <a:lnTo>
                    <a:pt x="1186" y="706"/>
                  </a:lnTo>
                  <a:lnTo>
                    <a:pt x="1184" y="702"/>
                  </a:lnTo>
                  <a:lnTo>
                    <a:pt x="1180" y="698"/>
                  </a:lnTo>
                  <a:lnTo>
                    <a:pt x="1182" y="698"/>
                  </a:lnTo>
                  <a:lnTo>
                    <a:pt x="1182" y="696"/>
                  </a:lnTo>
                  <a:lnTo>
                    <a:pt x="1178" y="690"/>
                  </a:lnTo>
                  <a:lnTo>
                    <a:pt x="1180" y="688"/>
                  </a:lnTo>
                  <a:lnTo>
                    <a:pt x="1180" y="682"/>
                  </a:lnTo>
                  <a:lnTo>
                    <a:pt x="1180" y="682"/>
                  </a:lnTo>
                  <a:lnTo>
                    <a:pt x="1182" y="674"/>
                  </a:lnTo>
                  <a:lnTo>
                    <a:pt x="1182" y="666"/>
                  </a:lnTo>
                  <a:lnTo>
                    <a:pt x="1186" y="666"/>
                  </a:lnTo>
                  <a:lnTo>
                    <a:pt x="1188" y="664"/>
                  </a:lnTo>
                  <a:lnTo>
                    <a:pt x="1194" y="664"/>
                  </a:lnTo>
                  <a:lnTo>
                    <a:pt x="1194" y="662"/>
                  </a:lnTo>
                  <a:lnTo>
                    <a:pt x="1196" y="660"/>
                  </a:lnTo>
                  <a:lnTo>
                    <a:pt x="1196" y="664"/>
                  </a:lnTo>
                  <a:lnTo>
                    <a:pt x="1188" y="672"/>
                  </a:lnTo>
                  <a:lnTo>
                    <a:pt x="1190" y="674"/>
                  </a:lnTo>
                  <a:lnTo>
                    <a:pt x="1188" y="676"/>
                  </a:lnTo>
                  <a:lnTo>
                    <a:pt x="1184" y="678"/>
                  </a:lnTo>
                  <a:lnTo>
                    <a:pt x="1186" y="680"/>
                  </a:lnTo>
                  <a:lnTo>
                    <a:pt x="1186" y="682"/>
                  </a:lnTo>
                  <a:lnTo>
                    <a:pt x="1188" y="684"/>
                  </a:lnTo>
                  <a:lnTo>
                    <a:pt x="1186" y="684"/>
                  </a:lnTo>
                  <a:lnTo>
                    <a:pt x="1186" y="688"/>
                  </a:lnTo>
                  <a:lnTo>
                    <a:pt x="1186" y="692"/>
                  </a:lnTo>
                  <a:lnTo>
                    <a:pt x="1194" y="690"/>
                  </a:lnTo>
                  <a:lnTo>
                    <a:pt x="1194" y="696"/>
                  </a:lnTo>
                  <a:lnTo>
                    <a:pt x="1202" y="694"/>
                  </a:lnTo>
                  <a:lnTo>
                    <a:pt x="1202" y="692"/>
                  </a:lnTo>
                  <a:lnTo>
                    <a:pt x="1202" y="690"/>
                  </a:lnTo>
                  <a:lnTo>
                    <a:pt x="1202" y="688"/>
                  </a:lnTo>
                  <a:lnTo>
                    <a:pt x="1202" y="686"/>
                  </a:lnTo>
                  <a:lnTo>
                    <a:pt x="1204" y="686"/>
                  </a:lnTo>
                  <a:lnTo>
                    <a:pt x="1204" y="682"/>
                  </a:lnTo>
                  <a:lnTo>
                    <a:pt x="1202" y="682"/>
                  </a:lnTo>
                  <a:lnTo>
                    <a:pt x="1204" y="678"/>
                  </a:lnTo>
                  <a:lnTo>
                    <a:pt x="1204" y="676"/>
                  </a:lnTo>
                  <a:lnTo>
                    <a:pt x="1202" y="676"/>
                  </a:lnTo>
                  <a:lnTo>
                    <a:pt x="1200" y="670"/>
                  </a:lnTo>
                  <a:lnTo>
                    <a:pt x="1200" y="666"/>
                  </a:lnTo>
                  <a:lnTo>
                    <a:pt x="1204" y="668"/>
                  </a:lnTo>
                  <a:lnTo>
                    <a:pt x="1208" y="670"/>
                  </a:lnTo>
                  <a:lnTo>
                    <a:pt x="1212" y="670"/>
                  </a:lnTo>
                  <a:lnTo>
                    <a:pt x="1218" y="660"/>
                  </a:lnTo>
                  <a:lnTo>
                    <a:pt x="1220" y="662"/>
                  </a:lnTo>
                  <a:lnTo>
                    <a:pt x="1222" y="656"/>
                  </a:lnTo>
                  <a:lnTo>
                    <a:pt x="1222" y="646"/>
                  </a:lnTo>
                  <a:lnTo>
                    <a:pt x="1220" y="646"/>
                  </a:lnTo>
                  <a:lnTo>
                    <a:pt x="1220" y="642"/>
                  </a:lnTo>
                  <a:lnTo>
                    <a:pt x="1222" y="642"/>
                  </a:lnTo>
                  <a:lnTo>
                    <a:pt x="1222" y="640"/>
                  </a:lnTo>
                  <a:lnTo>
                    <a:pt x="1230" y="632"/>
                  </a:lnTo>
                  <a:lnTo>
                    <a:pt x="1230" y="630"/>
                  </a:lnTo>
                  <a:lnTo>
                    <a:pt x="1234" y="630"/>
                  </a:lnTo>
                  <a:lnTo>
                    <a:pt x="1236" y="630"/>
                  </a:lnTo>
                  <a:lnTo>
                    <a:pt x="1238" y="628"/>
                  </a:lnTo>
                  <a:lnTo>
                    <a:pt x="1242" y="628"/>
                  </a:lnTo>
                  <a:lnTo>
                    <a:pt x="1242" y="624"/>
                  </a:lnTo>
                  <a:lnTo>
                    <a:pt x="1246" y="624"/>
                  </a:lnTo>
                  <a:lnTo>
                    <a:pt x="1250" y="624"/>
                  </a:lnTo>
                  <a:lnTo>
                    <a:pt x="1250" y="626"/>
                  </a:lnTo>
                  <a:lnTo>
                    <a:pt x="1252" y="626"/>
                  </a:lnTo>
                  <a:lnTo>
                    <a:pt x="1254" y="626"/>
                  </a:lnTo>
                  <a:lnTo>
                    <a:pt x="1252" y="624"/>
                  </a:lnTo>
                  <a:lnTo>
                    <a:pt x="1252" y="622"/>
                  </a:lnTo>
                  <a:lnTo>
                    <a:pt x="1254" y="618"/>
                  </a:lnTo>
                  <a:lnTo>
                    <a:pt x="1256" y="618"/>
                  </a:lnTo>
                  <a:lnTo>
                    <a:pt x="1260" y="618"/>
                  </a:lnTo>
                  <a:lnTo>
                    <a:pt x="1260" y="622"/>
                  </a:lnTo>
                  <a:lnTo>
                    <a:pt x="1264" y="622"/>
                  </a:lnTo>
                  <a:lnTo>
                    <a:pt x="1266" y="620"/>
                  </a:lnTo>
                  <a:lnTo>
                    <a:pt x="1270" y="620"/>
                  </a:lnTo>
                  <a:lnTo>
                    <a:pt x="1268" y="616"/>
                  </a:lnTo>
                  <a:lnTo>
                    <a:pt x="1262" y="614"/>
                  </a:lnTo>
                  <a:lnTo>
                    <a:pt x="1260" y="612"/>
                  </a:lnTo>
                  <a:lnTo>
                    <a:pt x="1260" y="610"/>
                  </a:lnTo>
                  <a:lnTo>
                    <a:pt x="1266" y="610"/>
                  </a:lnTo>
                  <a:lnTo>
                    <a:pt x="1264" y="604"/>
                  </a:lnTo>
                  <a:lnTo>
                    <a:pt x="1264" y="602"/>
                  </a:lnTo>
                  <a:lnTo>
                    <a:pt x="1270" y="596"/>
                  </a:lnTo>
                  <a:lnTo>
                    <a:pt x="1270" y="594"/>
                  </a:lnTo>
                  <a:lnTo>
                    <a:pt x="1268" y="594"/>
                  </a:lnTo>
                  <a:lnTo>
                    <a:pt x="1272" y="586"/>
                  </a:lnTo>
                  <a:lnTo>
                    <a:pt x="1276" y="586"/>
                  </a:lnTo>
                  <a:lnTo>
                    <a:pt x="1276" y="588"/>
                  </a:lnTo>
                  <a:lnTo>
                    <a:pt x="1276" y="586"/>
                  </a:lnTo>
                  <a:lnTo>
                    <a:pt x="1278" y="584"/>
                  </a:lnTo>
                  <a:lnTo>
                    <a:pt x="1280" y="586"/>
                  </a:lnTo>
                  <a:lnTo>
                    <a:pt x="1280" y="588"/>
                  </a:lnTo>
                  <a:lnTo>
                    <a:pt x="1282" y="588"/>
                  </a:lnTo>
                  <a:lnTo>
                    <a:pt x="1282" y="584"/>
                  </a:lnTo>
                  <a:lnTo>
                    <a:pt x="1286" y="586"/>
                  </a:lnTo>
                  <a:lnTo>
                    <a:pt x="1290" y="574"/>
                  </a:lnTo>
                  <a:lnTo>
                    <a:pt x="1292" y="580"/>
                  </a:lnTo>
                  <a:lnTo>
                    <a:pt x="1296" y="580"/>
                  </a:lnTo>
                  <a:lnTo>
                    <a:pt x="1296" y="576"/>
                  </a:lnTo>
                  <a:lnTo>
                    <a:pt x="1300" y="580"/>
                  </a:lnTo>
                  <a:lnTo>
                    <a:pt x="1302" y="578"/>
                  </a:lnTo>
                  <a:lnTo>
                    <a:pt x="1302" y="578"/>
                  </a:lnTo>
                  <a:lnTo>
                    <a:pt x="1304" y="574"/>
                  </a:lnTo>
                  <a:lnTo>
                    <a:pt x="1308" y="572"/>
                  </a:lnTo>
                  <a:lnTo>
                    <a:pt x="1306" y="562"/>
                  </a:lnTo>
                  <a:lnTo>
                    <a:pt x="1306" y="560"/>
                  </a:lnTo>
                  <a:lnTo>
                    <a:pt x="1304" y="560"/>
                  </a:lnTo>
                  <a:lnTo>
                    <a:pt x="1304" y="558"/>
                  </a:lnTo>
                  <a:lnTo>
                    <a:pt x="1302" y="556"/>
                  </a:lnTo>
                  <a:lnTo>
                    <a:pt x="1304" y="554"/>
                  </a:lnTo>
                  <a:lnTo>
                    <a:pt x="1302" y="552"/>
                  </a:lnTo>
                  <a:lnTo>
                    <a:pt x="1302" y="552"/>
                  </a:lnTo>
                  <a:lnTo>
                    <a:pt x="1300" y="552"/>
                  </a:lnTo>
                  <a:lnTo>
                    <a:pt x="1300" y="546"/>
                  </a:lnTo>
                  <a:lnTo>
                    <a:pt x="1300" y="532"/>
                  </a:lnTo>
                  <a:lnTo>
                    <a:pt x="1300" y="528"/>
                  </a:lnTo>
                  <a:lnTo>
                    <a:pt x="1298" y="526"/>
                  </a:lnTo>
                  <a:lnTo>
                    <a:pt x="1292" y="522"/>
                  </a:lnTo>
                  <a:lnTo>
                    <a:pt x="1288" y="522"/>
                  </a:lnTo>
                  <a:lnTo>
                    <a:pt x="1286" y="526"/>
                  </a:lnTo>
                  <a:lnTo>
                    <a:pt x="1284" y="528"/>
                  </a:lnTo>
                  <a:lnTo>
                    <a:pt x="1284" y="526"/>
                  </a:lnTo>
                  <a:lnTo>
                    <a:pt x="1282" y="522"/>
                  </a:lnTo>
                  <a:lnTo>
                    <a:pt x="1280" y="522"/>
                  </a:lnTo>
                  <a:lnTo>
                    <a:pt x="1278" y="524"/>
                  </a:lnTo>
                  <a:lnTo>
                    <a:pt x="1276" y="532"/>
                  </a:lnTo>
                  <a:lnTo>
                    <a:pt x="1272" y="536"/>
                  </a:lnTo>
                  <a:lnTo>
                    <a:pt x="1272" y="542"/>
                  </a:lnTo>
                  <a:lnTo>
                    <a:pt x="1270" y="544"/>
                  </a:lnTo>
                  <a:lnTo>
                    <a:pt x="1266" y="548"/>
                  </a:lnTo>
                  <a:lnTo>
                    <a:pt x="1260" y="554"/>
                  </a:lnTo>
                  <a:lnTo>
                    <a:pt x="1256" y="554"/>
                  </a:lnTo>
                  <a:lnTo>
                    <a:pt x="1256" y="556"/>
                  </a:lnTo>
                  <a:lnTo>
                    <a:pt x="1240" y="560"/>
                  </a:lnTo>
                  <a:lnTo>
                    <a:pt x="1218" y="562"/>
                  </a:lnTo>
                  <a:lnTo>
                    <a:pt x="1214" y="560"/>
                  </a:lnTo>
                  <a:lnTo>
                    <a:pt x="1204" y="566"/>
                  </a:lnTo>
                  <a:lnTo>
                    <a:pt x="1194" y="572"/>
                  </a:lnTo>
                  <a:lnTo>
                    <a:pt x="1192" y="574"/>
                  </a:lnTo>
                  <a:lnTo>
                    <a:pt x="1192" y="576"/>
                  </a:lnTo>
                  <a:lnTo>
                    <a:pt x="1196" y="572"/>
                  </a:lnTo>
                  <a:lnTo>
                    <a:pt x="1196" y="574"/>
                  </a:lnTo>
                  <a:lnTo>
                    <a:pt x="1196" y="578"/>
                  </a:lnTo>
                  <a:lnTo>
                    <a:pt x="1190" y="580"/>
                  </a:lnTo>
                  <a:lnTo>
                    <a:pt x="1192" y="582"/>
                  </a:lnTo>
                  <a:lnTo>
                    <a:pt x="1192" y="586"/>
                  </a:lnTo>
                  <a:lnTo>
                    <a:pt x="1188" y="588"/>
                  </a:lnTo>
                  <a:lnTo>
                    <a:pt x="1190" y="590"/>
                  </a:lnTo>
                  <a:lnTo>
                    <a:pt x="1188" y="592"/>
                  </a:lnTo>
                  <a:lnTo>
                    <a:pt x="1184" y="592"/>
                  </a:lnTo>
                  <a:lnTo>
                    <a:pt x="1180" y="594"/>
                  </a:lnTo>
                  <a:lnTo>
                    <a:pt x="1180" y="596"/>
                  </a:lnTo>
                  <a:lnTo>
                    <a:pt x="1178" y="596"/>
                  </a:lnTo>
                  <a:lnTo>
                    <a:pt x="1174" y="596"/>
                  </a:lnTo>
                  <a:lnTo>
                    <a:pt x="1172" y="598"/>
                  </a:lnTo>
                  <a:lnTo>
                    <a:pt x="1162" y="596"/>
                  </a:lnTo>
                  <a:lnTo>
                    <a:pt x="1152" y="596"/>
                  </a:lnTo>
                  <a:lnTo>
                    <a:pt x="1152" y="598"/>
                  </a:lnTo>
                  <a:lnTo>
                    <a:pt x="1150" y="600"/>
                  </a:lnTo>
                  <a:lnTo>
                    <a:pt x="1154" y="604"/>
                  </a:lnTo>
                  <a:lnTo>
                    <a:pt x="1148" y="610"/>
                  </a:lnTo>
                  <a:lnTo>
                    <a:pt x="1142" y="614"/>
                  </a:lnTo>
                  <a:lnTo>
                    <a:pt x="1136" y="614"/>
                  </a:lnTo>
                  <a:lnTo>
                    <a:pt x="1132" y="618"/>
                  </a:lnTo>
                  <a:lnTo>
                    <a:pt x="1126" y="618"/>
                  </a:lnTo>
                  <a:lnTo>
                    <a:pt x="1120" y="620"/>
                  </a:lnTo>
                  <a:lnTo>
                    <a:pt x="1120" y="622"/>
                  </a:lnTo>
                  <a:lnTo>
                    <a:pt x="1116" y="626"/>
                  </a:lnTo>
                  <a:lnTo>
                    <a:pt x="1110" y="630"/>
                  </a:lnTo>
                  <a:lnTo>
                    <a:pt x="1106" y="630"/>
                  </a:lnTo>
                  <a:lnTo>
                    <a:pt x="1102" y="628"/>
                  </a:lnTo>
                  <a:lnTo>
                    <a:pt x="1104" y="628"/>
                  </a:lnTo>
                  <a:lnTo>
                    <a:pt x="1104" y="626"/>
                  </a:lnTo>
                  <a:lnTo>
                    <a:pt x="1102" y="626"/>
                  </a:lnTo>
                  <a:lnTo>
                    <a:pt x="1100" y="624"/>
                  </a:lnTo>
                  <a:lnTo>
                    <a:pt x="1100" y="622"/>
                  </a:lnTo>
                  <a:lnTo>
                    <a:pt x="1096" y="624"/>
                  </a:lnTo>
                  <a:lnTo>
                    <a:pt x="1096" y="620"/>
                  </a:lnTo>
                  <a:lnTo>
                    <a:pt x="1102" y="616"/>
                  </a:lnTo>
                  <a:lnTo>
                    <a:pt x="1102" y="614"/>
                  </a:lnTo>
                  <a:lnTo>
                    <a:pt x="1106" y="610"/>
                  </a:lnTo>
                  <a:lnTo>
                    <a:pt x="1108" y="610"/>
                  </a:lnTo>
                  <a:lnTo>
                    <a:pt x="1108" y="608"/>
                  </a:lnTo>
                  <a:lnTo>
                    <a:pt x="1110" y="602"/>
                  </a:lnTo>
                  <a:lnTo>
                    <a:pt x="1110" y="598"/>
                  </a:lnTo>
                  <a:lnTo>
                    <a:pt x="1108" y="600"/>
                  </a:lnTo>
                  <a:lnTo>
                    <a:pt x="1110" y="600"/>
                  </a:lnTo>
                  <a:lnTo>
                    <a:pt x="1108" y="594"/>
                  </a:lnTo>
                  <a:lnTo>
                    <a:pt x="1106" y="586"/>
                  </a:lnTo>
                  <a:lnTo>
                    <a:pt x="1104" y="584"/>
                  </a:lnTo>
                  <a:lnTo>
                    <a:pt x="1098" y="582"/>
                  </a:lnTo>
                  <a:lnTo>
                    <a:pt x="1096" y="586"/>
                  </a:lnTo>
                  <a:lnTo>
                    <a:pt x="1094" y="588"/>
                  </a:lnTo>
                  <a:lnTo>
                    <a:pt x="1092" y="588"/>
                  </a:lnTo>
                  <a:lnTo>
                    <a:pt x="1090" y="586"/>
                  </a:lnTo>
                  <a:lnTo>
                    <a:pt x="1090" y="584"/>
                  </a:lnTo>
                  <a:lnTo>
                    <a:pt x="1094" y="584"/>
                  </a:lnTo>
                  <a:lnTo>
                    <a:pt x="1096" y="576"/>
                  </a:lnTo>
                  <a:lnTo>
                    <a:pt x="1098" y="570"/>
                  </a:lnTo>
                  <a:lnTo>
                    <a:pt x="1098" y="566"/>
                  </a:lnTo>
                  <a:lnTo>
                    <a:pt x="1094" y="562"/>
                  </a:lnTo>
                  <a:lnTo>
                    <a:pt x="1094" y="560"/>
                  </a:lnTo>
                  <a:lnTo>
                    <a:pt x="1096" y="558"/>
                  </a:lnTo>
                  <a:lnTo>
                    <a:pt x="1092" y="554"/>
                  </a:lnTo>
                  <a:lnTo>
                    <a:pt x="1088" y="554"/>
                  </a:lnTo>
                  <a:lnTo>
                    <a:pt x="1084" y="552"/>
                  </a:lnTo>
                  <a:lnTo>
                    <a:pt x="1082" y="550"/>
                  </a:lnTo>
                  <a:lnTo>
                    <a:pt x="1078" y="550"/>
                  </a:lnTo>
                  <a:lnTo>
                    <a:pt x="1076" y="552"/>
                  </a:lnTo>
                  <a:lnTo>
                    <a:pt x="1076" y="554"/>
                  </a:lnTo>
                  <a:lnTo>
                    <a:pt x="1074" y="556"/>
                  </a:lnTo>
                  <a:lnTo>
                    <a:pt x="1072" y="556"/>
                  </a:lnTo>
                  <a:lnTo>
                    <a:pt x="1070" y="558"/>
                  </a:lnTo>
                  <a:lnTo>
                    <a:pt x="1068" y="562"/>
                  </a:lnTo>
                  <a:lnTo>
                    <a:pt x="1062" y="564"/>
                  </a:lnTo>
                  <a:lnTo>
                    <a:pt x="1060" y="578"/>
                  </a:lnTo>
                  <a:lnTo>
                    <a:pt x="1058" y="578"/>
                  </a:lnTo>
                  <a:lnTo>
                    <a:pt x="1058" y="580"/>
                  </a:lnTo>
                  <a:lnTo>
                    <a:pt x="1058" y="586"/>
                  </a:lnTo>
                  <a:lnTo>
                    <a:pt x="1058" y="594"/>
                  </a:lnTo>
                  <a:lnTo>
                    <a:pt x="1060" y="596"/>
                  </a:lnTo>
                  <a:lnTo>
                    <a:pt x="1060" y="606"/>
                  </a:lnTo>
                  <a:lnTo>
                    <a:pt x="1052" y="622"/>
                  </a:lnTo>
                  <a:lnTo>
                    <a:pt x="1048" y="622"/>
                  </a:lnTo>
                  <a:lnTo>
                    <a:pt x="1046" y="622"/>
                  </a:lnTo>
                  <a:lnTo>
                    <a:pt x="1042" y="620"/>
                  </a:lnTo>
                  <a:lnTo>
                    <a:pt x="1042" y="614"/>
                  </a:lnTo>
                  <a:lnTo>
                    <a:pt x="1040" y="610"/>
                  </a:lnTo>
                  <a:lnTo>
                    <a:pt x="1038" y="596"/>
                  </a:lnTo>
                  <a:lnTo>
                    <a:pt x="1040" y="588"/>
                  </a:lnTo>
                  <a:lnTo>
                    <a:pt x="1042" y="582"/>
                  </a:lnTo>
                  <a:lnTo>
                    <a:pt x="1046" y="574"/>
                  </a:lnTo>
                  <a:lnTo>
                    <a:pt x="1048" y="568"/>
                  </a:lnTo>
                  <a:lnTo>
                    <a:pt x="1048" y="562"/>
                  </a:lnTo>
                  <a:lnTo>
                    <a:pt x="1046" y="564"/>
                  </a:lnTo>
                  <a:lnTo>
                    <a:pt x="1042" y="566"/>
                  </a:lnTo>
                  <a:lnTo>
                    <a:pt x="1042" y="570"/>
                  </a:lnTo>
                  <a:lnTo>
                    <a:pt x="1040" y="572"/>
                  </a:lnTo>
                  <a:lnTo>
                    <a:pt x="1038" y="572"/>
                  </a:lnTo>
                  <a:lnTo>
                    <a:pt x="1038" y="566"/>
                  </a:lnTo>
                  <a:lnTo>
                    <a:pt x="1040" y="564"/>
                  </a:lnTo>
                  <a:lnTo>
                    <a:pt x="1044" y="562"/>
                  </a:lnTo>
                  <a:lnTo>
                    <a:pt x="1044" y="556"/>
                  </a:lnTo>
                  <a:lnTo>
                    <a:pt x="1050" y="548"/>
                  </a:lnTo>
                  <a:lnTo>
                    <a:pt x="1054" y="550"/>
                  </a:lnTo>
                  <a:lnTo>
                    <a:pt x="1056" y="550"/>
                  </a:lnTo>
                  <a:lnTo>
                    <a:pt x="1056" y="546"/>
                  </a:lnTo>
                  <a:lnTo>
                    <a:pt x="1060" y="548"/>
                  </a:lnTo>
                  <a:lnTo>
                    <a:pt x="1066" y="546"/>
                  </a:lnTo>
                  <a:lnTo>
                    <a:pt x="1068" y="542"/>
                  </a:lnTo>
                  <a:lnTo>
                    <a:pt x="1070" y="542"/>
                  </a:lnTo>
                  <a:lnTo>
                    <a:pt x="1072" y="544"/>
                  </a:lnTo>
                  <a:lnTo>
                    <a:pt x="1076" y="546"/>
                  </a:lnTo>
                  <a:lnTo>
                    <a:pt x="1080" y="546"/>
                  </a:lnTo>
                  <a:lnTo>
                    <a:pt x="1080" y="544"/>
                  </a:lnTo>
                  <a:lnTo>
                    <a:pt x="1084" y="544"/>
                  </a:lnTo>
                  <a:lnTo>
                    <a:pt x="1084" y="546"/>
                  </a:lnTo>
                  <a:lnTo>
                    <a:pt x="1088" y="546"/>
                  </a:lnTo>
                  <a:lnTo>
                    <a:pt x="1088" y="544"/>
                  </a:lnTo>
                  <a:lnTo>
                    <a:pt x="1084" y="538"/>
                  </a:lnTo>
                  <a:lnTo>
                    <a:pt x="1076" y="538"/>
                  </a:lnTo>
                  <a:lnTo>
                    <a:pt x="1074" y="528"/>
                  </a:lnTo>
                  <a:lnTo>
                    <a:pt x="1060" y="534"/>
                  </a:lnTo>
                  <a:lnTo>
                    <a:pt x="1052" y="536"/>
                  </a:lnTo>
                  <a:lnTo>
                    <a:pt x="1044" y="534"/>
                  </a:lnTo>
                  <a:lnTo>
                    <a:pt x="1042" y="526"/>
                  </a:lnTo>
                  <a:lnTo>
                    <a:pt x="1032" y="528"/>
                  </a:lnTo>
                  <a:lnTo>
                    <a:pt x="1030" y="526"/>
                  </a:lnTo>
                  <a:lnTo>
                    <a:pt x="1030" y="524"/>
                  </a:lnTo>
                  <a:lnTo>
                    <a:pt x="1030" y="522"/>
                  </a:lnTo>
                  <a:lnTo>
                    <a:pt x="1032" y="522"/>
                  </a:lnTo>
                  <a:lnTo>
                    <a:pt x="1034" y="522"/>
                  </a:lnTo>
                  <a:lnTo>
                    <a:pt x="1038" y="520"/>
                  </a:lnTo>
                  <a:lnTo>
                    <a:pt x="1040" y="516"/>
                  </a:lnTo>
                  <a:lnTo>
                    <a:pt x="1038" y="516"/>
                  </a:lnTo>
                  <a:lnTo>
                    <a:pt x="1034" y="514"/>
                  </a:lnTo>
                  <a:lnTo>
                    <a:pt x="1034" y="516"/>
                  </a:lnTo>
                  <a:lnTo>
                    <a:pt x="1028" y="518"/>
                  </a:lnTo>
                  <a:lnTo>
                    <a:pt x="1028" y="520"/>
                  </a:lnTo>
                  <a:lnTo>
                    <a:pt x="1020" y="526"/>
                  </a:lnTo>
                  <a:lnTo>
                    <a:pt x="1012" y="528"/>
                  </a:lnTo>
                  <a:lnTo>
                    <a:pt x="1010" y="532"/>
                  </a:lnTo>
                  <a:lnTo>
                    <a:pt x="1006" y="532"/>
                  </a:lnTo>
                  <a:lnTo>
                    <a:pt x="1004" y="532"/>
                  </a:lnTo>
                  <a:lnTo>
                    <a:pt x="1000" y="528"/>
                  </a:lnTo>
                  <a:lnTo>
                    <a:pt x="1000" y="526"/>
                  </a:lnTo>
                  <a:lnTo>
                    <a:pt x="994" y="528"/>
                  </a:lnTo>
                  <a:lnTo>
                    <a:pt x="992" y="528"/>
                  </a:lnTo>
                  <a:lnTo>
                    <a:pt x="986" y="528"/>
                  </a:lnTo>
                  <a:lnTo>
                    <a:pt x="994" y="522"/>
                  </a:lnTo>
                  <a:lnTo>
                    <a:pt x="994" y="518"/>
                  </a:lnTo>
                  <a:lnTo>
                    <a:pt x="998" y="518"/>
                  </a:lnTo>
                  <a:lnTo>
                    <a:pt x="1004" y="512"/>
                  </a:lnTo>
                  <a:lnTo>
                    <a:pt x="1008" y="512"/>
                  </a:lnTo>
                  <a:lnTo>
                    <a:pt x="1010" y="508"/>
                  </a:lnTo>
                  <a:lnTo>
                    <a:pt x="1016" y="504"/>
                  </a:lnTo>
                  <a:lnTo>
                    <a:pt x="1014" y="504"/>
                  </a:lnTo>
                  <a:lnTo>
                    <a:pt x="1010" y="502"/>
                  </a:lnTo>
                  <a:lnTo>
                    <a:pt x="1008" y="500"/>
                  </a:lnTo>
                  <a:lnTo>
                    <a:pt x="1006" y="500"/>
                  </a:lnTo>
                  <a:lnTo>
                    <a:pt x="1002" y="500"/>
                  </a:lnTo>
                  <a:lnTo>
                    <a:pt x="994" y="500"/>
                  </a:lnTo>
                  <a:lnTo>
                    <a:pt x="992" y="500"/>
                  </a:lnTo>
                  <a:lnTo>
                    <a:pt x="988" y="500"/>
                  </a:lnTo>
                  <a:lnTo>
                    <a:pt x="984" y="496"/>
                  </a:lnTo>
                  <a:lnTo>
                    <a:pt x="978" y="496"/>
                  </a:lnTo>
                  <a:lnTo>
                    <a:pt x="974" y="496"/>
                  </a:lnTo>
                  <a:lnTo>
                    <a:pt x="972" y="496"/>
                  </a:lnTo>
                  <a:lnTo>
                    <a:pt x="972" y="496"/>
                  </a:lnTo>
                  <a:lnTo>
                    <a:pt x="970" y="498"/>
                  </a:lnTo>
                  <a:lnTo>
                    <a:pt x="968" y="498"/>
                  </a:lnTo>
                  <a:lnTo>
                    <a:pt x="962" y="496"/>
                  </a:lnTo>
                  <a:lnTo>
                    <a:pt x="958" y="496"/>
                  </a:lnTo>
                  <a:lnTo>
                    <a:pt x="956" y="496"/>
                  </a:lnTo>
                  <a:lnTo>
                    <a:pt x="954" y="490"/>
                  </a:lnTo>
                  <a:lnTo>
                    <a:pt x="952" y="484"/>
                  </a:lnTo>
                  <a:lnTo>
                    <a:pt x="950" y="482"/>
                  </a:lnTo>
                  <a:lnTo>
                    <a:pt x="948" y="484"/>
                  </a:lnTo>
                  <a:lnTo>
                    <a:pt x="948" y="486"/>
                  </a:lnTo>
                  <a:lnTo>
                    <a:pt x="946" y="490"/>
                  </a:lnTo>
                  <a:lnTo>
                    <a:pt x="592" y="484"/>
                  </a:lnTo>
                  <a:lnTo>
                    <a:pt x="590" y="488"/>
                  </a:lnTo>
                  <a:lnTo>
                    <a:pt x="586" y="490"/>
                  </a:lnTo>
                  <a:lnTo>
                    <a:pt x="586" y="492"/>
                  </a:lnTo>
                  <a:lnTo>
                    <a:pt x="590" y="496"/>
                  </a:lnTo>
                  <a:lnTo>
                    <a:pt x="584" y="496"/>
                  </a:lnTo>
                  <a:lnTo>
                    <a:pt x="584" y="498"/>
                  </a:lnTo>
                  <a:lnTo>
                    <a:pt x="572" y="496"/>
                  </a:lnTo>
                  <a:lnTo>
                    <a:pt x="560" y="496"/>
                  </a:lnTo>
                  <a:lnTo>
                    <a:pt x="562" y="500"/>
                  </a:lnTo>
                  <a:lnTo>
                    <a:pt x="562" y="504"/>
                  </a:lnTo>
                  <a:lnTo>
                    <a:pt x="564" y="508"/>
                  </a:lnTo>
                  <a:lnTo>
                    <a:pt x="566" y="510"/>
                  </a:lnTo>
                  <a:lnTo>
                    <a:pt x="568" y="514"/>
                  </a:lnTo>
                  <a:lnTo>
                    <a:pt x="568" y="520"/>
                  </a:lnTo>
                  <a:lnTo>
                    <a:pt x="570" y="520"/>
                  </a:lnTo>
                  <a:lnTo>
                    <a:pt x="570" y="522"/>
                  </a:lnTo>
                  <a:lnTo>
                    <a:pt x="570" y="524"/>
                  </a:lnTo>
                  <a:lnTo>
                    <a:pt x="572" y="524"/>
                  </a:lnTo>
                  <a:lnTo>
                    <a:pt x="572" y="532"/>
                  </a:lnTo>
                  <a:lnTo>
                    <a:pt x="570" y="530"/>
                  </a:lnTo>
                  <a:lnTo>
                    <a:pt x="570" y="536"/>
                  </a:lnTo>
                  <a:lnTo>
                    <a:pt x="572" y="538"/>
                  </a:lnTo>
                  <a:lnTo>
                    <a:pt x="572" y="540"/>
                  </a:lnTo>
                  <a:lnTo>
                    <a:pt x="570" y="540"/>
                  </a:lnTo>
                  <a:lnTo>
                    <a:pt x="570" y="554"/>
                  </a:lnTo>
                  <a:lnTo>
                    <a:pt x="570" y="564"/>
                  </a:lnTo>
                  <a:lnTo>
                    <a:pt x="568" y="566"/>
                  </a:lnTo>
                  <a:lnTo>
                    <a:pt x="568" y="572"/>
                  </a:lnTo>
                  <a:lnTo>
                    <a:pt x="570" y="572"/>
                  </a:lnTo>
                  <a:lnTo>
                    <a:pt x="568" y="572"/>
                  </a:lnTo>
                  <a:lnTo>
                    <a:pt x="568" y="592"/>
                  </a:lnTo>
                  <a:lnTo>
                    <a:pt x="566" y="592"/>
                  </a:lnTo>
                  <a:lnTo>
                    <a:pt x="566" y="604"/>
                  </a:lnTo>
                  <a:lnTo>
                    <a:pt x="566" y="610"/>
                  </a:lnTo>
                  <a:lnTo>
                    <a:pt x="572" y="616"/>
                  </a:lnTo>
                  <a:lnTo>
                    <a:pt x="570" y="618"/>
                  </a:lnTo>
                  <a:lnTo>
                    <a:pt x="570" y="624"/>
                  </a:lnTo>
                  <a:lnTo>
                    <a:pt x="572" y="630"/>
                  </a:lnTo>
                  <a:lnTo>
                    <a:pt x="570" y="636"/>
                  </a:lnTo>
                  <a:lnTo>
                    <a:pt x="570" y="644"/>
                  </a:lnTo>
                  <a:lnTo>
                    <a:pt x="568" y="644"/>
                  </a:lnTo>
                  <a:lnTo>
                    <a:pt x="566" y="646"/>
                  </a:lnTo>
                  <a:lnTo>
                    <a:pt x="566" y="648"/>
                  </a:lnTo>
                  <a:lnTo>
                    <a:pt x="572" y="658"/>
                  </a:lnTo>
                  <a:lnTo>
                    <a:pt x="574" y="660"/>
                  </a:lnTo>
                  <a:lnTo>
                    <a:pt x="574" y="664"/>
                  </a:lnTo>
                  <a:lnTo>
                    <a:pt x="576" y="664"/>
                  </a:lnTo>
                  <a:lnTo>
                    <a:pt x="576" y="668"/>
                  </a:lnTo>
                  <a:lnTo>
                    <a:pt x="576" y="674"/>
                  </a:lnTo>
                  <a:lnTo>
                    <a:pt x="578" y="674"/>
                  </a:lnTo>
                  <a:lnTo>
                    <a:pt x="580" y="676"/>
                  </a:lnTo>
                  <a:lnTo>
                    <a:pt x="582" y="680"/>
                  </a:lnTo>
                  <a:lnTo>
                    <a:pt x="584" y="680"/>
                  </a:lnTo>
                  <a:lnTo>
                    <a:pt x="584" y="688"/>
                  </a:lnTo>
                  <a:lnTo>
                    <a:pt x="588" y="690"/>
                  </a:lnTo>
                  <a:lnTo>
                    <a:pt x="590" y="688"/>
                  </a:lnTo>
                  <a:lnTo>
                    <a:pt x="588" y="684"/>
                  </a:lnTo>
                  <a:lnTo>
                    <a:pt x="592" y="684"/>
                  </a:lnTo>
                  <a:lnTo>
                    <a:pt x="592" y="686"/>
                  </a:lnTo>
                  <a:lnTo>
                    <a:pt x="594" y="686"/>
                  </a:lnTo>
                  <a:lnTo>
                    <a:pt x="596" y="686"/>
                  </a:lnTo>
                  <a:lnTo>
                    <a:pt x="594" y="686"/>
                  </a:lnTo>
                  <a:lnTo>
                    <a:pt x="592" y="688"/>
                  </a:lnTo>
                  <a:lnTo>
                    <a:pt x="594" y="694"/>
                  </a:lnTo>
                  <a:lnTo>
                    <a:pt x="596" y="696"/>
                  </a:lnTo>
                  <a:lnTo>
                    <a:pt x="592" y="694"/>
                  </a:lnTo>
                  <a:lnTo>
                    <a:pt x="590" y="694"/>
                  </a:lnTo>
                  <a:lnTo>
                    <a:pt x="590" y="700"/>
                  </a:lnTo>
                  <a:lnTo>
                    <a:pt x="594" y="702"/>
                  </a:lnTo>
                  <a:lnTo>
                    <a:pt x="600" y="706"/>
                  </a:lnTo>
                  <a:lnTo>
                    <a:pt x="602" y="710"/>
                  </a:lnTo>
                  <a:lnTo>
                    <a:pt x="598" y="710"/>
                  </a:lnTo>
                  <a:lnTo>
                    <a:pt x="598" y="714"/>
                  </a:lnTo>
                  <a:lnTo>
                    <a:pt x="600" y="718"/>
                  </a:lnTo>
                  <a:lnTo>
                    <a:pt x="602" y="722"/>
                  </a:lnTo>
                  <a:lnTo>
                    <a:pt x="604" y="724"/>
                  </a:lnTo>
                  <a:lnTo>
                    <a:pt x="604" y="726"/>
                  </a:lnTo>
                  <a:lnTo>
                    <a:pt x="606" y="728"/>
                  </a:lnTo>
                  <a:lnTo>
                    <a:pt x="608" y="730"/>
                  </a:lnTo>
                  <a:lnTo>
                    <a:pt x="612" y="736"/>
                  </a:lnTo>
                  <a:lnTo>
                    <a:pt x="612" y="738"/>
                  </a:lnTo>
                  <a:lnTo>
                    <a:pt x="612" y="740"/>
                  </a:lnTo>
                  <a:lnTo>
                    <a:pt x="616" y="740"/>
                  </a:lnTo>
                  <a:lnTo>
                    <a:pt x="616" y="752"/>
                  </a:lnTo>
                  <a:lnTo>
                    <a:pt x="622" y="752"/>
                  </a:lnTo>
                  <a:lnTo>
                    <a:pt x="626" y="754"/>
                  </a:lnTo>
                  <a:lnTo>
                    <a:pt x="638" y="756"/>
                  </a:lnTo>
                  <a:lnTo>
                    <a:pt x="640" y="764"/>
                  </a:lnTo>
                  <a:lnTo>
                    <a:pt x="644" y="762"/>
                  </a:lnTo>
                  <a:lnTo>
                    <a:pt x="652" y="772"/>
                  </a:lnTo>
                  <a:lnTo>
                    <a:pt x="654" y="774"/>
                  </a:lnTo>
                  <a:lnTo>
                    <a:pt x="656" y="776"/>
                  </a:lnTo>
                  <a:lnTo>
                    <a:pt x="658" y="778"/>
                  </a:lnTo>
                  <a:lnTo>
                    <a:pt x="656" y="780"/>
                  </a:lnTo>
                  <a:lnTo>
                    <a:pt x="658" y="784"/>
                  </a:lnTo>
                  <a:lnTo>
                    <a:pt x="660" y="786"/>
                  </a:lnTo>
                  <a:lnTo>
                    <a:pt x="694" y="784"/>
                  </a:lnTo>
                  <a:lnTo>
                    <a:pt x="694" y="788"/>
                  </a:lnTo>
                  <a:lnTo>
                    <a:pt x="730" y="806"/>
                  </a:lnTo>
                  <a:lnTo>
                    <a:pt x="772" y="808"/>
                  </a:lnTo>
                  <a:lnTo>
                    <a:pt x="772" y="800"/>
                  </a:lnTo>
                  <a:lnTo>
                    <a:pt x="800" y="800"/>
                  </a:lnTo>
                  <a:lnTo>
                    <a:pt x="806" y="808"/>
                  </a:lnTo>
                  <a:lnTo>
                    <a:pt x="810" y="812"/>
                  </a:lnTo>
                  <a:lnTo>
                    <a:pt x="810" y="814"/>
                  </a:lnTo>
                  <a:lnTo>
                    <a:pt x="814" y="818"/>
                  </a:lnTo>
                  <a:lnTo>
                    <a:pt x="818" y="824"/>
                  </a:lnTo>
                  <a:lnTo>
                    <a:pt x="822" y="830"/>
                  </a:lnTo>
                  <a:lnTo>
                    <a:pt x="822" y="834"/>
                  </a:lnTo>
                  <a:lnTo>
                    <a:pt x="826" y="838"/>
                  </a:lnTo>
                  <a:lnTo>
                    <a:pt x="830" y="842"/>
                  </a:lnTo>
                  <a:lnTo>
                    <a:pt x="834" y="844"/>
                  </a:lnTo>
                  <a:lnTo>
                    <a:pt x="838" y="844"/>
                  </a:lnTo>
                  <a:lnTo>
                    <a:pt x="842" y="844"/>
                  </a:lnTo>
                  <a:lnTo>
                    <a:pt x="846" y="842"/>
                  </a:lnTo>
                  <a:lnTo>
                    <a:pt x="850" y="838"/>
                  </a:lnTo>
                  <a:lnTo>
                    <a:pt x="856" y="836"/>
                  </a:lnTo>
                  <a:lnTo>
                    <a:pt x="860" y="836"/>
                  </a:lnTo>
                  <a:lnTo>
                    <a:pt x="864" y="838"/>
                  </a:lnTo>
                  <a:lnTo>
                    <a:pt x="868" y="840"/>
                  </a:lnTo>
                  <a:lnTo>
                    <a:pt x="872" y="844"/>
                  </a:lnTo>
                  <a:lnTo>
                    <a:pt x="872" y="850"/>
                  </a:lnTo>
                  <a:lnTo>
                    <a:pt x="874" y="852"/>
                  </a:lnTo>
                  <a:lnTo>
                    <a:pt x="876" y="858"/>
                  </a:lnTo>
                  <a:lnTo>
                    <a:pt x="880" y="866"/>
                  </a:lnTo>
                  <a:lnTo>
                    <a:pt x="882" y="870"/>
                  </a:lnTo>
                  <a:lnTo>
                    <a:pt x="886" y="874"/>
                  </a:lnTo>
                  <a:lnTo>
                    <a:pt x="890" y="878"/>
                  </a:lnTo>
                  <a:lnTo>
                    <a:pt x="892" y="888"/>
                  </a:lnTo>
                  <a:lnTo>
                    <a:pt x="892" y="894"/>
                  </a:lnTo>
                  <a:lnTo>
                    <a:pt x="898" y="896"/>
                  </a:lnTo>
                  <a:lnTo>
                    <a:pt x="902" y="898"/>
                  </a:lnTo>
                  <a:lnTo>
                    <a:pt x="908" y="898"/>
                  </a:lnTo>
                  <a:lnTo>
                    <a:pt x="912" y="900"/>
                  </a:lnTo>
                  <a:lnTo>
                    <a:pt x="918" y="900"/>
                  </a:lnTo>
                  <a:lnTo>
                    <a:pt x="916" y="900"/>
                  </a:lnTo>
                  <a:lnTo>
                    <a:pt x="916" y="898"/>
                  </a:lnTo>
                  <a:lnTo>
                    <a:pt x="916" y="898"/>
                  </a:lnTo>
                  <a:lnTo>
                    <a:pt x="916" y="894"/>
                  </a:lnTo>
                  <a:lnTo>
                    <a:pt x="914" y="894"/>
                  </a:lnTo>
                  <a:lnTo>
                    <a:pt x="914" y="890"/>
                  </a:lnTo>
                  <a:lnTo>
                    <a:pt x="912" y="890"/>
                  </a:lnTo>
                  <a:lnTo>
                    <a:pt x="910" y="884"/>
                  </a:lnTo>
                  <a:lnTo>
                    <a:pt x="912" y="876"/>
                  </a:lnTo>
                  <a:lnTo>
                    <a:pt x="910" y="874"/>
                  </a:lnTo>
                  <a:lnTo>
                    <a:pt x="914" y="872"/>
                  </a:lnTo>
                  <a:lnTo>
                    <a:pt x="914" y="864"/>
                  </a:lnTo>
                  <a:lnTo>
                    <a:pt x="918" y="864"/>
                  </a:lnTo>
                  <a:lnTo>
                    <a:pt x="920" y="860"/>
                  </a:lnTo>
                  <a:lnTo>
                    <a:pt x="924" y="860"/>
                  </a:lnTo>
                  <a:lnTo>
                    <a:pt x="928" y="858"/>
                  </a:lnTo>
                  <a:lnTo>
                    <a:pt x="928" y="856"/>
                  </a:lnTo>
                  <a:lnTo>
                    <a:pt x="928" y="852"/>
                  </a:lnTo>
                  <a:lnTo>
                    <a:pt x="932" y="852"/>
                  </a:lnTo>
                  <a:lnTo>
                    <a:pt x="932" y="850"/>
                  </a:lnTo>
                  <a:lnTo>
                    <a:pt x="936" y="850"/>
                  </a:lnTo>
                  <a:lnTo>
                    <a:pt x="940" y="846"/>
                  </a:lnTo>
                  <a:lnTo>
                    <a:pt x="940" y="848"/>
                  </a:lnTo>
                  <a:lnTo>
                    <a:pt x="942" y="848"/>
                  </a:lnTo>
                  <a:lnTo>
                    <a:pt x="942" y="842"/>
                  </a:lnTo>
                  <a:lnTo>
                    <a:pt x="946" y="840"/>
                  </a:lnTo>
                  <a:lnTo>
                    <a:pt x="946" y="836"/>
                  </a:lnTo>
                  <a:lnTo>
                    <a:pt x="954" y="838"/>
                  </a:lnTo>
                  <a:lnTo>
                    <a:pt x="962" y="836"/>
                  </a:lnTo>
                  <a:lnTo>
                    <a:pt x="962" y="832"/>
                  </a:lnTo>
                  <a:lnTo>
                    <a:pt x="964" y="834"/>
                  </a:lnTo>
                  <a:lnTo>
                    <a:pt x="966" y="834"/>
                  </a:lnTo>
                  <a:lnTo>
                    <a:pt x="968" y="832"/>
                  </a:lnTo>
                  <a:lnTo>
                    <a:pt x="970" y="832"/>
                  </a:lnTo>
                  <a:lnTo>
                    <a:pt x="972" y="834"/>
                  </a:lnTo>
                  <a:lnTo>
                    <a:pt x="978" y="836"/>
                  </a:lnTo>
                  <a:lnTo>
                    <a:pt x="984" y="832"/>
                  </a:lnTo>
                  <a:lnTo>
                    <a:pt x="984" y="838"/>
                  </a:lnTo>
                  <a:lnTo>
                    <a:pt x="990" y="838"/>
                  </a:lnTo>
                  <a:lnTo>
                    <a:pt x="994" y="840"/>
                  </a:lnTo>
                  <a:lnTo>
                    <a:pt x="994" y="840"/>
                  </a:lnTo>
                  <a:lnTo>
                    <a:pt x="994" y="844"/>
                  </a:lnTo>
                  <a:lnTo>
                    <a:pt x="994" y="844"/>
                  </a:lnTo>
                  <a:close/>
                  <a:moveTo>
                    <a:pt x="500" y="348"/>
                  </a:moveTo>
                  <a:lnTo>
                    <a:pt x="500" y="348"/>
                  </a:lnTo>
                  <a:lnTo>
                    <a:pt x="500" y="346"/>
                  </a:lnTo>
                  <a:lnTo>
                    <a:pt x="498" y="344"/>
                  </a:lnTo>
                  <a:lnTo>
                    <a:pt x="498" y="340"/>
                  </a:lnTo>
                  <a:lnTo>
                    <a:pt x="496" y="338"/>
                  </a:lnTo>
                  <a:lnTo>
                    <a:pt x="494" y="338"/>
                  </a:lnTo>
                  <a:lnTo>
                    <a:pt x="492" y="334"/>
                  </a:lnTo>
                  <a:lnTo>
                    <a:pt x="490" y="328"/>
                  </a:lnTo>
                  <a:lnTo>
                    <a:pt x="488" y="324"/>
                  </a:lnTo>
                  <a:lnTo>
                    <a:pt x="486" y="324"/>
                  </a:lnTo>
                  <a:lnTo>
                    <a:pt x="482" y="324"/>
                  </a:lnTo>
                  <a:lnTo>
                    <a:pt x="478" y="324"/>
                  </a:lnTo>
                  <a:lnTo>
                    <a:pt x="476" y="322"/>
                  </a:lnTo>
                  <a:lnTo>
                    <a:pt x="474" y="320"/>
                  </a:lnTo>
                  <a:lnTo>
                    <a:pt x="472" y="316"/>
                  </a:lnTo>
                  <a:lnTo>
                    <a:pt x="470" y="314"/>
                  </a:lnTo>
                  <a:lnTo>
                    <a:pt x="466" y="312"/>
                  </a:lnTo>
                  <a:lnTo>
                    <a:pt x="464" y="308"/>
                  </a:lnTo>
                  <a:lnTo>
                    <a:pt x="460" y="300"/>
                  </a:lnTo>
                  <a:lnTo>
                    <a:pt x="444" y="282"/>
                  </a:lnTo>
                  <a:lnTo>
                    <a:pt x="442" y="276"/>
                  </a:lnTo>
                  <a:lnTo>
                    <a:pt x="438" y="272"/>
                  </a:lnTo>
                  <a:lnTo>
                    <a:pt x="434" y="272"/>
                  </a:lnTo>
                  <a:lnTo>
                    <a:pt x="432" y="270"/>
                  </a:lnTo>
                  <a:lnTo>
                    <a:pt x="430" y="268"/>
                  </a:lnTo>
                  <a:lnTo>
                    <a:pt x="430" y="266"/>
                  </a:lnTo>
                  <a:lnTo>
                    <a:pt x="428" y="264"/>
                  </a:lnTo>
                  <a:lnTo>
                    <a:pt x="426" y="262"/>
                  </a:lnTo>
                  <a:lnTo>
                    <a:pt x="422" y="260"/>
                  </a:lnTo>
                  <a:lnTo>
                    <a:pt x="420" y="258"/>
                  </a:lnTo>
                  <a:lnTo>
                    <a:pt x="418" y="256"/>
                  </a:lnTo>
                  <a:lnTo>
                    <a:pt x="414" y="256"/>
                  </a:lnTo>
                  <a:lnTo>
                    <a:pt x="408" y="258"/>
                  </a:lnTo>
                  <a:lnTo>
                    <a:pt x="406" y="258"/>
                  </a:lnTo>
                  <a:lnTo>
                    <a:pt x="408" y="260"/>
                  </a:lnTo>
                  <a:lnTo>
                    <a:pt x="408" y="264"/>
                  </a:lnTo>
                  <a:lnTo>
                    <a:pt x="408" y="266"/>
                  </a:lnTo>
                  <a:lnTo>
                    <a:pt x="406" y="266"/>
                  </a:lnTo>
                  <a:lnTo>
                    <a:pt x="404" y="268"/>
                  </a:lnTo>
                  <a:lnTo>
                    <a:pt x="396" y="270"/>
                  </a:lnTo>
                  <a:lnTo>
                    <a:pt x="392" y="274"/>
                  </a:lnTo>
                  <a:lnTo>
                    <a:pt x="392" y="272"/>
                  </a:lnTo>
                  <a:lnTo>
                    <a:pt x="392" y="268"/>
                  </a:lnTo>
                  <a:lnTo>
                    <a:pt x="388" y="266"/>
                  </a:lnTo>
                  <a:lnTo>
                    <a:pt x="384" y="262"/>
                  </a:lnTo>
                  <a:lnTo>
                    <a:pt x="380" y="258"/>
                  </a:lnTo>
                  <a:lnTo>
                    <a:pt x="378" y="256"/>
                  </a:lnTo>
                  <a:lnTo>
                    <a:pt x="374" y="246"/>
                  </a:lnTo>
                  <a:lnTo>
                    <a:pt x="372" y="238"/>
                  </a:lnTo>
                  <a:lnTo>
                    <a:pt x="366" y="242"/>
                  </a:lnTo>
                  <a:lnTo>
                    <a:pt x="362" y="242"/>
                  </a:lnTo>
                  <a:lnTo>
                    <a:pt x="358" y="238"/>
                  </a:lnTo>
                  <a:lnTo>
                    <a:pt x="356" y="238"/>
                  </a:lnTo>
                  <a:lnTo>
                    <a:pt x="352" y="240"/>
                  </a:lnTo>
                  <a:lnTo>
                    <a:pt x="346" y="242"/>
                  </a:lnTo>
                  <a:lnTo>
                    <a:pt x="342" y="34"/>
                  </a:lnTo>
                  <a:lnTo>
                    <a:pt x="340" y="32"/>
                  </a:lnTo>
                  <a:lnTo>
                    <a:pt x="332" y="28"/>
                  </a:lnTo>
                  <a:lnTo>
                    <a:pt x="330" y="26"/>
                  </a:lnTo>
                  <a:lnTo>
                    <a:pt x="326" y="28"/>
                  </a:lnTo>
                  <a:lnTo>
                    <a:pt x="322" y="28"/>
                  </a:lnTo>
                  <a:lnTo>
                    <a:pt x="320" y="28"/>
                  </a:lnTo>
                  <a:lnTo>
                    <a:pt x="320" y="26"/>
                  </a:lnTo>
                  <a:lnTo>
                    <a:pt x="316" y="26"/>
                  </a:lnTo>
                  <a:lnTo>
                    <a:pt x="314" y="30"/>
                  </a:lnTo>
                  <a:lnTo>
                    <a:pt x="312" y="32"/>
                  </a:lnTo>
                  <a:lnTo>
                    <a:pt x="310" y="30"/>
                  </a:lnTo>
                  <a:lnTo>
                    <a:pt x="308" y="28"/>
                  </a:lnTo>
                  <a:lnTo>
                    <a:pt x="306" y="30"/>
                  </a:lnTo>
                  <a:lnTo>
                    <a:pt x="304" y="30"/>
                  </a:lnTo>
                  <a:lnTo>
                    <a:pt x="304" y="28"/>
                  </a:lnTo>
                  <a:lnTo>
                    <a:pt x="286" y="26"/>
                  </a:lnTo>
                  <a:lnTo>
                    <a:pt x="286" y="24"/>
                  </a:lnTo>
                  <a:lnTo>
                    <a:pt x="280" y="24"/>
                  </a:lnTo>
                  <a:lnTo>
                    <a:pt x="276" y="24"/>
                  </a:lnTo>
                  <a:lnTo>
                    <a:pt x="266" y="24"/>
                  </a:lnTo>
                  <a:lnTo>
                    <a:pt x="256" y="24"/>
                  </a:lnTo>
                  <a:lnTo>
                    <a:pt x="256" y="22"/>
                  </a:lnTo>
                  <a:lnTo>
                    <a:pt x="254" y="22"/>
                  </a:lnTo>
                  <a:lnTo>
                    <a:pt x="250" y="22"/>
                  </a:lnTo>
                  <a:lnTo>
                    <a:pt x="244" y="16"/>
                  </a:lnTo>
                  <a:lnTo>
                    <a:pt x="242" y="18"/>
                  </a:lnTo>
                  <a:lnTo>
                    <a:pt x="240" y="18"/>
                  </a:lnTo>
                  <a:lnTo>
                    <a:pt x="238" y="16"/>
                  </a:lnTo>
                  <a:lnTo>
                    <a:pt x="234" y="18"/>
                  </a:lnTo>
                  <a:lnTo>
                    <a:pt x="230" y="20"/>
                  </a:lnTo>
                  <a:lnTo>
                    <a:pt x="224" y="20"/>
                  </a:lnTo>
                  <a:lnTo>
                    <a:pt x="222" y="22"/>
                  </a:lnTo>
                  <a:lnTo>
                    <a:pt x="210" y="16"/>
                  </a:lnTo>
                  <a:lnTo>
                    <a:pt x="204" y="16"/>
                  </a:lnTo>
                  <a:lnTo>
                    <a:pt x="202" y="14"/>
                  </a:lnTo>
                  <a:lnTo>
                    <a:pt x="198" y="16"/>
                  </a:lnTo>
                  <a:lnTo>
                    <a:pt x="194" y="14"/>
                  </a:lnTo>
                  <a:lnTo>
                    <a:pt x="194" y="12"/>
                  </a:lnTo>
                  <a:lnTo>
                    <a:pt x="196" y="12"/>
                  </a:lnTo>
                  <a:lnTo>
                    <a:pt x="194" y="10"/>
                  </a:lnTo>
                  <a:lnTo>
                    <a:pt x="190" y="10"/>
                  </a:lnTo>
                  <a:lnTo>
                    <a:pt x="180" y="12"/>
                  </a:lnTo>
                  <a:lnTo>
                    <a:pt x="176" y="12"/>
                  </a:lnTo>
                  <a:lnTo>
                    <a:pt x="172" y="12"/>
                  </a:lnTo>
                  <a:lnTo>
                    <a:pt x="170" y="12"/>
                  </a:lnTo>
                  <a:lnTo>
                    <a:pt x="170" y="10"/>
                  </a:lnTo>
                  <a:lnTo>
                    <a:pt x="168" y="6"/>
                  </a:lnTo>
                  <a:lnTo>
                    <a:pt x="164" y="8"/>
                  </a:lnTo>
                  <a:lnTo>
                    <a:pt x="160" y="8"/>
                  </a:lnTo>
                  <a:lnTo>
                    <a:pt x="154" y="12"/>
                  </a:lnTo>
                  <a:lnTo>
                    <a:pt x="156" y="4"/>
                  </a:lnTo>
                  <a:lnTo>
                    <a:pt x="148" y="2"/>
                  </a:lnTo>
                  <a:lnTo>
                    <a:pt x="142" y="0"/>
                  </a:lnTo>
                  <a:lnTo>
                    <a:pt x="138" y="0"/>
                  </a:lnTo>
                  <a:lnTo>
                    <a:pt x="138" y="2"/>
                  </a:lnTo>
                  <a:lnTo>
                    <a:pt x="132" y="8"/>
                  </a:lnTo>
                  <a:lnTo>
                    <a:pt x="124" y="12"/>
                  </a:lnTo>
                  <a:lnTo>
                    <a:pt x="118" y="12"/>
                  </a:lnTo>
                  <a:lnTo>
                    <a:pt x="114" y="12"/>
                  </a:lnTo>
                  <a:lnTo>
                    <a:pt x="110" y="14"/>
                  </a:lnTo>
                  <a:lnTo>
                    <a:pt x="108" y="10"/>
                  </a:lnTo>
                  <a:lnTo>
                    <a:pt x="106" y="16"/>
                  </a:lnTo>
                  <a:lnTo>
                    <a:pt x="104" y="16"/>
                  </a:lnTo>
                  <a:lnTo>
                    <a:pt x="102" y="16"/>
                  </a:lnTo>
                  <a:lnTo>
                    <a:pt x="100" y="14"/>
                  </a:lnTo>
                  <a:lnTo>
                    <a:pt x="100" y="18"/>
                  </a:lnTo>
                  <a:lnTo>
                    <a:pt x="96" y="20"/>
                  </a:lnTo>
                  <a:lnTo>
                    <a:pt x="90" y="20"/>
                  </a:lnTo>
                  <a:lnTo>
                    <a:pt x="86" y="20"/>
                  </a:lnTo>
                  <a:lnTo>
                    <a:pt x="82" y="22"/>
                  </a:lnTo>
                  <a:lnTo>
                    <a:pt x="80" y="24"/>
                  </a:lnTo>
                  <a:lnTo>
                    <a:pt x="76" y="24"/>
                  </a:lnTo>
                  <a:lnTo>
                    <a:pt x="74" y="28"/>
                  </a:lnTo>
                  <a:lnTo>
                    <a:pt x="72" y="34"/>
                  </a:lnTo>
                  <a:lnTo>
                    <a:pt x="70" y="34"/>
                  </a:lnTo>
                  <a:lnTo>
                    <a:pt x="68" y="36"/>
                  </a:lnTo>
                  <a:lnTo>
                    <a:pt x="66" y="40"/>
                  </a:lnTo>
                  <a:lnTo>
                    <a:pt x="66" y="42"/>
                  </a:lnTo>
                  <a:lnTo>
                    <a:pt x="62" y="46"/>
                  </a:lnTo>
                  <a:lnTo>
                    <a:pt x="60" y="58"/>
                  </a:lnTo>
                  <a:lnTo>
                    <a:pt x="52" y="60"/>
                  </a:lnTo>
                  <a:lnTo>
                    <a:pt x="44" y="62"/>
                  </a:lnTo>
                  <a:lnTo>
                    <a:pt x="42" y="62"/>
                  </a:lnTo>
                  <a:lnTo>
                    <a:pt x="38" y="62"/>
                  </a:lnTo>
                  <a:lnTo>
                    <a:pt x="36" y="64"/>
                  </a:lnTo>
                  <a:lnTo>
                    <a:pt x="28" y="64"/>
                  </a:lnTo>
                  <a:lnTo>
                    <a:pt x="20" y="62"/>
                  </a:lnTo>
                  <a:lnTo>
                    <a:pt x="22" y="74"/>
                  </a:lnTo>
                  <a:lnTo>
                    <a:pt x="20" y="76"/>
                  </a:lnTo>
                  <a:lnTo>
                    <a:pt x="20" y="78"/>
                  </a:lnTo>
                  <a:lnTo>
                    <a:pt x="18" y="78"/>
                  </a:lnTo>
                  <a:lnTo>
                    <a:pt x="16" y="78"/>
                  </a:lnTo>
                  <a:lnTo>
                    <a:pt x="24" y="80"/>
                  </a:lnTo>
                  <a:lnTo>
                    <a:pt x="26" y="82"/>
                  </a:lnTo>
                  <a:lnTo>
                    <a:pt x="30" y="86"/>
                  </a:lnTo>
                  <a:lnTo>
                    <a:pt x="32" y="86"/>
                  </a:lnTo>
                  <a:lnTo>
                    <a:pt x="36" y="86"/>
                  </a:lnTo>
                  <a:lnTo>
                    <a:pt x="46" y="96"/>
                  </a:lnTo>
                  <a:lnTo>
                    <a:pt x="52" y="96"/>
                  </a:lnTo>
                  <a:lnTo>
                    <a:pt x="54" y="96"/>
                  </a:lnTo>
                  <a:lnTo>
                    <a:pt x="54" y="96"/>
                  </a:lnTo>
                  <a:lnTo>
                    <a:pt x="52" y="96"/>
                  </a:lnTo>
                  <a:lnTo>
                    <a:pt x="54" y="102"/>
                  </a:lnTo>
                  <a:lnTo>
                    <a:pt x="56" y="104"/>
                  </a:lnTo>
                  <a:lnTo>
                    <a:pt x="60" y="104"/>
                  </a:lnTo>
                  <a:lnTo>
                    <a:pt x="60" y="102"/>
                  </a:lnTo>
                  <a:lnTo>
                    <a:pt x="64" y="100"/>
                  </a:lnTo>
                  <a:lnTo>
                    <a:pt x="68" y="100"/>
                  </a:lnTo>
                  <a:lnTo>
                    <a:pt x="68" y="102"/>
                  </a:lnTo>
                  <a:lnTo>
                    <a:pt x="70" y="104"/>
                  </a:lnTo>
                  <a:lnTo>
                    <a:pt x="72" y="104"/>
                  </a:lnTo>
                  <a:lnTo>
                    <a:pt x="78" y="102"/>
                  </a:lnTo>
                  <a:lnTo>
                    <a:pt x="78" y="104"/>
                  </a:lnTo>
                  <a:lnTo>
                    <a:pt x="78" y="106"/>
                  </a:lnTo>
                  <a:lnTo>
                    <a:pt x="76" y="106"/>
                  </a:lnTo>
                  <a:lnTo>
                    <a:pt x="74" y="108"/>
                  </a:lnTo>
                  <a:lnTo>
                    <a:pt x="74" y="110"/>
                  </a:lnTo>
                  <a:lnTo>
                    <a:pt x="78" y="110"/>
                  </a:lnTo>
                  <a:lnTo>
                    <a:pt x="80" y="112"/>
                  </a:lnTo>
                  <a:lnTo>
                    <a:pt x="86" y="112"/>
                  </a:lnTo>
                  <a:lnTo>
                    <a:pt x="92" y="112"/>
                  </a:lnTo>
                  <a:lnTo>
                    <a:pt x="92" y="114"/>
                  </a:lnTo>
                  <a:lnTo>
                    <a:pt x="92" y="118"/>
                  </a:lnTo>
                  <a:lnTo>
                    <a:pt x="80" y="118"/>
                  </a:lnTo>
                  <a:lnTo>
                    <a:pt x="74" y="118"/>
                  </a:lnTo>
                  <a:lnTo>
                    <a:pt x="74" y="120"/>
                  </a:lnTo>
                  <a:lnTo>
                    <a:pt x="78" y="122"/>
                  </a:lnTo>
                  <a:lnTo>
                    <a:pt x="78" y="120"/>
                  </a:lnTo>
                  <a:lnTo>
                    <a:pt x="80" y="120"/>
                  </a:lnTo>
                  <a:lnTo>
                    <a:pt x="82" y="122"/>
                  </a:lnTo>
                  <a:lnTo>
                    <a:pt x="84" y="122"/>
                  </a:lnTo>
                  <a:lnTo>
                    <a:pt x="84" y="128"/>
                  </a:lnTo>
                  <a:lnTo>
                    <a:pt x="78" y="126"/>
                  </a:lnTo>
                  <a:lnTo>
                    <a:pt x="74" y="130"/>
                  </a:lnTo>
                  <a:lnTo>
                    <a:pt x="74" y="128"/>
                  </a:lnTo>
                  <a:lnTo>
                    <a:pt x="66" y="128"/>
                  </a:lnTo>
                  <a:lnTo>
                    <a:pt x="56" y="128"/>
                  </a:lnTo>
                  <a:lnTo>
                    <a:pt x="54" y="124"/>
                  </a:lnTo>
                  <a:lnTo>
                    <a:pt x="48" y="124"/>
                  </a:lnTo>
                  <a:lnTo>
                    <a:pt x="48" y="122"/>
                  </a:lnTo>
                  <a:lnTo>
                    <a:pt x="50" y="122"/>
                  </a:lnTo>
                  <a:lnTo>
                    <a:pt x="50" y="116"/>
                  </a:lnTo>
                  <a:lnTo>
                    <a:pt x="50" y="112"/>
                  </a:lnTo>
                  <a:lnTo>
                    <a:pt x="48" y="110"/>
                  </a:lnTo>
                  <a:lnTo>
                    <a:pt x="42" y="110"/>
                  </a:lnTo>
                  <a:lnTo>
                    <a:pt x="40" y="112"/>
                  </a:lnTo>
                  <a:lnTo>
                    <a:pt x="32" y="116"/>
                  </a:lnTo>
                  <a:lnTo>
                    <a:pt x="24" y="120"/>
                  </a:lnTo>
                  <a:lnTo>
                    <a:pt x="24" y="126"/>
                  </a:lnTo>
                  <a:lnTo>
                    <a:pt x="22" y="126"/>
                  </a:lnTo>
                  <a:lnTo>
                    <a:pt x="12" y="126"/>
                  </a:lnTo>
                  <a:lnTo>
                    <a:pt x="6" y="128"/>
                  </a:lnTo>
                  <a:lnTo>
                    <a:pt x="0" y="134"/>
                  </a:lnTo>
                  <a:lnTo>
                    <a:pt x="0" y="138"/>
                  </a:lnTo>
                  <a:lnTo>
                    <a:pt x="8" y="138"/>
                  </a:lnTo>
                  <a:lnTo>
                    <a:pt x="12" y="140"/>
                  </a:lnTo>
                  <a:lnTo>
                    <a:pt x="18" y="140"/>
                  </a:lnTo>
                  <a:lnTo>
                    <a:pt x="18" y="142"/>
                  </a:lnTo>
                  <a:lnTo>
                    <a:pt x="10" y="144"/>
                  </a:lnTo>
                  <a:lnTo>
                    <a:pt x="10" y="146"/>
                  </a:lnTo>
                  <a:lnTo>
                    <a:pt x="16" y="152"/>
                  </a:lnTo>
                  <a:lnTo>
                    <a:pt x="16" y="152"/>
                  </a:lnTo>
                  <a:lnTo>
                    <a:pt x="18" y="156"/>
                  </a:lnTo>
                  <a:lnTo>
                    <a:pt x="32" y="160"/>
                  </a:lnTo>
                  <a:lnTo>
                    <a:pt x="36" y="158"/>
                  </a:lnTo>
                  <a:lnTo>
                    <a:pt x="38" y="156"/>
                  </a:lnTo>
                  <a:lnTo>
                    <a:pt x="48" y="154"/>
                  </a:lnTo>
                  <a:lnTo>
                    <a:pt x="58" y="156"/>
                  </a:lnTo>
                  <a:lnTo>
                    <a:pt x="58" y="154"/>
                  </a:lnTo>
                  <a:lnTo>
                    <a:pt x="60" y="152"/>
                  </a:lnTo>
                  <a:lnTo>
                    <a:pt x="64" y="158"/>
                  </a:lnTo>
                  <a:lnTo>
                    <a:pt x="64" y="160"/>
                  </a:lnTo>
                  <a:lnTo>
                    <a:pt x="68" y="162"/>
                  </a:lnTo>
                  <a:lnTo>
                    <a:pt x="72" y="156"/>
                  </a:lnTo>
                  <a:lnTo>
                    <a:pt x="82" y="154"/>
                  </a:lnTo>
                  <a:lnTo>
                    <a:pt x="92" y="154"/>
                  </a:lnTo>
                  <a:lnTo>
                    <a:pt x="92" y="158"/>
                  </a:lnTo>
                  <a:lnTo>
                    <a:pt x="88" y="162"/>
                  </a:lnTo>
                  <a:lnTo>
                    <a:pt x="88" y="166"/>
                  </a:lnTo>
                  <a:lnTo>
                    <a:pt x="90" y="172"/>
                  </a:lnTo>
                  <a:lnTo>
                    <a:pt x="90" y="180"/>
                  </a:lnTo>
                  <a:lnTo>
                    <a:pt x="84" y="184"/>
                  </a:lnTo>
                  <a:lnTo>
                    <a:pt x="78" y="186"/>
                  </a:lnTo>
                  <a:lnTo>
                    <a:pt x="76" y="184"/>
                  </a:lnTo>
                  <a:lnTo>
                    <a:pt x="72" y="184"/>
                  </a:lnTo>
                  <a:lnTo>
                    <a:pt x="72" y="188"/>
                  </a:lnTo>
                  <a:lnTo>
                    <a:pt x="68" y="192"/>
                  </a:lnTo>
                  <a:lnTo>
                    <a:pt x="62" y="192"/>
                  </a:lnTo>
                  <a:lnTo>
                    <a:pt x="58" y="192"/>
                  </a:lnTo>
                  <a:lnTo>
                    <a:pt x="54" y="188"/>
                  </a:lnTo>
                  <a:lnTo>
                    <a:pt x="52" y="186"/>
                  </a:lnTo>
                  <a:lnTo>
                    <a:pt x="48" y="186"/>
                  </a:lnTo>
                  <a:lnTo>
                    <a:pt x="42" y="190"/>
                  </a:lnTo>
                  <a:lnTo>
                    <a:pt x="42" y="192"/>
                  </a:lnTo>
                  <a:lnTo>
                    <a:pt x="42" y="194"/>
                  </a:lnTo>
                  <a:lnTo>
                    <a:pt x="44" y="194"/>
                  </a:lnTo>
                  <a:lnTo>
                    <a:pt x="46" y="198"/>
                  </a:lnTo>
                  <a:lnTo>
                    <a:pt x="46" y="204"/>
                  </a:lnTo>
                  <a:lnTo>
                    <a:pt x="46" y="202"/>
                  </a:lnTo>
                  <a:lnTo>
                    <a:pt x="40" y="200"/>
                  </a:lnTo>
                  <a:lnTo>
                    <a:pt x="38" y="208"/>
                  </a:lnTo>
                  <a:lnTo>
                    <a:pt x="36" y="208"/>
                  </a:lnTo>
                  <a:lnTo>
                    <a:pt x="28" y="212"/>
                  </a:lnTo>
                  <a:lnTo>
                    <a:pt x="28" y="216"/>
                  </a:lnTo>
                  <a:lnTo>
                    <a:pt x="28" y="218"/>
                  </a:lnTo>
                  <a:lnTo>
                    <a:pt x="24" y="220"/>
                  </a:lnTo>
                  <a:lnTo>
                    <a:pt x="22" y="224"/>
                  </a:lnTo>
                  <a:lnTo>
                    <a:pt x="26" y="224"/>
                  </a:lnTo>
                  <a:lnTo>
                    <a:pt x="26" y="228"/>
                  </a:lnTo>
                  <a:lnTo>
                    <a:pt x="32" y="228"/>
                  </a:lnTo>
                  <a:lnTo>
                    <a:pt x="32" y="232"/>
                  </a:lnTo>
                  <a:lnTo>
                    <a:pt x="34" y="232"/>
                  </a:lnTo>
                  <a:lnTo>
                    <a:pt x="34" y="234"/>
                  </a:lnTo>
                  <a:lnTo>
                    <a:pt x="42" y="234"/>
                  </a:lnTo>
                  <a:lnTo>
                    <a:pt x="48" y="236"/>
                  </a:lnTo>
                  <a:lnTo>
                    <a:pt x="48" y="234"/>
                  </a:lnTo>
                  <a:lnTo>
                    <a:pt x="54" y="234"/>
                  </a:lnTo>
                  <a:lnTo>
                    <a:pt x="54" y="236"/>
                  </a:lnTo>
                  <a:lnTo>
                    <a:pt x="50" y="238"/>
                  </a:lnTo>
                  <a:lnTo>
                    <a:pt x="48" y="242"/>
                  </a:lnTo>
                  <a:lnTo>
                    <a:pt x="46" y="244"/>
                  </a:lnTo>
                  <a:lnTo>
                    <a:pt x="46" y="248"/>
                  </a:lnTo>
                  <a:lnTo>
                    <a:pt x="44" y="252"/>
                  </a:lnTo>
                  <a:lnTo>
                    <a:pt x="46" y="252"/>
                  </a:lnTo>
                  <a:lnTo>
                    <a:pt x="46" y="254"/>
                  </a:lnTo>
                  <a:lnTo>
                    <a:pt x="50" y="254"/>
                  </a:lnTo>
                  <a:lnTo>
                    <a:pt x="50" y="258"/>
                  </a:lnTo>
                  <a:lnTo>
                    <a:pt x="54" y="262"/>
                  </a:lnTo>
                  <a:lnTo>
                    <a:pt x="62" y="260"/>
                  </a:lnTo>
                  <a:lnTo>
                    <a:pt x="66" y="258"/>
                  </a:lnTo>
                  <a:lnTo>
                    <a:pt x="68" y="256"/>
                  </a:lnTo>
                  <a:lnTo>
                    <a:pt x="68" y="252"/>
                  </a:lnTo>
                  <a:lnTo>
                    <a:pt x="68" y="250"/>
                  </a:lnTo>
                  <a:lnTo>
                    <a:pt x="70" y="246"/>
                  </a:lnTo>
                  <a:lnTo>
                    <a:pt x="72" y="246"/>
                  </a:lnTo>
                  <a:lnTo>
                    <a:pt x="72" y="250"/>
                  </a:lnTo>
                  <a:lnTo>
                    <a:pt x="72" y="252"/>
                  </a:lnTo>
                  <a:lnTo>
                    <a:pt x="72" y="252"/>
                  </a:lnTo>
                  <a:lnTo>
                    <a:pt x="72" y="258"/>
                  </a:lnTo>
                  <a:lnTo>
                    <a:pt x="74" y="260"/>
                  </a:lnTo>
                  <a:lnTo>
                    <a:pt x="76" y="266"/>
                  </a:lnTo>
                  <a:lnTo>
                    <a:pt x="76" y="268"/>
                  </a:lnTo>
                  <a:lnTo>
                    <a:pt x="74" y="270"/>
                  </a:lnTo>
                  <a:lnTo>
                    <a:pt x="74" y="274"/>
                  </a:lnTo>
                  <a:lnTo>
                    <a:pt x="80" y="274"/>
                  </a:lnTo>
                  <a:lnTo>
                    <a:pt x="78" y="276"/>
                  </a:lnTo>
                  <a:lnTo>
                    <a:pt x="76" y="280"/>
                  </a:lnTo>
                  <a:lnTo>
                    <a:pt x="78" y="280"/>
                  </a:lnTo>
                  <a:lnTo>
                    <a:pt x="78" y="282"/>
                  </a:lnTo>
                  <a:lnTo>
                    <a:pt x="78" y="286"/>
                  </a:lnTo>
                  <a:lnTo>
                    <a:pt x="82" y="284"/>
                  </a:lnTo>
                  <a:lnTo>
                    <a:pt x="84" y="282"/>
                  </a:lnTo>
                  <a:lnTo>
                    <a:pt x="88" y="278"/>
                  </a:lnTo>
                  <a:lnTo>
                    <a:pt x="98" y="272"/>
                  </a:lnTo>
                  <a:lnTo>
                    <a:pt x="100" y="272"/>
                  </a:lnTo>
                  <a:lnTo>
                    <a:pt x="102" y="274"/>
                  </a:lnTo>
                  <a:lnTo>
                    <a:pt x="104" y="278"/>
                  </a:lnTo>
                  <a:lnTo>
                    <a:pt x="110" y="276"/>
                  </a:lnTo>
                  <a:lnTo>
                    <a:pt x="112" y="280"/>
                  </a:lnTo>
                  <a:lnTo>
                    <a:pt x="114" y="284"/>
                  </a:lnTo>
                  <a:lnTo>
                    <a:pt x="116" y="286"/>
                  </a:lnTo>
                  <a:lnTo>
                    <a:pt x="118" y="288"/>
                  </a:lnTo>
                  <a:lnTo>
                    <a:pt x="120" y="286"/>
                  </a:lnTo>
                  <a:lnTo>
                    <a:pt x="118" y="284"/>
                  </a:lnTo>
                  <a:lnTo>
                    <a:pt x="120" y="282"/>
                  </a:lnTo>
                  <a:lnTo>
                    <a:pt x="124" y="282"/>
                  </a:lnTo>
                  <a:lnTo>
                    <a:pt x="126" y="278"/>
                  </a:lnTo>
                  <a:lnTo>
                    <a:pt x="128" y="284"/>
                  </a:lnTo>
                  <a:lnTo>
                    <a:pt x="134" y="282"/>
                  </a:lnTo>
                  <a:lnTo>
                    <a:pt x="138" y="280"/>
                  </a:lnTo>
                  <a:lnTo>
                    <a:pt x="140" y="276"/>
                  </a:lnTo>
                  <a:lnTo>
                    <a:pt x="144" y="276"/>
                  </a:lnTo>
                  <a:lnTo>
                    <a:pt x="142" y="282"/>
                  </a:lnTo>
                  <a:lnTo>
                    <a:pt x="140" y="286"/>
                  </a:lnTo>
                  <a:lnTo>
                    <a:pt x="138" y="288"/>
                  </a:lnTo>
                  <a:lnTo>
                    <a:pt x="134" y="292"/>
                  </a:lnTo>
                  <a:lnTo>
                    <a:pt x="134" y="294"/>
                  </a:lnTo>
                  <a:lnTo>
                    <a:pt x="134" y="298"/>
                  </a:lnTo>
                  <a:lnTo>
                    <a:pt x="132" y="298"/>
                  </a:lnTo>
                  <a:lnTo>
                    <a:pt x="132" y="310"/>
                  </a:lnTo>
                  <a:lnTo>
                    <a:pt x="130" y="310"/>
                  </a:lnTo>
                  <a:lnTo>
                    <a:pt x="128" y="314"/>
                  </a:lnTo>
                  <a:lnTo>
                    <a:pt x="128" y="316"/>
                  </a:lnTo>
                  <a:lnTo>
                    <a:pt x="124" y="320"/>
                  </a:lnTo>
                  <a:lnTo>
                    <a:pt x="122" y="322"/>
                  </a:lnTo>
                  <a:lnTo>
                    <a:pt x="122" y="324"/>
                  </a:lnTo>
                  <a:lnTo>
                    <a:pt x="118" y="324"/>
                  </a:lnTo>
                  <a:lnTo>
                    <a:pt x="116" y="326"/>
                  </a:lnTo>
                  <a:lnTo>
                    <a:pt x="112" y="330"/>
                  </a:lnTo>
                  <a:lnTo>
                    <a:pt x="110" y="330"/>
                  </a:lnTo>
                  <a:lnTo>
                    <a:pt x="104" y="332"/>
                  </a:lnTo>
                  <a:lnTo>
                    <a:pt x="100" y="334"/>
                  </a:lnTo>
                  <a:lnTo>
                    <a:pt x="98" y="338"/>
                  </a:lnTo>
                  <a:lnTo>
                    <a:pt x="98" y="344"/>
                  </a:lnTo>
                  <a:lnTo>
                    <a:pt x="90" y="346"/>
                  </a:lnTo>
                  <a:lnTo>
                    <a:pt x="92" y="342"/>
                  </a:lnTo>
                  <a:lnTo>
                    <a:pt x="82" y="344"/>
                  </a:lnTo>
                  <a:lnTo>
                    <a:pt x="74" y="346"/>
                  </a:lnTo>
                  <a:lnTo>
                    <a:pt x="74" y="348"/>
                  </a:lnTo>
                  <a:lnTo>
                    <a:pt x="74" y="352"/>
                  </a:lnTo>
                  <a:lnTo>
                    <a:pt x="72" y="354"/>
                  </a:lnTo>
                  <a:lnTo>
                    <a:pt x="70" y="358"/>
                  </a:lnTo>
                  <a:lnTo>
                    <a:pt x="66" y="362"/>
                  </a:lnTo>
                  <a:lnTo>
                    <a:pt x="62" y="364"/>
                  </a:lnTo>
                  <a:lnTo>
                    <a:pt x="62" y="366"/>
                  </a:lnTo>
                  <a:lnTo>
                    <a:pt x="64" y="364"/>
                  </a:lnTo>
                  <a:lnTo>
                    <a:pt x="64" y="366"/>
                  </a:lnTo>
                  <a:lnTo>
                    <a:pt x="68" y="366"/>
                  </a:lnTo>
                  <a:lnTo>
                    <a:pt x="68" y="362"/>
                  </a:lnTo>
                  <a:lnTo>
                    <a:pt x="70" y="362"/>
                  </a:lnTo>
                  <a:lnTo>
                    <a:pt x="72" y="364"/>
                  </a:lnTo>
                  <a:lnTo>
                    <a:pt x="72" y="366"/>
                  </a:lnTo>
                  <a:lnTo>
                    <a:pt x="80" y="350"/>
                  </a:lnTo>
                  <a:lnTo>
                    <a:pt x="86" y="350"/>
                  </a:lnTo>
                  <a:lnTo>
                    <a:pt x="84" y="352"/>
                  </a:lnTo>
                  <a:lnTo>
                    <a:pt x="82" y="354"/>
                  </a:lnTo>
                  <a:lnTo>
                    <a:pt x="90" y="354"/>
                  </a:lnTo>
                  <a:lnTo>
                    <a:pt x="90" y="352"/>
                  </a:lnTo>
                  <a:lnTo>
                    <a:pt x="98" y="350"/>
                  </a:lnTo>
                  <a:lnTo>
                    <a:pt x="102" y="346"/>
                  </a:lnTo>
                  <a:lnTo>
                    <a:pt x="106" y="346"/>
                  </a:lnTo>
                  <a:lnTo>
                    <a:pt x="106" y="350"/>
                  </a:lnTo>
                  <a:lnTo>
                    <a:pt x="108" y="348"/>
                  </a:lnTo>
                  <a:lnTo>
                    <a:pt x="108" y="344"/>
                  </a:lnTo>
                  <a:lnTo>
                    <a:pt x="110" y="346"/>
                  </a:lnTo>
                  <a:lnTo>
                    <a:pt x="112" y="346"/>
                  </a:lnTo>
                  <a:lnTo>
                    <a:pt x="114" y="342"/>
                  </a:lnTo>
                  <a:lnTo>
                    <a:pt x="114" y="338"/>
                  </a:lnTo>
                  <a:lnTo>
                    <a:pt x="118" y="342"/>
                  </a:lnTo>
                  <a:lnTo>
                    <a:pt x="120" y="336"/>
                  </a:lnTo>
                  <a:lnTo>
                    <a:pt x="118" y="336"/>
                  </a:lnTo>
                  <a:lnTo>
                    <a:pt x="118" y="334"/>
                  </a:lnTo>
                  <a:lnTo>
                    <a:pt x="120" y="334"/>
                  </a:lnTo>
                  <a:lnTo>
                    <a:pt x="128" y="330"/>
                  </a:lnTo>
                  <a:lnTo>
                    <a:pt x="126" y="330"/>
                  </a:lnTo>
                  <a:lnTo>
                    <a:pt x="126" y="328"/>
                  </a:lnTo>
                  <a:lnTo>
                    <a:pt x="130" y="328"/>
                  </a:lnTo>
                  <a:lnTo>
                    <a:pt x="132" y="328"/>
                  </a:lnTo>
                  <a:lnTo>
                    <a:pt x="134" y="324"/>
                  </a:lnTo>
                  <a:lnTo>
                    <a:pt x="136" y="324"/>
                  </a:lnTo>
                  <a:lnTo>
                    <a:pt x="142" y="320"/>
                  </a:lnTo>
                  <a:lnTo>
                    <a:pt x="142" y="314"/>
                  </a:lnTo>
                  <a:lnTo>
                    <a:pt x="148" y="312"/>
                  </a:lnTo>
                  <a:lnTo>
                    <a:pt x="148" y="310"/>
                  </a:lnTo>
                  <a:lnTo>
                    <a:pt x="150" y="310"/>
                  </a:lnTo>
                  <a:lnTo>
                    <a:pt x="154" y="306"/>
                  </a:lnTo>
                  <a:lnTo>
                    <a:pt x="158" y="302"/>
                  </a:lnTo>
                  <a:lnTo>
                    <a:pt x="162" y="300"/>
                  </a:lnTo>
                  <a:lnTo>
                    <a:pt x="162" y="298"/>
                  </a:lnTo>
                  <a:lnTo>
                    <a:pt x="166" y="294"/>
                  </a:lnTo>
                  <a:lnTo>
                    <a:pt x="174" y="292"/>
                  </a:lnTo>
                  <a:lnTo>
                    <a:pt x="176" y="290"/>
                  </a:lnTo>
                  <a:lnTo>
                    <a:pt x="176" y="286"/>
                  </a:lnTo>
                  <a:lnTo>
                    <a:pt x="178" y="284"/>
                  </a:lnTo>
                  <a:lnTo>
                    <a:pt x="180" y="282"/>
                  </a:lnTo>
                  <a:lnTo>
                    <a:pt x="180" y="280"/>
                  </a:lnTo>
                  <a:lnTo>
                    <a:pt x="184" y="278"/>
                  </a:lnTo>
                  <a:lnTo>
                    <a:pt x="184" y="274"/>
                  </a:lnTo>
                  <a:lnTo>
                    <a:pt x="176" y="274"/>
                  </a:lnTo>
                  <a:lnTo>
                    <a:pt x="176" y="270"/>
                  </a:lnTo>
                  <a:lnTo>
                    <a:pt x="176" y="266"/>
                  </a:lnTo>
                  <a:lnTo>
                    <a:pt x="180" y="264"/>
                  </a:lnTo>
                  <a:lnTo>
                    <a:pt x="180" y="260"/>
                  </a:lnTo>
                  <a:lnTo>
                    <a:pt x="188" y="260"/>
                  </a:lnTo>
                  <a:lnTo>
                    <a:pt x="190" y="256"/>
                  </a:lnTo>
                  <a:lnTo>
                    <a:pt x="194" y="254"/>
                  </a:lnTo>
                  <a:lnTo>
                    <a:pt x="192" y="250"/>
                  </a:lnTo>
                  <a:lnTo>
                    <a:pt x="194" y="252"/>
                  </a:lnTo>
                  <a:lnTo>
                    <a:pt x="196" y="250"/>
                  </a:lnTo>
                  <a:lnTo>
                    <a:pt x="198" y="250"/>
                  </a:lnTo>
                  <a:lnTo>
                    <a:pt x="200" y="244"/>
                  </a:lnTo>
                  <a:lnTo>
                    <a:pt x="200" y="240"/>
                  </a:lnTo>
                  <a:lnTo>
                    <a:pt x="204" y="238"/>
                  </a:lnTo>
                  <a:lnTo>
                    <a:pt x="206" y="238"/>
                  </a:lnTo>
                  <a:lnTo>
                    <a:pt x="208" y="238"/>
                  </a:lnTo>
                  <a:lnTo>
                    <a:pt x="210" y="232"/>
                  </a:lnTo>
                  <a:lnTo>
                    <a:pt x="212" y="230"/>
                  </a:lnTo>
                  <a:lnTo>
                    <a:pt x="216" y="230"/>
                  </a:lnTo>
                  <a:lnTo>
                    <a:pt x="224" y="222"/>
                  </a:lnTo>
                  <a:lnTo>
                    <a:pt x="226" y="226"/>
                  </a:lnTo>
                  <a:lnTo>
                    <a:pt x="234" y="224"/>
                  </a:lnTo>
                  <a:lnTo>
                    <a:pt x="236" y="222"/>
                  </a:lnTo>
                  <a:lnTo>
                    <a:pt x="238" y="222"/>
                  </a:lnTo>
                  <a:lnTo>
                    <a:pt x="236" y="226"/>
                  </a:lnTo>
                  <a:lnTo>
                    <a:pt x="234" y="226"/>
                  </a:lnTo>
                  <a:lnTo>
                    <a:pt x="234" y="228"/>
                  </a:lnTo>
                  <a:lnTo>
                    <a:pt x="238" y="232"/>
                  </a:lnTo>
                  <a:lnTo>
                    <a:pt x="238" y="234"/>
                  </a:lnTo>
                  <a:lnTo>
                    <a:pt x="236" y="234"/>
                  </a:lnTo>
                  <a:lnTo>
                    <a:pt x="232" y="234"/>
                  </a:lnTo>
                  <a:lnTo>
                    <a:pt x="224" y="232"/>
                  </a:lnTo>
                  <a:lnTo>
                    <a:pt x="222" y="234"/>
                  </a:lnTo>
                  <a:lnTo>
                    <a:pt x="212" y="238"/>
                  </a:lnTo>
                  <a:lnTo>
                    <a:pt x="214" y="254"/>
                  </a:lnTo>
                  <a:lnTo>
                    <a:pt x="208" y="258"/>
                  </a:lnTo>
                  <a:lnTo>
                    <a:pt x="210" y="262"/>
                  </a:lnTo>
                  <a:lnTo>
                    <a:pt x="210" y="264"/>
                  </a:lnTo>
                  <a:lnTo>
                    <a:pt x="212" y="264"/>
                  </a:lnTo>
                  <a:lnTo>
                    <a:pt x="214" y="264"/>
                  </a:lnTo>
                  <a:lnTo>
                    <a:pt x="216" y="264"/>
                  </a:lnTo>
                  <a:lnTo>
                    <a:pt x="214" y="266"/>
                  </a:lnTo>
                  <a:lnTo>
                    <a:pt x="208" y="266"/>
                  </a:lnTo>
                  <a:lnTo>
                    <a:pt x="206" y="272"/>
                  </a:lnTo>
                  <a:lnTo>
                    <a:pt x="210" y="272"/>
                  </a:lnTo>
                  <a:lnTo>
                    <a:pt x="214" y="272"/>
                  </a:lnTo>
                  <a:lnTo>
                    <a:pt x="216" y="270"/>
                  </a:lnTo>
                  <a:lnTo>
                    <a:pt x="220" y="270"/>
                  </a:lnTo>
                  <a:lnTo>
                    <a:pt x="222" y="270"/>
                  </a:lnTo>
                  <a:lnTo>
                    <a:pt x="222" y="268"/>
                  </a:lnTo>
                  <a:lnTo>
                    <a:pt x="224" y="268"/>
                  </a:lnTo>
                  <a:lnTo>
                    <a:pt x="228" y="266"/>
                  </a:lnTo>
                  <a:lnTo>
                    <a:pt x="228" y="264"/>
                  </a:lnTo>
                  <a:lnTo>
                    <a:pt x="232" y="264"/>
                  </a:lnTo>
                  <a:lnTo>
                    <a:pt x="236" y="262"/>
                  </a:lnTo>
                  <a:lnTo>
                    <a:pt x="234" y="260"/>
                  </a:lnTo>
                  <a:lnTo>
                    <a:pt x="236" y="258"/>
                  </a:lnTo>
                  <a:lnTo>
                    <a:pt x="238" y="258"/>
                  </a:lnTo>
                  <a:lnTo>
                    <a:pt x="240" y="260"/>
                  </a:lnTo>
                  <a:lnTo>
                    <a:pt x="240" y="256"/>
                  </a:lnTo>
                  <a:lnTo>
                    <a:pt x="242" y="252"/>
                  </a:lnTo>
                  <a:lnTo>
                    <a:pt x="244" y="254"/>
                  </a:lnTo>
                  <a:lnTo>
                    <a:pt x="244" y="256"/>
                  </a:lnTo>
                  <a:lnTo>
                    <a:pt x="246" y="254"/>
                  </a:lnTo>
                  <a:lnTo>
                    <a:pt x="256" y="256"/>
                  </a:lnTo>
                  <a:lnTo>
                    <a:pt x="256" y="250"/>
                  </a:lnTo>
                  <a:lnTo>
                    <a:pt x="260" y="250"/>
                  </a:lnTo>
                  <a:lnTo>
                    <a:pt x="260" y="246"/>
                  </a:lnTo>
                  <a:lnTo>
                    <a:pt x="260" y="240"/>
                  </a:lnTo>
                  <a:lnTo>
                    <a:pt x="258" y="242"/>
                  </a:lnTo>
                  <a:lnTo>
                    <a:pt x="256" y="242"/>
                  </a:lnTo>
                  <a:lnTo>
                    <a:pt x="256" y="240"/>
                  </a:lnTo>
                  <a:lnTo>
                    <a:pt x="256" y="240"/>
                  </a:lnTo>
                  <a:lnTo>
                    <a:pt x="254" y="230"/>
                  </a:lnTo>
                  <a:lnTo>
                    <a:pt x="260" y="232"/>
                  </a:lnTo>
                  <a:lnTo>
                    <a:pt x="266" y="234"/>
                  </a:lnTo>
                  <a:lnTo>
                    <a:pt x="266" y="230"/>
                  </a:lnTo>
                  <a:lnTo>
                    <a:pt x="268" y="232"/>
                  </a:lnTo>
                  <a:lnTo>
                    <a:pt x="274" y="232"/>
                  </a:lnTo>
                  <a:lnTo>
                    <a:pt x="276" y="228"/>
                  </a:lnTo>
                  <a:lnTo>
                    <a:pt x="276" y="232"/>
                  </a:lnTo>
                  <a:lnTo>
                    <a:pt x="276" y="234"/>
                  </a:lnTo>
                  <a:lnTo>
                    <a:pt x="280" y="236"/>
                  </a:lnTo>
                  <a:lnTo>
                    <a:pt x="276" y="238"/>
                  </a:lnTo>
                  <a:lnTo>
                    <a:pt x="282" y="238"/>
                  </a:lnTo>
                  <a:lnTo>
                    <a:pt x="282" y="240"/>
                  </a:lnTo>
                  <a:lnTo>
                    <a:pt x="288" y="240"/>
                  </a:lnTo>
                  <a:lnTo>
                    <a:pt x="286" y="244"/>
                  </a:lnTo>
                  <a:lnTo>
                    <a:pt x="286" y="248"/>
                  </a:lnTo>
                  <a:lnTo>
                    <a:pt x="292" y="246"/>
                  </a:lnTo>
                  <a:lnTo>
                    <a:pt x="296" y="244"/>
                  </a:lnTo>
                  <a:lnTo>
                    <a:pt x="296" y="250"/>
                  </a:lnTo>
                  <a:lnTo>
                    <a:pt x="300" y="252"/>
                  </a:lnTo>
                  <a:lnTo>
                    <a:pt x="304" y="252"/>
                  </a:lnTo>
                  <a:lnTo>
                    <a:pt x="308" y="256"/>
                  </a:lnTo>
                  <a:lnTo>
                    <a:pt x="320" y="260"/>
                  </a:lnTo>
                  <a:lnTo>
                    <a:pt x="324" y="258"/>
                  </a:lnTo>
                  <a:lnTo>
                    <a:pt x="328" y="256"/>
                  </a:lnTo>
                  <a:lnTo>
                    <a:pt x="330" y="256"/>
                  </a:lnTo>
                  <a:lnTo>
                    <a:pt x="334" y="258"/>
                  </a:lnTo>
                  <a:lnTo>
                    <a:pt x="338" y="260"/>
                  </a:lnTo>
                  <a:lnTo>
                    <a:pt x="340" y="258"/>
                  </a:lnTo>
                  <a:lnTo>
                    <a:pt x="342" y="258"/>
                  </a:lnTo>
                  <a:lnTo>
                    <a:pt x="344" y="262"/>
                  </a:lnTo>
                  <a:lnTo>
                    <a:pt x="354" y="264"/>
                  </a:lnTo>
                  <a:lnTo>
                    <a:pt x="360" y="264"/>
                  </a:lnTo>
                  <a:lnTo>
                    <a:pt x="366" y="264"/>
                  </a:lnTo>
                  <a:lnTo>
                    <a:pt x="370" y="260"/>
                  </a:lnTo>
                  <a:lnTo>
                    <a:pt x="370" y="266"/>
                  </a:lnTo>
                  <a:lnTo>
                    <a:pt x="366" y="268"/>
                  </a:lnTo>
                  <a:lnTo>
                    <a:pt x="370" y="270"/>
                  </a:lnTo>
                  <a:lnTo>
                    <a:pt x="374" y="270"/>
                  </a:lnTo>
                  <a:lnTo>
                    <a:pt x="376" y="274"/>
                  </a:lnTo>
                  <a:lnTo>
                    <a:pt x="380" y="274"/>
                  </a:lnTo>
                  <a:lnTo>
                    <a:pt x="380" y="274"/>
                  </a:lnTo>
                  <a:lnTo>
                    <a:pt x="380" y="272"/>
                  </a:lnTo>
                  <a:lnTo>
                    <a:pt x="380" y="270"/>
                  </a:lnTo>
                  <a:lnTo>
                    <a:pt x="386" y="270"/>
                  </a:lnTo>
                  <a:lnTo>
                    <a:pt x="382" y="278"/>
                  </a:lnTo>
                  <a:lnTo>
                    <a:pt x="394" y="292"/>
                  </a:lnTo>
                  <a:lnTo>
                    <a:pt x="400" y="292"/>
                  </a:lnTo>
                  <a:lnTo>
                    <a:pt x="402" y="292"/>
                  </a:lnTo>
                  <a:lnTo>
                    <a:pt x="402" y="296"/>
                  </a:lnTo>
                  <a:lnTo>
                    <a:pt x="406" y="296"/>
                  </a:lnTo>
                  <a:lnTo>
                    <a:pt x="410" y="302"/>
                  </a:lnTo>
                  <a:lnTo>
                    <a:pt x="410" y="306"/>
                  </a:lnTo>
                  <a:lnTo>
                    <a:pt x="410" y="308"/>
                  </a:lnTo>
                  <a:lnTo>
                    <a:pt x="414" y="310"/>
                  </a:lnTo>
                  <a:lnTo>
                    <a:pt x="416" y="310"/>
                  </a:lnTo>
                  <a:lnTo>
                    <a:pt x="420" y="316"/>
                  </a:lnTo>
                  <a:lnTo>
                    <a:pt x="422" y="316"/>
                  </a:lnTo>
                  <a:lnTo>
                    <a:pt x="422" y="310"/>
                  </a:lnTo>
                  <a:lnTo>
                    <a:pt x="428" y="316"/>
                  </a:lnTo>
                  <a:lnTo>
                    <a:pt x="432" y="316"/>
                  </a:lnTo>
                  <a:lnTo>
                    <a:pt x="432" y="308"/>
                  </a:lnTo>
                  <a:lnTo>
                    <a:pt x="428" y="308"/>
                  </a:lnTo>
                  <a:lnTo>
                    <a:pt x="430" y="306"/>
                  </a:lnTo>
                  <a:lnTo>
                    <a:pt x="430" y="304"/>
                  </a:lnTo>
                  <a:lnTo>
                    <a:pt x="426" y="302"/>
                  </a:lnTo>
                  <a:lnTo>
                    <a:pt x="410" y="300"/>
                  </a:lnTo>
                  <a:lnTo>
                    <a:pt x="410" y="296"/>
                  </a:lnTo>
                  <a:lnTo>
                    <a:pt x="412" y="298"/>
                  </a:lnTo>
                  <a:lnTo>
                    <a:pt x="418" y="296"/>
                  </a:lnTo>
                  <a:lnTo>
                    <a:pt x="424" y="292"/>
                  </a:lnTo>
                  <a:lnTo>
                    <a:pt x="426" y="296"/>
                  </a:lnTo>
                  <a:lnTo>
                    <a:pt x="428" y="296"/>
                  </a:lnTo>
                  <a:lnTo>
                    <a:pt x="426" y="290"/>
                  </a:lnTo>
                  <a:lnTo>
                    <a:pt x="428" y="282"/>
                  </a:lnTo>
                  <a:lnTo>
                    <a:pt x="430" y="284"/>
                  </a:lnTo>
                  <a:lnTo>
                    <a:pt x="430" y="290"/>
                  </a:lnTo>
                  <a:lnTo>
                    <a:pt x="432" y="294"/>
                  </a:lnTo>
                  <a:lnTo>
                    <a:pt x="436" y="296"/>
                  </a:lnTo>
                  <a:lnTo>
                    <a:pt x="440" y="294"/>
                  </a:lnTo>
                  <a:lnTo>
                    <a:pt x="442" y="300"/>
                  </a:lnTo>
                  <a:lnTo>
                    <a:pt x="442" y="300"/>
                  </a:lnTo>
                  <a:lnTo>
                    <a:pt x="444" y="300"/>
                  </a:lnTo>
                  <a:lnTo>
                    <a:pt x="444" y="302"/>
                  </a:lnTo>
                  <a:lnTo>
                    <a:pt x="444" y="306"/>
                  </a:lnTo>
                  <a:lnTo>
                    <a:pt x="448" y="310"/>
                  </a:lnTo>
                  <a:lnTo>
                    <a:pt x="448" y="314"/>
                  </a:lnTo>
                  <a:lnTo>
                    <a:pt x="450" y="322"/>
                  </a:lnTo>
                  <a:lnTo>
                    <a:pt x="456" y="324"/>
                  </a:lnTo>
                  <a:lnTo>
                    <a:pt x="456" y="324"/>
                  </a:lnTo>
                  <a:lnTo>
                    <a:pt x="456" y="328"/>
                  </a:lnTo>
                  <a:lnTo>
                    <a:pt x="458" y="330"/>
                  </a:lnTo>
                  <a:lnTo>
                    <a:pt x="460" y="330"/>
                  </a:lnTo>
                  <a:lnTo>
                    <a:pt x="466" y="336"/>
                  </a:lnTo>
                  <a:lnTo>
                    <a:pt x="464" y="336"/>
                  </a:lnTo>
                  <a:lnTo>
                    <a:pt x="464" y="338"/>
                  </a:lnTo>
                  <a:lnTo>
                    <a:pt x="466" y="340"/>
                  </a:lnTo>
                  <a:lnTo>
                    <a:pt x="466" y="338"/>
                  </a:lnTo>
                  <a:lnTo>
                    <a:pt x="468" y="336"/>
                  </a:lnTo>
                  <a:lnTo>
                    <a:pt x="470" y="338"/>
                  </a:lnTo>
                  <a:lnTo>
                    <a:pt x="468" y="352"/>
                  </a:lnTo>
                  <a:lnTo>
                    <a:pt x="470" y="352"/>
                  </a:lnTo>
                  <a:lnTo>
                    <a:pt x="472" y="352"/>
                  </a:lnTo>
                  <a:lnTo>
                    <a:pt x="472" y="346"/>
                  </a:lnTo>
                  <a:lnTo>
                    <a:pt x="478" y="344"/>
                  </a:lnTo>
                  <a:lnTo>
                    <a:pt x="478" y="348"/>
                  </a:lnTo>
                  <a:lnTo>
                    <a:pt x="476" y="348"/>
                  </a:lnTo>
                  <a:lnTo>
                    <a:pt x="474" y="354"/>
                  </a:lnTo>
                  <a:lnTo>
                    <a:pt x="476" y="360"/>
                  </a:lnTo>
                  <a:lnTo>
                    <a:pt x="482" y="360"/>
                  </a:lnTo>
                  <a:lnTo>
                    <a:pt x="482" y="352"/>
                  </a:lnTo>
                  <a:lnTo>
                    <a:pt x="484" y="354"/>
                  </a:lnTo>
                  <a:lnTo>
                    <a:pt x="486" y="360"/>
                  </a:lnTo>
                  <a:lnTo>
                    <a:pt x="486" y="362"/>
                  </a:lnTo>
                  <a:lnTo>
                    <a:pt x="486" y="364"/>
                  </a:lnTo>
                  <a:lnTo>
                    <a:pt x="482" y="364"/>
                  </a:lnTo>
                  <a:lnTo>
                    <a:pt x="480" y="364"/>
                  </a:lnTo>
                  <a:lnTo>
                    <a:pt x="482" y="366"/>
                  </a:lnTo>
                  <a:lnTo>
                    <a:pt x="482" y="368"/>
                  </a:lnTo>
                  <a:lnTo>
                    <a:pt x="484" y="368"/>
                  </a:lnTo>
                  <a:lnTo>
                    <a:pt x="486" y="368"/>
                  </a:lnTo>
                  <a:lnTo>
                    <a:pt x="482" y="370"/>
                  </a:lnTo>
                  <a:lnTo>
                    <a:pt x="484" y="372"/>
                  </a:lnTo>
                  <a:lnTo>
                    <a:pt x="486" y="372"/>
                  </a:lnTo>
                  <a:lnTo>
                    <a:pt x="490" y="374"/>
                  </a:lnTo>
                  <a:lnTo>
                    <a:pt x="492" y="370"/>
                  </a:lnTo>
                  <a:lnTo>
                    <a:pt x="494" y="366"/>
                  </a:lnTo>
                  <a:lnTo>
                    <a:pt x="496" y="366"/>
                  </a:lnTo>
                  <a:lnTo>
                    <a:pt x="496" y="364"/>
                  </a:lnTo>
                  <a:lnTo>
                    <a:pt x="498" y="360"/>
                  </a:lnTo>
                  <a:lnTo>
                    <a:pt x="500" y="358"/>
                  </a:lnTo>
                  <a:lnTo>
                    <a:pt x="498" y="354"/>
                  </a:lnTo>
                  <a:lnTo>
                    <a:pt x="498" y="352"/>
                  </a:lnTo>
                  <a:lnTo>
                    <a:pt x="500" y="350"/>
                  </a:lnTo>
                  <a:lnTo>
                    <a:pt x="502" y="348"/>
                  </a:lnTo>
                  <a:lnTo>
                    <a:pt x="500" y="348"/>
                  </a:lnTo>
                  <a:lnTo>
                    <a:pt x="500" y="34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0" name="Freeform 474">
              <a:extLst>
                <a:ext uri="{FF2B5EF4-FFF2-40B4-BE49-F238E27FC236}">
                  <a16:creationId xmlns:a16="http://schemas.microsoft.com/office/drawing/2014/main" id="{51ED909D-F88D-4127-B933-06C7D71CD927}"/>
                </a:ext>
              </a:extLst>
            </p:cNvPr>
            <p:cNvSpPr>
              <a:spLocks/>
            </p:cNvSpPr>
            <p:nvPr/>
          </p:nvSpPr>
          <p:spPr bwMode="auto">
            <a:xfrm>
              <a:off x="4057031" y="3946907"/>
              <a:ext cx="222706" cy="178683"/>
            </a:xfrm>
            <a:custGeom>
              <a:avLst/>
              <a:gdLst/>
              <a:ahLst/>
              <a:cxnLst>
                <a:cxn ang="0">
                  <a:pos x="172" y="16"/>
                </a:cxn>
                <a:cxn ang="0">
                  <a:pos x="164" y="20"/>
                </a:cxn>
                <a:cxn ang="0">
                  <a:pos x="150" y="22"/>
                </a:cxn>
                <a:cxn ang="0">
                  <a:pos x="126" y="34"/>
                </a:cxn>
                <a:cxn ang="0">
                  <a:pos x="122" y="44"/>
                </a:cxn>
                <a:cxn ang="0">
                  <a:pos x="122" y="58"/>
                </a:cxn>
                <a:cxn ang="0">
                  <a:pos x="110" y="58"/>
                </a:cxn>
                <a:cxn ang="0">
                  <a:pos x="112" y="68"/>
                </a:cxn>
                <a:cxn ang="0">
                  <a:pos x="106" y="78"/>
                </a:cxn>
                <a:cxn ang="0">
                  <a:pos x="104" y="90"/>
                </a:cxn>
                <a:cxn ang="0">
                  <a:pos x="94" y="90"/>
                </a:cxn>
                <a:cxn ang="0">
                  <a:pos x="90" y="90"/>
                </a:cxn>
                <a:cxn ang="0">
                  <a:pos x="88" y="100"/>
                </a:cxn>
                <a:cxn ang="0">
                  <a:pos x="82" y="106"/>
                </a:cxn>
                <a:cxn ang="0">
                  <a:pos x="70" y="116"/>
                </a:cxn>
                <a:cxn ang="0">
                  <a:pos x="62" y="126"/>
                </a:cxn>
                <a:cxn ang="0">
                  <a:pos x="52" y="134"/>
                </a:cxn>
                <a:cxn ang="0">
                  <a:pos x="44" y="136"/>
                </a:cxn>
                <a:cxn ang="0">
                  <a:pos x="26" y="136"/>
                </a:cxn>
                <a:cxn ang="0">
                  <a:pos x="10" y="130"/>
                </a:cxn>
                <a:cxn ang="0">
                  <a:pos x="24" y="110"/>
                </a:cxn>
                <a:cxn ang="0">
                  <a:pos x="10" y="104"/>
                </a:cxn>
                <a:cxn ang="0">
                  <a:pos x="8" y="94"/>
                </a:cxn>
                <a:cxn ang="0">
                  <a:pos x="0" y="80"/>
                </a:cxn>
                <a:cxn ang="0">
                  <a:pos x="4" y="72"/>
                </a:cxn>
                <a:cxn ang="0">
                  <a:pos x="0" y="66"/>
                </a:cxn>
                <a:cxn ang="0">
                  <a:pos x="4" y="50"/>
                </a:cxn>
                <a:cxn ang="0">
                  <a:pos x="12" y="48"/>
                </a:cxn>
                <a:cxn ang="0">
                  <a:pos x="16" y="36"/>
                </a:cxn>
                <a:cxn ang="0">
                  <a:pos x="26" y="36"/>
                </a:cxn>
                <a:cxn ang="0">
                  <a:pos x="40" y="32"/>
                </a:cxn>
                <a:cxn ang="0">
                  <a:pos x="46" y="18"/>
                </a:cxn>
                <a:cxn ang="0">
                  <a:pos x="48" y="8"/>
                </a:cxn>
                <a:cxn ang="0">
                  <a:pos x="52" y="0"/>
                </a:cxn>
                <a:cxn ang="0">
                  <a:pos x="62" y="4"/>
                </a:cxn>
                <a:cxn ang="0">
                  <a:pos x="74" y="6"/>
                </a:cxn>
                <a:cxn ang="0">
                  <a:pos x="84" y="10"/>
                </a:cxn>
                <a:cxn ang="0">
                  <a:pos x="96" y="10"/>
                </a:cxn>
                <a:cxn ang="0">
                  <a:pos x="104" y="4"/>
                </a:cxn>
                <a:cxn ang="0">
                  <a:pos x="112" y="2"/>
                </a:cxn>
                <a:cxn ang="0">
                  <a:pos x="118" y="12"/>
                </a:cxn>
                <a:cxn ang="0">
                  <a:pos x="114" y="24"/>
                </a:cxn>
                <a:cxn ang="0">
                  <a:pos x="126" y="28"/>
                </a:cxn>
                <a:cxn ang="0">
                  <a:pos x="136" y="18"/>
                </a:cxn>
                <a:cxn ang="0">
                  <a:pos x="150" y="12"/>
                </a:cxn>
                <a:cxn ang="0">
                  <a:pos x="162" y="12"/>
                </a:cxn>
                <a:cxn ang="0">
                  <a:pos x="172" y="12"/>
                </a:cxn>
              </a:cxnLst>
              <a:rect l="0" t="0" r="r" b="b"/>
              <a:pathLst>
                <a:path w="172" h="138">
                  <a:moveTo>
                    <a:pt x="172" y="12"/>
                  </a:moveTo>
                  <a:lnTo>
                    <a:pt x="172" y="16"/>
                  </a:lnTo>
                  <a:lnTo>
                    <a:pt x="170" y="20"/>
                  </a:lnTo>
                  <a:lnTo>
                    <a:pt x="164" y="20"/>
                  </a:lnTo>
                  <a:lnTo>
                    <a:pt x="156" y="20"/>
                  </a:lnTo>
                  <a:lnTo>
                    <a:pt x="150" y="22"/>
                  </a:lnTo>
                  <a:lnTo>
                    <a:pt x="140" y="24"/>
                  </a:lnTo>
                  <a:lnTo>
                    <a:pt x="126" y="34"/>
                  </a:lnTo>
                  <a:lnTo>
                    <a:pt x="126" y="42"/>
                  </a:lnTo>
                  <a:lnTo>
                    <a:pt x="122" y="44"/>
                  </a:lnTo>
                  <a:lnTo>
                    <a:pt x="124" y="50"/>
                  </a:lnTo>
                  <a:lnTo>
                    <a:pt x="122" y="58"/>
                  </a:lnTo>
                  <a:lnTo>
                    <a:pt x="116" y="60"/>
                  </a:lnTo>
                  <a:lnTo>
                    <a:pt x="110" y="58"/>
                  </a:lnTo>
                  <a:lnTo>
                    <a:pt x="108" y="64"/>
                  </a:lnTo>
                  <a:lnTo>
                    <a:pt x="112" y="68"/>
                  </a:lnTo>
                  <a:lnTo>
                    <a:pt x="112" y="74"/>
                  </a:lnTo>
                  <a:lnTo>
                    <a:pt x="106" y="78"/>
                  </a:lnTo>
                  <a:lnTo>
                    <a:pt x="106" y="84"/>
                  </a:lnTo>
                  <a:lnTo>
                    <a:pt x="104" y="90"/>
                  </a:lnTo>
                  <a:lnTo>
                    <a:pt x="100" y="92"/>
                  </a:lnTo>
                  <a:lnTo>
                    <a:pt x="94" y="90"/>
                  </a:lnTo>
                  <a:lnTo>
                    <a:pt x="92" y="86"/>
                  </a:lnTo>
                  <a:lnTo>
                    <a:pt x="90" y="90"/>
                  </a:lnTo>
                  <a:lnTo>
                    <a:pt x="84" y="94"/>
                  </a:lnTo>
                  <a:lnTo>
                    <a:pt x="88" y="100"/>
                  </a:lnTo>
                  <a:lnTo>
                    <a:pt x="86" y="104"/>
                  </a:lnTo>
                  <a:lnTo>
                    <a:pt x="82" y="106"/>
                  </a:lnTo>
                  <a:lnTo>
                    <a:pt x="78" y="104"/>
                  </a:lnTo>
                  <a:lnTo>
                    <a:pt x="70" y="116"/>
                  </a:lnTo>
                  <a:lnTo>
                    <a:pt x="62" y="120"/>
                  </a:lnTo>
                  <a:lnTo>
                    <a:pt x="62" y="126"/>
                  </a:lnTo>
                  <a:lnTo>
                    <a:pt x="60" y="132"/>
                  </a:lnTo>
                  <a:lnTo>
                    <a:pt x="52" y="134"/>
                  </a:lnTo>
                  <a:lnTo>
                    <a:pt x="50" y="138"/>
                  </a:lnTo>
                  <a:lnTo>
                    <a:pt x="44" y="136"/>
                  </a:lnTo>
                  <a:lnTo>
                    <a:pt x="32" y="136"/>
                  </a:lnTo>
                  <a:lnTo>
                    <a:pt x="26" y="136"/>
                  </a:lnTo>
                  <a:lnTo>
                    <a:pt x="24" y="138"/>
                  </a:lnTo>
                  <a:lnTo>
                    <a:pt x="10" y="130"/>
                  </a:lnTo>
                  <a:lnTo>
                    <a:pt x="24" y="114"/>
                  </a:lnTo>
                  <a:lnTo>
                    <a:pt x="24" y="110"/>
                  </a:lnTo>
                  <a:lnTo>
                    <a:pt x="22" y="106"/>
                  </a:lnTo>
                  <a:lnTo>
                    <a:pt x="10" y="104"/>
                  </a:lnTo>
                  <a:lnTo>
                    <a:pt x="8" y="102"/>
                  </a:lnTo>
                  <a:lnTo>
                    <a:pt x="8" y="94"/>
                  </a:lnTo>
                  <a:lnTo>
                    <a:pt x="6" y="86"/>
                  </a:lnTo>
                  <a:lnTo>
                    <a:pt x="0" y="80"/>
                  </a:lnTo>
                  <a:lnTo>
                    <a:pt x="0" y="74"/>
                  </a:lnTo>
                  <a:lnTo>
                    <a:pt x="4" y="72"/>
                  </a:lnTo>
                  <a:lnTo>
                    <a:pt x="0" y="70"/>
                  </a:lnTo>
                  <a:lnTo>
                    <a:pt x="0" y="66"/>
                  </a:lnTo>
                  <a:lnTo>
                    <a:pt x="0" y="56"/>
                  </a:lnTo>
                  <a:lnTo>
                    <a:pt x="4" y="50"/>
                  </a:lnTo>
                  <a:lnTo>
                    <a:pt x="6" y="48"/>
                  </a:lnTo>
                  <a:lnTo>
                    <a:pt x="12" y="48"/>
                  </a:lnTo>
                  <a:lnTo>
                    <a:pt x="14" y="42"/>
                  </a:lnTo>
                  <a:lnTo>
                    <a:pt x="16" y="36"/>
                  </a:lnTo>
                  <a:lnTo>
                    <a:pt x="22" y="38"/>
                  </a:lnTo>
                  <a:lnTo>
                    <a:pt x="26" y="36"/>
                  </a:lnTo>
                  <a:lnTo>
                    <a:pt x="30" y="38"/>
                  </a:lnTo>
                  <a:lnTo>
                    <a:pt x="40" y="32"/>
                  </a:lnTo>
                  <a:lnTo>
                    <a:pt x="38" y="26"/>
                  </a:lnTo>
                  <a:lnTo>
                    <a:pt x="46" y="18"/>
                  </a:lnTo>
                  <a:lnTo>
                    <a:pt x="48" y="14"/>
                  </a:lnTo>
                  <a:lnTo>
                    <a:pt x="48" y="8"/>
                  </a:lnTo>
                  <a:lnTo>
                    <a:pt x="50" y="4"/>
                  </a:lnTo>
                  <a:lnTo>
                    <a:pt x="52" y="0"/>
                  </a:lnTo>
                  <a:lnTo>
                    <a:pt x="58" y="2"/>
                  </a:lnTo>
                  <a:lnTo>
                    <a:pt x="62" y="4"/>
                  </a:lnTo>
                  <a:lnTo>
                    <a:pt x="68" y="6"/>
                  </a:lnTo>
                  <a:lnTo>
                    <a:pt x="74" y="6"/>
                  </a:lnTo>
                  <a:lnTo>
                    <a:pt x="78" y="12"/>
                  </a:lnTo>
                  <a:lnTo>
                    <a:pt x="84" y="10"/>
                  </a:lnTo>
                  <a:lnTo>
                    <a:pt x="92" y="8"/>
                  </a:lnTo>
                  <a:lnTo>
                    <a:pt x="96" y="10"/>
                  </a:lnTo>
                  <a:lnTo>
                    <a:pt x="102" y="6"/>
                  </a:lnTo>
                  <a:lnTo>
                    <a:pt x="104" y="4"/>
                  </a:lnTo>
                  <a:lnTo>
                    <a:pt x="108" y="0"/>
                  </a:lnTo>
                  <a:lnTo>
                    <a:pt x="112" y="2"/>
                  </a:lnTo>
                  <a:lnTo>
                    <a:pt x="114" y="6"/>
                  </a:lnTo>
                  <a:lnTo>
                    <a:pt x="118" y="12"/>
                  </a:lnTo>
                  <a:lnTo>
                    <a:pt x="116" y="14"/>
                  </a:lnTo>
                  <a:lnTo>
                    <a:pt x="114" y="24"/>
                  </a:lnTo>
                  <a:lnTo>
                    <a:pt x="120" y="30"/>
                  </a:lnTo>
                  <a:lnTo>
                    <a:pt x="126" y="28"/>
                  </a:lnTo>
                  <a:lnTo>
                    <a:pt x="132" y="22"/>
                  </a:lnTo>
                  <a:lnTo>
                    <a:pt x="136" y="18"/>
                  </a:lnTo>
                  <a:lnTo>
                    <a:pt x="140" y="16"/>
                  </a:lnTo>
                  <a:lnTo>
                    <a:pt x="150" y="12"/>
                  </a:lnTo>
                  <a:lnTo>
                    <a:pt x="152" y="12"/>
                  </a:lnTo>
                  <a:lnTo>
                    <a:pt x="162" y="12"/>
                  </a:lnTo>
                  <a:lnTo>
                    <a:pt x="172" y="12"/>
                  </a:lnTo>
                  <a:lnTo>
                    <a:pt x="172"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1" name="Freeform 475">
              <a:extLst>
                <a:ext uri="{FF2B5EF4-FFF2-40B4-BE49-F238E27FC236}">
                  <a16:creationId xmlns:a16="http://schemas.microsoft.com/office/drawing/2014/main" id="{803BF56A-B56F-4373-86B7-22030A14F681}"/>
                </a:ext>
              </a:extLst>
            </p:cNvPr>
            <p:cNvSpPr>
              <a:spLocks/>
            </p:cNvSpPr>
            <p:nvPr/>
          </p:nvSpPr>
          <p:spPr bwMode="auto">
            <a:xfrm>
              <a:off x="3456241" y="5075977"/>
              <a:ext cx="132070" cy="147608"/>
            </a:xfrm>
            <a:custGeom>
              <a:avLst/>
              <a:gdLst/>
              <a:ahLst/>
              <a:cxnLst>
                <a:cxn ang="0">
                  <a:pos x="68" y="10"/>
                </a:cxn>
                <a:cxn ang="0">
                  <a:pos x="82" y="14"/>
                </a:cxn>
                <a:cxn ang="0">
                  <a:pos x="94" y="18"/>
                </a:cxn>
                <a:cxn ang="0">
                  <a:pos x="100" y="26"/>
                </a:cxn>
                <a:cxn ang="0">
                  <a:pos x="98" y="30"/>
                </a:cxn>
                <a:cxn ang="0">
                  <a:pos x="96" y="40"/>
                </a:cxn>
                <a:cxn ang="0">
                  <a:pos x="102" y="52"/>
                </a:cxn>
                <a:cxn ang="0">
                  <a:pos x="96" y="60"/>
                </a:cxn>
                <a:cxn ang="0">
                  <a:pos x="96" y="62"/>
                </a:cxn>
                <a:cxn ang="0">
                  <a:pos x="98" y="66"/>
                </a:cxn>
                <a:cxn ang="0">
                  <a:pos x="96" y="76"/>
                </a:cxn>
                <a:cxn ang="0">
                  <a:pos x="96" y="82"/>
                </a:cxn>
                <a:cxn ang="0">
                  <a:pos x="96" y="90"/>
                </a:cxn>
                <a:cxn ang="0">
                  <a:pos x="100" y="92"/>
                </a:cxn>
                <a:cxn ang="0">
                  <a:pos x="94" y="104"/>
                </a:cxn>
                <a:cxn ang="0">
                  <a:pos x="82" y="112"/>
                </a:cxn>
                <a:cxn ang="0">
                  <a:pos x="72" y="110"/>
                </a:cxn>
                <a:cxn ang="0">
                  <a:pos x="68" y="110"/>
                </a:cxn>
                <a:cxn ang="0">
                  <a:pos x="60" y="112"/>
                </a:cxn>
                <a:cxn ang="0">
                  <a:pos x="56" y="110"/>
                </a:cxn>
                <a:cxn ang="0">
                  <a:pos x="52" y="108"/>
                </a:cxn>
                <a:cxn ang="0">
                  <a:pos x="48" y="106"/>
                </a:cxn>
                <a:cxn ang="0">
                  <a:pos x="42" y="104"/>
                </a:cxn>
                <a:cxn ang="0">
                  <a:pos x="40" y="96"/>
                </a:cxn>
                <a:cxn ang="0">
                  <a:pos x="42" y="90"/>
                </a:cxn>
                <a:cxn ang="0">
                  <a:pos x="38" y="88"/>
                </a:cxn>
                <a:cxn ang="0">
                  <a:pos x="34" y="82"/>
                </a:cxn>
                <a:cxn ang="0">
                  <a:pos x="28" y="74"/>
                </a:cxn>
                <a:cxn ang="0">
                  <a:pos x="24" y="70"/>
                </a:cxn>
                <a:cxn ang="0">
                  <a:pos x="24" y="70"/>
                </a:cxn>
                <a:cxn ang="0">
                  <a:pos x="20" y="70"/>
                </a:cxn>
                <a:cxn ang="0">
                  <a:pos x="18" y="68"/>
                </a:cxn>
                <a:cxn ang="0">
                  <a:pos x="10" y="62"/>
                </a:cxn>
                <a:cxn ang="0">
                  <a:pos x="8" y="54"/>
                </a:cxn>
                <a:cxn ang="0">
                  <a:pos x="4" y="50"/>
                </a:cxn>
                <a:cxn ang="0">
                  <a:pos x="2" y="46"/>
                </a:cxn>
                <a:cxn ang="0">
                  <a:pos x="2" y="42"/>
                </a:cxn>
                <a:cxn ang="0">
                  <a:pos x="10" y="42"/>
                </a:cxn>
                <a:cxn ang="0">
                  <a:pos x="14" y="42"/>
                </a:cxn>
                <a:cxn ang="0">
                  <a:pos x="18" y="40"/>
                </a:cxn>
                <a:cxn ang="0">
                  <a:pos x="32" y="38"/>
                </a:cxn>
                <a:cxn ang="0">
                  <a:pos x="40" y="36"/>
                </a:cxn>
                <a:cxn ang="0">
                  <a:pos x="42" y="24"/>
                </a:cxn>
                <a:cxn ang="0">
                  <a:pos x="44" y="20"/>
                </a:cxn>
                <a:cxn ang="0">
                  <a:pos x="50" y="16"/>
                </a:cxn>
                <a:cxn ang="0">
                  <a:pos x="52" y="12"/>
                </a:cxn>
                <a:cxn ang="0">
                  <a:pos x="56" y="8"/>
                </a:cxn>
                <a:cxn ang="0">
                  <a:pos x="70" y="0"/>
                </a:cxn>
              </a:cxnLst>
              <a:rect l="0" t="0" r="r" b="b"/>
              <a:pathLst>
                <a:path w="102" h="114">
                  <a:moveTo>
                    <a:pt x="70" y="0"/>
                  </a:moveTo>
                  <a:lnTo>
                    <a:pt x="68" y="10"/>
                  </a:lnTo>
                  <a:lnTo>
                    <a:pt x="74" y="10"/>
                  </a:lnTo>
                  <a:lnTo>
                    <a:pt x="82" y="14"/>
                  </a:lnTo>
                  <a:lnTo>
                    <a:pt x="90" y="16"/>
                  </a:lnTo>
                  <a:lnTo>
                    <a:pt x="94" y="18"/>
                  </a:lnTo>
                  <a:lnTo>
                    <a:pt x="98" y="22"/>
                  </a:lnTo>
                  <a:lnTo>
                    <a:pt x="100" y="26"/>
                  </a:lnTo>
                  <a:lnTo>
                    <a:pt x="100" y="28"/>
                  </a:lnTo>
                  <a:lnTo>
                    <a:pt x="98" y="30"/>
                  </a:lnTo>
                  <a:lnTo>
                    <a:pt x="96" y="34"/>
                  </a:lnTo>
                  <a:lnTo>
                    <a:pt x="96" y="40"/>
                  </a:lnTo>
                  <a:lnTo>
                    <a:pt x="98" y="46"/>
                  </a:lnTo>
                  <a:lnTo>
                    <a:pt x="102" y="52"/>
                  </a:lnTo>
                  <a:lnTo>
                    <a:pt x="98" y="58"/>
                  </a:lnTo>
                  <a:lnTo>
                    <a:pt x="96" y="60"/>
                  </a:lnTo>
                  <a:lnTo>
                    <a:pt x="96" y="62"/>
                  </a:lnTo>
                  <a:lnTo>
                    <a:pt x="96" y="62"/>
                  </a:lnTo>
                  <a:lnTo>
                    <a:pt x="98" y="64"/>
                  </a:lnTo>
                  <a:lnTo>
                    <a:pt x="98" y="66"/>
                  </a:lnTo>
                  <a:lnTo>
                    <a:pt x="96" y="70"/>
                  </a:lnTo>
                  <a:lnTo>
                    <a:pt x="96" y="76"/>
                  </a:lnTo>
                  <a:lnTo>
                    <a:pt x="96" y="78"/>
                  </a:lnTo>
                  <a:lnTo>
                    <a:pt x="96" y="82"/>
                  </a:lnTo>
                  <a:lnTo>
                    <a:pt x="98" y="86"/>
                  </a:lnTo>
                  <a:lnTo>
                    <a:pt x="96" y="90"/>
                  </a:lnTo>
                  <a:lnTo>
                    <a:pt x="98" y="92"/>
                  </a:lnTo>
                  <a:lnTo>
                    <a:pt x="100" y="92"/>
                  </a:lnTo>
                  <a:lnTo>
                    <a:pt x="100" y="94"/>
                  </a:lnTo>
                  <a:lnTo>
                    <a:pt x="94" y="104"/>
                  </a:lnTo>
                  <a:lnTo>
                    <a:pt x="84" y="114"/>
                  </a:lnTo>
                  <a:lnTo>
                    <a:pt x="82" y="112"/>
                  </a:lnTo>
                  <a:lnTo>
                    <a:pt x="76" y="112"/>
                  </a:lnTo>
                  <a:lnTo>
                    <a:pt x="72" y="110"/>
                  </a:lnTo>
                  <a:lnTo>
                    <a:pt x="70" y="110"/>
                  </a:lnTo>
                  <a:lnTo>
                    <a:pt x="68" y="110"/>
                  </a:lnTo>
                  <a:lnTo>
                    <a:pt x="62" y="110"/>
                  </a:lnTo>
                  <a:lnTo>
                    <a:pt x="60" y="112"/>
                  </a:lnTo>
                  <a:lnTo>
                    <a:pt x="58" y="110"/>
                  </a:lnTo>
                  <a:lnTo>
                    <a:pt x="56" y="110"/>
                  </a:lnTo>
                  <a:lnTo>
                    <a:pt x="54" y="110"/>
                  </a:lnTo>
                  <a:lnTo>
                    <a:pt x="52" y="108"/>
                  </a:lnTo>
                  <a:lnTo>
                    <a:pt x="50" y="106"/>
                  </a:lnTo>
                  <a:lnTo>
                    <a:pt x="48" y="106"/>
                  </a:lnTo>
                  <a:lnTo>
                    <a:pt x="46" y="106"/>
                  </a:lnTo>
                  <a:lnTo>
                    <a:pt x="42" y="104"/>
                  </a:lnTo>
                  <a:lnTo>
                    <a:pt x="42" y="102"/>
                  </a:lnTo>
                  <a:lnTo>
                    <a:pt x="40" y="96"/>
                  </a:lnTo>
                  <a:lnTo>
                    <a:pt x="42" y="92"/>
                  </a:lnTo>
                  <a:lnTo>
                    <a:pt x="42" y="90"/>
                  </a:lnTo>
                  <a:lnTo>
                    <a:pt x="40" y="90"/>
                  </a:lnTo>
                  <a:lnTo>
                    <a:pt x="38" y="88"/>
                  </a:lnTo>
                  <a:lnTo>
                    <a:pt x="36" y="84"/>
                  </a:lnTo>
                  <a:lnTo>
                    <a:pt x="34" y="82"/>
                  </a:lnTo>
                  <a:lnTo>
                    <a:pt x="32" y="76"/>
                  </a:lnTo>
                  <a:lnTo>
                    <a:pt x="28" y="74"/>
                  </a:lnTo>
                  <a:lnTo>
                    <a:pt x="26" y="72"/>
                  </a:lnTo>
                  <a:lnTo>
                    <a:pt x="24" y="70"/>
                  </a:lnTo>
                  <a:lnTo>
                    <a:pt x="24" y="68"/>
                  </a:lnTo>
                  <a:lnTo>
                    <a:pt x="24" y="70"/>
                  </a:lnTo>
                  <a:lnTo>
                    <a:pt x="22" y="70"/>
                  </a:lnTo>
                  <a:lnTo>
                    <a:pt x="20" y="70"/>
                  </a:lnTo>
                  <a:lnTo>
                    <a:pt x="18" y="70"/>
                  </a:lnTo>
                  <a:lnTo>
                    <a:pt x="18" y="68"/>
                  </a:lnTo>
                  <a:lnTo>
                    <a:pt x="16" y="66"/>
                  </a:lnTo>
                  <a:lnTo>
                    <a:pt x="10" y="62"/>
                  </a:lnTo>
                  <a:lnTo>
                    <a:pt x="8" y="58"/>
                  </a:lnTo>
                  <a:lnTo>
                    <a:pt x="8" y="54"/>
                  </a:lnTo>
                  <a:lnTo>
                    <a:pt x="6" y="52"/>
                  </a:lnTo>
                  <a:lnTo>
                    <a:pt x="4" y="50"/>
                  </a:lnTo>
                  <a:lnTo>
                    <a:pt x="2" y="48"/>
                  </a:lnTo>
                  <a:lnTo>
                    <a:pt x="2" y="46"/>
                  </a:lnTo>
                  <a:lnTo>
                    <a:pt x="0" y="42"/>
                  </a:lnTo>
                  <a:lnTo>
                    <a:pt x="2" y="42"/>
                  </a:lnTo>
                  <a:lnTo>
                    <a:pt x="8" y="42"/>
                  </a:lnTo>
                  <a:lnTo>
                    <a:pt x="10" y="42"/>
                  </a:lnTo>
                  <a:lnTo>
                    <a:pt x="12" y="42"/>
                  </a:lnTo>
                  <a:lnTo>
                    <a:pt x="14" y="42"/>
                  </a:lnTo>
                  <a:lnTo>
                    <a:pt x="16" y="40"/>
                  </a:lnTo>
                  <a:lnTo>
                    <a:pt x="18" y="40"/>
                  </a:lnTo>
                  <a:lnTo>
                    <a:pt x="22" y="42"/>
                  </a:lnTo>
                  <a:lnTo>
                    <a:pt x="32" y="38"/>
                  </a:lnTo>
                  <a:lnTo>
                    <a:pt x="36" y="36"/>
                  </a:lnTo>
                  <a:lnTo>
                    <a:pt x="40" y="36"/>
                  </a:lnTo>
                  <a:lnTo>
                    <a:pt x="42" y="28"/>
                  </a:lnTo>
                  <a:lnTo>
                    <a:pt x="42" y="24"/>
                  </a:lnTo>
                  <a:lnTo>
                    <a:pt x="44" y="22"/>
                  </a:lnTo>
                  <a:lnTo>
                    <a:pt x="44" y="20"/>
                  </a:lnTo>
                  <a:lnTo>
                    <a:pt x="46" y="18"/>
                  </a:lnTo>
                  <a:lnTo>
                    <a:pt x="50" y="16"/>
                  </a:lnTo>
                  <a:lnTo>
                    <a:pt x="50" y="14"/>
                  </a:lnTo>
                  <a:lnTo>
                    <a:pt x="52" y="12"/>
                  </a:lnTo>
                  <a:lnTo>
                    <a:pt x="52" y="10"/>
                  </a:lnTo>
                  <a:lnTo>
                    <a:pt x="56" y="8"/>
                  </a:lnTo>
                  <a:lnTo>
                    <a:pt x="58" y="6"/>
                  </a:lnTo>
                  <a:lnTo>
                    <a:pt x="70" y="0"/>
                  </a:lnTo>
                  <a:lnTo>
                    <a:pt x="7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2" name="Freeform 476">
              <a:extLst>
                <a:ext uri="{FF2B5EF4-FFF2-40B4-BE49-F238E27FC236}">
                  <a16:creationId xmlns:a16="http://schemas.microsoft.com/office/drawing/2014/main" id="{6EE6693E-8F47-4822-9D14-BB8FE50E95AE}"/>
                </a:ext>
              </a:extLst>
            </p:cNvPr>
            <p:cNvSpPr>
              <a:spLocks/>
            </p:cNvSpPr>
            <p:nvPr/>
          </p:nvSpPr>
          <p:spPr bwMode="auto">
            <a:xfrm>
              <a:off x="3404449" y="4928369"/>
              <a:ext cx="194221" cy="201990"/>
            </a:xfrm>
            <a:custGeom>
              <a:avLst/>
              <a:gdLst/>
              <a:ahLst/>
              <a:cxnLst>
                <a:cxn ang="0">
                  <a:pos x="36" y="150"/>
                </a:cxn>
                <a:cxn ang="0">
                  <a:pos x="42" y="156"/>
                </a:cxn>
                <a:cxn ang="0">
                  <a:pos x="50" y="156"/>
                </a:cxn>
                <a:cxn ang="0">
                  <a:pos x="56" y="154"/>
                </a:cxn>
                <a:cxn ang="0">
                  <a:pos x="72" y="152"/>
                </a:cxn>
                <a:cxn ang="0">
                  <a:pos x="82" y="142"/>
                </a:cxn>
                <a:cxn ang="0">
                  <a:pos x="84" y="134"/>
                </a:cxn>
                <a:cxn ang="0">
                  <a:pos x="90" y="128"/>
                </a:cxn>
                <a:cxn ang="0">
                  <a:pos x="98" y="120"/>
                </a:cxn>
                <a:cxn ang="0">
                  <a:pos x="112" y="112"/>
                </a:cxn>
                <a:cxn ang="0">
                  <a:pos x="108" y="106"/>
                </a:cxn>
                <a:cxn ang="0">
                  <a:pos x="136" y="84"/>
                </a:cxn>
                <a:cxn ang="0">
                  <a:pos x="136" y="74"/>
                </a:cxn>
                <a:cxn ang="0">
                  <a:pos x="144" y="64"/>
                </a:cxn>
                <a:cxn ang="0">
                  <a:pos x="144" y="58"/>
                </a:cxn>
                <a:cxn ang="0">
                  <a:pos x="142" y="52"/>
                </a:cxn>
                <a:cxn ang="0">
                  <a:pos x="142" y="44"/>
                </a:cxn>
                <a:cxn ang="0">
                  <a:pos x="150" y="36"/>
                </a:cxn>
                <a:cxn ang="0">
                  <a:pos x="148" y="30"/>
                </a:cxn>
                <a:cxn ang="0">
                  <a:pos x="144" y="20"/>
                </a:cxn>
                <a:cxn ang="0">
                  <a:pos x="136" y="16"/>
                </a:cxn>
                <a:cxn ang="0">
                  <a:pos x="128" y="10"/>
                </a:cxn>
                <a:cxn ang="0">
                  <a:pos x="130" y="6"/>
                </a:cxn>
                <a:cxn ang="0">
                  <a:pos x="114" y="6"/>
                </a:cxn>
                <a:cxn ang="0">
                  <a:pos x="114" y="2"/>
                </a:cxn>
                <a:cxn ang="0">
                  <a:pos x="90" y="8"/>
                </a:cxn>
                <a:cxn ang="0">
                  <a:pos x="82" y="16"/>
                </a:cxn>
                <a:cxn ang="0">
                  <a:pos x="78" y="24"/>
                </a:cxn>
                <a:cxn ang="0">
                  <a:pos x="82" y="34"/>
                </a:cxn>
                <a:cxn ang="0">
                  <a:pos x="82" y="44"/>
                </a:cxn>
                <a:cxn ang="0">
                  <a:pos x="92" y="54"/>
                </a:cxn>
                <a:cxn ang="0">
                  <a:pos x="98" y="58"/>
                </a:cxn>
                <a:cxn ang="0">
                  <a:pos x="108" y="72"/>
                </a:cxn>
                <a:cxn ang="0">
                  <a:pos x="94" y="74"/>
                </a:cxn>
                <a:cxn ang="0">
                  <a:pos x="92" y="68"/>
                </a:cxn>
                <a:cxn ang="0">
                  <a:pos x="84" y="60"/>
                </a:cxn>
                <a:cxn ang="0">
                  <a:pos x="78" y="56"/>
                </a:cxn>
                <a:cxn ang="0">
                  <a:pos x="72" y="50"/>
                </a:cxn>
                <a:cxn ang="0">
                  <a:pos x="66" y="54"/>
                </a:cxn>
                <a:cxn ang="0">
                  <a:pos x="50" y="52"/>
                </a:cxn>
                <a:cxn ang="0">
                  <a:pos x="48" y="44"/>
                </a:cxn>
                <a:cxn ang="0">
                  <a:pos x="42" y="46"/>
                </a:cxn>
                <a:cxn ang="0">
                  <a:pos x="38" y="36"/>
                </a:cxn>
                <a:cxn ang="0">
                  <a:pos x="32" y="48"/>
                </a:cxn>
                <a:cxn ang="0">
                  <a:pos x="30" y="62"/>
                </a:cxn>
                <a:cxn ang="0">
                  <a:pos x="0" y="124"/>
                </a:cxn>
                <a:cxn ang="0">
                  <a:pos x="6" y="136"/>
                </a:cxn>
                <a:cxn ang="0">
                  <a:pos x="14" y="148"/>
                </a:cxn>
                <a:cxn ang="0">
                  <a:pos x="18" y="152"/>
                </a:cxn>
              </a:cxnLst>
              <a:rect l="0" t="0" r="r" b="b"/>
              <a:pathLst>
                <a:path w="150" h="156">
                  <a:moveTo>
                    <a:pt x="18" y="152"/>
                  </a:moveTo>
                  <a:lnTo>
                    <a:pt x="32" y="150"/>
                  </a:lnTo>
                  <a:lnTo>
                    <a:pt x="36" y="150"/>
                  </a:lnTo>
                  <a:lnTo>
                    <a:pt x="38" y="152"/>
                  </a:lnTo>
                  <a:lnTo>
                    <a:pt x="40" y="154"/>
                  </a:lnTo>
                  <a:lnTo>
                    <a:pt x="42" y="156"/>
                  </a:lnTo>
                  <a:lnTo>
                    <a:pt x="44" y="156"/>
                  </a:lnTo>
                  <a:lnTo>
                    <a:pt x="50" y="156"/>
                  </a:lnTo>
                  <a:lnTo>
                    <a:pt x="50" y="156"/>
                  </a:lnTo>
                  <a:lnTo>
                    <a:pt x="52" y="156"/>
                  </a:lnTo>
                  <a:lnTo>
                    <a:pt x="54" y="156"/>
                  </a:lnTo>
                  <a:lnTo>
                    <a:pt x="56" y="154"/>
                  </a:lnTo>
                  <a:lnTo>
                    <a:pt x="58" y="154"/>
                  </a:lnTo>
                  <a:lnTo>
                    <a:pt x="62" y="156"/>
                  </a:lnTo>
                  <a:lnTo>
                    <a:pt x="72" y="152"/>
                  </a:lnTo>
                  <a:lnTo>
                    <a:pt x="76" y="150"/>
                  </a:lnTo>
                  <a:lnTo>
                    <a:pt x="80" y="150"/>
                  </a:lnTo>
                  <a:lnTo>
                    <a:pt x="82" y="142"/>
                  </a:lnTo>
                  <a:lnTo>
                    <a:pt x="82" y="138"/>
                  </a:lnTo>
                  <a:lnTo>
                    <a:pt x="84" y="136"/>
                  </a:lnTo>
                  <a:lnTo>
                    <a:pt x="84" y="134"/>
                  </a:lnTo>
                  <a:lnTo>
                    <a:pt x="86" y="132"/>
                  </a:lnTo>
                  <a:lnTo>
                    <a:pt x="90" y="130"/>
                  </a:lnTo>
                  <a:lnTo>
                    <a:pt x="90" y="128"/>
                  </a:lnTo>
                  <a:lnTo>
                    <a:pt x="92" y="124"/>
                  </a:lnTo>
                  <a:lnTo>
                    <a:pt x="94" y="122"/>
                  </a:lnTo>
                  <a:lnTo>
                    <a:pt x="98" y="120"/>
                  </a:lnTo>
                  <a:lnTo>
                    <a:pt x="100" y="118"/>
                  </a:lnTo>
                  <a:lnTo>
                    <a:pt x="110" y="114"/>
                  </a:lnTo>
                  <a:lnTo>
                    <a:pt x="112" y="112"/>
                  </a:lnTo>
                  <a:lnTo>
                    <a:pt x="112" y="112"/>
                  </a:lnTo>
                  <a:lnTo>
                    <a:pt x="110" y="110"/>
                  </a:lnTo>
                  <a:lnTo>
                    <a:pt x="108" y="106"/>
                  </a:lnTo>
                  <a:lnTo>
                    <a:pt x="136" y="96"/>
                  </a:lnTo>
                  <a:lnTo>
                    <a:pt x="134" y="88"/>
                  </a:lnTo>
                  <a:lnTo>
                    <a:pt x="136" y="84"/>
                  </a:lnTo>
                  <a:lnTo>
                    <a:pt x="136" y="82"/>
                  </a:lnTo>
                  <a:lnTo>
                    <a:pt x="136" y="80"/>
                  </a:lnTo>
                  <a:lnTo>
                    <a:pt x="136" y="74"/>
                  </a:lnTo>
                  <a:lnTo>
                    <a:pt x="136" y="70"/>
                  </a:lnTo>
                  <a:lnTo>
                    <a:pt x="138" y="68"/>
                  </a:lnTo>
                  <a:lnTo>
                    <a:pt x="144" y="64"/>
                  </a:lnTo>
                  <a:lnTo>
                    <a:pt x="146" y="62"/>
                  </a:lnTo>
                  <a:lnTo>
                    <a:pt x="146" y="60"/>
                  </a:lnTo>
                  <a:lnTo>
                    <a:pt x="144" y="58"/>
                  </a:lnTo>
                  <a:lnTo>
                    <a:pt x="142" y="58"/>
                  </a:lnTo>
                  <a:lnTo>
                    <a:pt x="142" y="58"/>
                  </a:lnTo>
                  <a:lnTo>
                    <a:pt x="142" y="52"/>
                  </a:lnTo>
                  <a:lnTo>
                    <a:pt x="142" y="48"/>
                  </a:lnTo>
                  <a:lnTo>
                    <a:pt x="142" y="46"/>
                  </a:lnTo>
                  <a:lnTo>
                    <a:pt x="142" y="44"/>
                  </a:lnTo>
                  <a:lnTo>
                    <a:pt x="146" y="42"/>
                  </a:lnTo>
                  <a:lnTo>
                    <a:pt x="148" y="38"/>
                  </a:lnTo>
                  <a:lnTo>
                    <a:pt x="150" y="36"/>
                  </a:lnTo>
                  <a:lnTo>
                    <a:pt x="148" y="34"/>
                  </a:lnTo>
                  <a:lnTo>
                    <a:pt x="148" y="32"/>
                  </a:lnTo>
                  <a:lnTo>
                    <a:pt x="148" y="30"/>
                  </a:lnTo>
                  <a:lnTo>
                    <a:pt x="148" y="26"/>
                  </a:lnTo>
                  <a:lnTo>
                    <a:pt x="146" y="24"/>
                  </a:lnTo>
                  <a:lnTo>
                    <a:pt x="144" y="20"/>
                  </a:lnTo>
                  <a:lnTo>
                    <a:pt x="144" y="18"/>
                  </a:lnTo>
                  <a:lnTo>
                    <a:pt x="140" y="18"/>
                  </a:lnTo>
                  <a:lnTo>
                    <a:pt x="136" y="16"/>
                  </a:lnTo>
                  <a:lnTo>
                    <a:pt x="132" y="12"/>
                  </a:lnTo>
                  <a:lnTo>
                    <a:pt x="130" y="12"/>
                  </a:lnTo>
                  <a:lnTo>
                    <a:pt x="128" y="10"/>
                  </a:lnTo>
                  <a:lnTo>
                    <a:pt x="128" y="8"/>
                  </a:lnTo>
                  <a:lnTo>
                    <a:pt x="128" y="4"/>
                  </a:lnTo>
                  <a:lnTo>
                    <a:pt x="130" y="6"/>
                  </a:lnTo>
                  <a:lnTo>
                    <a:pt x="122" y="6"/>
                  </a:lnTo>
                  <a:lnTo>
                    <a:pt x="118" y="6"/>
                  </a:lnTo>
                  <a:lnTo>
                    <a:pt x="114" y="6"/>
                  </a:lnTo>
                  <a:lnTo>
                    <a:pt x="116" y="4"/>
                  </a:lnTo>
                  <a:lnTo>
                    <a:pt x="116" y="2"/>
                  </a:lnTo>
                  <a:lnTo>
                    <a:pt x="114" y="2"/>
                  </a:lnTo>
                  <a:lnTo>
                    <a:pt x="114" y="0"/>
                  </a:lnTo>
                  <a:lnTo>
                    <a:pt x="90" y="6"/>
                  </a:lnTo>
                  <a:lnTo>
                    <a:pt x="90" y="8"/>
                  </a:lnTo>
                  <a:lnTo>
                    <a:pt x="86" y="12"/>
                  </a:lnTo>
                  <a:lnTo>
                    <a:pt x="82" y="14"/>
                  </a:lnTo>
                  <a:lnTo>
                    <a:pt x="82" y="16"/>
                  </a:lnTo>
                  <a:lnTo>
                    <a:pt x="80" y="16"/>
                  </a:lnTo>
                  <a:lnTo>
                    <a:pt x="78" y="20"/>
                  </a:lnTo>
                  <a:lnTo>
                    <a:pt x="78" y="24"/>
                  </a:lnTo>
                  <a:lnTo>
                    <a:pt x="80" y="26"/>
                  </a:lnTo>
                  <a:lnTo>
                    <a:pt x="80" y="28"/>
                  </a:lnTo>
                  <a:lnTo>
                    <a:pt x="82" y="34"/>
                  </a:lnTo>
                  <a:lnTo>
                    <a:pt x="84" y="36"/>
                  </a:lnTo>
                  <a:lnTo>
                    <a:pt x="84" y="38"/>
                  </a:lnTo>
                  <a:lnTo>
                    <a:pt x="82" y="44"/>
                  </a:lnTo>
                  <a:lnTo>
                    <a:pt x="84" y="48"/>
                  </a:lnTo>
                  <a:lnTo>
                    <a:pt x="88" y="52"/>
                  </a:lnTo>
                  <a:lnTo>
                    <a:pt x="92" y="54"/>
                  </a:lnTo>
                  <a:lnTo>
                    <a:pt x="94" y="54"/>
                  </a:lnTo>
                  <a:lnTo>
                    <a:pt x="96" y="58"/>
                  </a:lnTo>
                  <a:lnTo>
                    <a:pt x="98" y="58"/>
                  </a:lnTo>
                  <a:lnTo>
                    <a:pt x="100" y="58"/>
                  </a:lnTo>
                  <a:lnTo>
                    <a:pt x="108" y="58"/>
                  </a:lnTo>
                  <a:lnTo>
                    <a:pt x="108" y="72"/>
                  </a:lnTo>
                  <a:lnTo>
                    <a:pt x="102" y="70"/>
                  </a:lnTo>
                  <a:lnTo>
                    <a:pt x="98" y="72"/>
                  </a:lnTo>
                  <a:lnTo>
                    <a:pt x="94" y="74"/>
                  </a:lnTo>
                  <a:lnTo>
                    <a:pt x="92" y="74"/>
                  </a:lnTo>
                  <a:lnTo>
                    <a:pt x="90" y="72"/>
                  </a:lnTo>
                  <a:lnTo>
                    <a:pt x="92" y="68"/>
                  </a:lnTo>
                  <a:lnTo>
                    <a:pt x="90" y="64"/>
                  </a:lnTo>
                  <a:lnTo>
                    <a:pt x="88" y="62"/>
                  </a:lnTo>
                  <a:lnTo>
                    <a:pt x="84" y="60"/>
                  </a:lnTo>
                  <a:lnTo>
                    <a:pt x="82" y="60"/>
                  </a:lnTo>
                  <a:lnTo>
                    <a:pt x="80" y="58"/>
                  </a:lnTo>
                  <a:lnTo>
                    <a:pt x="78" y="56"/>
                  </a:lnTo>
                  <a:lnTo>
                    <a:pt x="74" y="54"/>
                  </a:lnTo>
                  <a:lnTo>
                    <a:pt x="74" y="50"/>
                  </a:lnTo>
                  <a:lnTo>
                    <a:pt x="72" y="50"/>
                  </a:lnTo>
                  <a:lnTo>
                    <a:pt x="70" y="48"/>
                  </a:lnTo>
                  <a:lnTo>
                    <a:pt x="68" y="50"/>
                  </a:lnTo>
                  <a:lnTo>
                    <a:pt x="66" y="54"/>
                  </a:lnTo>
                  <a:lnTo>
                    <a:pt x="60" y="54"/>
                  </a:lnTo>
                  <a:lnTo>
                    <a:pt x="50" y="54"/>
                  </a:lnTo>
                  <a:lnTo>
                    <a:pt x="50" y="52"/>
                  </a:lnTo>
                  <a:lnTo>
                    <a:pt x="48" y="52"/>
                  </a:lnTo>
                  <a:lnTo>
                    <a:pt x="50" y="46"/>
                  </a:lnTo>
                  <a:lnTo>
                    <a:pt x="48" y="44"/>
                  </a:lnTo>
                  <a:lnTo>
                    <a:pt x="46" y="44"/>
                  </a:lnTo>
                  <a:lnTo>
                    <a:pt x="44" y="44"/>
                  </a:lnTo>
                  <a:lnTo>
                    <a:pt x="42" y="46"/>
                  </a:lnTo>
                  <a:lnTo>
                    <a:pt x="40" y="46"/>
                  </a:lnTo>
                  <a:lnTo>
                    <a:pt x="38" y="44"/>
                  </a:lnTo>
                  <a:lnTo>
                    <a:pt x="38" y="36"/>
                  </a:lnTo>
                  <a:lnTo>
                    <a:pt x="30" y="38"/>
                  </a:lnTo>
                  <a:lnTo>
                    <a:pt x="32" y="42"/>
                  </a:lnTo>
                  <a:lnTo>
                    <a:pt x="32" y="48"/>
                  </a:lnTo>
                  <a:lnTo>
                    <a:pt x="30" y="52"/>
                  </a:lnTo>
                  <a:lnTo>
                    <a:pt x="30" y="56"/>
                  </a:lnTo>
                  <a:lnTo>
                    <a:pt x="30" y="62"/>
                  </a:lnTo>
                  <a:lnTo>
                    <a:pt x="30" y="66"/>
                  </a:lnTo>
                  <a:lnTo>
                    <a:pt x="0" y="66"/>
                  </a:lnTo>
                  <a:lnTo>
                    <a:pt x="0" y="124"/>
                  </a:lnTo>
                  <a:lnTo>
                    <a:pt x="2" y="126"/>
                  </a:lnTo>
                  <a:lnTo>
                    <a:pt x="4" y="132"/>
                  </a:lnTo>
                  <a:lnTo>
                    <a:pt x="6" y="136"/>
                  </a:lnTo>
                  <a:lnTo>
                    <a:pt x="10" y="142"/>
                  </a:lnTo>
                  <a:lnTo>
                    <a:pt x="14" y="146"/>
                  </a:lnTo>
                  <a:lnTo>
                    <a:pt x="14" y="148"/>
                  </a:lnTo>
                  <a:lnTo>
                    <a:pt x="16" y="152"/>
                  </a:lnTo>
                  <a:lnTo>
                    <a:pt x="18" y="152"/>
                  </a:lnTo>
                  <a:lnTo>
                    <a:pt x="18" y="15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3" name="Freeform 477">
              <a:extLst>
                <a:ext uri="{FF2B5EF4-FFF2-40B4-BE49-F238E27FC236}">
                  <a16:creationId xmlns:a16="http://schemas.microsoft.com/office/drawing/2014/main" id="{61A1D1D7-5FD1-4110-B3B3-A744F44EBE79}"/>
                </a:ext>
              </a:extLst>
            </p:cNvPr>
            <p:cNvSpPr>
              <a:spLocks noEditPoints="1"/>
            </p:cNvSpPr>
            <p:nvPr/>
          </p:nvSpPr>
          <p:spPr bwMode="auto">
            <a:xfrm>
              <a:off x="3523571" y="4664229"/>
              <a:ext cx="93226" cy="134660"/>
            </a:xfrm>
            <a:custGeom>
              <a:avLst/>
              <a:gdLst/>
              <a:ahLst/>
              <a:cxnLst>
                <a:cxn ang="0">
                  <a:pos x="66" y="76"/>
                </a:cxn>
                <a:cxn ang="0">
                  <a:pos x="66" y="72"/>
                </a:cxn>
                <a:cxn ang="0">
                  <a:pos x="64" y="66"/>
                </a:cxn>
                <a:cxn ang="0">
                  <a:pos x="64" y="58"/>
                </a:cxn>
                <a:cxn ang="0">
                  <a:pos x="66" y="48"/>
                </a:cxn>
                <a:cxn ang="0">
                  <a:pos x="68" y="44"/>
                </a:cxn>
                <a:cxn ang="0">
                  <a:pos x="72" y="38"/>
                </a:cxn>
                <a:cxn ang="0">
                  <a:pos x="70" y="28"/>
                </a:cxn>
                <a:cxn ang="0">
                  <a:pos x="68" y="18"/>
                </a:cxn>
                <a:cxn ang="0">
                  <a:pos x="70" y="12"/>
                </a:cxn>
                <a:cxn ang="0">
                  <a:pos x="68" y="8"/>
                </a:cxn>
                <a:cxn ang="0">
                  <a:pos x="64" y="4"/>
                </a:cxn>
                <a:cxn ang="0">
                  <a:pos x="58" y="4"/>
                </a:cxn>
                <a:cxn ang="0">
                  <a:pos x="52" y="0"/>
                </a:cxn>
                <a:cxn ang="0">
                  <a:pos x="46" y="2"/>
                </a:cxn>
                <a:cxn ang="0">
                  <a:pos x="40" y="4"/>
                </a:cxn>
                <a:cxn ang="0">
                  <a:pos x="34" y="10"/>
                </a:cxn>
                <a:cxn ang="0">
                  <a:pos x="34" y="16"/>
                </a:cxn>
                <a:cxn ang="0">
                  <a:pos x="28" y="22"/>
                </a:cxn>
                <a:cxn ang="0">
                  <a:pos x="30" y="26"/>
                </a:cxn>
                <a:cxn ang="0">
                  <a:pos x="26" y="34"/>
                </a:cxn>
                <a:cxn ang="0">
                  <a:pos x="28" y="38"/>
                </a:cxn>
                <a:cxn ang="0">
                  <a:pos x="30" y="40"/>
                </a:cxn>
                <a:cxn ang="0">
                  <a:pos x="30" y="44"/>
                </a:cxn>
                <a:cxn ang="0">
                  <a:pos x="24" y="52"/>
                </a:cxn>
                <a:cxn ang="0">
                  <a:pos x="22" y="54"/>
                </a:cxn>
                <a:cxn ang="0">
                  <a:pos x="16" y="56"/>
                </a:cxn>
                <a:cxn ang="0">
                  <a:pos x="10" y="62"/>
                </a:cxn>
                <a:cxn ang="0">
                  <a:pos x="4" y="78"/>
                </a:cxn>
                <a:cxn ang="0">
                  <a:pos x="6" y="82"/>
                </a:cxn>
                <a:cxn ang="0">
                  <a:pos x="2" y="88"/>
                </a:cxn>
                <a:cxn ang="0">
                  <a:pos x="0" y="94"/>
                </a:cxn>
                <a:cxn ang="0">
                  <a:pos x="2" y="96"/>
                </a:cxn>
                <a:cxn ang="0">
                  <a:pos x="8" y="102"/>
                </a:cxn>
                <a:cxn ang="0">
                  <a:pos x="16" y="102"/>
                </a:cxn>
                <a:cxn ang="0">
                  <a:pos x="22" y="98"/>
                </a:cxn>
                <a:cxn ang="0">
                  <a:pos x="40" y="96"/>
                </a:cxn>
                <a:cxn ang="0">
                  <a:pos x="34" y="92"/>
                </a:cxn>
                <a:cxn ang="0">
                  <a:pos x="36" y="80"/>
                </a:cxn>
                <a:cxn ang="0">
                  <a:pos x="38" y="78"/>
                </a:cxn>
                <a:cxn ang="0">
                  <a:pos x="42" y="72"/>
                </a:cxn>
                <a:cxn ang="0">
                  <a:pos x="58" y="72"/>
                </a:cxn>
                <a:cxn ang="0">
                  <a:pos x="62" y="66"/>
                </a:cxn>
                <a:cxn ang="0">
                  <a:pos x="62" y="70"/>
                </a:cxn>
                <a:cxn ang="0">
                  <a:pos x="64" y="74"/>
                </a:cxn>
                <a:cxn ang="0">
                  <a:pos x="66" y="76"/>
                </a:cxn>
                <a:cxn ang="0">
                  <a:pos x="26" y="44"/>
                </a:cxn>
                <a:cxn ang="0">
                  <a:pos x="24" y="48"/>
                </a:cxn>
                <a:cxn ang="0">
                  <a:pos x="26" y="44"/>
                </a:cxn>
              </a:cxnLst>
              <a:rect l="0" t="0" r="r" b="b"/>
              <a:pathLst>
                <a:path w="72" h="104">
                  <a:moveTo>
                    <a:pt x="66" y="76"/>
                  </a:moveTo>
                  <a:lnTo>
                    <a:pt x="66" y="76"/>
                  </a:lnTo>
                  <a:lnTo>
                    <a:pt x="64" y="74"/>
                  </a:lnTo>
                  <a:lnTo>
                    <a:pt x="66" y="72"/>
                  </a:lnTo>
                  <a:lnTo>
                    <a:pt x="66" y="70"/>
                  </a:lnTo>
                  <a:lnTo>
                    <a:pt x="64" y="66"/>
                  </a:lnTo>
                  <a:lnTo>
                    <a:pt x="64" y="62"/>
                  </a:lnTo>
                  <a:lnTo>
                    <a:pt x="64" y="58"/>
                  </a:lnTo>
                  <a:lnTo>
                    <a:pt x="66" y="54"/>
                  </a:lnTo>
                  <a:lnTo>
                    <a:pt x="66" y="48"/>
                  </a:lnTo>
                  <a:lnTo>
                    <a:pt x="66" y="46"/>
                  </a:lnTo>
                  <a:lnTo>
                    <a:pt x="68" y="44"/>
                  </a:lnTo>
                  <a:lnTo>
                    <a:pt x="70" y="42"/>
                  </a:lnTo>
                  <a:lnTo>
                    <a:pt x="72" y="38"/>
                  </a:lnTo>
                  <a:lnTo>
                    <a:pt x="72" y="32"/>
                  </a:lnTo>
                  <a:lnTo>
                    <a:pt x="70" y="28"/>
                  </a:lnTo>
                  <a:lnTo>
                    <a:pt x="66" y="24"/>
                  </a:lnTo>
                  <a:lnTo>
                    <a:pt x="68" y="18"/>
                  </a:lnTo>
                  <a:lnTo>
                    <a:pt x="70" y="14"/>
                  </a:lnTo>
                  <a:lnTo>
                    <a:pt x="70" y="12"/>
                  </a:lnTo>
                  <a:lnTo>
                    <a:pt x="68" y="10"/>
                  </a:lnTo>
                  <a:lnTo>
                    <a:pt x="68" y="8"/>
                  </a:lnTo>
                  <a:lnTo>
                    <a:pt x="66" y="8"/>
                  </a:lnTo>
                  <a:lnTo>
                    <a:pt x="64" y="4"/>
                  </a:lnTo>
                  <a:lnTo>
                    <a:pt x="64" y="0"/>
                  </a:lnTo>
                  <a:lnTo>
                    <a:pt x="58" y="4"/>
                  </a:lnTo>
                  <a:lnTo>
                    <a:pt x="56" y="2"/>
                  </a:lnTo>
                  <a:lnTo>
                    <a:pt x="52" y="0"/>
                  </a:lnTo>
                  <a:lnTo>
                    <a:pt x="48" y="2"/>
                  </a:lnTo>
                  <a:lnTo>
                    <a:pt x="46" y="2"/>
                  </a:lnTo>
                  <a:lnTo>
                    <a:pt x="44" y="2"/>
                  </a:lnTo>
                  <a:lnTo>
                    <a:pt x="40" y="4"/>
                  </a:lnTo>
                  <a:lnTo>
                    <a:pt x="38" y="6"/>
                  </a:lnTo>
                  <a:lnTo>
                    <a:pt x="34" y="10"/>
                  </a:lnTo>
                  <a:lnTo>
                    <a:pt x="34" y="12"/>
                  </a:lnTo>
                  <a:lnTo>
                    <a:pt x="34" y="16"/>
                  </a:lnTo>
                  <a:lnTo>
                    <a:pt x="30" y="20"/>
                  </a:lnTo>
                  <a:lnTo>
                    <a:pt x="28" y="22"/>
                  </a:lnTo>
                  <a:lnTo>
                    <a:pt x="30" y="24"/>
                  </a:lnTo>
                  <a:lnTo>
                    <a:pt x="30" y="26"/>
                  </a:lnTo>
                  <a:lnTo>
                    <a:pt x="28" y="30"/>
                  </a:lnTo>
                  <a:lnTo>
                    <a:pt x="26" y="34"/>
                  </a:lnTo>
                  <a:lnTo>
                    <a:pt x="26" y="38"/>
                  </a:lnTo>
                  <a:lnTo>
                    <a:pt x="28" y="38"/>
                  </a:lnTo>
                  <a:lnTo>
                    <a:pt x="30" y="40"/>
                  </a:lnTo>
                  <a:lnTo>
                    <a:pt x="30" y="40"/>
                  </a:lnTo>
                  <a:lnTo>
                    <a:pt x="30" y="42"/>
                  </a:lnTo>
                  <a:lnTo>
                    <a:pt x="30" y="44"/>
                  </a:lnTo>
                  <a:lnTo>
                    <a:pt x="28" y="48"/>
                  </a:lnTo>
                  <a:lnTo>
                    <a:pt x="24" y="52"/>
                  </a:lnTo>
                  <a:lnTo>
                    <a:pt x="24" y="54"/>
                  </a:lnTo>
                  <a:lnTo>
                    <a:pt x="22" y="54"/>
                  </a:lnTo>
                  <a:lnTo>
                    <a:pt x="20" y="52"/>
                  </a:lnTo>
                  <a:lnTo>
                    <a:pt x="16" y="56"/>
                  </a:lnTo>
                  <a:lnTo>
                    <a:pt x="12" y="58"/>
                  </a:lnTo>
                  <a:lnTo>
                    <a:pt x="10" y="62"/>
                  </a:lnTo>
                  <a:lnTo>
                    <a:pt x="8" y="66"/>
                  </a:lnTo>
                  <a:lnTo>
                    <a:pt x="4" y="78"/>
                  </a:lnTo>
                  <a:lnTo>
                    <a:pt x="8" y="78"/>
                  </a:lnTo>
                  <a:lnTo>
                    <a:pt x="6" y="82"/>
                  </a:lnTo>
                  <a:lnTo>
                    <a:pt x="4" y="86"/>
                  </a:lnTo>
                  <a:lnTo>
                    <a:pt x="2" y="88"/>
                  </a:lnTo>
                  <a:lnTo>
                    <a:pt x="0" y="90"/>
                  </a:lnTo>
                  <a:lnTo>
                    <a:pt x="0" y="94"/>
                  </a:lnTo>
                  <a:lnTo>
                    <a:pt x="0" y="94"/>
                  </a:lnTo>
                  <a:lnTo>
                    <a:pt x="2" y="96"/>
                  </a:lnTo>
                  <a:lnTo>
                    <a:pt x="2" y="98"/>
                  </a:lnTo>
                  <a:lnTo>
                    <a:pt x="8" y="102"/>
                  </a:lnTo>
                  <a:lnTo>
                    <a:pt x="12" y="104"/>
                  </a:lnTo>
                  <a:lnTo>
                    <a:pt x="16" y="102"/>
                  </a:lnTo>
                  <a:lnTo>
                    <a:pt x="20" y="100"/>
                  </a:lnTo>
                  <a:lnTo>
                    <a:pt x="22" y="98"/>
                  </a:lnTo>
                  <a:lnTo>
                    <a:pt x="40" y="98"/>
                  </a:lnTo>
                  <a:lnTo>
                    <a:pt x="40" y="96"/>
                  </a:lnTo>
                  <a:lnTo>
                    <a:pt x="40" y="94"/>
                  </a:lnTo>
                  <a:lnTo>
                    <a:pt x="34" y="92"/>
                  </a:lnTo>
                  <a:lnTo>
                    <a:pt x="38" y="86"/>
                  </a:lnTo>
                  <a:lnTo>
                    <a:pt x="36" y="80"/>
                  </a:lnTo>
                  <a:lnTo>
                    <a:pt x="36" y="78"/>
                  </a:lnTo>
                  <a:lnTo>
                    <a:pt x="38" y="78"/>
                  </a:lnTo>
                  <a:lnTo>
                    <a:pt x="38" y="74"/>
                  </a:lnTo>
                  <a:lnTo>
                    <a:pt x="42" y="72"/>
                  </a:lnTo>
                  <a:lnTo>
                    <a:pt x="46" y="70"/>
                  </a:lnTo>
                  <a:lnTo>
                    <a:pt x="58" y="72"/>
                  </a:lnTo>
                  <a:lnTo>
                    <a:pt x="60" y="66"/>
                  </a:lnTo>
                  <a:lnTo>
                    <a:pt x="62" y="66"/>
                  </a:lnTo>
                  <a:lnTo>
                    <a:pt x="62" y="68"/>
                  </a:lnTo>
                  <a:lnTo>
                    <a:pt x="62" y="70"/>
                  </a:lnTo>
                  <a:lnTo>
                    <a:pt x="64" y="70"/>
                  </a:lnTo>
                  <a:lnTo>
                    <a:pt x="64" y="74"/>
                  </a:lnTo>
                  <a:lnTo>
                    <a:pt x="64" y="76"/>
                  </a:lnTo>
                  <a:lnTo>
                    <a:pt x="66" y="76"/>
                  </a:lnTo>
                  <a:lnTo>
                    <a:pt x="66" y="76"/>
                  </a:lnTo>
                  <a:close/>
                  <a:moveTo>
                    <a:pt x="26" y="44"/>
                  </a:moveTo>
                  <a:lnTo>
                    <a:pt x="26" y="44"/>
                  </a:lnTo>
                  <a:lnTo>
                    <a:pt x="24" y="48"/>
                  </a:lnTo>
                  <a:lnTo>
                    <a:pt x="26" y="46"/>
                  </a:lnTo>
                  <a:lnTo>
                    <a:pt x="26" y="44"/>
                  </a:lnTo>
                  <a:lnTo>
                    <a:pt x="26" y="4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4" name="Freeform 478">
              <a:extLst>
                <a:ext uri="{FF2B5EF4-FFF2-40B4-BE49-F238E27FC236}">
                  <a16:creationId xmlns:a16="http://schemas.microsoft.com/office/drawing/2014/main" id="{551E2D3C-68BB-4774-959B-5F8FF56BD665}"/>
                </a:ext>
              </a:extLst>
            </p:cNvPr>
            <p:cNvSpPr>
              <a:spLocks/>
            </p:cNvSpPr>
            <p:nvPr/>
          </p:nvSpPr>
          <p:spPr bwMode="auto">
            <a:xfrm>
              <a:off x="3536519" y="4793710"/>
              <a:ext cx="178683" cy="212348"/>
            </a:xfrm>
            <a:custGeom>
              <a:avLst/>
              <a:gdLst/>
              <a:ahLst/>
              <a:cxnLst>
                <a:cxn ang="0">
                  <a:pos x="122" y="52"/>
                </a:cxn>
                <a:cxn ang="0">
                  <a:pos x="120" y="54"/>
                </a:cxn>
                <a:cxn ang="0">
                  <a:pos x="118" y="64"/>
                </a:cxn>
                <a:cxn ang="0">
                  <a:pos x="116" y="70"/>
                </a:cxn>
                <a:cxn ang="0">
                  <a:pos x="122" y="82"/>
                </a:cxn>
                <a:cxn ang="0">
                  <a:pos x="126" y="92"/>
                </a:cxn>
                <a:cxn ang="0">
                  <a:pos x="124" y="116"/>
                </a:cxn>
                <a:cxn ang="0">
                  <a:pos x="132" y="132"/>
                </a:cxn>
                <a:cxn ang="0">
                  <a:pos x="138" y="140"/>
                </a:cxn>
                <a:cxn ang="0">
                  <a:pos x="120" y="154"/>
                </a:cxn>
                <a:cxn ang="0">
                  <a:pos x="110" y="156"/>
                </a:cxn>
                <a:cxn ang="0">
                  <a:pos x="102" y="156"/>
                </a:cxn>
                <a:cxn ang="0">
                  <a:pos x="88" y="162"/>
                </a:cxn>
                <a:cxn ang="0">
                  <a:pos x="76" y="162"/>
                </a:cxn>
                <a:cxn ang="0">
                  <a:pos x="70" y="158"/>
                </a:cxn>
                <a:cxn ang="0">
                  <a:pos x="62" y="158"/>
                </a:cxn>
                <a:cxn ang="0">
                  <a:pos x="58" y="128"/>
                </a:cxn>
                <a:cxn ang="0">
                  <a:pos x="54" y="124"/>
                </a:cxn>
                <a:cxn ang="0">
                  <a:pos x="34" y="120"/>
                </a:cxn>
                <a:cxn ang="0">
                  <a:pos x="26" y="114"/>
                </a:cxn>
                <a:cxn ang="0">
                  <a:pos x="24" y="104"/>
                </a:cxn>
                <a:cxn ang="0">
                  <a:pos x="18" y="100"/>
                </a:cxn>
                <a:cxn ang="0">
                  <a:pos x="12" y="92"/>
                </a:cxn>
                <a:cxn ang="0">
                  <a:pos x="8" y="74"/>
                </a:cxn>
                <a:cxn ang="0">
                  <a:pos x="2" y="56"/>
                </a:cxn>
                <a:cxn ang="0">
                  <a:pos x="2" y="54"/>
                </a:cxn>
                <a:cxn ang="0">
                  <a:pos x="0" y="48"/>
                </a:cxn>
                <a:cxn ang="0">
                  <a:pos x="12" y="38"/>
                </a:cxn>
                <a:cxn ang="0">
                  <a:pos x="16" y="28"/>
                </a:cxn>
                <a:cxn ang="0">
                  <a:pos x="14" y="18"/>
                </a:cxn>
                <a:cxn ang="0">
                  <a:pos x="16" y="6"/>
                </a:cxn>
                <a:cxn ang="0">
                  <a:pos x="26" y="8"/>
                </a:cxn>
                <a:cxn ang="0">
                  <a:pos x="32" y="22"/>
                </a:cxn>
                <a:cxn ang="0">
                  <a:pos x="36" y="18"/>
                </a:cxn>
                <a:cxn ang="0">
                  <a:pos x="40" y="14"/>
                </a:cxn>
                <a:cxn ang="0">
                  <a:pos x="52" y="24"/>
                </a:cxn>
                <a:cxn ang="0">
                  <a:pos x="56" y="16"/>
                </a:cxn>
                <a:cxn ang="0">
                  <a:pos x="62" y="12"/>
                </a:cxn>
                <a:cxn ang="0">
                  <a:pos x="60" y="10"/>
                </a:cxn>
                <a:cxn ang="0">
                  <a:pos x="62" y="6"/>
                </a:cxn>
                <a:cxn ang="0">
                  <a:pos x="62" y="0"/>
                </a:cxn>
                <a:cxn ang="0">
                  <a:pos x="104" y="24"/>
                </a:cxn>
                <a:cxn ang="0">
                  <a:pos x="108" y="34"/>
                </a:cxn>
                <a:cxn ang="0">
                  <a:pos x="124" y="44"/>
                </a:cxn>
              </a:cxnLst>
              <a:rect l="0" t="0" r="r" b="b"/>
              <a:pathLst>
                <a:path w="138" h="164">
                  <a:moveTo>
                    <a:pt x="124" y="44"/>
                  </a:moveTo>
                  <a:lnTo>
                    <a:pt x="124" y="44"/>
                  </a:lnTo>
                  <a:lnTo>
                    <a:pt x="122" y="52"/>
                  </a:lnTo>
                  <a:lnTo>
                    <a:pt x="120" y="52"/>
                  </a:lnTo>
                  <a:lnTo>
                    <a:pt x="120" y="52"/>
                  </a:lnTo>
                  <a:lnTo>
                    <a:pt x="120" y="54"/>
                  </a:lnTo>
                  <a:lnTo>
                    <a:pt x="120" y="56"/>
                  </a:lnTo>
                  <a:lnTo>
                    <a:pt x="118" y="58"/>
                  </a:lnTo>
                  <a:lnTo>
                    <a:pt x="118" y="64"/>
                  </a:lnTo>
                  <a:lnTo>
                    <a:pt x="116" y="66"/>
                  </a:lnTo>
                  <a:lnTo>
                    <a:pt x="116" y="68"/>
                  </a:lnTo>
                  <a:lnTo>
                    <a:pt x="116" y="70"/>
                  </a:lnTo>
                  <a:lnTo>
                    <a:pt x="116" y="72"/>
                  </a:lnTo>
                  <a:lnTo>
                    <a:pt x="116" y="76"/>
                  </a:lnTo>
                  <a:lnTo>
                    <a:pt x="122" y="82"/>
                  </a:lnTo>
                  <a:lnTo>
                    <a:pt x="128" y="86"/>
                  </a:lnTo>
                  <a:lnTo>
                    <a:pt x="128" y="90"/>
                  </a:lnTo>
                  <a:lnTo>
                    <a:pt x="126" y="92"/>
                  </a:lnTo>
                  <a:lnTo>
                    <a:pt x="124" y="96"/>
                  </a:lnTo>
                  <a:lnTo>
                    <a:pt x="124" y="104"/>
                  </a:lnTo>
                  <a:lnTo>
                    <a:pt x="124" y="116"/>
                  </a:lnTo>
                  <a:lnTo>
                    <a:pt x="124" y="122"/>
                  </a:lnTo>
                  <a:lnTo>
                    <a:pt x="128" y="130"/>
                  </a:lnTo>
                  <a:lnTo>
                    <a:pt x="132" y="132"/>
                  </a:lnTo>
                  <a:lnTo>
                    <a:pt x="136" y="136"/>
                  </a:lnTo>
                  <a:lnTo>
                    <a:pt x="136" y="140"/>
                  </a:lnTo>
                  <a:lnTo>
                    <a:pt x="138" y="140"/>
                  </a:lnTo>
                  <a:lnTo>
                    <a:pt x="138" y="144"/>
                  </a:lnTo>
                  <a:lnTo>
                    <a:pt x="124" y="152"/>
                  </a:lnTo>
                  <a:lnTo>
                    <a:pt x="120" y="154"/>
                  </a:lnTo>
                  <a:lnTo>
                    <a:pt x="116" y="154"/>
                  </a:lnTo>
                  <a:lnTo>
                    <a:pt x="112" y="154"/>
                  </a:lnTo>
                  <a:lnTo>
                    <a:pt x="110" y="156"/>
                  </a:lnTo>
                  <a:lnTo>
                    <a:pt x="106" y="158"/>
                  </a:lnTo>
                  <a:lnTo>
                    <a:pt x="104" y="156"/>
                  </a:lnTo>
                  <a:lnTo>
                    <a:pt x="102" y="156"/>
                  </a:lnTo>
                  <a:lnTo>
                    <a:pt x="102" y="158"/>
                  </a:lnTo>
                  <a:lnTo>
                    <a:pt x="98" y="160"/>
                  </a:lnTo>
                  <a:lnTo>
                    <a:pt x="88" y="162"/>
                  </a:lnTo>
                  <a:lnTo>
                    <a:pt x="80" y="164"/>
                  </a:lnTo>
                  <a:lnTo>
                    <a:pt x="76" y="164"/>
                  </a:lnTo>
                  <a:lnTo>
                    <a:pt x="76" y="162"/>
                  </a:lnTo>
                  <a:lnTo>
                    <a:pt x="74" y="160"/>
                  </a:lnTo>
                  <a:lnTo>
                    <a:pt x="72" y="158"/>
                  </a:lnTo>
                  <a:lnTo>
                    <a:pt x="70" y="158"/>
                  </a:lnTo>
                  <a:lnTo>
                    <a:pt x="68" y="160"/>
                  </a:lnTo>
                  <a:lnTo>
                    <a:pt x="62" y="162"/>
                  </a:lnTo>
                  <a:lnTo>
                    <a:pt x="62" y="158"/>
                  </a:lnTo>
                  <a:lnTo>
                    <a:pt x="62" y="146"/>
                  </a:lnTo>
                  <a:lnTo>
                    <a:pt x="62" y="130"/>
                  </a:lnTo>
                  <a:lnTo>
                    <a:pt x="58" y="128"/>
                  </a:lnTo>
                  <a:lnTo>
                    <a:pt x="58" y="126"/>
                  </a:lnTo>
                  <a:lnTo>
                    <a:pt x="56" y="124"/>
                  </a:lnTo>
                  <a:lnTo>
                    <a:pt x="54" y="124"/>
                  </a:lnTo>
                  <a:lnTo>
                    <a:pt x="42" y="122"/>
                  </a:lnTo>
                  <a:lnTo>
                    <a:pt x="38" y="122"/>
                  </a:lnTo>
                  <a:lnTo>
                    <a:pt x="34" y="120"/>
                  </a:lnTo>
                  <a:lnTo>
                    <a:pt x="30" y="116"/>
                  </a:lnTo>
                  <a:lnTo>
                    <a:pt x="28" y="116"/>
                  </a:lnTo>
                  <a:lnTo>
                    <a:pt x="26" y="114"/>
                  </a:lnTo>
                  <a:lnTo>
                    <a:pt x="26" y="112"/>
                  </a:lnTo>
                  <a:lnTo>
                    <a:pt x="26" y="108"/>
                  </a:lnTo>
                  <a:lnTo>
                    <a:pt x="24" y="104"/>
                  </a:lnTo>
                  <a:lnTo>
                    <a:pt x="20" y="104"/>
                  </a:lnTo>
                  <a:lnTo>
                    <a:pt x="20" y="100"/>
                  </a:lnTo>
                  <a:lnTo>
                    <a:pt x="18" y="100"/>
                  </a:lnTo>
                  <a:lnTo>
                    <a:pt x="16" y="96"/>
                  </a:lnTo>
                  <a:lnTo>
                    <a:pt x="16" y="94"/>
                  </a:lnTo>
                  <a:lnTo>
                    <a:pt x="12" y="92"/>
                  </a:lnTo>
                  <a:lnTo>
                    <a:pt x="12" y="86"/>
                  </a:lnTo>
                  <a:lnTo>
                    <a:pt x="14" y="80"/>
                  </a:lnTo>
                  <a:lnTo>
                    <a:pt x="8" y="74"/>
                  </a:lnTo>
                  <a:lnTo>
                    <a:pt x="6" y="72"/>
                  </a:lnTo>
                  <a:lnTo>
                    <a:pt x="0" y="68"/>
                  </a:lnTo>
                  <a:lnTo>
                    <a:pt x="2" y="56"/>
                  </a:lnTo>
                  <a:lnTo>
                    <a:pt x="0" y="56"/>
                  </a:lnTo>
                  <a:lnTo>
                    <a:pt x="0" y="54"/>
                  </a:lnTo>
                  <a:lnTo>
                    <a:pt x="2" y="54"/>
                  </a:lnTo>
                  <a:lnTo>
                    <a:pt x="2" y="52"/>
                  </a:lnTo>
                  <a:lnTo>
                    <a:pt x="0" y="52"/>
                  </a:lnTo>
                  <a:lnTo>
                    <a:pt x="0" y="48"/>
                  </a:lnTo>
                  <a:lnTo>
                    <a:pt x="6" y="50"/>
                  </a:lnTo>
                  <a:lnTo>
                    <a:pt x="10" y="46"/>
                  </a:lnTo>
                  <a:lnTo>
                    <a:pt x="12" y="38"/>
                  </a:lnTo>
                  <a:lnTo>
                    <a:pt x="18" y="34"/>
                  </a:lnTo>
                  <a:lnTo>
                    <a:pt x="20" y="28"/>
                  </a:lnTo>
                  <a:lnTo>
                    <a:pt x="16" y="28"/>
                  </a:lnTo>
                  <a:lnTo>
                    <a:pt x="14" y="24"/>
                  </a:lnTo>
                  <a:lnTo>
                    <a:pt x="14" y="22"/>
                  </a:lnTo>
                  <a:lnTo>
                    <a:pt x="14" y="18"/>
                  </a:lnTo>
                  <a:lnTo>
                    <a:pt x="16" y="18"/>
                  </a:lnTo>
                  <a:lnTo>
                    <a:pt x="16" y="14"/>
                  </a:lnTo>
                  <a:lnTo>
                    <a:pt x="16" y="6"/>
                  </a:lnTo>
                  <a:lnTo>
                    <a:pt x="12" y="0"/>
                  </a:lnTo>
                  <a:lnTo>
                    <a:pt x="30" y="0"/>
                  </a:lnTo>
                  <a:lnTo>
                    <a:pt x="26" y="8"/>
                  </a:lnTo>
                  <a:lnTo>
                    <a:pt x="28" y="14"/>
                  </a:lnTo>
                  <a:lnTo>
                    <a:pt x="30" y="18"/>
                  </a:lnTo>
                  <a:lnTo>
                    <a:pt x="32" y="22"/>
                  </a:lnTo>
                  <a:lnTo>
                    <a:pt x="34" y="24"/>
                  </a:lnTo>
                  <a:lnTo>
                    <a:pt x="38" y="22"/>
                  </a:lnTo>
                  <a:lnTo>
                    <a:pt x="36" y="18"/>
                  </a:lnTo>
                  <a:lnTo>
                    <a:pt x="40" y="18"/>
                  </a:lnTo>
                  <a:lnTo>
                    <a:pt x="42" y="16"/>
                  </a:lnTo>
                  <a:lnTo>
                    <a:pt x="40" y="14"/>
                  </a:lnTo>
                  <a:lnTo>
                    <a:pt x="46" y="14"/>
                  </a:lnTo>
                  <a:lnTo>
                    <a:pt x="52" y="18"/>
                  </a:lnTo>
                  <a:lnTo>
                    <a:pt x="52" y="24"/>
                  </a:lnTo>
                  <a:lnTo>
                    <a:pt x="56" y="26"/>
                  </a:lnTo>
                  <a:lnTo>
                    <a:pt x="56" y="20"/>
                  </a:lnTo>
                  <a:lnTo>
                    <a:pt x="56" y="16"/>
                  </a:lnTo>
                  <a:lnTo>
                    <a:pt x="58" y="14"/>
                  </a:lnTo>
                  <a:lnTo>
                    <a:pt x="62" y="14"/>
                  </a:lnTo>
                  <a:lnTo>
                    <a:pt x="62" y="12"/>
                  </a:lnTo>
                  <a:lnTo>
                    <a:pt x="64" y="12"/>
                  </a:lnTo>
                  <a:lnTo>
                    <a:pt x="64" y="10"/>
                  </a:lnTo>
                  <a:lnTo>
                    <a:pt x="60" y="10"/>
                  </a:lnTo>
                  <a:lnTo>
                    <a:pt x="58" y="8"/>
                  </a:lnTo>
                  <a:lnTo>
                    <a:pt x="60" y="8"/>
                  </a:lnTo>
                  <a:lnTo>
                    <a:pt x="62" y="6"/>
                  </a:lnTo>
                  <a:lnTo>
                    <a:pt x="56" y="6"/>
                  </a:lnTo>
                  <a:lnTo>
                    <a:pt x="60" y="2"/>
                  </a:lnTo>
                  <a:lnTo>
                    <a:pt x="62" y="0"/>
                  </a:lnTo>
                  <a:lnTo>
                    <a:pt x="100" y="18"/>
                  </a:lnTo>
                  <a:lnTo>
                    <a:pt x="102" y="20"/>
                  </a:lnTo>
                  <a:lnTo>
                    <a:pt x="104" y="24"/>
                  </a:lnTo>
                  <a:lnTo>
                    <a:pt x="104" y="30"/>
                  </a:lnTo>
                  <a:lnTo>
                    <a:pt x="106" y="32"/>
                  </a:lnTo>
                  <a:lnTo>
                    <a:pt x="108" y="34"/>
                  </a:lnTo>
                  <a:lnTo>
                    <a:pt x="110" y="34"/>
                  </a:lnTo>
                  <a:lnTo>
                    <a:pt x="124" y="44"/>
                  </a:lnTo>
                  <a:lnTo>
                    <a:pt x="124" y="4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5" name="Freeform 479">
              <a:extLst>
                <a:ext uri="{FF2B5EF4-FFF2-40B4-BE49-F238E27FC236}">
                  <a16:creationId xmlns:a16="http://schemas.microsoft.com/office/drawing/2014/main" id="{8AD41F73-3621-4287-AB5F-EB8E74F97F64}"/>
                </a:ext>
              </a:extLst>
            </p:cNvPr>
            <p:cNvSpPr>
              <a:spLocks/>
            </p:cNvSpPr>
            <p:nvPr/>
          </p:nvSpPr>
          <p:spPr bwMode="auto">
            <a:xfrm>
              <a:off x="2741509" y="4397499"/>
              <a:ext cx="98405" cy="95816"/>
            </a:xfrm>
            <a:custGeom>
              <a:avLst/>
              <a:gdLst/>
              <a:ahLst/>
              <a:cxnLst>
                <a:cxn ang="0">
                  <a:pos x="14" y="6"/>
                </a:cxn>
                <a:cxn ang="0">
                  <a:pos x="12" y="20"/>
                </a:cxn>
                <a:cxn ang="0">
                  <a:pos x="8" y="32"/>
                </a:cxn>
                <a:cxn ang="0">
                  <a:pos x="4" y="32"/>
                </a:cxn>
                <a:cxn ang="0">
                  <a:pos x="4" y="38"/>
                </a:cxn>
                <a:cxn ang="0">
                  <a:pos x="0" y="38"/>
                </a:cxn>
                <a:cxn ang="0">
                  <a:pos x="6" y="48"/>
                </a:cxn>
                <a:cxn ang="0">
                  <a:pos x="10" y="56"/>
                </a:cxn>
                <a:cxn ang="0">
                  <a:pos x="16" y="54"/>
                </a:cxn>
                <a:cxn ang="0">
                  <a:pos x="22" y="54"/>
                </a:cxn>
                <a:cxn ang="0">
                  <a:pos x="26" y="52"/>
                </a:cxn>
                <a:cxn ang="0">
                  <a:pos x="30" y="54"/>
                </a:cxn>
                <a:cxn ang="0">
                  <a:pos x="46" y="52"/>
                </a:cxn>
                <a:cxn ang="0">
                  <a:pos x="52" y="54"/>
                </a:cxn>
                <a:cxn ang="0">
                  <a:pos x="46" y="60"/>
                </a:cxn>
                <a:cxn ang="0">
                  <a:pos x="24" y="60"/>
                </a:cxn>
                <a:cxn ang="0">
                  <a:pos x="22" y="62"/>
                </a:cxn>
                <a:cxn ang="0">
                  <a:pos x="10" y="66"/>
                </a:cxn>
                <a:cxn ang="0">
                  <a:pos x="10" y="68"/>
                </a:cxn>
                <a:cxn ang="0">
                  <a:pos x="14" y="74"/>
                </a:cxn>
                <a:cxn ang="0">
                  <a:pos x="26" y="68"/>
                </a:cxn>
                <a:cxn ang="0">
                  <a:pos x="46" y="68"/>
                </a:cxn>
                <a:cxn ang="0">
                  <a:pos x="56" y="70"/>
                </a:cxn>
                <a:cxn ang="0">
                  <a:pos x="64" y="72"/>
                </a:cxn>
                <a:cxn ang="0">
                  <a:pos x="70" y="72"/>
                </a:cxn>
                <a:cxn ang="0">
                  <a:pos x="74" y="60"/>
                </a:cxn>
                <a:cxn ang="0">
                  <a:pos x="70" y="56"/>
                </a:cxn>
                <a:cxn ang="0">
                  <a:pos x="68" y="52"/>
                </a:cxn>
                <a:cxn ang="0">
                  <a:pos x="70" y="42"/>
                </a:cxn>
                <a:cxn ang="0">
                  <a:pos x="70" y="38"/>
                </a:cxn>
                <a:cxn ang="0">
                  <a:pos x="70" y="32"/>
                </a:cxn>
                <a:cxn ang="0">
                  <a:pos x="62" y="26"/>
                </a:cxn>
                <a:cxn ang="0">
                  <a:pos x="58" y="24"/>
                </a:cxn>
                <a:cxn ang="0">
                  <a:pos x="58" y="16"/>
                </a:cxn>
                <a:cxn ang="0">
                  <a:pos x="52" y="14"/>
                </a:cxn>
                <a:cxn ang="0">
                  <a:pos x="50" y="12"/>
                </a:cxn>
                <a:cxn ang="0">
                  <a:pos x="46" y="4"/>
                </a:cxn>
                <a:cxn ang="0">
                  <a:pos x="38" y="2"/>
                </a:cxn>
                <a:cxn ang="0">
                  <a:pos x="26" y="0"/>
                </a:cxn>
                <a:cxn ang="0">
                  <a:pos x="24" y="2"/>
                </a:cxn>
                <a:cxn ang="0">
                  <a:pos x="20" y="4"/>
                </a:cxn>
                <a:cxn ang="0">
                  <a:pos x="14" y="6"/>
                </a:cxn>
              </a:cxnLst>
              <a:rect l="0" t="0" r="r" b="b"/>
              <a:pathLst>
                <a:path w="76" h="74">
                  <a:moveTo>
                    <a:pt x="14" y="6"/>
                  </a:moveTo>
                  <a:lnTo>
                    <a:pt x="14" y="6"/>
                  </a:lnTo>
                  <a:lnTo>
                    <a:pt x="12" y="14"/>
                  </a:lnTo>
                  <a:lnTo>
                    <a:pt x="12" y="20"/>
                  </a:lnTo>
                  <a:lnTo>
                    <a:pt x="12" y="24"/>
                  </a:lnTo>
                  <a:lnTo>
                    <a:pt x="8" y="32"/>
                  </a:lnTo>
                  <a:lnTo>
                    <a:pt x="6" y="32"/>
                  </a:lnTo>
                  <a:lnTo>
                    <a:pt x="4" y="32"/>
                  </a:lnTo>
                  <a:lnTo>
                    <a:pt x="4" y="36"/>
                  </a:lnTo>
                  <a:lnTo>
                    <a:pt x="4" y="38"/>
                  </a:lnTo>
                  <a:lnTo>
                    <a:pt x="2" y="38"/>
                  </a:lnTo>
                  <a:lnTo>
                    <a:pt x="0" y="38"/>
                  </a:lnTo>
                  <a:lnTo>
                    <a:pt x="4" y="42"/>
                  </a:lnTo>
                  <a:lnTo>
                    <a:pt x="6" y="48"/>
                  </a:lnTo>
                  <a:lnTo>
                    <a:pt x="6" y="54"/>
                  </a:lnTo>
                  <a:lnTo>
                    <a:pt x="10" y="56"/>
                  </a:lnTo>
                  <a:lnTo>
                    <a:pt x="12" y="54"/>
                  </a:lnTo>
                  <a:lnTo>
                    <a:pt x="16" y="54"/>
                  </a:lnTo>
                  <a:lnTo>
                    <a:pt x="18" y="54"/>
                  </a:lnTo>
                  <a:lnTo>
                    <a:pt x="22" y="54"/>
                  </a:lnTo>
                  <a:lnTo>
                    <a:pt x="24" y="52"/>
                  </a:lnTo>
                  <a:lnTo>
                    <a:pt x="26" y="52"/>
                  </a:lnTo>
                  <a:lnTo>
                    <a:pt x="30" y="54"/>
                  </a:lnTo>
                  <a:lnTo>
                    <a:pt x="30" y="54"/>
                  </a:lnTo>
                  <a:lnTo>
                    <a:pt x="36" y="52"/>
                  </a:lnTo>
                  <a:lnTo>
                    <a:pt x="46" y="52"/>
                  </a:lnTo>
                  <a:lnTo>
                    <a:pt x="50" y="52"/>
                  </a:lnTo>
                  <a:lnTo>
                    <a:pt x="52" y="54"/>
                  </a:lnTo>
                  <a:lnTo>
                    <a:pt x="50" y="60"/>
                  </a:lnTo>
                  <a:lnTo>
                    <a:pt x="46" y="60"/>
                  </a:lnTo>
                  <a:lnTo>
                    <a:pt x="26" y="60"/>
                  </a:lnTo>
                  <a:lnTo>
                    <a:pt x="24" y="60"/>
                  </a:lnTo>
                  <a:lnTo>
                    <a:pt x="22" y="60"/>
                  </a:lnTo>
                  <a:lnTo>
                    <a:pt x="22" y="62"/>
                  </a:lnTo>
                  <a:lnTo>
                    <a:pt x="10" y="64"/>
                  </a:lnTo>
                  <a:lnTo>
                    <a:pt x="10" y="66"/>
                  </a:lnTo>
                  <a:lnTo>
                    <a:pt x="12" y="66"/>
                  </a:lnTo>
                  <a:lnTo>
                    <a:pt x="10" y="68"/>
                  </a:lnTo>
                  <a:lnTo>
                    <a:pt x="10" y="70"/>
                  </a:lnTo>
                  <a:lnTo>
                    <a:pt x="14" y="74"/>
                  </a:lnTo>
                  <a:lnTo>
                    <a:pt x="20" y="72"/>
                  </a:lnTo>
                  <a:lnTo>
                    <a:pt x="26" y="68"/>
                  </a:lnTo>
                  <a:lnTo>
                    <a:pt x="34" y="68"/>
                  </a:lnTo>
                  <a:lnTo>
                    <a:pt x="46" y="68"/>
                  </a:lnTo>
                  <a:lnTo>
                    <a:pt x="50" y="70"/>
                  </a:lnTo>
                  <a:lnTo>
                    <a:pt x="56" y="70"/>
                  </a:lnTo>
                  <a:lnTo>
                    <a:pt x="60" y="70"/>
                  </a:lnTo>
                  <a:lnTo>
                    <a:pt x="64" y="72"/>
                  </a:lnTo>
                  <a:lnTo>
                    <a:pt x="66" y="72"/>
                  </a:lnTo>
                  <a:lnTo>
                    <a:pt x="70" y="72"/>
                  </a:lnTo>
                  <a:lnTo>
                    <a:pt x="76" y="70"/>
                  </a:lnTo>
                  <a:lnTo>
                    <a:pt x="74" y="60"/>
                  </a:lnTo>
                  <a:lnTo>
                    <a:pt x="74" y="60"/>
                  </a:lnTo>
                  <a:lnTo>
                    <a:pt x="70" y="56"/>
                  </a:lnTo>
                  <a:lnTo>
                    <a:pt x="68" y="54"/>
                  </a:lnTo>
                  <a:lnTo>
                    <a:pt x="68" y="52"/>
                  </a:lnTo>
                  <a:lnTo>
                    <a:pt x="70" y="46"/>
                  </a:lnTo>
                  <a:lnTo>
                    <a:pt x="70" y="42"/>
                  </a:lnTo>
                  <a:lnTo>
                    <a:pt x="70" y="40"/>
                  </a:lnTo>
                  <a:lnTo>
                    <a:pt x="70" y="38"/>
                  </a:lnTo>
                  <a:lnTo>
                    <a:pt x="68" y="36"/>
                  </a:lnTo>
                  <a:lnTo>
                    <a:pt x="70" y="32"/>
                  </a:lnTo>
                  <a:lnTo>
                    <a:pt x="66" y="26"/>
                  </a:lnTo>
                  <a:lnTo>
                    <a:pt x="62" y="26"/>
                  </a:lnTo>
                  <a:lnTo>
                    <a:pt x="60" y="26"/>
                  </a:lnTo>
                  <a:lnTo>
                    <a:pt x="58" y="24"/>
                  </a:lnTo>
                  <a:lnTo>
                    <a:pt x="58" y="18"/>
                  </a:lnTo>
                  <a:lnTo>
                    <a:pt x="58" y="16"/>
                  </a:lnTo>
                  <a:lnTo>
                    <a:pt x="56" y="14"/>
                  </a:lnTo>
                  <a:lnTo>
                    <a:pt x="52" y="14"/>
                  </a:lnTo>
                  <a:lnTo>
                    <a:pt x="50" y="14"/>
                  </a:lnTo>
                  <a:lnTo>
                    <a:pt x="50" y="12"/>
                  </a:lnTo>
                  <a:lnTo>
                    <a:pt x="48" y="6"/>
                  </a:lnTo>
                  <a:lnTo>
                    <a:pt x="46" y="4"/>
                  </a:lnTo>
                  <a:lnTo>
                    <a:pt x="42" y="2"/>
                  </a:lnTo>
                  <a:lnTo>
                    <a:pt x="38" y="2"/>
                  </a:lnTo>
                  <a:lnTo>
                    <a:pt x="30" y="2"/>
                  </a:lnTo>
                  <a:lnTo>
                    <a:pt x="26" y="0"/>
                  </a:lnTo>
                  <a:lnTo>
                    <a:pt x="24" y="0"/>
                  </a:lnTo>
                  <a:lnTo>
                    <a:pt x="24" y="2"/>
                  </a:lnTo>
                  <a:lnTo>
                    <a:pt x="22" y="4"/>
                  </a:lnTo>
                  <a:lnTo>
                    <a:pt x="20" y="4"/>
                  </a:lnTo>
                  <a:lnTo>
                    <a:pt x="18" y="4"/>
                  </a:lnTo>
                  <a:lnTo>
                    <a:pt x="14" y="6"/>
                  </a:lnTo>
                  <a:lnTo>
                    <a:pt x="14"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6" name="Freeform 480">
              <a:extLst>
                <a:ext uri="{FF2B5EF4-FFF2-40B4-BE49-F238E27FC236}">
                  <a16:creationId xmlns:a16="http://schemas.microsoft.com/office/drawing/2014/main" id="{67CD4B1E-1083-469B-AE14-5B300F066A99}"/>
                </a:ext>
              </a:extLst>
            </p:cNvPr>
            <p:cNvSpPr>
              <a:spLocks/>
            </p:cNvSpPr>
            <p:nvPr/>
          </p:nvSpPr>
          <p:spPr bwMode="auto">
            <a:xfrm>
              <a:off x="3518392" y="4793710"/>
              <a:ext cx="38844" cy="31075"/>
            </a:xfrm>
            <a:custGeom>
              <a:avLst/>
              <a:gdLst/>
              <a:ahLst/>
              <a:cxnLst>
                <a:cxn ang="0">
                  <a:pos x="2" y="10"/>
                </a:cxn>
                <a:cxn ang="0">
                  <a:pos x="2" y="10"/>
                </a:cxn>
                <a:cxn ang="0">
                  <a:pos x="0" y="12"/>
                </a:cxn>
                <a:cxn ang="0">
                  <a:pos x="0" y="14"/>
                </a:cxn>
                <a:cxn ang="0">
                  <a:pos x="0" y="16"/>
                </a:cxn>
                <a:cxn ang="0">
                  <a:pos x="2" y="18"/>
                </a:cxn>
                <a:cxn ang="0">
                  <a:pos x="6" y="20"/>
                </a:cxn>
                <a:cxn ang="0">
                  <a:pos x="8" y="18"/>
                </a:cxn>
                <a:cxn ang="0">
                  <a:pos x="8" y="16"/>
                </a:cxn>
                <a:cxn ang="0">
                  <a:pos x="10" y="18"/>
                </a:cxn>
                <a:cxn ang="0">
                  <a:pos x="12" y="24"/>
                </a:cxn>
                <a:cxn ang="0">
                  <a:pos x="16" y="22"/>
                </a:cxn>
                <a:cxn ang="0">
                  <a:pos x="18" y="20"/>
                </a:cxn>
                <a:cxn ang="0">
                  <a:pos x="18" y="18"/>
                </a:cxn>
                <a:cxn ang="0">
                  <a:pos x="18" y="16"/>
                </a:cxn>
                <a:cxn ang="0">
                  <a:pos x="20" y="16"/>
                </a:cxn>
                <a:cxn ang="0">
                  <a:pos x="26" y="18"/>
                </a:cxn>
                <a:cxn ang="0">
                  <a:pos x="28" y="18"/>
                </a:cxn>
                <a:cxn ang="0">
                  <a:pos x="30" y="18"/>
                </a:cxn>
                <a:cxn ang="0">
                  <a:pos x="30" y="14"/>
                </a:cxn>
                <a:cxn ang="0">
                  <a:pos x="30" y="6"/>
                </a:cxn>
                <a:cxn ang="0">
                  <a:pos x="26" y="0"/>
                </a:cxn>
                <a:cxn ang="0">
                  <a:pos x="24" y="0"/>
                </a:cxn>
                <a:cxn ang="0">
                  <a:pos x="20" y="2"/>
                </a:cxn>
                <a:cxn ang="0">
                  <a:pos x="16" y="4"/>
                </a:cxn>
                <a:cxn ang="0">
                  <a:pos x="12" y="2"/>
                </a:cxn>
                <a:cxn ang="0">
                  <a:pos x="6" y="0"/>
                </a:cxn>
                <a:cxn ang="0">
                  <a:pos x="6" y="0"/>
                </a:cxn>
                <a:cxn ang="0">
                  <a:pos x="8" y="2"/>
                </a:cxn>
                <a:cxn ang="0">
                  <a:pos x="6" y="10"/>
                </a:cxn>
                <a:cxn ang="0">
                  <a:pos x="2" y="10"/>
                </a:cxn>
                <a:cxn ang="0">
                  <a:pos x="2" y="10"/>
                </a:cxn>
              </a:cxnLst>
              <a:rect l="0" t="0" r="r" b="b"/>
              <a:pathLst>
                <a:path w="30" h="24">
                  <a:moveTo>
                    <a:pt x="2" y="10"/>
                  </a:moveTo>
                  <a:lnTo>
                    <a:pt x="2" y="10"/>
                  </a:lnTo>
                  <a:lnTo>
                    <a:pt x="0" y="12"/>
                  </a:lnTo>
                  <a:lnTo>
                    <a:pt x="0" y="14"/>
                  </a:lnTo>
                  <a:lnTo>
                    <a:pt x="0" y="16"/>
                  </a:lnTo>
                  <a:lnTo>
                    <a:pt x="2" y="18"/>
                  </a:lnTo>
                  <a:lnTo>
                    <a:pt x="6" y="20"/>
                  </a:lnTo>
                  <a:lnTo>
                    <a:pt x="8" y="18"/>
                  </a:lnTo>
                  <a:lnTo>
                    <a:pt x="8" y="16"/>
                  </a:lnTo>
                  <a:lnTo>
                    <a:pt x="10" y="18"/>
                  </a:lnTo>
                  <a:lnTo>
                    <a:pt x="12" y="24"/>
                  </a:lnTo>
                  <a:lnTo>
                    <a:pt x="16" y="22"/>
                  </a:lnTo>
                  <a:lnTo>
                    <a:pt x="18" y="20"/>
                  </a:lnTo>
                  <a:lnTo>
                    <a:pt x="18" y="18"/>
                  </a:lnTo>
                  <a:lnTo>
                    <a:pt x="18" y="16"/>
                  </a:lnTo>
                  <a:lnTo>
                    <a:pt x="20" y="16"/>
                  </a:lnTo>
                  <a:lnTo>
                    <a:pt x="26" y="18"/>
                  </a:lnTo>
                  <a:lnTo>
                    <a:pt x="28" y="18"/>
                  </a:lnTo>
                  <a:lnTo>
                    <a:pt x="30" y="18"/>
                  </a:lnTo>
                  <a:lnTo>
                    <a:pt x="30" y="14"/>
                  </a:lnTo>
                  <a:lnTo>
                    <a:pt x="30" y="6"/>
                  </a:lnTo>
                  <a:lnTo>
                    <a:pt x="26" y="0"/>
                  </a:lnTo>
                  <a:lnTo>
                    <a:pt x="24" y="0"/>
                  </a:lnTo>
                  <a:lnTo>
                    <a:pt x="20" y="2"/>
                  </a:lnTo>
                  <a:lnTo>
                    <a:pt x="16" y="4"/>
                  </a:lnTo>
                  <a:lnTo>
                    <a:pt x="12" y="2"/>
                  </a:lnTo>
                  <a:lnTo>
                    <a:pt x="6" y="0"/>
                  </a:lnTo>
                  <a:lnTo>
                    <a:pt x="6" y="0"/>
                  </a:lnTo>
                  <a:lnTo>
                    <a:pt x="8" y="2"/>
                  </a:lnTo>
                  <a:lnTo>
                    <a:pt x="6" y="10"/>
                  </a:lnTo>
                  <a:lnTo>
                    <a:pt x="2" y="10"/>
                  </a:lnTo>
                  <a:lnTo>
                    <a:pt x="2"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7" name="Freeform 481">
              <a:extLst>
                <a:ext uri="{FF2B5EF4-FFF2-40B4-BE49-F238E27FC236}">
                  <a16:creationId xmlns:a16="http://schemas.microsoft.com/office/drawing/2014/main" id="{71CA6F84-8FCC-4C3A-9D3B-760D7EA53DAE}"/>
                </a:ext>
              </a:extLst>
            </p:cNvPr>
            <p:cNvSpPr>
              <a:spLocks/>
            </p:cNvSpPr>
            <p:nvPr/>
          </p:nvSpPr>
          <p:spPr bwMode="auto">
            <a:xfrm>
              <a:off x="3078158" y="4454471"/>
              <a:ext cx="204579" cy="209758"/>
            </a:xfrm>
            <a:custGeom>
              <a:avLst/>
              <a:gdLst/>
              <a:ahLst/>
              <a:cxnLst>
                <a:cxn ang="0">
                  <a:pos x="76" y="146"/>
                </a:cxn>
                <a:cxn ang="0">
                  <a:pos x="74" y="138"/>
                </a:cxn>
                <a:cxn ang="0">
                  <a:pos x="78" y="128"/>
                </a:cxn>
                <a:cxn ang="0">
                  <a:pos x="88" y="124"/>
                </a:cxn>
                <a:cxn ang="0">
                  <a:pos x="100" y="126"/>
                </a:cxn>
                <a:cxn ang="0">
                  <a:pos x="104" y="130"/>
                </a:cxn>
                <a:cxn ang="0">
                  <a:pos x="110" y="122"/>
                </a:cxn>
                <a:cxn ang="0">
                  <a:pos x="112" y="108"/>
                </a:cxn>
                <a:cxn ang="0">
                  <a:pos x="118" y="98"/>
                </a:cxn>
                <a:cxn ang="0">
                  <a:pos x="122" y="86"/>
                </a:cxn>
                <a:cxn ang="0">
                  <a:pos x="136" y="78"/>
                </a:cxn>
                <a:cxn ang="0">
                  <a:pos x="136" y="70"/>
                </a:cxn>
                <a:cxn ang="0">
                  <a:pos x="140" y="62"/>
                </a:cxn>
                <a:cxn ang="0">
                  <a:pos x="142" y="52"/>
                </a:cxn>
                <a:cxn ang="0">
                  <a:pos x="150" y="42"/>
                </a:cxn>
                <a:cxn ang="0">
                  <a:pos x="156" y="36"/>
                </a:cxn>
                <a:cxn ang="0">
                  <a:pos x="154" y="24"/>
                </a:cxn>
                <a:cxn ang="0">
                  <a:pos x="138" y="4"/>
                </a:cxn>
                <a:cxn ang="0">
                  <a:pos x="132" y="10"/>
                </a:cxn>
                <a:cxn ang="0">
                  <a:pos x="108" y="8"/>
                </a:cxn>
                <a:cxn ang="0">
                  <a:pos x="94" y="14"/>
                </a:cxn>
                <a:cxn ang="0">
                  <a:pos x="80" y="14"/>
                </a:cxn>
                <a:cxn ang="0">
                  <a:pos x="74" y="8"/>
                </a:cxn>
                <a:cxn ang="0">
                  <a:pos x="60" y="12"/>
                </a:cxn>
                <a:cxn ang="0">
                  <a:pos x="52" y="6"/>
                </a:cxn>
                <a:cxn ang="0">
                  <a:pos x="44" y="0"/>
                </a:cxn>
                <a:cxn ang="0">
                  <a:pos x="18" y="10"/>
                </a:cxn>
                <a:cxn ang="0">
                  <a:pos x="12" y="22"/>
                </a:cxn>
                <a:cxn ang="0">
                  <a:pos x="8" y="40"/>
                </a:cxn>
                <a:cxn ang="0">
                  <a:pos x="10" y="46"/>
                </a:cxn>
                <a:cxn ang="0">
                  <a:pos x="10" y="58"/>
                </a:cxn>
                <a:cxn ang="0">
                  <a:pos x="10" y="62"/>
                </a:cxn>
                <a:cxn ang="0">
                  <a:pos x="8" y="72"/>
                </a:cxn>
                <a:cxn ang="0">
                  <a:pos x="4" y="82"/>
                </a:cxn>
                <a:cxn ang="0">
                  <a:pos x="2" y="84"/>
                </a:cxn>
                <a:cxn ang="0">
                  <a:pos x="2" y="94"/>
                </a:cxn>
                <a:cxn ang="0">
                  <a:pos x="2" y="108"/>
                </a:cxn>
                <a:cxn ang="0">
                  <a:pos x="2" y="128"/>
                </a:cxn>
                <a:cxn ang="0">
                  <a:pos x="16" y="128"/>
                </a:cxn>
                <a:cxn ang="0">
                  <a:pos x="32" y="138"/>
                </a:cxn>
                <a:cxn ang="0">
                  <a:pos x="38" y="142"/>
                </a:cxn>
                <a:cxn ang="0">
                  <a:pos x="44" y="162"/>
                </a:cxn>
                <a:cxn ang="0">
                  <a:pos x="58" y="160"/>
                </a:cxn>
                <a:cxn ang="0">
                  <a:pos x="62" y="160"/>
                </a:cxn>
                <a:cxn ang="0">
                  <a:pos x="68" y="154"/>
                </a:cxn>
                <a:cxn ang="0">
                  <a:pos x="74" y="156"/>
                </a:cxn>
                <a:cxn ang="0">
                  <a:pos x="74" y="154"/>
                </a:cxn>
              </a:cxnLst>
              <a:rect l="0" t="0" r="r" b="b"/>
              <a:pathLst>
                <a:path w="158" h="162">
                  <a:moveTo>
                    <a:pt x="74" y="154"/>
                  </a:moveTo>
                  <a:lnTo>
                    <a:pt x="74" y="150"/>
                  </a:lnTo>
                  <a:lnTo>
                    <a:pt x="76" y="146"/>
                  </a:lnTo>
                  <a:lnTo>
                    <a:pt x="74" y="144"/>
                  </a:lnTo>
                  <a:lnTo>
                    <a:pt x="74" y="142"/>
                  </a:lnTo>
                  <a:lnTo>
                    <a:pt x="74" y="138"/>
                  </a:lnTo>
                  <a:lnTo>
                    <a:pt x="76" y="136"/>
                  </a:lnTo>
                  <a:lnTo>
                    <a:pt x="76" y="134"/>
                  </a:lnTo>
                  <a:lnTo>
                    <a:pt x="78" y="128"/>
                  </a:lnTo>
                  <a:lnTo>
                    <a:pt x="80" y="126"/>
                  </a:lnTo>
                  <a:lnTo>
                    <a:pt x="82" y="126"/>
                  </a:lnTo>
                  <a:lnTo>
                    <a:pt x="88" y="124"/>
                  </a:lnTo>
                  <a:lnTo>
                    <a:pt x="92" y="122"/>
                  </a:lnTo>
                  <a:lnTo>
                    <a:pt x="98" y="124"/>
                  </a:lnTo>
                  <a:lnTo>
                    <a:pt x="100" y="126"/>
                  </a:lnTo>
                  <a:lnTo>
                    <a:pt x="98" y="132"/>
                  </a:lnTo>
                  <a:lnTo>
                    <a:pt x="102" y="132"/>
                  </a:lnTo>
                  <a:lnTo>
                    <a:pt x="104" y="130"/>
                  </a:lnTo>
                  <a:lnTo>
                    <a:pt x="106" y="126"/>
                  </a:lnTo>
                  <a:lnTo>
                    <a:pt x="108" y="124"/>
                  </a:lnTo>
                  <a:lnTo>
                    <a:pt x="110" y="122"/>
                  </a:lnTo>
                  <a:lnTo>
                    <a:pt x="108" y="118"/>
                  </a:lnTo>
                  <a:lnTo>
                    <a:pt x="110" y="112"/>
                  </a:lnTo>
                  <a:lnTo>
                    <a:pt x="112" y="108"/>
                  </a:lnTo>
                  <a:lnTo>
                    <a:pt x="114" y="106"/>
                  </a:lnTo>
                  <a:lnTo>
                    <a:pt x="118" y="102"/>
                  </a:lnTo>
                  <a:lnTo>
                    <a:pt x="118" y="98"/>
                  </a:lnTo>
                  <a:lnTo>
                    <a:pt x="120" y="94"/>
                  </a:lnTo>
                  <a:lnTo>
                    <a:pt x="122" y="90"/>
                  </a:lnTo>
                  <a:lnTo>
                    <a:pt x="122" y="86"/>
                  </a:lnTo>
                  <a:lnTo>
                    <a:pt x="124" y="84"/>
                  </a:lnTo>
                  <a:lnTo>
                    <a:pt x="126" y="82"/>
                  </a:lnTo>
                  <a:lnTo>
                    <a:pt x="136" y="78"/>
                  </a:lnTo>
                  <a:lnTo>
                    <a:pt x="138" y="76"/>
                  </a:lnTo>
                  <a:lnTo>
                    <a:pt x="138" y="74"/>
                  </a:lnTo>
                  <a:lnTo>
                    <a:pt x="136" y="70"/>
                  </a:lnTo>
                  <a:lnTo>
                    <a:pt x="136" y="68"/>
                  </a:lnTo>
                  <a:lnTo>
                    <a:pt x="138" y="64"/>
                  </a:lnTo>
                  <a:lnTo>
                    <a:pt x="140" y="62"/>
                  </a:lnTo>
                  <a:lnTo>
                    <a:pt x="142" y="58"/>
                  </a:lnTo>
                  <a:lnTo>
                    <a:pt x="142" y="54"/>
                  </a:lnTo>
                  <a:lnTo>
                    <a:pt x="142" y="52"/>
                  </a:lnTo>
                  <a:lnTo>
                    <a:pt x="146" y="48"/>
                  </a:lnTo>
                  <a:lnTo>
                    <a:pt x="148" y="44"/>
                  </a:lnTo>
                  <a:lnTo>
                    <a:pt x="150" y="42"/>
                  </a:lnTo>
                  <a:lnTo>
                    <a:pt x="152" y="40"/>
                  </a:lnTo>
                  <a:lnTo>
                    <a:pt x="154" y="40"/>
                  </a:lnTo>
                  <a:lnTo>
                    <a:pt x="156" y="36"/>
                  </a:lnTo>
                  <a:lnTo>
                    <a:pt x="158" y="28"/>
                  </a:lnTo>
                  <a:lnTo>
                    <a:pt x="156" y="26"/>
                  </a:lnTo>
                  <a:lnTo>
                    <a:pt x="154" y="24"/>
                  </a:lnTo>
                  <a:lnTo>
                    <a:pt x="154" y="14"/>
                  </a:lnTo>
                  <a:lnTo>
                    <a:pt x="148" y="0"/>
                  </a:lnTo>
                  <a:lnTo>
                    <a:pt x="138" y="4"/>
                  </a:lnTo>
                  <a:lnTo>
                    <a:pt x="136" y="6"/>
                  </a:lnTo>
                  <a:lnTo>
                    <a:pt x="134" y="8"/>
                  </a:lnTo>
                  <a:lnTo>
                    <a:pt x="132" y="10"/>
                  </a:lnTo>
                  <a:lnTo>
                    <a:pt x="124" y="10"/>
                  </a:lnTo>
                  <a:lnTo>
                    <a:pt x="116" y="10"/>
                  </a:lnTo>
                  <a:lnTo>
                    <a:pt x="108" y="8"/>
                  </a:lnTo>
                  <a:lnTo>
                    <a:pt x="102" y="8"/>
                  </a:lnTo>
                  <a:lnTo>
                    <a:pt x="96" y="10"/>
                  </a:lnTo>
                  <a:lnTo>
                    <a:pt x="94" y="14"/>
                  </a:lnTo>
                  <a:lnTo>
                    <a:pt x="92" y="14"/>
                  </a:lnTo>
                  <a:lnTo>
                    <a:pt x="90" y="14"/>
                  </a:lnTo>
                  <a:lnTo>
                    <a:pt x="80" y="14"/>
                  </a:lnTo>
                  <a:lnTo>
                    <a:pt x="74" y="12"/>
                  </a:lnTo>
                  <a:lnTo>
                    <a:pt x="74" y="10"/>
                  </a:lnTo>
                  <a:lnTo>
                    <a:pt x="74" y="8"/>
                  </a:lnTo>
                  <a:lnTo>
                    <a:pt x="70" y="8"/>
                  </a:lnTo>
                  <a:lnTo>
                    <a:pt x="66" y="12"/>
                  </a:lnTo>
                  <a:lnTo>
                    <a:pt x="60" y="12"/>
                  </a:lnTo>
                  <a:lnTo>
                    <a:pt x="56" y="12"/>
                  </a:lnTo>
                  <a:lnTo>
                    <a:pt x="54" y="8"/>
                  </a:lnTo>
                  <a:lnTo>
                    <a:pt x="52" y="6"/>
                  </a:lnTo>
                  <a:lnTo>
                    <a:pt x="50" y="4"/>
                  </a:lnTo>
                  <a:lnTo>
                    <a:pt x="46" y="2"/>
                  </a:lnTo>
                  <a:lnTo>
                    <a:pt x="44" y="0"/>
                  </a:lnTo>
                  <a:lnTo>
                    <a:pt x="38" y="2"/>
                  </a:lnTo>
                  <a:lnTo>
                    <a:pt x="32" y="2"/>
                  </a:lnTo>
                  <a:lnTo>
                    <a:pt x="18" y="10"/>
                  </a:lnTo>
                  <a:lnTo>
                    <a:pt x="18" y="16"/>
                  </a:lnTo>
                  <a:lnTo>
                    <a:pt x="16" y="22"/>
                  </a:lnTo>
                  <a:lnTo>
                    <a:pt x="12" y="22"/>
                  </a:lnTo>
                  <a:lnTo>
                    <a:pt x="8" y="34"/>
                  </a:lnTo>
                  <a:lnTo>
                    <a:pt x="8" y="36"/>
                  </a:lnTo>
                  <a:lnTo>
                    <a:pt x="8" y="40"/>
                  </a:lnTo>
                  <a:lnTo>
                    <a:pt x="8" y="42"/>
                  </a:lnTo>
                  <a:lnTo>
                    <a:pt x="6" y="44"/>
                  </a:lnTo>
                  <a:lnTo>
                    <a:pt x="10" y="46"/>
                  </a:lnTo>
                  <a:lnTo>
                    <a:pt x="12" y="50"/>
                  </a:lnTo>
                  <a:lnTo>
                    <a:pt x="10" y="54"/>
                  </a:lnTo>
                  <a:lnTo>
                    <a:pt x="10" y="58"/>
                  </a:lnTo>
                  <a:lnTo>
                    <a:pt x="10" y="60"/>
                  </a:lnTo>
                  <a:lnTo>
                    <a:pt x="12" y="62"/>
                  </a:lnTo>
                  <a:lnTo>
                    <a:pt x="10" y="62"/>
                  </a:lnTo>
                  <a:lnTo>
                    <a:pt x="8" y="64"/>
                  </a:lnTo>
                  <a:lnTo>
                    <a:pt x="8" y="68"/>
                  </a:lnTo>
                  <a:lnTo>
                    <a:pt x="8" y="72"/>
                  </a:lnTo>
                  <a:lnTo>
                    <a:pt x="6" y="76"/>
                  </a:lnTo>
                  <a:lnTo>
                    <a:pt x="4" y="78"/>
                  </a:lnTo>
                  <a:lnTo>
                    <a:pt x="4" y="82"/>
                  </a:lnTo>
                  <a:lnTo>
                    <a:pt x="4" y="84"/>
                  </a:lnTo>
                  <a:lnTo>
                    <a:pt x="4" y="84"/>
                  </a:lnTo>
                  <a:lnTo>
                    <a:pt x="2" y="84"/>
                  </a:lnTo>
                  <a:lnTo>
                    <a:pt x="2" y="86"/>
                  </a:lnTo>
                  <a:lnTo>
                    <a:pt x="2" y="90"/>
                  </a:lnTo>
                  <a:lnTo>
                    <a:pt x="2" y="94"/>
                  </a:lnTo>
                  <a:lnTo>
                    <a:pt x="2" y="98"/>
                  </a:lnTo>
                  <a:lnTo>
                    <a:pt x="0" y="104"/>
                  </a:lnTo>
                  <a:lnTo>
                    <a:pt x="2" y="108"/>
                  </a:lnTo>
                  <a:lnTo>
                    <a:pt x="4" y="112"/>
                  </a:lnTo>
                  <a:lnTo>
                    <a:pt x="4" y="118"/>
                  </a:lnTo>
                  <a:lnTo>
                    <a:pt x="2" y="128"/>
                  </a:lnTo>
                  <a:lnTo>
                    <a:pt x="10" y="126"/>
                  </a:lnTo>
                  <a:lnTo>
                    <a:pt x="8" y="128"/>
                  </a:lnTo>
                  <a:lnTo>
                    <a:pt x="16" y="128"/>
                  </a:lnTo>
                  <a:lnTo>
                    <a:pt x="24" y="128"/>
                  </a:lnTo>
                  <a:lnTo>
                    <a:pt x="28" y="132"/>
                  </a:lnTo>
                  <a:lnTo>
                    <a:pt x="32" y="138"/>
                  </a:lnTo>
                  <a:lnTo>
                    <a:pt x="36" y="138"/>
                  </a:lnTo>
                  <a:lnTo>
                    <a:pt x="36" y="142"/>
                  </a:lnTo>
                  <a:lnTo>
                    <a:pt x="38" y="142"/>
                  </a:lnTo>
                  <a:lnTo>
                    <a:pt x="40" y="148"/>
                  </a:lnTo>
                  <a:lnTo>
                    <a:pt x="36" y="148"/>
                  </a:lnTo>
                  <a:lnTo>
                    <a:pt x="44" y="162"/>
                  </a:lnTo>
                  <a:lnTo>
                    <a:pt x="56" y="162"/>
                  </a:lnTo>
                  <a:lnTo>
                    <a:pt x="56" y="160"/>
                  </a:lnTo>
                  <a:lnTo>
                    <a:pt x="58" y="160"/>
                  </a:lnTo>
                  <a:lnTo>
                    <a:pt x="60" y="160"/>
                  </a:lnTo>
                  <a:lnTo>
                    <a:pt x="62" y="158"/>
                  </a:lnTo>
                  <a:lnTo>
                    <a:pt x="62" y="160"/>
                  </a:lnTo>
                  <a:lnTo>
                    <a:pt x="64" y="160"/>
                  </a:lnTo>
                  <a:lnTo>
                    <a:pt x="66" y="158"/>
                  </a:lnTo>
                  <a:lnTo>
                    <a:pt x="68" y="154"/>
                  </a:lnTo>
                  <a:lnTo>
                    <a:pt x="72" y="154"/>
                  </a:lnTo>
                  <a:lnTo>
                    <a:pt x="74" y="158"/>
                  </a:lnTo>
                  <a:lnTo>
                    <a:pt x="74" y="156"/>
                  </a:lnTo>
                  <a:lnTo>
                    <a:pt x="74" y="154"/>
                  </a:lnTo>
                  <a:lnTo>
                    <a:pt x="74" y="154"/>
                  </a:lnTo>
                  <a:lnTo>
                    <a:pt x="74" y="15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8" name="Freeform 482">
              <a:extLst>
                <a:ext uri="{FF2B5EF4-FFF2-40B4-BE49-F238E27FC236}">
                  <a16:creationId xmlns:a16="http://schemas.microsoft.com/office/drawing/2014/main" id="{DECA9685-0C2F-4B75-9825-35CB86C59709}"/>
                </a:ext>
              </a:extLst>
            </p:cNvPr>
            <p:cNvSpPr>
              <a:spLocks/>
            </p:cNvSpPr>
            <p:nvPr/>
          </p:nvSpPr>
          <p:spPr bwMode="auto">
            <a:xfrm>
              <a:off x="3233535" y="5107052"/>
              <a:ext cx="222706" cy="256371"/>
            </a:xfrm>
            <a:custGeom>
              <a:avLst/>
              <a:gdLst/>
              <a:ahLst/>
              <a:cxnLst>
                <a:cxn ang="0">
                  <a:pos x="0" y="4"/>
                </a:cxn>
                <a:cxn ang="0">
                  <a:pos x="0" y="12"/>
                </a:cxn>
                <a:cxn ang="0">
                  <a:pos x="0" y="24"/>
                </a:cxn>
                <a:cxn ang="0">
                  <a:pos x="12" y="36"/>
                </a:cxn>
                <a:cxn ang="0">
                  <a:pos x="16" y="44"/>
                </a:cxn>
                <a:cxn ang="0">
                  <a:pos x="18" y="52"/>
                </a:cxn>
                <a:cxn ang="0">
                  <a:pos x="22" y="68"/>
                </a:cxn>
                <a:cxn ang="0">
                  <a:pos x="28" y="72"/>
                </a:cxn>
                <a:cxn ang="0">
                  <a:pos x="28" y="80"/>
                </a:cxn>
                <a:cxn ang="0">
                  <a:pos x="32" y="84"/>
                </a:cxn>
                <a:cxn ang="0">
                  <a:pos x="36" y="90"/>
                </a:cxn>
                <a:cxn ang="0">
                  <a:pos x="38" y="94"/>
                </a:cxn>
                <a:cxn ang="0">
                  <a:pos x="36" y="100"/>
                </a:cxn>
                <a:cxn ang="0">
                  <a:pos x="36" y="106"/>
                </a:cxn>
                <a:cxn ang="0">
                  <a:pos x="36" y="108"/>
                </a:cxn>
                <a:cxn ang="0">
                  <a:pos x="36" y="120"/>
                </a:cxn>
                <a:cxn ang="0">
                  <a:pos x="38" y="128"/>
                </a:cxn>
                <a:cxn ang="0">
                  <a:pos x="40" y="144"/>
                </a:cxn>
                <a:cxn ang="0">
                  <a:pos x="40" y="148"/>
                </a:cxn>
                <a:cxn ang="0">
                  <a:pos x="40" y="158"/>
                </a:cxn>
                <a:cxn ang="0">
                  <a:pos x="42" y="164"/>
                </a:cxn>
                <a:cxn ang="0">
                  <a:pos x="46" y="180"/>
                </a:cxn>
                <a:cxn ang="0">
                  <a:pos x="56" y="186"/>
                </a:cxn>
                <a:cxn ang="0">
                  <a:pos x="58" y="194"/>
                </a:cxn>
                <a:cxn ang="0">
                  <a:pos x="62" y="194"/>
                </a:cxn>
                <a:cxn ang="0">
                  <a:pos x="68" y="188"/>
                </a:cxn>
                <a:cxn ang="0">
                  <a:pos x="72" y="190"/>
                </a:cxn>
                <a:cxn ang="0">
                  <a:pos x="72" y="194"/>
                </a:cxn>
                <a:cxn ang="0">
                  <a:pos x="80" y="198"/>
                </a:cxn>
                <a:cxn ang="0">
                  <a:pos x="86" y="198"/>
                </a:cxn>
                <a:cxn ang="0">
                  <a:pos x="92" y="192"/>
                </a:cxn>
                <a:cxn ang="0">
                  <a:pos x="98" y="190"/>
                </a:cxn>
                <a:cxn ang="0">
                  <a:pos x="102" y="140"/>
                </a:cxn>
                <a:cxn ang="0">
                  <a:pos x="116" y="82"/>
                </a:cxn>
                <a:cxn ang="0">
                  <a:pos x="126" y="26"/>
                </a:cxn>
                <a:cxn ang="0">
                  <a:pos x="158" y="24"/>
                </a:cxn>
                <a:cxn ang="0">
                  <a:pos x="160" y="22"/>
                </a:cxn>
                <a:cxn ang="0">
                  <a:pos x="164" y="22"/>
                </a:cxn>
                <a:cxn ang="0">
                  <a:pos x="166" y="20"/>
                </a:cxn>
                <a:cxn ang="0">
                  <a:pos x="170" y="18"/>
                </a:cxn>
                <a:cxn ang="0">
                  <a:pos x="170" y="16"/>
                </a:cxn>
                <a:cxn ang="0">
                  <a:pos x="166" y="12"/>
                </a:cxn>
                <a:cxn ang="0">
                  <a:pos x="148" y="14"/>
                </a:cxn>
                <a:cxn ang="0">
                  <a:pos x="114" y="18"/>
                </a:cxn>
                <a:cxn ang="0">
                  <a:pos x="106" y="16"/>
                </a:cxn>
                <a:cxn ang="0">
                  <a:pos x="102" y="16"/>
                </a:cxn>
                <a:cxn ang="0">
                  <a:pos x="98" y="14"/>
                </a:cxn>
                <a:cxn ang="0">
                  <a:pos x="92" y="14"/>
                </a:cxn>
                <a:cxn ang="0">
                  <a:pos x="90" y="12"/>
                </a:cxn>
                <a:cxn ang="0">
                  <a:pos x="86" y="10"/>
                </a:cxn>
                <a:cxn ang="0">
                  <a:pos x="82" y="6"/>
                </a:cxn>
                <a:cxn ang="0">
                  <a:pos x="22" y="2"/>
                </a:cxn>
                <a:cxn ang="0">
                  <a:pos x="16" y="2"/>
                </a:cxn>
                <a:cxn ang="0">
                  <a:pos x="12" y="4"/>
                </a:cxn>
                <a:cxn ang="0">
                  <a:pos x="4" y="4"/>
                </a:cxn>
                <a:cxn ang="0">
                  <a:pos x="0" y="4"/>
                </a:cxn>
              </a:cxnLst>
              <a:rect l="0" t="0" r="r" b="b"/>
              <a:pathLst>
                <a:path w="172" h="198">
                  <a:moveTo>
                    <a:pt x="0" y="4"/>
                  </a:moveTo>
                  <a:lnTo>
                    <a:pt x="0" y="4"/>
                  </a:lnTo>
                  <a:lnTo>
                    <a:pt x="2" y="8"/>
                  </a:lnTo>
                  <a:lnTo>
                    <a:pt x="0" y="12"/>
                  </a:lnTo>
                  <a:lnTo>
                    <a:pt x="0" y="20"/>
                  </a:lnTo>
                  <a:lnTo>
                    <a:pt x="0" y="24"/>
                  </a:lnTo>
                  <a:lnTo>
                    <a:pt x="6" y="26"/>
                  </a:lnTo>
                  <a:lnTo>
                    <a:pt x="12" y="36"/>
                  </a:lnTo>
                  <a:lnTo>
                    <a:pt x="16" y="38"/>
                  </a:lnTo>
                  <a:lnTo>
                    <a:pt x="16" y="44"/>
                  </a:lnTo>
                  <a:lnTo>
                    <a:pt x="14" y="46"/>
                  </a:lnTo>
                  <a:lnTo>
                    <a:pt x="18" y="52"/>
                  </a:lnTo>
                  <a:lnTo>
                    <a:pt x="18" y="58"/>
                  </a:lnTo>
                  <a:lnTo>
                    <a:pt x="22" y="68"/>
                  </a:lnTo>
                  <a:lnTo>
                    <a:pt x="26" y="68"/>
                  </a:lnTo>
                  <a:lnTo>
                    <a:pt x="28" y="72"/>
                  </a:lnTo>
                  <a:lnTo>
                    <a:pt x="28" y="74"/>
                  </a:lnTo>
                  <a:lnTo>
                    <a:pt x="28" y="80"/>
                  </a:lnTo>
                  <a:lnTo>
                    <a:pt x="30" y="80"/>
                  </a:lnTo>
                  <a:lnTo>
                    <a:pt x="32" y="84"/>
                  </a:lnTo>
                  <a:lnTo>
                    <a:pt x="36" y="88"/>
                  </a:lnTo>
                  <a:lnTo>
                    <a:pt x="36" y="90"/>
                  </a:lnTo>
                  <a:lnTo>
                    <a:pt x="36" y="92"/>
                  </a:lnTo>
                  <a:lnTo>
                    <a:pt x="38" y="94"/>
                  </a:lnTo>
                  <a:lnTo>
                    <a:pt x="34" y="98"/>
                  </a:lnTo>
                  <a:lnTo>
                    <a:pt x="36" y="100"/>
                  </a:lnTo>
                  <a:lnTo>
                    <a:pt x="36" y="102"/>
                  </a:lnTo>
                  <a:lnTo>
                    <a:pt x="36" y="106"/>
                  </a:lnTo>
                  <a:lnTo>
                    <a:pt x="38" y="108"/>
                  </a:lnTo>
                  <a:lnTo>
                    <a:pt x="36" y="108"/>
                  </a:lnTo>
                  <a:lnTo>
                    <a:pt x="38" y="118"/>
                  </a:lnTo>
                  <a:lnTo>
                    <a:pt x="36" y="120"/>
                  </a:lnTo>
                  <a:lnTo>
                    <a:pt x="36" y="122"/>
                  </a:lnTo>
                  <a:lnTo>
                    <a:pt x="38" y="128"/>
                  </a:lnTo>
                  <a:lnTo>
                    <a:pt x="40" y="134"/>
                  </a:lnTo>
                  <a:lnTo>
                    <a:pt x="40" y="144"/>
                  </a:lnTo>
                  <a:lnTo>
                    <a:pt x="40" y="146"/>
                  </a:lnTo>
                  <a:lnTo>
                    <a:pt x="40" y="148"/>
                  </a:lnTo>
                  <a:lnTo>
                    <a:pt x="40" y="152"/>
                  </a:lnTo>
                  <a:lnTo>
                    <a:pt x="40" y="158"/>
                  </a:lnTo>
                  <a:lnTo>
                    <a:pt x="40" y="164"/>
                  </a:lnTo>
                  <a:lnTo>
                    <a:pt x="42" y="164"/>
                  </a:lnTo>
                  <a:lnTo>
                    <a:pt x="44" y="174"/>
                  </a:lnTo>
                  <a:lnTo>
                    <a:pt x="46" y="180"/>
                  </a:lnTo>
                  <a:lnTo>
                    <a:pt x="52" y="186"/>
                  </a:lnTo>
                  <a:lnTo>
                    <a:pt x="56" y="186"/>
                  </a:lnTo>
                  <a:lnTo>
                    <a:pt x="58" y="190"/>
                  </a:lnTo>
                  <a:lnTo>
                    <a:pt x="58" y="194"/>
                  </a:lnTo>
                  <a:lnTo>
                    <a:pt x="60" y="196"/>
                  </a:lnTo>
                  <a:lnTo>
                    <a:pt x="62" y="194"/>
                  </a:lnTo>
                  <a:lnTo>
                    <a:pt x="66" y="190"/>
                  </a:lnTo>
                  <a:lnTo>
                    <a:pt x="68" y="188"/>
                  </a:lnTo>
                  <a:lnTo>
                    <a:pt x="72" y="188"/>
                  </a:lnTo>
                  <a:lnTo>
                    <a:pt x="72" y="190"/>
                  </a:lnTo>
                  <a:lnTo>
                    <a:pt x="72" y="192"/>
                  </a:lnTo>
                  <a:lnTo>
                    <a:pt x="72" y="194"/>
                  </a:lnTo>
                  <a:lnTo>
                    <a:pt x="74" y="198"/>
                  </a:lnTo>
                  <a:lnTo>
                    <a:pt x="80" y="198"/>
                  </a:lnTo>
                  <a:lnTo>
                    <a:pt x="84" y="198"/>
                  </a:lnTo>
                  <a:lnTo>
                    <a:pt x="86" y="198"/>
                  </a:lnTo>
                  <a:lnTo>
                    <a:pt x="90" y="196"/>
                  </a:lnTo>
                  <a:lnTo>
                    <a:pt x="92" y="192"/>
                  </a:lnTo>
                  <a:lnTo>
                    <a:pt x="94" y="190"/>
                  </a:lnTo>
                  <a:lnTo>
                    <a:pt x="98" y="190"/>
                  </a:lnTo>
                  <a:lnTo>
                    <a:pt x="100" y="190"/>
                  </a:lnTo>
                  <a:lnTo>
                    <a:pt x="102" y="140"/>
                  </a:lnTo>
                  <a:lnTo>
                    <a:pt x="102" y="82"/>
                  </a:lnTo>
                  <a:lnTo>
                    <a:pt x="116" y="82"/>
                  </a:lnTo>
                  <a:lnTo>
                    <a:pt x="116" y="26"/>
                  </a:lnTo>
                  <a:lnTo>
                    <a:pt x="126" y="26"/>
                  </a:lnTo>
                  <a:lnTo>
                    <a:pt x="156" y="24"/>
                  </a:lnTo>
                  <a:lnTo>
                    <a:pt x="158" y="24"/>
                  </a:lnTo>
                  <a:lnTo>
                    <a:pt x="160" y="24"/>
                  </a:lnTo>
                  <a:lnTo>
                    <a:pt x="160" y="22"/>
                  </a:lnTo>
                  <a:lnTo>
                    <a:pt x="162" y="20"/>
                  </a:lnTo>
                  <a:lnTo>
                    <a:pt x="164" y="22"/>
                  </a:lnTo>
                  <a:lnTo>
                    <a:pt x="164" y="22"/>
                  </a:lnTo>
                  <a:lnTo>
                    <a:pt x="166" y="20"/>
                  </a:lnTo>
                  <a:lnTo>
                    <a:pt x="168" y="18"/>
                  </a:lnTo>
                  <a:lnTo>
                    <a:pt x="170" y="18"/>
                  </a:lnTo>
                  <a:lnTo>
                    <a:pt x="172" y="18"/>
                  </a:lnTo>
                  <a:lnTo>
                    <a:pt x="170" y="16"/>
                  </a:lnTo>
                  <a:lnTo>
                    <a:pt x="168" y="14"/>
                  </a:lnTo>
                  <a:lnTo>
                    <a:pt x="166" y="12"/>
                  </a:lnTo>
                  <a:lnTo>
                    <a:pt x="164" y="12"/>
                  </a:lnTo>
                  <a:lnTo>
                    <a:pt x="148" y="14"/>
                  </a:lnTo>
                  <a:lnTo>
                    <a:pt x="118" y="20"/>
                  </a:lnTo>
                  <a:lnTo>
                    <a:pt x="114" y="18"/>
                  </a:lnTo>
                  <a:lnTo>
                    <a:pt x="108" y="16"/>
                  </a:lnTo>
                  <a:lnTo>
                    <a:pt x="106" y="16"/>
                  </a:lnTo>
                  <a:lnTo>
                    <a:pt x="104" y="16"/>
                  </a:lnTo>
                  <a:lnTo>
                    <a:pt x="102" y="16"/>
                  </a:lnTo>
                  <a:lnTo>
                    <a:pt x="100" y="16"/>
                  </a:lnTo>
                  <a:lnTo>
                    <a:pt x="98" y="14"/>
                  </a:lnTo>
                  <a:lnTo>
                    <a:pt x="94" y="14"/>
                  </a:lnTo>
                  <a:lnTo>
                    <a:pt x="92" y="14"/>
                  </a:lnTo>
                  <a:lnTo>
                    <a:pt x="90" y="14"/>
                  </a:lnTo>
                  <a:lnTo>
                    <a:pt x="90" y="12"/>
                  </a:lnTo>
                  <a:lnTo>
                    <a:pt x="88" y="12"/>
                  </a:lnTo>
                  <a:lnTo>
                    <a:pt x="86" y="10"/>
                  </a:lnTo>
                  <a:lnTo>
                    <a:pt x="84" y="8"/>
                  </a:lnTo>
                  <a:lnTo>
                    <a:pt x="82" y="6"/>
                  </a:lnTo>
                  <a:lnTo>
                    <a:pt x="26" y="4"/>
                  </a:lnTo>
                  <a:lnTo>
                    <a:pt x="22" y="2"/>
                  </a:lnTo>
                  <a:lnTo>
                    <a:pt x="18" y="0"/>
                  </a:lnTo>
                  <a:lnTo>
                    <a:pt x="16" y="2"/>
                  </a:lnTo>
                  <a:lnTo>
                    <a:pt x="14" y="2"/>
                  </a:lnTo>
                  <a:lnTo>
                    <a:pt x="12" y="4"/>
                  </a:lnTo>
                  <a:lnTo>
                    <a:pt x="10" y="4"/>
                  </a:lnTo>
                  <a:lnTo>
                    <a:pt x="4" y="4"/>
                  </a:lnTo>
                  <a:lnTo>
                    <a:pt x="0" y="4"/>
                  </a:lnTo>
                  <a:lnTo>
                    <a:pt x="0"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19" name="Freeform 483">
              <a:extLst>
                <a:ext uri="{FF2B5EF4-FFF2-40B4-BE49-F238E27FC236}">
                  <a16:creationId xmlns:a16="http://schemas.microsoft.com/office/drawing/2014/main" id="{4B413E93-D31B-4D43-B755-AC91C812D7C7}"/>
                </a:ext>
              </a:extLst>
            </p:cNvPr>
            <p:cNvSpPr>
              <a:spLocks/>
            </p:cNvSpPr>
            <p:nvPr/>
          </p:nvSpPr>
          <p:spPr bwMode="auto">
            <a:xfrm>
              <a:off x="3541698" y="4982751"/>
              <a:ext cx="178683" cy="331470"/>
            </a:xfrm>
            <a:custGeom>
              <a:avLst/>
              <a:gdLst/>
              <a:ahLst/>
              <a:cxnLst>
                <a:cxn ang="0">
                  <a:pos x="62" y="44"/>
                </a:cxn>
                <a:cxn ang="0">
                  <a:pos x="68" y="58"/>
                </a:cxn>
                <a:cxn ang="0">
                  <a:pos x="72" y="64"/>
                </a:cxn>
                <a:cxn ang="0">
                  <a:pos x="72" y="78"/>
                </a:cxn>
                <a:cxn ang="0">
                  <a:pos x="64" y="78"/>
                </a:cxn>
                <a:cxn ang="0">
                  <a:pos x="64" y="92"/>
                </a:cxn>
                <a:cxn ang="0">
                  <a:pos x="60" y="98"/>
                </a:cxn>
                <a:cxn ang="0">
                  <a:pos x="58" y="92"/>
                </a:cxn>
                <a:cxn ang="0">
                  <a:pos x="46" y="80"/>
                </a:cxn>
                <a:cxn ang="0">
                  <a:pos x="50" y="68"/>
                </a:cxn>
                <a:cxn ang="0">
                  <a:pos x="38" y="64"/>
                </a:cxn>
                <a:cxn ang="0">
                  <a:pos x="32" y="56"/>
                </a:cxn>
                <a:cxn ang="0">
                  <a:pos x="2" y="68"/>
                </a:cxn>
                <a:cxn ang="0">
                  <a:pos x="2" y="80"/>
                </a:cxn>
                <a:cxn ang="0">
                  <a:pos x="24" y="88"/>
                </a:cxn>
                <a:cxn ang="0">
                  <a:pos x="34" y="98"/>
                </a:cxn>
                <a:cxn ang="0">
                  <a:pos x="30" y="106"/>
                </a:cxn>
                <a:cxn ang="0">
                  <a:pos x="36" y="124"/>
                </a:cxn>
                <a:cxn ang="0">
                  <a:pos x="30" y="134"/>
                </a:cxn>
                <a:cxn ang="0">
                  <a:pos x="32" y="138"/>
                </a:cxn>
                <a:cxn ang="0">
                  <a:pos x="30" y="150"/>
                </a:cxn>
                <a:cxn ang="0">
                  <a:pos x="30" y="162"/>
                </a:cxn>
                <a:cxn ang="0">
                  <a:pos x="34" y="166"/>
                </a:cxn>
                <a:cxn ang="0">
                  <a:pos x="18" y="192"/>
                </a:cxn>
                <a:cxn ang="0">
                  <a:pos x="16" y="206"/>
                </a:cxn>
                <a:cxn ang="0">
                  <a:pos x="16" y="228"/>
                </a:cxn>
                <a:cxn ang="0">
                  <a:pos x="18" y="240"/>
                </a:cxn>
                <a:cxn ang="0">
                  <a:pos x="24" y="246"/>
                </a:cxn>
                <a:cxn ang="0">
                  <a:pos x="32" y="256"/>
                </a:cxn>
                <a:cxn ang="0">
                  <a:pos x="28" y="246"/>
                </a:cxn>
                <a:cxn ang="0">
                  <a:pos x="38" y="238"/>
                </a:cxn>
                <a:cxn ang="0">
                  <a:pos x="62" y="226"/>
                </a:cxn>
                <a:cxn ang="0">
                  <a:pos x="66" y="216"/>
                </a:cxn>
                <a:cxn ang="0">
                  <a:pos x="66" y="188"/>
                </a:cxn>
                <a:cxn ang="0">
                  <a:pos x="60" y="162"/>
                </a:cxn>
                <a:cxn ang="0">
                  <a:pos x="56" y="142"/>
                </a:cxn>
                <a:cxn ang="0">
                  <a:pos x="66" y="134"/>
                </a:cxn>
                <a:cxn ang="0">
                  <a:pos x="74" y="128"/>
                </a:cxn>
                <a:cxn ang="0">
                  <a:pos x="86" y="116"/>
                </a:cxn>
                <a:cxn ang="0">
                  <a:pos x="94" y="112"/>
                </a:cxn>
                <a:cxn ang="0">
                  <a:pos x="108" y="106"/>
                </a:cxn>
                <a:cxn ang="0">
                  <a:pos x="118" y="96"/>
                </a:cxn>
                <a:cxn ang="0">
                  <a:pos x="126" y="88"/>
                </a:cxn>
                <a:cxn ang="0">
                  <a:pos x="132" y="80"/>
                </a:cxn>
                <a:cxn ang="0">
                  <a:pos x="136" y="74"/>
                </a:cxn>
                <a:cxn ang="0">
                  <a:pos x="132" y="66"/>
                </a:cxn>
                <a:cxn ang="0">
                  <a:pos x="134" y="54"/>
                </a:cxn>
                <a:cxn ang="0">
                  <a:pos x="138" y="44"/>
                </a:cxn>
                <a:cxn ang="0">
                  <a:pos x="136" y="36"/>
                </a:cxn>
                <a:cxn ang="0">
                  <a:pos x="134" y="10"/>
                </a:cxn>
                <a:cxn ang="0">
                  <a:pos x="120" y="6"/>
                </a:cxn>
                <a:cxn ang="0">
                  <a:pos x="108" y="10"/>
                </a:cxn>
                <a:cxn ang="0">
                  <a:pos x="100" y="12"/>
                </a:cxn>
                <a:cxn ang="0">
                  <a:pos x="94" y="16"/>
                </a:cxn>
                <a:cxn ang="0">
                  <a:pos x="72" y="20"/>
                </a:cxn>
                <a:cxn ang="0">
                  <a:pos x="68" y="14"/>
                </a:cxn>
                <a:cxn ang="0">
                  <a:pos x="58" y="18"/>
                </a:cxn>
                <a:cxn ang="0">
                  <a:pos x="60" y="28"/>
                </a:cxn>
                <a:cxn ang="0">
                  <a:pos x="60" y="42"/>
                </a:cxn>
              </a:cxnLst>
              <a:rect l="0" t="0" r="r" b="b"/>
              <a:pathLst>
                <a:path w="138" h="256">
                  <a:moveTo>
                    <a:pt x="60" y="42"/>
                  </a:moveTo>
                  <a:lnTo>
                    <a:pt x="60" y="42"/>
                  </a:lnTo>
                  <a:lnTo>
                    <a:pt x="62" y="44"/>
                  </a:lnTo>
                  <a:lnTo>
                    <a:pt x="64" y="48"/>
                  </a:lnTo>
                  <a:lnTo>
                    <a:pt x="66" y="54"/>
                  </a:lnTo>
                  <a:lnTo>
                    <a:pt x="68" y="58"/>
                  </a:lnTo>
                  <a:lnTo>
                    <a:pt x="70" y="60"/>
                  </a:lnTo>
                  <a:lnTo>
                    <a:pt x="72" y="60"/>
                  </a:lnTo>
                  <a:lnTo>
                    <a:pt x="72" y="64"/>
                  </a:lnTo>
                  <a:lnTo>
                    <a:pt x="70" y="70"/>
                  </a:lnTo>
                  <a:lnTo>
                    <a:pt x="70" y="74"/>
                  </a:lnTo>
                  <a:lnTo>
                    <a:pt x="72" y="78"/>
                  </a:lnTo>
                  <a:lnTo>
                    <a:pt x="70" y="78"/>
                  </a:lnTo>
                  <a:lnTo>
                    <a:pt x="68" y="80"/>
                  </a:lnTo>
                  <a:lnTo>
                    <a:pt x="64" y="78"/>
                  </a:lnTo>
                  <a:lnTo>
                    <a:pt x="62" y="80"/>
                  </a:lnTo>
                  <a:lnTo>
                    <a:pt x="62" y="84"/>
                  </a:lnTo>
                  <a:lnTo>
                    <a:pt x="64" y="92"/>
                  </a:lnTo>
                  <a:lnTo>
                    <a:pt x="64" y="94"/>
                  </a:lnTo>
                  <a:lnTo>
                    <a:pt x="64" y="96"/>
                  </a:lnTo>
                  <a:lnTo>
                    <a:pt x="60" y="98"/>
                  </a:lnTo>
                  <a:lnTo>
                    <a:pt x="58" y="98"/>
                  </a:lnTo>
                  <a:lnTo>
                    <a:pt x="58" y="96"/>
                  </a:lnTo>
                  <a:lnTo>
                    <a:pt x="58" y="92"/>
                  </a:lnTo>
                  <a:lnTo>
                    <a:pt x="54" y="90"/>
                  </a:lnTo>
                  <a:lnTo>
                    <a:pt x="48" y="82"/>
                  </a:lnTo>
                  <a:lnTo>
                    <a:pt x="46" y="80"/>
                  </a:lnTo>
                  <a:lnTo>
                    <a:pt x="48" y="78"/>
                  </a:lnTo>
                  <a:lnTo>
                    <a:pt x="50" y="72"/>
                  </a:lnTo>
                  <a:lnTo>
                    <a:pt x="50" y="68"/>
                  </a:lnTo>
                  <a:lnTo>
                    <a:pt x="48" y="64"/>
                  </a:lnTo>
                  <a:lnTo>
                    <a:pt x="48" y="62"/>
                  </a:lnTo>
                  <a:lnTo>
                    <a:pt x="38" y="64"/>
                  </a:lnTo>
                  <a:lnTo>
                    <a:pt x="36" y="64"/>
                  </a:lnTo>
                  <a:lnTo>
                    <a:pt x="36" y="60"/>
                  </a:lnTo>
                  <a:lnTo>
                    <a:pt x="32" y="56"/>
                  </a:lnTo>
                  <a:lnTo>
                    <a:pt x="30" y="54"/>
                  </a:lnTo>
                  <a:lnTo>
                    <a:pt x="0" y="64"/>
                  </a:lnTo>
                  <a:lnTo>
                    <a:pt x="2" y="68"/>
                  </a:lnTo>
                  <a:lnTo>
                    <a:pt x="4" y="70"/>
                  </a:lnTo>
                  <a:lnTo>
                    <a:pt x="4" y="72"/>
                  </a:lnTo>
                  <a:lnTo>
                    <a:pt x="2" y="80"/>
                  </a:lnTo>
                  <a:lnTo>
                    <a:pt x="8" y="80"/>
                  </a:lnTo>
                  <a:lnTo>
                    <a:pt x="16" y="84"/>
                  </a:lnTo>
                  <a:lnTo>
                    <a:pt x="24" y="88"/>
                  </a:lnTo>
                  <a:lnTo>
                    <a:pt x="28" y="90"/>
                  </a:lnTo>
                  <a:lnTo>
                    <a:pt x="32" y="94"/>
                  </a:lnTo>
                  <a:lnTo>
                    <a:pt x="34" y="98"/>
                  </a:lnTo>
                  <a:lnTo>
                    <a:pt x="34" y="100"/>
                  </a:lnTo>
                  <a:lnTo>
                    <a:pt x="32" y="102"/>
                  </a:lnTo>
                  <a:lnTo>
                    <a:pt x="30" y="106"/>
                  </a:lnTo>
                  <a:lnTo>
                    <a:pt x="30" y="112"/>
                  </a:lnTo>
                  <a:lnTo>
                    <a:pt x="32" y="118"/>
                  </a:lnTo>
                  <a:lnTo>
                    <a:pt x="36" y="124"/>
                  </a:lnTo>
                  <a:lnTo>
                    <a:pt x="32" y="130"/>
                  </a:lnTo>
                  <a:lnTo>
                    <a:pt x="30" y="132"/>
                  </a:lnTo>
                  <a:lnTo>
                    <a:pt x="30" y="134"/>
                  </a:lnTo>
                  <a:lnTo>
                    <a:pt x="30" y="136"/>
                  </a:lnTo>
                  <a:lnTo>
                    <a:pt x="32" y="136"/>
                  </a:lnTo>
                  <a:lnTo>
                    <a:pt x="32" y="138"/>
                  </a:lnTo>
                  <a:lnTo>
                    <a:pt x="30" y="142"/>
                  </a:lnTo>
                  <a:lnTo>
                    <a:pt x="30" y="148"/>
                  </a:lnTo>
                  <a:lnTo>
                    <a:pt x="30" y="150"/>
                  </a:lnTo>
                  <a:lnTo>
                    <a:pt x="30" y="154"/>
                  </a:lnTo>
                  <a:lnTo>
                    <a:pt x="32" y="158"/>
                  </a:lnTo>
                  <a:lnTo>
                    <a:pt x="30" y="162"/>
                  </a:lnTo>
                  <a:lnTo>
                    <a:pt x="32" y="164"/>
                  </a:lnTo>
                  <a:lnTo>
                    <a:pt x="34" y="164"/>
                  </a:lnTo>
                  <a:lnTo>
                    <a:pt x="34" y="166"/>
                  </a:lnTo>
                  <a:lnTo>
                    <a:pt x="28" y="176"/>
                  </a:lnTo>
                  <a:lnTo>
                    <a:pt x="18" y="188"/>
                  </a:lnTo>
                  <a:lnTo>
                    <a:pt x="18" y="192"/>
                  </a:lnTo>
                  <a:lnTo>
                    <a:pt x="18" y="196"/>
                  </a:lnTo>
                  <a:lnTo>
                    <a:pt x="16" y="200"/>
                  </a:lnTo>
                  <a:lnTo>
                    <a:pt x="16" y="206"/>
                  </a:lnTo>
                  <a:lnTo>
                    <a:pt x="18" y="214"/>
                  </a:lnTo>
                  <a:lnTo>
                    <a:pt x="18" y="222"/>
                  </a:lnTo>
                  <a:lnTo>
                    <a:pt x="16" y="228"/>
                  </a:lnTo>
                  <a:lnTo>
                    <a:pt x="16" y="232"/>
                  </a:lnTo>
                  <a:lnTo>
                    <a:pt x="16" y="236"/>
                  </a:lnTo>
                  <a:lnTo>
                    <a:pt x="18" y="240"/>
                  </a:lnTo>
                  <a:lnTo>
                    <a:pt x="18" y="242"/>
                  </a:lnTo>
                  <a:lnTo>
                    <a:pt x="22" y="244"/>
                  </a:lnTo>
                  <a:lnTo>
                    <a:pt x="24" y="246"/>
                  </a:lnTo>
                  <a:lnTo>
                    <a:pt x="24" y="246"/>
                  </a:lnTo>
                  <a:lnTo>
                    <a:pt x="22" y="254"/>
                  </a:lnTo>
                  <a:lnTo>
                    <a:pt x="32" y="256"/>
                  </a:lnTo>
                  <a:lnTo>
                    <a:pt x="34" y="248"/>
                  </a:lnTo>
                  <a:lnTo>
                    <a:pt x="30" y="248"/>
                  </a:lnTo>
                  <a:lnTo>
                    <a:pt x="28" y="246"/>
                  </a:lnTo>
                  <a:lnTo>
                    <a:pt x="28" y="244"/>
                  </a:lnTo>
                  <a:lnTo>
                    <a:pt x="32" y="240"/>
                  </a:lnTo>
                  <a:lnTo>
                    <a:pt x="38" y="238"/>
                  </a:lnTo>
                  <a:lnTo>
                    <a:pt x="48" y="234"/>
                  </a:lnTo>
                  <a:lnTo>
                    <a:pt x="56" y="228"/>
                  </a:lnTo>
                  <a:lnTo>
                    <a:pt x="62" y="226"/>
                  </a:lnTo>
                  <a:lnTo>
                    <a:pt x="66" y="222"/>
                  </a:lnTo>
                  <a:lnTo>
                    <a:pt x="68" y="220"/>
                  </a:lnTo>
                  <a:lnTo>
                    <a:pt x="66" y="216"/>
                  </a:lnTo>
                  <a:lnTo>
                    <a:pt x="66" y="212"/>
                  </a:lnTo>
                  <a:lnTo>
                    <a:pt x="66" y="200"/>
                  </a:lnTo>
                  <a:lnTo>
                    <a:pt x="66" y="188"/>
                  </a:lnTo>
                  <a:lnTo>
                    <a:pt x="60" y="176"/>
                  </a:lnTo>
                  <a:lnTo>
                    <a:pt x="60" y="168"/>
                  </a:lnTo>
                  <a:lnTo>
                    <a:pt x="60" y="162"/>
                  </a:lnTo>
                  <a:lnTo>
                    <a:pt x="56" y="160"/>
                  </a:lnTo>
                  <a:lnTo>
                    <a:pt x="54" y="152"/>
                  </a:lnTo>
                  <a:lnTo>
                    <a:pt x="56" y="142"/>
                  </a:lnTo>
                  <a:lnTo>
                    <a:pt x="62" y="140"/>
                  </a:lnTo>
                  <a:lnTo>
                    <a:pt x="64" y="136"/>
                  </a:lnTo>
                  <a:lnTo>
                    <a:pt x="66" y="134"/>
                  </a:lnTo>
                  <a:lnTo>
                    <a:pt x="68" y="132"/>
                  </a:lnTo>
                  <a:lnTo>
                    <a:pt x="72" y="132"/>
                  </a:lnTo>
                  <a:lnTo>
                    <a:pt x="74" y="128"/>
                  </a:lnTo>
                  <a:lnTo>
                    <a:pt x="74" y="124"/>
                  </a:lnTo>
                  <a:lnTo>
                    <a:pt x="74" y="116"/>
                  </a:lnTo>
                  <a:lnTo>
                    <a:pt x="86" y="116"/>
                  </a:lnTo>
                  <a:lnTo>
                    <a:pt x="86" y="114"/>
                  </a:lnTo>
                  <a:lnTo>
                    <a:pt x="94" y="114"/>
                  </a:lnTo>
                  <a:lnTo>
                    <a:pt x="94" y="112"/>
                  </a:lnTo>
                  <a:lnTo>
                    <a:pt x="100" y="110"/>
                  </a:lnTo>
                  <a:lnTo>
                    <a:pt x="102" y="106"/>
                  </a:lnTo>
                  <a:lnTo>
                    <a:pt x="108" y="106"/>
                  </a:lnTo>
                  <a:lnTo>
                    <a:pt x="112" y="104"/>
                  </a:lnTo>
                  <a:lnTo>
                    <a:pt x="116" y="100"/>
                  </a:lnTo>
                  <a:lnTo>
                    <a:pt x="118" y="96"/>
                  </a:lnTo>
                  <a:lnTo>
                    <a:pt x="122" y="94"/>
                  </a:lnTo>
                  <a:lnTo>
                    <a:pt x="126" y="92"/>
                  </a:lnTo>
                  <a:lnTo>
                    <a:pt x="126" y="88"/>
                  </a:lnTo>
                  <a:lnTo>
                    <a:pt x="126" y="86"/>
                  </a:lnTo>
                  <a:lnTo>
                    <a:pt x="132" y="82"/>
                  </a:lnTo>
                  <a:lnTo>
                    <a:pt x="132" y="80"/>
                  </a:lnTo>
                  <a:lnTo>
                    <a:pt x="132" y="78"/>
                  </a:lnTo>
                  <a:lnTo>
                    <a:pt x="132" y="76"/>
                  </a:lnTo>
                  <a:lnTo>
                    <a:pt x="136" y="74"/>
                  </a:lnTo>
                  <a:lnTo>
                    <a:pt x="136" y="70"/>
                  </a:lnTo>
                  <a:lnTo>
                    <a:pt x="134" y="70"/>
                  </a:lnTo>
                  <a:lnTo>
                    <a:pt x="132" y="66"/>
                  </a:lnTo>
                  <a:lnTo>
                    <a:pt x="132" y="64"/>
                  </a:lnTo>
                  <a:lnTo>
                    <a:pt x="134" y="60"/>
                  </a:lnTo>
                  <a:lnTo>
                    <a:pt x="134" y="54"/>
                  </a:lnTo>
                  <a:lnTo>
                    <a:pt x="136" y="48"/>
                  </a:lnTo>
                  <a:lnTo>
                    <a:pt x="136" y="44"/>
                  </a:lnTo>
                  <a:lnTo>
                    <a:pt x="138" y="44"/>
                  </a:lnTo>
                  <a:lnTo>
                    <a:pt x="138" y="42"/>
                  </a:lnTo>
                  <a:lnTo>
                    <a:pt x="136" y="40"/>
                  </a:lnTo>
                  <a:lnTo>
                    <a:pt x="136" y="36"/>
                  </a:lnTo>
                  <a:lnTo>
                    <a:pt x="136" y="30"/>
                  </a:lnTo>
                  <a:lnTo>
                    <a:pt x="134" y="18"/>
                  </a:lnTo>
                  <a:lnTo>
                    <a:pt x="134" y="10"/>
                  </a:lnTo>
                  <a:lnTo>
                    <a:pt x="132" y="6"/>
                  </a:lnTo>
                  <a:lnTo>
                    <a:pt x="134" y="0"/>
                  </a:lnTo>
                  <a:lnTo>
                    <a:pt x="120" y="6"/>
                  </a:lnTo>
                  <a:lnTo>
                    <a:pt x="116" y="8"/>
                  </a:lnTo>
                  <a:lnTo>
                    <a:pt x="110" y="8"/>
                  </a:lnTo>
                  <a:lnTo>
                    <a:pt x="108" y="10"/>
                  </a:lnTo>
                  <a:lnTo>
                    <a:pt x="106" y="12"/>
                  </a:lnTo>
                  <a:lnTo>
                    <a:pt x="102" y="14"/>
                  </a:lnTo>
                  <a:lnTo>
                    <a:pt x="100" y="12"/>
                  </a:lnTo>
                  <a:lnTo>
                    <a:pt x="98" y="12"/>
                  </a:lnTo>
                  <a:lnTo>
                    <a:pt x="98" y="14"/>
                  </a:lnTo>
                  <a:lnTo>
                    <a:pt x="94" y="16"/>
                  </a:lnTo>
                  <a:lnTo>
                    <a:pt x="84" y="18"/>
                  </a:lnTo>
                  <a:lnTo>
                    <a:pt x="76" y="20"/>
                  </a:lnTo>
                  <a:lnTo>
                    <a:pt x="72" y="20"/>
                  </a:lnTo>
                  <a:lnTo>
                    <a:pt x="72" y="18"/>
                  </a:lnTo>
                  <a:lnTo>
                    <a:pt x="70" y="16"/>
                  </a:lnTo>
                  <a:lnTo>
                    <a:pt x="68" y="14"/>
                  </a:lnTo>
                  <a:lnTo>
                    <a:pt x="66" y="14"/>
                  </a:lnTo>
                  <a:lnTo>
                    <a:pt x="64" y="16"/>
                  </a:lnTo>
                  <a:lnTo>
                    <a:pt x="58" y="18"/>
                  </a:lnTo>
                  <a:lnTo>
                    <a:pt x="56" y="22"/>
                  </a:lnTo>
                  <a:lnTo>
                    <a:pt x="56" y="26"/>
                  </a:lnTo>
                  <a:lnTo>
                    <a:pt x="60" y="28"/>
                  </a:lnTo>
                  <a:lnTo>
                    <a:pt x="58" y="32"/>
                  </a:lnTo>
                  <a:lnTo>
                    <a:pt x="58" y="36"/>
                  </a:lnTo>
                  <a:lnTo>
                    <a:pt x="60" y="42"/>
                  </a:lnTo>
                  <a:lnTo>
                    <a:pt x="60" y="4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0" name="Freeform 484">
              <a:extLst>
                <a:ext uri="{FF2B5EF4-FFF2-40B4-BE49-F238E27FC236}">
                  <a16:creationId xmlns:a16="http://schemas.microsoft.com/office/drawing/2014/main" id="{DDCA77CD-E209-45A0-8594-70DCE989B7E4}"/>
                </a:ext>
              </a:extLst>
            </p:cNvPr>
            <p:cNvSpPr>
              <a:spLocks/>
            </p:cNvSpPr>
            <p:nvPr/>
          </p:nvSpPr>
          <p:spPr bwMode="auto">
            <a:xfrm>
              <a:off x="3577953" y="4951676"/>
              <a:ext cx="56971" cy="157966"/>
            </a:xfrm>
            <a:custGeom>
              <a:avLst/>
              <a:gdLst/>
              <a:ahLst/>
              <a:cxnLst>
                <a:cxn ang="0">
                  <a:pos x="22" y="2"/>
                </a:cxn>
                <a:cxn ang="0">
                  <a:pos x="10" y="2"/>
                </a:cxn>
                <a:cxn ang="0">
                  <a:pos x="14" y="8"/>
                </a:cxn>
                <a:cxn ang="0">
                  <a:pos x="14" y="14"/>
                </a:cxn>
                <a:cxn ang="0">
                  <a:pos x="16" y="18"/>
                </a:cxn>
                <a:cxn ang="0">
                  <a:pos x="12" y="24"/>
                </a:cxn>
                <a:cxn ang="0">
                  <a:pos x="8" y="28"/>
                </a:cxn>
                <a:cxn ang="0">
                  <a:pos x="8" y="34"/>
                </a:cxn>
                <a:cxn ang="0">
                  <a:pos x="8" y="42"/>
                </a:cxn>
                <a:cxn ang="0">
                  <a:pos x="12" y="44"/>
                </a:cxn>
                <a:cxn ang="0">
                  <a:pos x="10" y="48"/>
                </a:cxn>
                <a:cxn ang="0">
                  <a:pos x="2" y="52"/>
                </a:cxn>
                <a:cxn ang="0">
                  <a:pos x="2" y="62"/>
                </a:cxn>
                <a:cxn ang="0">
                  <a:pos x="2" y="66"/>
                </a:cxn>
                <a:cxn ang="0">
                  <a:pos x="2" y="78"/>
                </a:cxn>
                <a:cxn ang="0">
                  <a:pos x="8" y="84"/>
                </a:cxn>
                <a:cxn ang="0">
                  <a:pos x="10" y="88"/>
                </a:cxn>
                <a:cxn ang="0">
                  <a:pos x="20" y="88"/>
                </a:cxn>
                <a:cxn ang="0">
                  <a:pos x="22" y="96"/>
                </a:cxn>
                <a:cxn ang="0">
                  <a:pos x="18" y="106"/>
                </a:cxn>
                <a:cxn ang="0">
                  <a:pos x="28" y="114"/>
                </a:cxn>
                <a:cxn ang="0">
                  <a:pos x="32" y="120"/>
                </a:cxn>
                <a:cxn ang="0">
                  <a:pos x="32" y="122"/>
                </a:cxn>
                <a:cxn ang="0">
                  <a:pos x="36" y="118"/>
                </a:cxn>
                <a:cxn ang="0">
                  <a:pos x="34" y="110"/>
                </a:cxn>
                <a:cxn ang="0">
                  <a:pos x="36" y="104"/>
                </a:cxn>
                <a:cxn ang="0">
                  <a:pos x="42" y="104"/>
                </a:cxn>
                <a:cxn ang="0">
                  <a:pos x="42" y="98"/>
                </a:cxn>
                <a:cxn ang="0">
                  <a:pos x="44" y="88"/>
                </a:cxn>
                <a:cxn ang="0">
                  <a:pos x="42" y="84"/>
                </a:cxn>
                <a:cxn ang="0">
                  <a:pos x="38" y="78"/>
                </a:cxn>
                <a:cxn ang="0">
                  <a:pos x="34" y="68"/>
                </a:cxn>
                <a:cxn ang="0">
                  <a:pos x="32" y="68"/>
                </a:cxn>
                <a:cxn ang="0">
                  <a:pos x="34" y="74"/>
                </a:cxn>
                <a:cxn ang="0">
                  <a:pos x="30" y="72"/>
                </a:cxn>
                <a:cxn ang="0">
                  <a:pos x="30" y="64"/>
                </a:cxn>
                <a:cxn ang="0">
                  <a:pos x="26" y="58"/>
                </a:cxn>
                <a:cxn ang="0">
                  <a:pos x="28" y="54"/>
                </a:cxn>
                <a:cxn ang="0">
                  <a:pos x="24" y="50"/>
                </a:cxn>
                <a:cxn ang="0">
                  <a:pos x="26" y="42"/>
                </a:cxn>
                <a:cxn ang="0">
                  <a:pos x="22" y="38"/>
                </a:cxn>
                <a:cxn ang="0">
                  <a:pos x="26" y="22"/>
                </a:cxn>
                <a:cxn ang="0">
                  <a:pos x="24" y="6"/>
                </a:cxn>
                <a:cxn ang="0">
                  <a:pos x="24" y="2"/>
                </a:cxn>
              </a:cxnLst>
              <a:rect l="0" t="0" r="r" b="b"/>
              <a:pathLst>
                <a:path w="44" h="122">
                  <a:moveTo>
                    <a:pt x="24" y="2"/>
                  </a:moveTo>
                  <a:lnTo>
                    <a:pt x="22" y="2"/>
                  </a:lnTo>
                  <a:lnTo>
                    <a:pt x="8" y="0"/>
                  </a:lnTo>
                  <a:lnTo>
                    <a:pt x="10" y="2"/>
                  </a:lnTo>
                  <a:lnTo>
                    <a:pt x="12" y="6"/>
                  </a:lnTo>
                  <a:lnTo>
                    <a:pt x="14" y="8"/>
                  </a:lnTo>
                  <a:lnTo>
                    <a:pt x="14" y="12"/>
                  </a:lnTo>
                  <a:lnTo>
                    <a:pt x="14" y="14"/>
                  </a:lnTo>
                  <a:lnTo>
                    <a:pt x="14" y="16"/>
                  </a:lnTo>
                  <a:lnTo>
                    <a:pt x="16" y="18"/>
                  </a:lnTo>
                  <a:lnTo>
                    <a:pt x="14" y="20"/>
                  </a:lnTo>
                  <a:lnTo>
                    <a:pt x="12" y="24"/>
                  </a:lnTo>
                  <a:lnTo>
                    <a:pt x="8" y="26"/>
                  </a:lnTo>
                  <a:lnTo>
                    <a:pt x="8" y="28"/>
                  </a:lnTo>
                  <a:lnTo>
                    <a:pt x="8" y="30"/>
                  </a:lnTo>
                  <a:lnTo>
                    <a:pt x="8" y="34"/>
                  </a:lnTo>
                  <a:lnTo>
                    <a:pt x="8" y="40"/>
                  </a:lnTo>
                  <a:lnTo>
                    <a:pt x="8" y="42"/>
                  </a:lnTo>
                  <a:lnTo>
                    <a:pt x="10" y="42"/>
                  </a:lnTo>
                  <a:lnTo>
                    <a:pt x="12" y="44"/>
                  </a:lnTo>
                  <a:lnTo>
                    <a:pt x="12" y="46"/>
                  </a:lnTo>
                  <a:lnTo>
                    <a:pt x="10" y="48"/>
                  </a:lnTo>
                  <a:lnTo>
                    <a:pt x="4" y="50"/>
                  </a:lnTo>
                  <a:lnTo>
                    <a:pt x="2" y="52"/>
                  </a:lnTo>
                  <a:lnTo>
                    <a:pt x="2" y="56"/>
                  </a:lnTo>
                  <a:lnTo>
                    <a:pt x="2" y="62"/>
                  </a:lnTo>
                  <a:lnTo>
                    <a:pt x="2" y="64"/>
                  </a:lnTo>
                  <a:lnTo>
                    <a:pt x="2" y="66"/>
                  </a:lnTo>
                  <a:lnTo>
                    <a:pt x="0" y="70"/>
                  </a:lnTo>
                  <a:lnTo>
                    <a:pt x="2" y="78"/>
                  </a:lnTo>
                  <a:lnTo>
                    <a:pt x="4" y="80"/>
                  </a:lnTo>
                  <a:lnTo>
                    <a:pt x="8" y="84"/>
                  </a:lnTo>
                  <a:lnTo>
                    <a:pt x="8" y="88"/>
                  </a:lnTo>
                  <a:lnTo>
                    <a:pt x="10" y="88"/>
                  </a:lnTo>
                  <a:lnTo>
                    <a:pt x="20" y="86"/>
                  </a:lnTo>
                  <a:lnTo>
                    <a:pt x="20" y="88"/>
                  </a:lnTo>
                  <a:lnTo>
                    <a:pt x="22" y="92"/>
                  </a:lnTo>
                  <a:lnTo>
                    <a:pt x="22" y="96"/>
                  </a:lnTo>
                  <a:lnTo>
                    <a:pt x="20" y="102"/>
                  </a:lnTo>
                  <a:lnTo>
                    <a:pt x="18" y="106"/>
                  </a:lnTo>
                  <a:lnTo>
                    <a:pt x="20" y="108"/>
                  </a:lnTo>
                  <a:lnTo>
                    <a:pt x="28" y="114"/>
                  </a:lnTo>
                  <a:lnTo>
                    <a:pt x="32" y="116"/>
                  </a:lnTo>
                  <a:lnTo>
                    <a:pt x="32" y="120"/>
                  </a:lnTo>
                  <a:lnTo>
                    <a:pt x="32" y="122"/>
                  </a:lnTo>
                  <a:lnTo>
                    <a:pt x="32" y="122"/>
                  </a:lnTo>
                  <a:lnTo>
                    <a:pt x="36" y="120"/>
                  </a:lnTo>
                  <a:lnTo>
                    <a:pt x="36" y="118"/>
                  </a:lnTo>
                  <a:lnTo>
                    <a:pt x="36" y="116"/>
                  </a:lnTo>
                  <a:lnTo>
                    <a:pt x="34" y="110"/>
                  </a:lnTo>
                  <a:lnTo>
                    <a:pt x="34" y="106"/>
                  </a:lnTo>
                  <a:lnTo>
                    <a:pt x="36" y="104"/>
                  </a:lnTo>
                  <a:lnTo>
                    <a:pt x="40" y="106"/>
                  </a:lnTo>
                  <a:lnTo>
                    <a:pt x="42" y="104"/>
                  </a:lnTo>
                  <a:lnTo>
                    <a:pt x="44" y="102"/>
                  </a:lnTo>
                  <a:lnTo>
                    <a:pt x="42" y="98"/>
                  </a:lnTo>
                  <a:lnTo>
                    <a:pt x="42" y="94"/>
                  </a:lnTo>
                  <a:lnTo>
                    <a:pt x="44" y="88"/>
                  </a:lnTo>
                  <a:lnTo>
                    <a:pt x="44" y="84"/>
                  </a:lnTo>
                  <a:lnTo>
                    <a:pt x="42" y="84"/>
                  </a:lnTo>
                  <a:lnTo>
                    <a:pt x="40" y="82"/>
                  </a:lnTo>
                  <a:lnTo>
                    <a:pt x="38" y="78"/>
                  </a:lnTo>
                  <a:lnTo>
                    <a:pt x="36" y="72"/>
                  </a:lnTo>
                  <a:lnTo>
                    <a:pt x="34" y="68"/>
                  </a:lnTo>
                  <a:lnTo>
                    <a:pt x="32" y="66"/>
                  </a:lnTo>
                  <a:lnTo>
                    <a:pt x="32" y="68"/>
                  </a:lnTo>
                  <a:lnTo>
                    <a:pt x="34" y="70"/>
                  </a:lnTo>
                  <a:lnTo>
                    <a:pt x="34" y="74"/>
                  </a:lnTo>
                  <a:lnTo>
                    <a:pt x="32" y="72"/>
                  </a:lnTo>
                  <a:lnTo>
                    <a:pt x="30" y="72"/>
                  </a:lnTo>
                  <a:lnTo>
                    <a:pt x="30" y="68"/>
                  </a:lnTo>
                  <a:lnTo>
                    <a:pt x="30" y="64"/>
                  </a:lnTo>
                  <a:lnTo>
                    <a:pt x="26" y="62"/>
                  </a:lnTo>
                  <a:lnTo>
                    <a:pt x="26" y="58"/>
                  </a:lnTo>
                  <a:lnTo>
                    <a:pt x="26" y="56"/>
                  </a:lnTo>
                  <a:lnTo>
                    <a:pt x="28" y="54"/>
                  </a:lnTo>
                  <a:lnTo>
                    <a:pt x="26" y="52"/>
                  </a:lnTo>
                  <a:lnTo>
                    <a:pt x="24" y="50"/>
                  </a:lnTo>
                  <a:lnTo>
                    <a:pt x="24" y="48"/>
                  </a:lnTo>
                  <a:lnTo>
                    <a:pt x="26" y="42"/>
                  </a:lnTo>
                  <a:lnTo>
                    <a:pt x="22" y="42"/>
                  </a:lnTo>
                  <a:lnTo>
                    <a:pt x="22" y="38"/>
                  </a:lnTo>
                  <a:lnTo>
                    <a:pt x="26" y="32"/>
                  </a:lnTo>
                  <a:lnTo>
                    <a:pt x="26" y="22"/>
                  </a:lnTo>
                  <a:lnTo>
                    <a:pt x="24" y="10"/>
                  </a:lnTo>
                  <a:lnTo>
                    <a:pt x="24" y="6"/>
                  </a:lnTo>
                  <a:lnTo>
                    <a:pt x="22" y="2"/>
                  </a:lnTo>
                  <a:lnTo>
                    <a:pt x="24" y="2"/>
                  </a:lnTo>
                  <a:lnTo>
                    <a:pt x="24"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1" name="Freeform 485">
              <a:extLst>
                <a:ext uri="{FF2B5EF4-FFF2-40B4-BE49-F238E27FC236}">
                  <a16:creationId xmlns:a16="http://schemas.microsoft.com/office/drawing/2014/main" id="{D026500B-0A6D-4456-8EB1-ED4E9D72BA92}"/>
                </a:ext>
              </a:extLst>
            </p:cNvPr>
            <p:cNvSpPr>
              <a:spLocks/>
            </p:cNvSpPr>
            <p:nvPr/>
          </p:nvSpPr>
          <p:spPr bwMode="auto">
            <a:xfrm>
              <a:off x="3754046" y="5016416"/>
              <a:ext cx="126891" cy="277088"/>
            </a:xfrm>
            <a:custGeom>
              <a:avLst/>
              <a:gdLst/>
              <a:ahLst/>
              <a:cxnLst>
                <a:cxn ang="0">
                  <a:pos x="78" y="0"/>
                </a:cxn>
                <a:cxn ang="0">
                  <a:pos x="74" y="16"/>
                </a:cxn>
                <a:cxn ang="0">
                  <a:pos x="68" y="24"/>
                </a:cxn>
                <a:cxn ang="0">
                  <a:pos x="66" y="28"/>
                </a:cxn>
                <a:cxn ang="0">
                  <a:pos x="64" y="36"/>
                </a:cxn>
                <a:cxn ang="0">
                  <a:pos x="62" y="38"/>
                </a:cxn>
                <a:cxn ang="0">
                  <a:pos x="62" y="40"/>
                </a:cxn>
                <a:cxn ang="0">
                  <a:pos x="56" y="42"/>
                </a:cxn>
                <a:cxn ang="0">
                  <a:pos x="54" y="50"/>
                </a:cxn>
                <a:cxn ang="0">
                  <a:pos x="52" y="52"/>
                </a:cxn>
                <a:cxn ang="0">
                  <a:pos x="48" y="52"/>
                </a:cxn>
                <a:cxn ang="0">
                  <a:pos x="42" y="56"/>
                </a:cxn>
                <a:cxn ang="0">
                  <a:pos x="34" y="56"/>
                </a:cxn>
                <a:cxn ang="0">
                  <a:pos x="32" y="58"/>
                </a:cxn>
                <a:cxn ang="0">
                  <a:pos x="28" y="60"/>
                </a:cxn>
                <a:cxn ang="0">
                  <a:pos x="20" y="66"/>
                </a:cxn>
                <a:cxn ang="0">
                  <a:pos x="14" y="70"/>
                </a:cxn>
                <a:cxn ang="0">
                  <a:pos x="12" y="76"/>
                </a:cxn>
                <a:cxn ang="0">
                  <a:pos x="8" y="86"/>
                </a:cxn>
                <a:cxn ang="0">
                  <a:pos x="12" y="98"/>
                </a:cxn>
                <a:cxn ang="0">
                  <a:pos x="14" y="108"/>
                </a:cxn>
                <a:cxn ang="0">
                  <a:pos x="16" y="116"/>
                </a:cxn>
                <a:cxn ang="0">
                  <a:pos x="14" y="122"/>
                </a:cxn>
                <a:cxn ang="0">
                  <a:pos x="12" y="128"/>
                </a:cxn>
                <a:cxn ang="0">
                  <a:pos x="6" y="132"/>
                </a:cxn>
                <a:cxn ang="0">
                  <a:pos x="6" y="138"/>
                </a:cxn>
                <a:cxn ang="0">
                  <a:pos x="0" y="146"/>
                </a:cxn>
                <a:cxn ang="0">
                  <a:pos x="0" y="152"/>
                </a:cxn>
                <a:cxn ang="0">
                  <a:pos x="0" y="166"/>
                </a:cxn>
                <a:cxn ang="0">
                  <a:pos x="6" y="180"/>
                </a:cxn>
                <a:cxn ang="0">
                  <a:pos x="4" y="184"/>
                </a:cxn>
                <a:cxn ang="0">
                  <a:pos x="10" y="198"/>
                </a:cxn>
                <a:cxn ang="0">
                  <a:pos x="14" y="208"/>
                </a:cxn>
                <a:cxn ang="0">
                  <a:pos x="24" y="210"/>
                </a:cxn>
                <a:cxn ang="0">
                  <a:pos x="32" y="214"/>
                </a:cxn>
                <a:cxn ang="0">
                  <a:pos x="38" y="210"/>
                </a:cxn>
                <a:cxn ang="0">
                  <a:pos x="48" y="208"/>
                </a:cxn>
                <a:cxn ang="0">
                  <a:pos x="50" y="202"/>
                </a:cxn>
                <a:cxn ang="0">
                  <a:pos x="56" y="188"/>
                </a:cxn>
                <a:cxn ang="0">
                  <a:pos x="62" y="170"/>
                </a:cxn>
                <a:cxn ang="0">
                  <a:pos x="64" y="156"/>
                </a:cxn>
                <a:cxn ang="0">
                  <a:pos x="66" y="152"/>
                </a:cxn>
                <a:cxn ang="0">
                  <a:pos x="70" y="144"/>
                </a:cxn>
                <a:cxn ang="0">
                  <a:pos x="72" y="128"/>
                </a:cxn>
                <a:cxn ang="0">
                  <a:pos x="72" y="120"/>
                </a:cxn>
                <a:cxn ang="0">
                  <a:pos x="76" y="108"/>
                </a:cxn>
                <a:cxn ang="0">
                  <a:pos x="80" y="100"/>
                </a:cxn>
                <a:cxn ang="0">
                  <a:pos x="84" y="88"/>
                </a:cxn>
                <a:cxn ang="0">
                  <a:pos x="84" y="80"/>
                </a:cxn>
                <a:cxn ang="0">
                  <a:pos x="88" y="76"/>
                </a:cxn>
                <a:cxn ang="0">
                  <a:pos x="88" y="72"/>
                </a:cxn>
                <a:cxn ang="0">
                  <a:pos x="90" y="66"/>
                </a:cxn>
                <a:cxn ang="0">
                  <a:pos x="84" y="50"/>
                </a:cxn>
                <a:cxn ang="0">
                  <a:pos x="88" y="50"/>
                </a:cxn>
                <a:cxn ang="0">
                  <a:pos x="94" y="58"/>
                </a:cxn>
                <a:cxn ang="0">
                  <a:pos x="98" y="46"/>
                </a:cxn>
                <a:cxn ang="0">
                  <a:pos x="94" y="34"/>
                </a:cxn>
                <a:cxn ang="0">
                  <a:pos x="94" y="26"/>
                </a:cxn>
                <a:cxn ang="0">
                  <a:pos x="90" y="10"/>
                </a:cxn>
                <a:cxn ang="0">
                  <a:pos x="84" y="8"/>
                </a:cxn>
                <a:cxn ang="0">
                  <a:pos x="80" y="4"/>
                </a:cxn>
                <a:cxn ang="0">
                  <a:pos x="80" y="0"/>
                </a:cxn>
                <a:cxn ang="0">
                  <a:pos x="78" y="0"/>
                </a:cxn>
              </a:cxnLst>
              <a:rect l="0" t="0" r="r" b="b"/>
              <a:pathLst>
                <a:path w="98" h="214">
                  <a:moveTo>
                    <a:pt x="78" y="0"/>
                  </a:moveTo>
                  <a:lnTo>
                    <a:pt x="78" y="0"/>
                  </a:lnTo>
                  <a:lnTo>
                    <a:pt x="74" y="6"/>
                  </a:lnTo>
                  <a:lnTo>
                    <a:pt x="74" y="16"/>
                  </a:lnTo>
                  <a:lnTo>
                    <a:pt x="74" y="24"/>
                  </a:lnTo>
                  <a:lnTo>
                    <a:pt x="68" y="24"/>
                  </a:lnTo>
                  <a:lnTo>
                    <a:pt x="68" y="26"/>
                  </a:lnTo>
                  <a:lnTo>
                    <a:pt x="66" y="28"/>
                  </a:lnTo>
                  <a:lnTo>
                    <a:pt x="64" y="26"/>
                  </a:lnTo>
                  <a:lnTo>
                    <a:pt x="64" y="36"/>
                  </a:lnTo>
                  <a:lnTo>
                    <a:pt x="62" y="36"/>
                  </a:lnTo>
                  <a:lnTo>
                    <a:pt x="62" y="38"/>
                  </a:lnTo>
                  <a:lnTo>
                    <a:pt x="62" y="40"/>
                  </a:lnTo>
                  <a:lnTo>
                    <a:pt x="62" y="40"/>
                  </a:lnTo>
                  <a:lnTo>
                    <a:pt x="60" y="46"/>
                  </a:lnTo>
                  <a:lnTo>
                    <a:pt x="56" y="42"/>
                  </a:lnTo>
                  <a:lnTo>
                    <a:pt x="54" y="44"/>
                  </a:lnTo>
                  <a:lnTo>
                    <a:pt x="54" y="50"/>
                  </a:lnTo>
                  <a:lnTo>
                    <a:pt x="54" y="52"/>
                  </a:lnTo>
                  <a:lnTo>
                    <a:pt x="52" y="52"/>
                  </a:lnTo>
                  <a:lnTo>
                    <a:pt x="52" y="50"/>
                  </a:lnTo>
                  <a:lnTo>
                    <a:pt x="48" y="52"/>
                  </a:lnTo>
                  <a:lnTo>
                    <a:pt x="44" y="54"/>
                  </a:lnTo>
                  <a:lnTo>
                    <a:pt x="42" y="56"/>
                  </a:lnTo>
                  <a:lnTo>
                    <a:pt x="34" y="54"/>
                  </a:lnTo>
                  <a:lnTo>
                    <a:pt x="34" y="56"/>
                  </a:lnTo>
                  <a:lnTo>
                    <a:pt x="34" y="58"/>
                  </a:lnTo>
                  <a:lnTo>
                    <a:pt x="32" y="58"/>
                  </a:lnTo>
                  <a:lnTo>
                    <a:pt x="30" y="58"/>
                  </a:lnTo>
                  <a:lnTo>
                    <a:pt x="28" y="60"/>
                  </a:lnTo>
                  <a:lnTo>
                    <a:pt x="22" y="62"/>
                  </a:lnTo>
                  <a:lnTo>
                    <a:pt x="20" y="66"/>
                  </a:lnTo>
                  <a:lnTo>
                    <a:pt x="18" y="68"/>
                  </a:lnTo>
                  <a:lnTo>
                    <a:pt x="14" y="70"/>
                  </a:lnTo>
                  <a:lnTo>
                    <a:pt x="14" y="74"/>
                  </a:lnTo>
                  <a:lnTo>
                    <a:pt x="12" y="76"/>
                  </a:lnTo>
                  <a:lnTo>
                    <a:pt x="8" y="80"/>
                  </a:lnTo>
                  <a:lnTo>
                    <a:pt x="8" y="86"/>
                  </a:lnTo>
                  <a:lnTo>
                    <a:pt x="10" y="90"/>
                  </a:lnTo>
                  <a:lnTo>
                    <a:pt x="12" y="98"/>
                  </a:lnTo>
                  <a:lnTo>
                    <a:pt x="14" y="102"/>
                  </a:lnTo>
                  <a:lnTo>
                    <a:pt x="14" y="108"/>
                  </a:lnTo>
                  <a:lnTo>
                    <a:pt x="16" y="110"/>
                  </a:lnTo>
                  <a:lnTo>
                    <a:pt x="16" y="116"/>
                  </a:lnTo>
                  <a:lnTo>
                    <a:pt x="16" y="120"/>
                  </a:lnTo>
                  <a:lnTo>
                    <a:pt x="14" y="122"/>
                  </a:lnTo>
                  <a:lnTo>
                    <a:pt x="14" y="126"/>
                  </a:lnTo>
                  <a:lnTo>
                    <a:pt x="12" y="128"/>
                  </a:lnTo>
                  <a:lnTo>
                    <a:pt x="10" y="130"/>
                  </a:lnTo>
                  <a:lnTo>
                    <a:pt x="6" y="132"/>
                  </a:lnTo>
                  <a:lnTo>
                    <a:pt x="6" y="136"/>
                  </a:lnTo>
                  <a:lnTo>
                    <a:pt x="6" y="138"/>
                  </a:lnTo>
                  <a:lnTo>
                    <a:pt x="6" y="140"/>
                  </a:lnTo>
                  <a:lnTo>
                    <a:pt x="0" y="146"/>
                  </a:lnTo>
                  <a:lnTo>
                    <a:pt x="0" y="148"/>
                  </a:lnTo>
                  <a:lnTo>
                    <a:pt x="0" y="152"/>
                  </a:lnTo>
                  <a:lnTo>
                    <a:pt x="0" y="156"/>
                  </a:lnTo>
                  <a:lnTo>
                    <a:pt x="0" y="166"/>
                  </a:lnTo>
                  <a:lnTo>
                    <a:pt x="2" y="178"/>
                  </a:lnTo>
                  <a:lnTo>
                    <a:pt x="6" y="180"/>
                  </a:lnTo>
                  <a:lnTo>
                    <a:pt x="6" y="182"/>
                  </a:lnTo>
                  <a:lnTo>
                    <a:pt x="4" y="184"/>
                  </a:lnTo>
                  <a:lnTo>
                    <a:pt x="6" y="186"/>
                  </a:lnTo>
                  <a:lnTo>
                    <a:pt x="10" y="198"/>
                  </a:lnTo>
                  <a:lnTo>
                    <a:pt x="10" y="204"/>
                  </a:lnTo>
                  <a:lnTo>
                    <a:pt x="14" y="208"/>
                  </a:lnTo>
                  <a:lnTo>
                    <a:pt x="18" y="208"/>
                  </a:lnTo>
                  <a:lnTo>
                    <a:pt x="24" y="210"/>
                  </a:lnTo>
                  <a:lnTo>
                    <a:pt x="28" y="214"/>
                  </a:lnTo>
                  <a:lnTo>
                    <a:pt x="32" y="214"/>
                  </a:lnTo>
                  <a:lnTo>
                    <a:pt x="34" y="214"/>
                  </a:lnTo>
                  <a:lnTo>
                    <a:pt x="38" y="210"/>
                  </a:lnTo>
                  <a:lnTo>
                    <a:pt x="44" y="208"/>
                  </a:lnTo>
                  <a:lnTo>
                    <a:pt x="48" y="208"/>
                  </a:lnTo>
                  <a:lnTo>
                    <a:pt x="50" y="206"/>
                  </a:lnTo>
                  <a:lnTo>
                    <a:pt x="50" y="202"/>
                  </a:lnTo>
                  <a:lnTo>
                    <a:pt x="52" y="202"/>
                  </a:lnTo>
                  <a:lnTo>
                    <a:pt x="56" y="188"/>
                  </a:lnTo>
                  <a:lnTo>
                    <a:pt x="58" y="178"/>
                  </a:lnTo>
                  <a:lnTo>
                    <a:pt x="62" y="170"/>
                  </a:lnTo>
                  <a:lnTo>
                    <a:pt x="62" y="164"/>
                  </a:lnTo>
                  <a:lnTo>
                    <a:pt x="64" y="156"/>
                  </a:lnTo>
                  <a:lnTo>
                    <a:pt x="66" y="156"/>
                  </a:lnTo>
                  <a:lnTo>
                    <a:pt x="66" y="152"/>
                  </a:lnTo>
                  <a:lnTo>
                    <a:pt x="66" y="148"/>
                  </a:lnTo>
                  <a:lnTo>
                    <a:pt x="70" y="144"/>
                  </a:lnTo>
                  <a:lnTo>
                    <a:pt x="70" y="138"/>
                  </a:lnTo>
                  <a:lnTo>
                    <a:pt x="72" y="128"/>
                  </a:lnTo>
                  <a:lnTo>
                    <a:pt x="72" y="124"/>
                  </a:lnTo>
                  <a:lnTo>
                    <a:pt x="72" y="120"/>
                  </a:lnTo>
                  <a:lnTo>
                    <a:pt x="76" y="114"/>
                  </a:lnTo>
                  <a:lnTo>
                    <a:pt x="76" y="108"/>
                  </a:lnTo>
                  <a:lnTo>
                    <a:pt x="80" y="106"/>
                  </a:lnTo>
                  <a:lnTo>
                    <a:pt x="80" y="100"/>
                  </a:lnTo>
                  <a:lnTo>
                    <a:pt x="84" y="96"/>
                  </a:lnTo>
                  <a:lnTo>
                    <a:pt x="84" y="88"/>
                  </a:lnTo>
                  <a:lnTo>
                    <a:pt x="84" y="84"/>
                  </a:lnTo>
                  <a:lnTo>
                    <a:pt x="84" y="80"/>
                  </a:lnTo>
                  <a:lnTo>
                    <a:pt x="88" y="78"/>
                  </a:lnTo>
                  <a:lnTo>
                    <a:pt x="88" y="76"/>
                  </a:lnTo>
                  <a:lnTo>
                    <a:pt x="88" y="74"/>
                  </a:lnTo>
                  <a:lnTo>
                    <a:pt x="88" y="72"/>
                  </a:lnTo>
                  <a:lnTo>
                    <a:pt x="90" y="72"/>
                  </a:lnTo>
                  <a:lnTo>
                    <a:pt x="90" y="66"/>
                  </a:lnTo>
                  <a:lnTo>
                    <a:pt x="86" y="62"/>
                  </a:lnTo>
                  <a:lnTo>
                    <a:pt x="84" y="50"/>
                  </a:lnTo>
                  <a:lnTo>
                    <a:pt x="86" y="50"/>
                  </a:lnTo>
                  <a:lnTo>
                    <a:pt x="88" y="50"/>
                  </a:lnTo>
                  <a:lnTo>
                    <a:pt x="92" y="58"/>
                  </a:lnTo>
                  <a:lnTo>
                    <a:pt x="94" y="58"/>
                  </a:lnTo>
                  <a:lnTo>
                    <a:pt x="96" y="50"/>
                  </a:lnTo>
                  <a:lnTo>
                    <a:pt x="98" y="46"/>
                  </a:lnTo>
                  <a:lnTo>
                    <a:pt x="98" y="40"/>
                  </a:lnTo>
                  <a:lnTo>
                    <a:pt x="94" y="34"/>
                  </a:lnTo>
                  <a:lnTo>
                    <a:pt x="94" y="28"/>
                  </a:lnTo>
                  <a:lnTo>
                    <a:pt x="94" y="26"/>
                  </a:lnTo>
                  <a:lnTo>
                    <a:pt x="92" y="18"/>
                  </a:lnTo>
                  <a:lnTo>
                    <a:pt x="90" y="10"/>
                  </a:lnTo>
                  <a:lnTo>
                    <a:pt x="88" y="8"/>
                  </a:lnTo>
                  <a:lnTo>
                    <a:pt x="84" y="8"/>
                  </a:lnTo>
                  <a:lnTo>
                    <a:pt x="82" y="4"/>
                  </a:lnTo>
                  <a:lnTo>
                    <a:pt x="80" y="4"/>
                  </a:lnTo>
                  <a:lnTo>
                    <a:pt x="80" y="2"/>
                  </a:lnTo>
                  <a:lnTo>
                    <a:pt x="80" y="0"/>
                  </a:lnTo>
                  <a:lnTo>
                    <a:pt x="78" y="0"/>
                  </a:lnTo>
                  <a:lnTo>
                    <a:pt x="7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2" name="Freeform 486">
              <a:extLst>
                <a:ext uri="{FF2B5EF4-FFF2-40B4-BE49-F238E27FC236}">
                  <a16:creationId xmlns:a16="http://schemas.microsoft.com/office/drawing/2014/main" id="{6A521120-51DD-4647-9B57-5E2800FD0BE2}"/>
                </a:ext>
              </a:extLst>
            </p:cNvPr>
            <p:cNvSpPr>
              <a:spLocks noEditPoints="1"/>
            </p:cNvSpPr>
            <p:nvPr/>
          </p:nvSpPr>
          <p:spPr bwMode="auto">
            <a:xfrm>
              <a:off x="3606439" y="4656460"/>
              <a:ext cx="145018" cy="194221"/>
            </a:xfrm>
            <a:custGeom>
              <a:avLst/>
              <a:gdLst/>
              <a:ahLst/>
              <a:cxnLst>
                <a:cxn ang="0">
                  <a:pos x="4" y="84"/>
                </a:cxn>
                <a:cxn ang="0">
                  <a:pos x="8" y="88"/>
                </a:cxn>
                <a:cxn ang="0">
                  <a:pos x="10" y="86"/>
                </a:cxn>
                <a:cxn ang="0">
                  <a:pos x="14" y="86"/>
                </a:cxn>
                <a:cxn ang="0">
                  <a:pos x="10" y="92"/>
                </a:cxn>
                <a:cxn ang="0">
                  <a:pos x="8" y="98"/>
                </a:cxn>
                <a:cxn ang="0">
                  <a:pos x="8" y="104"/>
                </a:cxn>
                <a:cxn ang="0">
                  <a:pos x="48" y="126"/>
                </a:cxn>
                <a:cxn ang="0">
                  <a:pos x="50" y="136"/>
                </a:cxn>
                <a:cxn ang="0">
                  <a:pos x="54" y="140"/>
                </a:cxn>
                <a:cxn ang="0">
                  <a:pos x="70" y="150"/>
                </a:cxn>
                <a:cxn ang="0">
                  <a:pos x="72" y="142"/>
                </a:cxn>
                <a:cxn ang="0">
                  <a:pos x="74" y="134"/>
                </a:cxn>
                <a:cxn ang="0">
                  <a:pos x="78" y="128"/>
                </a:cxn>
                <a:cxn ang="0">
                  <a:pos x="84" y="122"/>
                </a:cxn>
                <a:cxn ang="0">
                  <a:pos x="92" y="116"/>
                </a:cxn>
                <a:cxn ang="0">
                  <a:pos x="96" y="110"/>
                </a:cxn>
                <a:cxn ang="0">
                  <a:pos x="100" y="104"/>
                </a:cxn>
                <a:cxn ang="0">
                  <a:pos x="108" y="96"/>
                </a:cxn>
                <a:cxn ang="0">
                  <a:pos x="106" y="92"/>
                </a:cxn>
                <a:cxn ang="0">
                  <a:pos x="98" y="80"/>
                </a:cxn>
                <a:cxn ang="0">
                  <a:pos x="104" y="20"/>
                </a:cxn>
                <a:cxn ang="0">
                  <a:pos x="106" y="4"/>
                </a:cxn>
                <a:cxn ang="0">
                  <a:pos x="98" y="4"/>
                </a:cxn>
                <a:cxn ang="0">
                  <a:pos x="94" y="0"/>
                </a:cxn>
                <a:cxn ang="0">
                  <a:pos x="88" y="4"/>
                </a:cxn>
                <a:cxn ang="0">
                  <a:pos x="82" y="4"/>
                </a:cxn>
                <a:cxn ang="0">
                  <a:pos x="80" y="8"/>
                </a:cxn>
                <a:cxn ang="0">
                  <a:pos x="68" y="8"/>
                </a:cxn>
                <a:cxn ang="0">
                  <a:pos x="60" y="6"/>
                </a:cxn>
                <a:cxn ang="0">
                  <a:pos x="52" y="6"/>
                </a:cxn>
                <a:cxn ang="0">
                  <a:pos x="46" y="6"/>
                </a:cxn>
                <a:cxn ang="0">
                  <a:pos x="42" y="6"/>
                </a:cxn>
                <a:cxn ang="0">
                  <a:pos x="26" y="6"/>
                </a:cxn>
                <a:cxn ang="0">
                  <a:pos x="14" y="0"/>
                </a:cxn>
                <a:cxn ang="0">
                  <a:pos x="6" y="4"/>
                </a:cxn>
                <a:cxn ang="0">
                  <a:pos x="0" y="10"/>
                </a:cxn>
                <a:cxn ang="0">
                  <a:pos x="6" y="14"/>
                </a:cxn>
                <a:cxn ang="0">
                  <a:pos x="8" y="18"/>
                </a:cxn>
                <a:cxn ang="0">
                  <a:pos x="6" y="24"/>
                </a:cxn>
                <a:cxn ang="0">
                  <a:pos x="8" y="32"/>
                </a:cxn>
                <a:cxn ang="0">
                  <a:pos x="8" y="42"/>
                </a:cxn>
                <a:cxn ang="0">
                  <a:pos x="6" y="50"/>
                </a:cxn>
                <a:cxn ang="0">
                  <a:pos x="4" y="54"/>
                </a:cxn>
                <a:cxn ang="0">
                  <a:pos x="2" y="64"/>
                </a:cxn>
                <a:cxn ang="0">
                  <a:pos x="2" y="72"/>
                </a:cxn>
                <a:cxn ang="0">
                  <a:pos x="4" y="78"/>
                </a:cxn>
                <a:cxn ang="0">
                  <a:pos x="4" y="82"/>
                </a:cxn>
                <a:cxn ang="0">
                  <a:pos x="4" y="84"/>
                </a:cxn>
                <a:cxn ang="0">
                  <a:pos x="28" y="6"/>
                </a:cxn>
                <a:cxn ang="0">
                  <a:pos x="32" y="16"/>
                </a:cxn>
                <a:cxn ang="0">
                  <a:pos x="36" y="28"/>
                </a:cxn>
                <a:cxn ang="0">
                  <a:pos x="40" y="38"/>
                </a:cxn>
                <a:cxn ang="0">
                  <a:pos x="34" y="32"/>
                </a:cxn>
                <a:cxn ang="0">
                  <a:pos x="28" y="26"/>
                </a:cxn>
                <a:cxn ang="0">
                  <a:pos x="26" y="24"/>
                </a:cxn>
                <a:cxn ang="0">
                  <a:pos x="28" y="6"/>
                </a:cxn>
              </a:cxnLst>
              <a:rect l="0" t="0" r="r" b="b"/>
              <a:pathLst>
                <a:path w="112" h="150">
                  <a:moveTo>
                    <a:pt x="4" y="84"/>
                  </a:moveTo>
                  <a:lnTo>
                    <a:pt x="4" y="84"/>
                  </a:lnTo>
                  <a:lnTo>
                    <a:pt x="6" y="86"/>
                  </a:lnTo>
                  <a:lnTo>
                    <a:pt x="8" y="88"/>
                  </a:lnTo>
                  <a:lnTo>
                    <a:pt x="8" y="88"/>
                  </a:lnTo>
                  <a:lnTo>
                    <a:pt x="10" y="86"/>
                  </a:lnTo>
                  <a:lnTo>
                    <a:pt x="12" y="86"/>
                  </a:lnTo>
                  <a:lnTo>
                    <a:pt x="14" y="86"/>
                  </a:lnTo>
                  <a:lnTo>
                    <a:pt x="10" y="88"/>
                  </a:lnTo>
                  <a:lnTo>
                    <a:pt x="10" y="92"/>
                  </a:lnTo>
                  <a:lnTo>
                    <a:pt x="10" y="96"/>
                  </a:lnTo>
                  <a:lnTo>
                    <a:pt x="8" y="98"/>
                  </a:lnTo>
                  <a:lnTo>
                    <a:pt x="8" y="102"/>
                  </a:lnTo>
                  <a:lnTo>
                    <a:pt x="8" y="104"/>
                  </a:lnTo>
                  <a:lnTo>
                    <a:pt x="46" y="124"/>
                  </a:lnTo>
                  <a:lnTo>
                    <a:pt x="48" y="126"/>
                  </a:lnTo>
                  <a:lnTo>
                    <a:pt x="50" y="130"/>
                  </a:lnTo>
                  <a:lnTo>
                    <a:pt x="50" y="136"/>
                  </a:lnTo>
                  <a:lnTo>
                    <a:pt x="52" y="138"/>
                  </a:lnTo>
                  <a:lnTo>
                    <a:pt x="54" y="140"/>
                  </a:lnTo>
                  <a:lnTo>
                    <a:pt x="56" y="140"/>
                  </a:lnTo>
                  <a:lnTo>
                    <a:pt x="70" y="150"/>
                  </a:lnTo>
                  <a:lnTo>
                    <a:pt x="74" y="148"/>
                  </a:lnTo>
                  <a:lnTo>
                    <a:pt x="72" y="142"/>
                  </a:lnTo>
                  <a:lnTo>
                    <a:pt x="72" y="138"/>
                  </a:lnTo>
                  <a:lnTo>
                    <a:pt x="74" y="134"/>
                  </a:lnTo>
                  <a:lnTo>
                    <a:pt x="76" y="134"/>
                  </a:lnTo>
                  <a:lnTo>
                    <a:pt x="78" y="128"/>
                  </a:lnTo>
                  <a:lnTo>
                    <a:pt x="82" y="122"/>
                  </a:lnTo>
                  <a:lnTo>
                    <a:pt x="84" y="122"/>
                  </a:lnTo>
                  <a:lnTo>
                    <a:pt x="88" y="120"/>
                  </a:lnTo>
                  <a:lnTo>
                    <a:pt x="92" y="116"/>
                  </a:lnTo>
                  <a:lnTo>
                    <a:pt x="94" y="110"/>
                  </a:lnTo>
                  <a:lnTo>
                    <a:pt x="96" y="110"/>
                  </a:lnTo>
                  <a:lnTo>
                    <a:pt x="100" y="108"/>
                  </a:lnTo>
                  <a:lnTo>
                    <a:pt x="100" y="104"/>
                  </a:lnTo>
                  <a:lnTo>
                    <a:pt x="102" y="100"/>
                  </a:lnTo>
                  <a:lnTo>
                    <a:pt x="108" y="96"/>
                  </a:lnTo>
                  <a:lnTo>
                    <a:pt x="106" y="94"/>
                  </a:lnTo>
                  <a:lnTo>
                    <a:pt x="106" y="92"/>
                  </a:lnTo>
                  <a:lnTo>
                    <a:pt x="108" y="90"/>
                  </a:lnTo>
                  <a:lnTo>
                    <a:pt x="98" y="80"/>
                  </a:lnTo>
                  <a:lnTo>
                    <a:pt x="98" y="26"/>
                  </a:lnTo>
                  <a:lnTo>
                    <a:pt x="104" y="20"/>
                  </a:lnTo>
                  <a:lnTo>
                    <a:pt x="112" y="4"/>
                  </a:lnTo>
                  <a:lnTo>
                    <a:pt x="106" y="4"/>
                  </a:lnTo>
                  <a:lnTo>
                    <a:pt x="102" y="6"/>
                  </a:lnTo>
                  <a:lnTo>
                    <a:pt x="98" y="4"/>
                  </a:lnTo>
                  <a:lnTo>
                    <a:pt x="94" y="2"/>
                  </a:lnTo>
                  <a:lnTo>
                    <a:pt x="94" y="0"/>
                  </a:lnTo>
                  <a:lnTo>
                    <a:pt x="90" y="2"/>
                  </a:lnTo>
                  <a:lnTo>
                    <a:pt x="88" y="4"/>
                  </a:lnTo>
                  <a:lnTo>
                    <a:pt x="84" y="4"/>
                  </a:lnTo>
                  <a:lnTo>
                    <a:pt x="82" y="4"/>
                  </a:lnTo>
                  <a:lnTo>
                    <a:pt x="80" y="4"/>
                  </a:lnTo>
                  <a:lnTo>
                    <a:pt x="80" y="8"/>
                  </a:lnTo>
                  <a:lnTo>
                    <a:pt x="72" y="8"/>
                  </a:lnTo>
                  <a:lnTo>
                    <a:pt x="68" y="8"/>
                  </a:lnTo>
                  <a:lnTo>
                    <a:pt x="64" y="8"/>
                  </a:lnTo>
                  <a:lnTo>
                    <a:pt x="60" y="6"/>
                  </a:lnTo>
                  <a:lnTo>
                    <a:pt x="56" y="6"/>
                  </a:lnTo>
                  <a:lnTo>
                    <a:pt x="52" y="6"/>
                  </a:lnTo>
                  <a:lnTo>
                    <a:pt x="48" y="8"/>
                  </a:lnTo>
                  <a:lnTo>
                    <a:pt x="46" y="6"/>
                  </a:lnTo>
                  <a:lnTo>
                    <a:pt x="44" y="6"/>
                  </a:lnTo>
                  <a:lnTo>
                    <a:pt x="42" y="6"/>
                  </a:lnTo>
                  <a:lnTo>
                    <a:pt x="38" y="8"/>
                  </a:lnTo>
                  <a:lnTo>
                    <a:pt x="26" y="6"/>
                  </a:lnTo>
                  <a:lnTo>
                    <a:pt x="20" y="0"/>
                  </a:lnTo>
                  <a:lnTo>
                    <a:pt x="14" y="0"/>
                  </a:lnTo>
                  <a:lnTo>
                    <a:pt x="8" y="0"/>
                  </a:lnTo>
                  <a:lnTo>
                    <a:pt x="6" y="4"/>
                  </a:lnTo>
                  <a:lnTo>
                    <a:pt x="0" y="6"/>
                  </a:lnTo>
                  <a:lnTo>
                    <a:pt x="0" y="10"/>
                  </a:lnTo>
                  <a:lnTo>
                    <a:pt x="4" y="14"/>
                  </a:lnTo>
                  <a:lnTo>
                    <a:pt x="6" y="14"/>
                  </a:lnTo>
                  <a:lnTo>
                    <a:pt x="6" y="16"/>
                  </a:lnTo>
                  <a:lnTo>
                    <a:pt x="8" y="18"/>
                  </a:lnTo>
                  <a:lnTo>
                    <a:pt x="8" y="20"/>
                  </a:lnTo>
                  <a:lnTo>
                    <a:pt x="6" y="24"/>
                  </a:lnTo>
                  <a:lnTo>
                    <a:pt x="4" y="30"/>
                  </a:lnTo>
                  <a:lnTo>
                    <a:pt x="8" y="32"/>
                  </a:lnTo>
                  <a:lnTo>
                    <a:pt x="8" y="36"/>
                  </a:lnTo>
                  <a:lnTo>
                    <a:pt x="8" y="42"/>
                  </a:lnTo>
                  <a:lnTo>
                    <a:pt x="8" y="48"/>
                  </a:lnTo>
                  <a:lnTo>
                    <a:pt x="6" y="50"/>
                  </a:lnTo>
                  <a:lnTo>
                    <a:pt x="4" y="52"/>
                  </a:lnTo>
                  <a:lnTo>
                    <a:pt x="4" y="54"/>
                  </a:lnTo>
                  <a:lnTo>
                    <a:pt x="4" y="60"/>
                  </a:lnTo>
                  <a:lnTo>
                    <a:pt x="2" y="64"/>
                  </a:lnTo>
                  <a:lnTo>
                    <a:pt x="2" y="68"/>
                  </a:lnTo>
                  <a:lnTo>
                    <a:pt x="2" y="72"/>
                  </a:lnTo>
                  <a:lnTo>
                    <a:pt x="4" y="76"/>
                  </a:lnTo>
                  <a:lnTo>
                    <a:pt x="4" y="78"/>
                  </a:lnTo>
                  <a:lnTo>
                    <a:pt x="2" y="80"/>
                  </a:lnTo>
                  <a:lnTo>
                    <a:pt x="4" y="82"/>
                  </a:lnTo>
                  <a:lnTo>
                    <a:pt x="4" y="84"/>
                  </a:lnTo>
                  <a:lnTo>
                    <a:pt x="4" y="84"/>
                  </a:lnTo>
                  <a:close/>
                  <a:moveTo>
                    <a:pt x="28" y="6"/>
                  </a:moveTo>
                  <a:lnTo>
                    <a:pt x="28" y="6"/>
                  </a:lnTo>
                  <a:lnTo>
                    <a:pt x="32" y="8"/>
                  </a:lnTo>
                  <a:lnTo>
                    <a:pt x="32" y="16"/>
                  </a:lnTo>
                  <a:lnTo>
                    <a:pt x="32" y="24"/>
                  </a:lnTo>
                  <a:lnTo>
                    <a:pt x="36" y="28"/>
                  </a:lnTo>
                  <a:lnTo>
                    <a:pt x="38" y="32"/>
                  </a:lnTo>
                  <a:lnTo>
                    <a:pt x="40" y="38"/>
                  </a:lnTo>
                  <a:lnTo>
                    <a:pt x="36" y="38"/>
                  </a:lnTo>
                  <a:lnTo>
                    <a:pt x="34" y="32"/>
                  </a:lnTo>
                  <a:lnTo>
                    <a:pt x="30" y="30"/>
                  </a:lnTo>
                  <a:lnTo>
                    <a:pt x="28" y="26"/>
                  </a:lnTo>
                  <a:lnTo>
                    <a:pt x="28" y="24"/>
                  </a:lnTo>
                  <a:lnTo>
                    <a:pt x="26" y="24"/>
                  </a:lnTo>
                  <a:lnTo>
                    <a:pt x="26" y="14"/>
                  </a:lnTo>
                  <a:lnTo>
                    <a:pt x="28" y="6"/>
                  </a:lnTo>
                  <a:lnTo>
                    <a:pt x="28" y="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3" name="Freeform 487">
              <a:extLst>
                <a:ext uri="{FF2B5EF4-FFF2-40B4-BE49-F238E27FC236}">
                  <a16:creationId xmlns:a16="http://schemas.microsoft.com/office/drawing/2014/main" id="{B436529D-738C-45FC-B581-3A1615F02296}"/>
                </a:ext>
              </a:extLst>
            </p:cNvPr>
            <p:cNvSpPr>
              <a:spLocks/>
            </p:cNvSpPr>
            <p:nvPr/>
          </p:nvSpPr>
          <p:spPr bwMode="auto">
            <a:xfrm>
              <a:off x="2883937" y="4529569"/>
              <a:ext cx="111353" cy="134660"/>
            </a:xfrm>
            <a:custGeom>
              <a:avLst/>
              <a:gdLst/>
              <a:ahLst/>
              <a:cxnLst>
                <a:cxn ang="0">
                  <a:pos x="18" y="104"/>
                </a:cxn>
                <a:cxn ang="0">
                  <a:pos x="36" y="96"/>
                </a:cxn>
                <a:cxn ang="0">
                  <a:pos x="48" y="90"/>
                </a:cxn>
                <a:cxn ang="0">
                  <a:pos x="64" y="92"/>
                </a:cxn>
                <a:cxn ang="0">
                  <a:pos x="72" y="90"/>
                </a:cxn>
                <a:cxn ang="0">
                  <a:pos x="70" y="84"/>
                </a:cxn>
                <a:cxn ang="0">
                  <a:pos x="72" y="64"/>
                </a:cxn>
                <a:cxn ang="0">
                  <a:pos x="80" y="44"/>
                </a:cxn>
                <a:cxn ang="0">
                  <a:pos x="84" y="38"/>
                </a:cxn>
                <a:cxn ang="0">
                  <a:pos x="84" y="20"/>
                </a:cxn>
                <a:cxn ang="0">
                  <a:pos x="82" y="18"/>
                </a:cxn>
                <a:cxn ang="0">
                  <a:pos x="82" y="8"/>
                </a:cxn>
                <a:cxn ang="0">
                  <a:pos x="70" y="8"/>
                </a:cxn>
                <a:cxn ang="0">
                  <a:pos x="70" y="2"/>
                </a:cxn>
                <a:cxn ang="0">
                  <a:pos x="60" y="6"/>
                </a:cxn>
                <a:cxn ang="0">
                  <a:pos x="54" y="0"/>
                </a:cxn>
                <a:cxn ang="0">
                  <a:pos x="40" y="4"/>
                </a:cxn>
                <a:cxn ang="0">
                  <a:pos x="38" y="8"/>
                </a:cxn>
                <a:cxn ang="0">
                  <a:pos x="36" y="10"/>
                </a:cxn>
                <a:cxn ang="0">
                  <a:pos x="32" y="6"/>
                </a:cxn>
                <a:cxn ang="0">
                  <a:pos x="28" y="16"/>
                </a:cxn>
                <a:cxn ang="0">
                  <a:pos x="26" y="12"/>
                </a:cxn>
                <a:cxn ang="0">
                  <a:pos x="20" y="16"/>
                </a:cxn>
                <a:cxn ang="0">
                  <a:pos x="16" y="22"/>
                </a:cxn>
                <a:cxn ang="0">
                  <a:pos x="14" y="26"/>
                </a:cxn>
                <a:cxn ang="0">
                  <a:pos x="18" y="32"/>
                </a:cxn>
                <a:cxn ang="0">
                  <a:pos x="16" y="36"/>
                </a:cxn>
                <a:cxn ang="0">
                  <a:pos x="10" y="38"/>
                </a:cxn>
                <a:cxn ang="0">
                  <a:pos x="10" y="42"/>
                </a:cxn>
                <a:cxn ang="0">
                  <a:pos x="8" y="50"/>
                </a:cxn>
                <a:cxn ang="0">
                  <a:pos x="8" y="56"/>
                </a:cxn>
                <a:cxn ang="0">
                  <a:pos x="0" y="66"/>
                </a:cxn>
                <a:cxn ang="0">
                  <a:pos x="12" y="72"/>
                </a:cxn>
                <a:cxn ang="0">
                  <a:pos x="16" y="82"/>
                </a:cxn>
                <a:cxn ang="0">
                  <a:pos x="20" y="84"/>
                </a:cxn>
                <a:cxn ang="0">
                  <a:pos x="20" y="88"/>
                </a:cxn>
                <a:cxn ang="0">
                  <a:pos x="18" y="94"/>
                </a:cxn>
                <a:cxn ang="0">
                  <a:pos x="18" y="100"/>
                </a:cxn>
                <a:cxn ang="0">
                  <a:pos x="18" y="104"/>
                </a:cxn>
              </a:cxnLst>
              <a:rect l="0" t="0" r="r" b="b"/>
              <a:pathLst>
                <a:path w="86" h="104">
                  <a:moveTo>
                    <a:pt x="18" y="104"/>
                  </a:moveTo>
                  <a:lnTo>
                    <a:pt x="18" y="104"/>
                  </a:lnTo>
                  <a:lnTo>
                    <a:pt x="28" y="100"/>
                  </a:lnTo>
                  <a:lnTo>
                    <a:pt x="36" y="96"/>
                  </a:lnTo>
                  <a:lnTo>
                    <a:pt x="38" y="90"/>
                  </a:lnTo>
                  <a:lnTo>
                    <a:pt x="48" y="90"/>
                  </a:lnTo>
                  <a:lnTo>
                    <a:pt x="58" y="90"/>
                  </a:lnTo>
                  <a:lnTo>
                    <a:pt x="64" y="92"/>
                  </a:lnTo>
                  <a:lnTo>
                    <a:pt x="68" y="96"/>
                  </a:lnTo>
                  <a:lnTo>
                    <a:pt x="72" y="90"/>
                  </a:lnTo>
                  <a:lnTo>
                    <a:pt x="72" y="86"/>
                  </a:lnTo>
                  <a:lnTo>
                    <a:pt x="70" y="84"/>
                  </a:lnTo>
                  <a:lnTo>
                    <a:pt x="70" y="74"/>
                  </a:lnTo>
                  <a:lnTo>
                    <a:pt x="72" y="64"/>
                  </a:lnTo>
                  <a:lnTo>
                    <a:pt x="76" y="54"/>
                  </a:lnTo>
                  <a:lnTo>
                    <a:pt x="80" y="44"/>
                  </a:lnTo>
                  <a:lnTo>
                    <a:pt x="82" y="38"/>
                  </a:lnTo>
                  <a:lnTo>
                    <a:pt x="84" y="38"/>
                  </a:lnTo>
                  <a:lnTo>
                    <a:pt x="86" y="26"/>
                  </a:lnTo>
                  <a:lnTo>
                    <a:pt x="84" y="20"/>
                  </a:lnTo>
                  <a:lnTo>
                    <a:pt x="82" y="20"/>
                  </a:lnTo>
                  <a:lnTo>
                    <a:pt x="82" y="18"/>
                  </a:lnTo>
                  <a:lnTo>
                    <a:pt x="82" y="12"/>
                  </a:lnTo>
                  <a:lnTo>
                    <a:pt x="82" y="8"/>
                  </a:lnTo>
                  <a:lnTo>
                    <a:pt x="72" y="10"/>
                  </a:lnTo>
                  <a:lnTo>
                    <a:pt x="70" y="8"/>
                  </a:lnTo>
                  <a:lnTo>
                    <a:pt x="70" y="6"/>
                  </a:lnTo>
                  <a:lnTo>
                    <a:pt x="70" y="2"/>
                  </a:lnTo>
                  <a:lnTo>
                    <a:pt x="64" y="2"/>
                  </a:lnTo>
                  <a:lnTo>
                    <a:pt x="60" y="6"/>
                  </a:lnTo>
                  <a:lnTo>
                    <a:pt x="54" y="4"/>
                  </a:lnTo>
                  <a:lnTo>
                    <a:pt x="54" y="0"/>
                  </a:lnTo>
                  <a:lnTo>
                    <a:pt x="42" y="0"/>
                  </a:lnTo>
                  <a:lnTo>
                    <a:pt x="40" y="4"/>
                  </a:lnTo>
                  <a:lnTo>
                    <a:pt x="40" y="6"/>
                  </a:lnTo>
                  <a:lnTo>
                    <a:pt x="38" y="8"/>
                  </a:lnTo>
                  <a:lnTo>
                    <a:pt x="38" y="10"/>
                  </a:lnTo>
                  <a:lnTo>
                    <a:pt x="36" y="10"/>
                  </a:lnTo>
                  <a:lnTo>
                    <a:pt x="34" y="8"/>
                  </a:lnTo>
                  <a:lnTo>
                    <a:pt x="32" y="6"/>
                  </a:lnTo>
                  <a:lnTo>
                    <a:pt x="30" y="8"/>
                  </a:lnTo>
                  <a:lnTo>
                    <a:pt x="28" y="16"/>
                  </a:lnTo>
                  <a:lnTo>
                    <a:pt x="28" y="14"/>
                  </a:lnTo>
                  <a:lnTo>
                    <a:pt x="26" y="12"/>
                  </a:lnTo>
                  <a:lnTo>
                    <a:pt x="24" y="14"/>
                  </a:lnTo>
                  <a:lnTo>
                    <a:pt x="20" y="16"/>
                  </a:lnTo>
                  <a:lnTo>
                    <a:pt x="18" y="18"/>
                  </a:lnTo>
                  <a:lnTo>
                    <a:pt x="16" y="22"/>
                  </a:lnTo>
                  <a:lnTo>
                    <a:pt x="14" y="24"/>
                  </a:lnTo>
                  <a:lnTo>
                    <a:pt x="14" y="26"/>
                  </a:lnTo>
                  <a:lnTo>
                    <a:pt x="18" y="30"/>
                  </a:lnTo>
                  <a:lnTo>
                    <a:pt x="18" y="32"/>
                  </a:lnTo>
                  <a:lnTo>
                    <a:pt x="18" y="34"/>
                  </a:lnTo>
                  <a:lnTo>
                    <a:pt x="16" y="36"/>
                  </a:lnTo>
                  <a:lnTo>
                    <a:pt x="12" y="38"/>
                  </a:lnTo>
                  <a:lnTo>
                    <a:pt x="10" y="38"/>
                  </a:lnTo>
                  <a:lnTo>
                    <a:pt x="10" y="38"/>
                  </a:lnTo>
                  <a:lnTo>
                    <a:pt x="10" y="42"/>
                  </a:lnTo>
                  <a:lnTo>
                    <a:pt x="6" y="46"/>
                  </a:lnTo>
                  <a:lnTo>
                    <a:pt x="8" y="50"/>
                  </a:lnTo>
                  <a:lnTo>
                    <a:pt x="8" y="52"/>
                  </a:lnTo>
                  <a:lnTo>
                    <a:pt x="8" y="56"/>
                  </a:lnTo>
                  <a:lnTo>
                    <a:pt x="4" y="62"/>
                  </a:lnTo>
                  <a:lnTo>
                    <a:pt x="0" y="66"/>
                  </a:lnTo>
                  <a:lnTo>
                    <a:pt x="10" y="68"/>
                  </a:lnTo>
                  <a:lnTo>
                    <a:pt x="12" y="72"/>
                  </a:lnTo>
                  <a:lnTo>
                    <a:pt x="14" y="76"/>
                  </a:lnTo>
                  <a:lnTo>
                    <a:pt x="16" y="82"/>
                  </a:lnTo>
                  <a:lnTo>
                    <a:pt x="18" y="84"/>
                  </a:lnTo>
                  <a:lnTo>
                    <a:pt x="20" y="84"/>
                  </a:lnTo>
                  <a:lnTo>
                    <a:pt x="22" y="84"/>
                  </a:lnTo>
                  <a:lnTo>
                    <a:pt x="20" y="88"/>
                  </a:lnTo>
                  <a:lnTo>
                    <a:pt x="20" y="90"/>
                  </a:lnTo>
                  <a:lnTo>
                    <a:pt x="18" y="94"/>
                  </a:lnTo>
                  <a:lnTo>
                    <a:pt x="16" y="96"/>
                  </a:lnTo>
                  <a:lnTo>
                    <a:pt x="18" y="100"/>
                  </a:lnTo>
                  <a:lnTo>
                    <a:pt x="16" y="104"/>
                  </a:lnTo>
                  <a:lnTo>
                    <a:pt x="18" y="104"/>
                  </a:lnTo>
                  <a:lnTo>
                    <a:pt x="18" y="10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4" name="Freeform 488">
              <a:extLst>
                <a:ext uri="{FF2B5EF4-FFF2-40B4-BE49-F238E27FC236}">
                  <a16:creationId xmlns:a16="http://schemas.microsoft.com/office/drawing/2014/main" id="{3DF3E664-FA19-406F-909B-0FE01A5D36FD}"/>
                </a:ext>
              </a:extLst>
            </p:cNvPr>
            <p:cNvSpPr>
              <a:spLocks/>
            </p:cNvSpPr>
            <p:nvPr/>
          </p:nvSpPr>
          <p:spPr bwMode="auto">
            <a:xfrm>
              <a:off x="2759636" y="4485546"/>
              <a:ext cx="41434" cy="36255"/>
            </a:xfrm>
            <a:custGeom>
              <a:avLst/>
              <a:gdLst/>
              <a:ahLst/>
              <a:cxnLst>
                <a:cxn ang="0">
                  <a:pos x="18" y="28"/>
                </a:cxn>
                <a:cxn ang="0">
                  <a:pos x="18" y="28"/>
                </a:cxn>
                <a:cxn ang="0">
                  <a:pos x="18" y="24"/>
                </a:cxn>
                <a:cxn ang="0">
                  <a:pos x="24" y="24"/>
                </a:cxn>
                <a:cxn ang="0">
                  <a:pos x="28" y="22"/>
                </a:cxn>
                <a:cxn ang="0">
                  <a:pos x="30" y="20"/>
                </a:cxn>
                <a:cxn ang="0">
                  <a:pos x="30" y="18"/>
                </a:cxn>
                <a:cxn ang="0">
                  <a:pos x="30" y="14"/>
                </a:cxn>
                <a:cxn ang="0">
                  <a:pos x="28" y="12"/>
                </a:cxn>
                <a:cxn ang="0">
                  <a:pos x="28" y="10"/>
                </a:cxn>
                <a:cxn ang="0">
                  <a:pos x="32" y="8"/>
                </a:cxn>
                <a:cxn ang="0">
                  <a:pos x="32" y="4"/>
                </a:cxn>
                <a:cxn ang="0">
                  <a:pos x="32" y="0"/>
                </a:cxn>
                <a:cxn ang="0">
                  <a:pos x="20" y="0"/>
                </a:cxn>
                <a:cxn ang="0">
                  <a:pos x="10" y="0"/>
                </a:cxn>
                <a:cxn ang="0">
                  <a:pos x="6" y="4"/>
                </a:cxn>
                <a:cxn ang="0">
                  <a:pos x="0" y="6"/>
                </a:cxn>
                <a:cxn ang="0">
                  <a:pos x="0" y="8"/>
                </a:cxn>
                <a:cxn ang="0">
                  <a:pos x="2" y="12"/>
                </a:cxn>
                <a:cxn ang="0">
                  <a:pos x="10" y="16"/>
                </a:cxn>
                <a:cxn ang="0">
                  <a:pos x="10" y="24"/>
                </a:cxn>
                <a:cxn ang="0">
                  <a:pos x="12" y="24"/>
                </a:cxn>
                <a:cxn ang="0">
                  <a:pos x="14" y="26"/>
                </a:cxn>
                <a:cxn ang="0">
                  <a:pos x="16" y="28"/>
                </a:cxn>
                <a:cxn ang="0">
                  <a:pos x="18" y="28"/>
                </a:cxn>
                <a:cxn ang="0">
                  <a:pos x="18" y="28"/>
                </a:cxn>
              </a:cxnLst>
              <a:rect l="0" t="0" r="r" b="b"/>
              <a:pathLst>
                <a:path w="32" h="28">
                  <a:moveTo>
                    <a:pt x="18" y="28"/>
                  </a:moveTo>
                  <a:lnTo>
                    <a:pt x="18" y="28"/>
                  </a:lnTo>
                  <a:lnTo>
                    <a:pt x="18" y="24"/>
                  </a:lnTo>
                  <a:lnTo>
                    <a:pt x="24" y="24"/>
                  </a:lnTo>
                  <a:lnTo>
                    <a:pt x="28" y="22"/>
                  </a:lnTo>
                  <a:lnTo>
                    <a:pt x="30" y="20"/>
                  </a:lnTo>
                  <a:lnTo>
                    <a:pt x="30" y="18"/>
                  </a:lnTo>
                  <a:lnTo>
                    <a:pt x="30" y="14"/>
                  </a:lnTo>
                  <a:lnTo>
                    <a:pt x="28" y="12"/>
                  </a:lnTo>
                  <a:lnTo>
                    <a:pt x="28" y="10"/>
                  </a:lnTo>
                  <a:lnTo>
                    <a:pt x="32" y="8"/>
                  </a:lnTo>
                  <a:lnTo>
                    <a:pt x="32" y="4"/>
                  </a:lnTo>
                  <a:lnTo>
                    <a:pt x="32" y="0"/>
                  </a:lnTo>
                  <a:lnTo>
                    <a:pt x="20" y="0"/>
                  </a:lnTo>
                  <a:lnTo>
                    <a:pt x="10" y="0"/>
                  </a:lnTo>
                  <a:lnTo>
                    <a:pt x="6" y="4"/>
                  </a:lnTo>
                  <a:lnTo>
                    <a:pt x="0" y="6"/>
                  </a:lnTo>
                  <a:lnTo>
                    <a:pt x="0" y="8"/>
                  </a:lnTo>
                  <a:lnTo>
                    <a:pt x="2" y="12"/>
                  </a:lnTo>
                  <a:lnTo>
                    <a:pt x="10" y="16"/>
                  </a:lnTo>
                  <a:lnTo>
                    <a:pt x="10" y="24"/>
                  </a:lnTo>
                  <a:lnTo>
                    <a:pt x="12" y="24"/>
                  </a:lnTo>
                  <a:lnTo>
                    <a:pt x="14" y="26"/>
                  </a:lnTo>
                  <a:lnTo>
                    <a:pt x="16" y="28"/>
                  </a:lnTo>
                  <a:lnTo>
                    <a:pt x="18" y="28"/>
                  </a:lnTo>
                  <a:lnTo>
                    <a:pt x="18" y="2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5" name="Freeform 489">
              <a:extLst>
                <a:ext uri="{FF2B5EF4-FFF2-40B4-BE49-F238E27FC236}">
                  <a16:creationId xmlns:a16="http://schemas.microsoft.com/office/drawing/2014/main" id="{D52EBA81-CEA3-48FD-BB94-496F49B379C2}"/>
                </a:ext>
              </a:extLst>
            </p:cNvPr>
            <p:cNvSpPr>
              <a:spLocks/>
            </p:cNvSpPr>
            <p:nvPr/>
          </p:nvSpPr>
          <p:spPr bwMode="auto">
            <a:xfrm>
              <a:off x="2782943" y="4485546"/>
              <a:ext cx="124301" cy="111353"/>
            </a:xfrm>
            <a:custGeom>
              <a:avLst/>
              <a:gdLst/>
              <a:ahLst/>
              <a:cxnLst>
                <a:cxn ang="0">
                  <a:pos x="20" y="60"/>
                </a:cxn>
                <a:cxn ang="0">
                  <a:pos x="24" y="60"/>
                </a:cxn>
                <a:cxn ang="0">
                  <a:pos x="26" y="56"/>
                </a:cxn>
                <a:cxn ang="0">
                  <a:pos x="30" y="52"/>
                </a:cxn>
                <a:cxn ang="0">
                  <a:pos x="32" y="42"/>
                </a:cxn>
                <a:cxn ang="0">
                  <a:pos x="40" y="44"/>
                </a:cxn>
                <a:cxn ang="0">
                  <a:pos x="46" y="44"/>
                </a:cxn>
                <a:cxn ang="0">
                  <a:pos x="52" y="46"/>
                </a:cxn>
                <a:cxn ang="0">
                  <a:pos x="52" y="54"/>
                </a:cxn>
                <a:cxn ang="0">
                  <a:pos x="54" y="56"/>
                </a:cxn>
                <a:cxn ang="0">
                  <a:pos x="58" y="64"/>
                </a:cxn>
                <a:cxn ang="0">
                  <a:pos x="56" y="70"/>
                </a:cxn>
                <a:cxn ang="0">
                  <a:pos x="64" y="70"/>
                </a:cxn>
                <a:cxn ang="0">
                  <a:pos x="70" y="68"/>
                </a:cxn>
                <a:cxn ang="0">
                  <a:pos x="74" y="74"/>
                </a:cxn>
                <a:cxn ang="0">
                  <a:pos x="72" y="80"/>
                </a:cxn>
                <a:cxn ang="0">
                  <a:pos x="74" y="86"/>
                </a:cxn>
                <a:cxn ang="0">
                  <a:pos x="82" y="76"/>
                </a:cxn>
                <a:cxn ang="0">
                  <a:pos x="84" y="80"/>
                </a:cxn>
                <a:cxn ang="0">
                  <a:pos x="88" y="72"/>
                </a:cxn>
                <a:cxn ang="0">
                  <a:pos x="90" y="70"/>
                </a:cxn>
                <a:cxn ang="0">
                  <a:pos x="96" y="68"/>
                </a:cxn>
                <a:cxn ang="0">
                  <a:pos x="96" y="64"/>
                </a:cxn>
                <a:cxn ang="0">
                  <a:pos x="92" y="58"/>
                </a:cxn>
                <a:cxn ang="0">
                  <a:pos x="96" y="52"/>
                </a:cxn>
                <a:cxn ang="0">
                  <a:pos x="88" y="48"/>
                </a:cxn>
                <a:cxn ang="0">
                  <a:pos x="84" y="42"/>
                </a:cxn>
                <a:cxn ang="0">
                  <a:pos x="80" y="42"/>
                </a:cxn>
                <a:cxn ang="0">
                  <a:pos x="78" y="38"/>
                </a:cxn>
                <a:cxn ang="0">
                  <a:pos x="74" y="40"/>
                </a:cxn>
                <a:cxn ang="0">
                  <a:pos x="70" y="38"/>
                </a:cxn>
                <a:cxn ang="0">
                  <a:pos x="78" y="32"/>
                </a:cxn>
                <a:cxn ang="0">
                  <a:pos x="76" y="30"/>
                </a:cxn>
                <a:cxn ang="0">
                  <a:pos x="72" y="24"/>
                </a:cxn>
                <a:cxn ang="0">
                  <a:pos x="72" y="20"/>
                </a:cxn>
                <a:cxn ang="0">
                  <a:pos x="74" y="14"/>
                </a:cxn>
                <a:cxn ang="0">
                  <a:pos x="72" y="6"/>
                </a:cxn>
                <a:cxn ang="0">
                  <a:pos x="64" y="6"/>
                </a:cxn>
                <a:cxn ang="0">
                  <a:pos x="60" y="4"/>
                </a:cxn>
                <a:cxn ang="0">
                  <a:pos x="56" y="8"/>
                </a:cxn>
                <a:cxn ang="0">
                  <a:pos x="52" y="6"/>
                </a:cxn>
                <a:cxn ang="0">
                  <a:pos x="48" y="8"/>
                </a:cxn>
                <a:cxn ang="0">
                  <a:pos x="44" y="2"/>
                </a:cxn>
                <a:cxn ang="0">
                  <a:pos x="34" y="4"/>
                </a:cxn>
                <a:cxn ang="0">
                  <a:pos x="28" y="2"/>
                </a:cxn>
                <a:cxn ang="0">
                  <a:pos x="18" y="2"/>
                </a:cxn>
                <a:cxn ang="0">
                  <a:pos x="14" y="4"/>
                </a:cxn>
                <a:cxn ang="0">
                  <a:pos x="10" y="10"/>
                </a:cxn>
                <a:cxn ang="0">
                  <a:pos x="12" y="14"/>
                </a:cxn>
                <a:cxn ang="0">
                  <a:pos x="12" y="20"/>
                </a:cxn>
                <a:cxn ang="0">
                  <a:pos x="6" y="24"/>
                </a:cxn>
                <a:cxn ang="0">
                  <a:pos x="0" y="28"/>
                </a:cxn>
                <a:cxn ang="0">
                  <a:pos x="4" y="34"/>
                </a:cxn>
                <a:cxn ang="0">
                  <a:pos x="4" y="38"/>
                </a:cxn>
                <a:cxn ang="0">
                  <a:pos x="6" y="42"/>
                </a:cxn>
                <a:cxn ang="0">
                  <a:pos x="12" y="44"/>
                </a:cxn>
                <a:cxn ang="0">
                  <a:pos x="12" y="56"/>
                </a:cxn>
                <a:cxn ang="0">
                  <a:pos x="20" y="60"/>
                </a:cxn>
              </a:cxnLst>
              <a:rect l="0" t="0" r="r" b="b"/>
              <a:pathLst>
                <a:path w="96" h="86">
                  <a:moveTo>
                    <a:pt x="20" y="60"/>
                  </a:moveTo>
                  <a:lnTo>
                    <a:pt x="20" y="60"/>
                  </a:lnTo>
                  <a:lnTo>
                    <a:pt x="22" y="62"/>
                  </a:lnTo>
                  <a:lnTo>
                    <a:pt x="24" y="60"/>
                  </a:lnTo>
                  <a:lnTo>
                    <a:pt x="24" y="58"/>
                  </a:lnTo>
                  <a:lnTo>
                    <a:pt x="26" y="56"/>
                  </a:lnTo>
                  <a:lnTo>
                    <a:pt x="28" y="54"/>
                  </a:lnTo>
                  <a:lnTo>
                    <a:pt x="30" y="52"/>
                  </a:lnTo>
                  <a:lnTo>
                    <a:pt x="30" y="46"/>
                  </a:lnTo>
                  <a:lnTo>
                    <a:pt x="32" y="42"/>
                  </a:lnTo>
                  <a:lnTo>
                    <a:pt x="34" y="42"/>
                  </a:lnTo>
                  <a:lnTo>
                    <a:pt x="40" y="44"/>
                  </a:lnTo>
                  <a:lnTo>
                    <a:pt x="44" y="44"/>
                  </a:lnTo>
                  <a:lnTo>
                    <a:pt x="46" y="44"/>
                  </a:lnTo>
                  <a:lnTo>
                    <a:pt x="48" y="44"/>
                  </a:lnTo>
                  <a:lnTo>
                    <a:pt x="52" y="46"/>
                  </a:lnTo>
                  <a:lnTo>
                    <a:pt x="52" y="52"/>
                  </a:lnTo>
                  <a:lnTo>
                    <a:pt x="52" y="54"/>
                  </a:lnTo>
                  <a:lnTo>
                    <a:pt x="54" y="54"/>
                  </a:lnTo>
                  <a:lnTo>
                    <a:pt x="54" y="56"/>
                  </a:lnTo>
                  <a:lnTo>
                    <a:pt x="54" y="58"/>
                  </a:lnTo>
                  <a:lnTo>
                    <a:pt x="58" y="64"/>
                  </a:lnTo>
                  <a:lnTo>
                    <a:pt x="56" y="68"/>
                  </a:lnTo>
                  <a:lnTo>
                    <a:pt x="56" y="70"/>
                  </a:lnTo>
                  <a:lnTo>
                    <a:pt x="62" y="70"/>
                  </a:lnTo>
                  <a:lnTo>
                    <a:pt x="64" y="70"/>
                  </a:lnTo>
                  <a:lnTo>
                    <a:pt x="68" y="70"/>
                  </a:lnTo>
                  <a:lnTo>
                    <a:pt x="70" y="68"/>
                  </a:lnTo>
                  <a:lnTo>
                    <a:pt x="70" y="66"/>
                  </a:lnTo>
                  <a:lnTo>
                    <a:pt x="74" y="74"/>
                  </a:lnTo>
                  <a:lnTo>
                    <a:pt x="74" y="76"/>
                  </a:lnTo>
                  <a:lnTo>
                    <a:pt x="72" y="80"/>
                  </a:lnTo>
                  <a:lnTo>
                    <a:pt x="70" y="84"/>
                  </a:lnTo>
                  <a:lnTo>
                    <a:pt x="74" y="86"/>
                  </a:lnTo>
                  <a:lnTo>
                    <a:pt x="80" y="78"/>
                  </a:lnTo>
                  <a:lnTo>
                    <a:pt x="82" y="76"/>
                  </a:lnTo>
                  <a:lnTo>
                    <a:pt x="84" y="78"/>
                  </a:lnTo>
                  <a:lnTo>
                    <a:pt x="84" y="80"/>
                  </a:lnTo>
                  <a:lnTo>
                    <a:pt x="88" y="76"/>
                  </a:lnTo>
                  <a:lnTo>
                    <a:pt x="88" y="72"/>
                  </a:lnTo>
                  <a:lnTo>
                    <a:pt x="88" y="70"/>
                  </a:lnTo>
                  <a:lnTo>
                    <a:pt x="90" y="70"/>
                  </a:lnTo>
                  <a:lnTo>
                    <a:pt x="94" y="68"/>
                  </a:lnTo>
                  <a:lnTo>
                    <a:pt x="96" y="68"/>
                  </a:lnTo>
                  <a:lnTo>
                    <a:pt x="96" y="66"/>
                  </a:lnTo>
                  <a:lnTo>
                    <a:pt x="96" y="64"/>
                  </a:lnTo>
                  <a:lnTo>
                    <a:pt x="92" y="60"/>
                  </a:lnTo>
                  <a:lnTo>
                    <a:pt x="92" y="58"/>
                  </a:lnTo>
                  <a:lnTo>
                    <a:pt x="94" y="56"/>
                  </a:lnTo>
                  <a:lnTo>
                    <a:pt x="96" y="52"/>
                  </a:lnTo>
                  <a:lnTo>
                    <a:pt x="92" y="50"/>
                  </a:lnTo>
                  <a:lnTo>
                    <a:pt x="88" y="48"/>
                  </a:lnTo>
                  <a:lnTo>
                    <a:pt x="86" y="44"/>
                  </a:lnTo>
                  <a:lnTo>
                    <a:pt x="84" y="42"/>
                  </a:lnTo>
                  <a:lnTo>
                    <a:pt x="82" y="42"/>
                  </a:lnTo>
                  <a:lnTo>
                    <a:pt x="80" y="42"/>
                  </a:lnTo>
                  <a:lnTo>
                    <a:pt x="78" y="40"/>
                  </a:lnTo>
                  <a:lnTo>
                    <a:pt x="78" y="38"/>
                  </a:lnTo>
                  <a:lnTo>
                    <a:pt x="76" y="38"/>
                  </a:lnTo>
                  <a:lnTo>
                    <a:pt x="74" y="40"/>
                  </a:lnTo>
                  <a:lnTo>
                    <a:pt x="72" y="38"/>
                  </a:lnTo>
                  <a:lnTo>
                    <a:pt x="70" y="38"/>
                  </a:lnTo>
                  <a:lnTo>
                    <a:pt x="82" y="32"/>
                  </a:lnTo>
                  <a:lnTo>
                    <a:pt x="78" y="32"/>
                  </a:lnTo>
                  <a:lnTo>
                    <a:pt x="76" y="32"/>
                  </a:lnTo>
                  <a:lnTo>
                    <a:pt x="76" y="30"/>
                  </a:lnTo>
                  <a:lnTo>
                    <a:pt x="74" y="26"/>
                  </a:lnTo>
                  <a:lnTo>
                    <a:pt x="72" y="24"/>
                  </a:lnTo>
                  <a:lnTo>
                    <a:pt x="72" y="22"/>
                  </a:lnTo>
                  <a:lnTo>
                    <a:pt x="72" y="20"/>
                  </a:lnTo>
                  <a:lnTo>
                    <a:pt x="74" y="18"/>
                  </a:lnTo>
                  <a:lnTo>
                    <a:pt x="74" y="14"/>
                  </a:lnTo>
                  <a:lnTo>
                    <a:pt x="72" y="8"/>
                  </a:lnTo>
                  <a:lnTo>
                    <a:pt x="72" y="6"/>
                  </a:lnTo>
                  <a:lnTo>
                    <a:pt x="66" y="6"/>
                  </a:lnTo>
                  <a:lnTo>
                    <a:pt x="64" y="6"/>
                  </a:lnTo>
                  <a:lnTo>
                    <a:pt x="62" y="6"/>
                  </a:lnTo>
                  <a:lnTo>
                    <a:pt x="60" y="4"/>
                  </a:lnTo>
                  <a:lnTo>
                    <a:pt x="58" y="6"/>
                  </a:lnTo>
                  <a:lnTo>
                    <a:pt x="56" y="8"/>
                  </a:lnTo>
                  <a:lnTo>
                    <a:pt x="54" y="8"/>
                  </a:lnTo>
                  <a:lnTo>
                    <a:pt x="52" y="6"/>
                  </a:lnTo>
                  <a:lnTo>
                    <a:pt x="48" y="6"/>
                  </a:lnTo>
                  <a:lnTo>
                    <a:pt x="48" y="8"/>
                  </a:lnTo>
                  <a:lnTo>
                    <a:pt x="44" y="8"/>
                  </a:lnTo>
                  <a:lnTo>
                    <a:pt x="44" y="2"/>
                  </a:lnTo>
                  <a:lnTo>
                    <a:pt x="38" y="4"/>
                  </a:lnTo>
                  <a:lnTo>
                    <a:pt x="34" y="4"/>
                  </a:lnTo>
                  <a:lnTo>
                    <a:pt x="32" y="4"/>
                  </a:lnTo>
                  <a:lnTo>
                    <a:pt x="28" y="2"/>
                  </a:lnTo>
                  <a:lnTo>
                    <a:pt x="24" y="2"/>
                  </a:lnTo>
                  <a:lnTo>
                    <a:pt x="18" y="2"/>
                  </a:lnTo>
                  <a:lnTo>
                    <a:pt x="14" y="0"/>
                  </a:lnTo>
                  <a:lnTo>
                    <a:pt x="14" y="4"/>
                  </a:lnTo>
                  <a:lnTo>
                    <a:pt x="14" y="8"/>
                  </a:lnTo>
                  <a:lnTo>
                    <a:pt x="10" y="10"/>
                  </a:lnTo>
                  <a:lnTo>
                    <a:pt x="10" y="12"/>
                  </a:lnTo>
                  <a:lnTo>
                    <a:pt x="12" y="14"/>
                  </a:lnTo>
                  <a:lnTo>
                    <a:pt x="12" y="18"/>
                  </a:lnTo>
                  <a:lnTo>
                    <a:pt x="12" y="20"/>
                  </a:lnTo>
                  <a:lnTo>
                    <a:pt x="10" y="22"/>
                  </a:lnTo>
                  <a:lnTo>
                    <a:pt x="6" y="24"/>
                  </a:lnTo>
                  <a:lnTo>
                    <a:pt x="0" y="24"/>
                  </a:lnTo>
                  <a:lnTo>
                    <a:pt x="0" y="28"/>
                  </a:lnTo>
                  <a:lnTo>
                    <a:pt x="0" y="30"/>
                  </a:lnTo>
                  <a:lnTo>
                    <a:pt x="4" y="34"/>
                  </a:lnTo>
                  <a:lnTo>
                    <a:pt x="4" y="36"/>
                  </a:lnTo>
                  <a:lnTo>
                    <a:pt x="4" y="38"/>
                  </a:lnTo>
                  <a:lnTo>
                    <a:pt x="6" y="40"/>
                  </a:lnTo>
                  <a:lnTo>
                    <a:pt x="6" y="42"/>
                  </a:lnTo>
                  <a:lnTo>
                    <a:pt x="10" y="44"/>
                  </a:lnTo>
                  <a:lnTo>
                    <a:pt x="12" y="44"/>
                  </a:lnTo>
                  <a:lnTo>
                    <a:pt x="12" y="52"/>
                  </a:lnTo>
                  <a:lnTo>
                    <a:pt x="12" y="56"/>
                  </a:lnTo>
                  <a:lnTo>
                    <a:pt x="14" y="58"/>
                  </a:lnTo>
                  <a:lnTo>
                    <a:pt x="20" y="60"/>
                  </a:lnTo>
                  <a:lnTo>
                    <a:pt x="20" y="6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6" name="Freeform 490">
              <a:extLst>
                <a:ext uri="{FF2B5EF4-FFF2-40B4-BE49-F238E27FC236}">
                  <a16:creationId xmlns:a16="http://schemas.microsoft.com/office/drawing/2014/main" id="{B784D522-50A8-44B3-9280-0ABEAB3E498A}"/>
                </a:ext>
              </a:extLst>
            </p:cNvPr>
            <p:cNvSpPr>
              <a:spLocks/>
            </p:cNvSpPr>
            <p:nvPr/>
          </p:nvSpPr>
          <p:spPr bwMode="auto">
            <a:xfrm>
              <a:off x="2971984" y="4506263"/>
              <a:ext cx="80278" cy="147608"/>
            </a:xfrm>
            <a:custGeom>
              <a:avLst/>
              <a:gdLst/>
              <a:ahLst/>
              <a:cxnLst>
                <a:cxn ang="0">
                  <a:pos x="62" y="96"/>
                </a:cxn>
                <a:cxn ang="0">
                  <a:pos x="54" y="80"/>
                </a:cxn>
                <a:cxn ang="0">
                  <a:pos x="52" y="76"/>
                </a:cxn>
                <a:cxn ang="0">
                  <a:pos x="56" y="58"/>
                </a:cxn>
                <a:cxn ang="0">
                  <a:pos x="50" y="50"/>
                </a:cxn>
                <a:cxn ang="0">
                  <a:pos x="50" y="44"/>
                </a:cxn>
                <a:cxn ang="0">
                  <a:pos x="52" y="38"/>
                </a:cxn>
                <a:cxn ang="0">
                  <a:pos x="50" y="36"/>
                </a:cxn>
                <a:cxn ang="0">
                  <a:pos x="52" y="28"/>
                </a:cxn>
                <a:cxn ang="0">
                  <a:pos x="50" y="16"/>
                </a:cxn>
                <a:cxn ang="0">
                  <a:pos x="46" y="12"/>
                </a:cxn>
                <a:cxn ang="0">
                  <a:pos x="46" y="0"/>
                </a:cxn>
                <a:cxn ang="0">
                  <a:pos x="38" y="2"/>
                </a:cxn>
                <a:cxn ang="0">
                  <a:pos x="18" y="2"/>
                </a:cxn>
                <a:cxn ang="0">
                  <a:pos x="14" y="8"/>
                </a:cxn>
                <a:cxn ang="0">
                  <a:pos x="16" y="18"/>
                </a:cxn>
                <a:cxn ang="0">
                  <a:pos x="14" y="30"/>
                </a:cxn>
                <a:cxn ang="0">
                  <a:pos x="14" y="38"/>
                </a:cxn>
                <a:cxn ang="0">
                  <a:pos x="18" y="42"/>
                </a:cxn>
                <a:cxn ang="0">
                  <a:pos x="14" y="56"/>
                </a:cxn>
                <a:cxn ang="0">
                  <a:pos x="8" y="72"/>
                </a:cxn>
                <a:cxn ang="0">
                  <a:pos x="2" y="92"/>
                </a:cxn>
                <a:cxn ang="0">
                  <a:pos x="4" y="102"/>
                </a:cxn>
                <a:cxn ang="0">
                  <a:pos x="0" y="114"/>
                </a:cxn>
                <a:cxn ang="0">
                  <a:pos x="10" y="114"/>
                </a:cxn>
                <a:cxn ang="0">
                  <a:pos x="18" y="108"/>
                </a:cxn>
                <a:cxn ang="0">
                  <a:pos x="32" y="104"/>
                </a:cxn>
                <a:cxn ang="0">
                  <a:pos x="44" y="102"/>
                </a:cxn>
                <a:cxn ang="0">
                  <a:pos x="56" y="100"/>
                </a:cxn>
                <a:cxn ang="0">
                  <a:pos x="52" y="92"/>
                </a:cxn>
                <a:cxn ang="0">
                  <a:pos x="58" y="96"/>
                </a:cxn>
                <a:cxn ang="0">
                  <a:pos x="62" y="96"/>
                </a:cxn>
              </a:cxnLst>
              <a:rect l="0" t="0" r="r" b="b"/>
              <a:pathLst>
                <a:path w="62" h="114">
                  <a:moveTo>
                    <a:pt x="62" y="96"/>
                  </a:moveTo>
                  <a:lnTo>
                    <a:pt x="62" y="96"/>
                  </a:lnTo>
                  <a:lnTo>
                    <a:pt x="54" y="82"/>
                  </a:lnTo>
                  <a:lnTo>
                    <a:pt x="54" y="80"/>
                  </a:lnTo>
                  <a:lnTo>
                    <a:pt x="54" y="78"/>
                  </a:lnTo>
                  <a:lnTo>
                    <a:pt x="52" y="76"/>
                  </a:lnTo>
                  <a:lnTo>
                    <a:pt x="54" y="72"/>
                  </a:lnTo>
                  <a:lnTo>
                    <a:pt x="56" y="58"/>
                  </a:lnTo>
                  <a:lnTo>
                    <a:pt x="54" y="54"/>
                  </a:lnTo>
                  <a:lnTo>
                    <a:pt x="50" y="50"/>
                  </a:lnTo>
                  <a:lnTo>
                    <a:pt x="50" y="46"/>
                  </a:lnTo>
                  <a:lnTo>
                    <a:pt x="50" y="44"/>
                  </a:lnTo>
                  <a:lnTo>
                    <a:pt x="52" y="40"/>
                  </a:lnTo>
                  <a:lnTo>
                    <a:pt x="52" y="38"/>
                  </a:lnTo>
                  <a:lnTo>
                    <a:pt x="50" y="38"/>
                  </a:lnTo>
                  <a:lnTo>
                    <a:pt x="50" y="36"/>
                  </a:lnTo>
                  <a:lnTo>
                    <a:pt x="50" y="34"/>
                  </a:lnTo>
                  <a:lnTo>
                    <a:pt x="52" y="28"/>
                  </a:lnTo>
                  <a:lnTo>
                    <a:pt x="50" y="22"/>
                  </a:lnTo>
                  <a:lnTo>
                    <a:pt x="50" y="16"/>
                  </a:lnTo>
                  <a:lnTo>
                    <a:pt x="46" y="14"/>
                  </a:lnTo>
                  <a:lnTo>
                    <a:pt x="46" y="12"/>
                  </a:lnTo>
                  <a:lnTo>
                    <a:pt x="46" y="6"/>
                  </a:lnTo>
                  <a:lnTo>
                    <a:pt x="46" y="0"/>
                  </a:lnTo>
                  <a:lnTo>
                    <a:pt x="38" y="0"/>
                  </a:lnTo>
                  <a:lnTo>
                    <a:pt x="38" y="2"/>
                  </a:lnTo>
                  <a:lnTo>
                    <a:pt x="28" y="2"/>
                  </a:lnTo>
                  <a:lnTo>
                    <a:pt x="18" y="2"/>
                  </a:lnTo>
                  <a:lnTo>
                    <a:pt x="14" y="4"/>
                  </a:lnTo>
                  <a:lnTo>
                    <a:pt x="14" y="8"/>
                  </a:lnTo>
                  <a:lnTo>
                    <a:pt x="14" y="14"/>
                  </a:lnTo>
                  <a:lnTo>
                    <a:pt x="16" y="18"/>
                  </a:lnTo>
                  <a:lnTo>
                    <a:pt x="14" y="26"/>
                  </a:lnTo>
                  <a:lnTo>
                    <a:pt x="14" y="30"/>
                  </a:lnTo>
                  <a:lnTo>
                    <a:pt x="14" y="36"/>
                  </a:lnTo>
                  <a:lnTo>
                    <a:pt x="14" y="38"/>
                  </a:lnTo>
                  <a:lnTo>
                    <a:pt x="16" y="38"/>
                  </a:lnTo>
                  <a:lnTo>
                    <a:pt x="18" y="42"/>
                  </a:lnTo>
                  <a:lnTo>
                    <a:pt x="16" y="54"/>
                  </a:lnTo>
                  <a:lnTo>
                    <a:pt x="14" y="56"/>
                  </a:lnTo>
                  <a:lnTo>
                    <a:pt x="12" y="62"/>
                  </a:lnTo>
                  <a:lnTo>
                    <a:pt x="8" y="72"/>
                  </a:lnTo>
                  <a:lnTo>
                    <a:pt x="4" y="82"/>
                  </a:lnTo>
                  <a:lnTo>
                    <a:pt x="2" y="92"/>
                  </a:lnTo>
                  <a:lnTo>
                    <a:pt x="2" y="100"/>
                  </a:lnTo>
                  <a:lnTo>
                    <a:pt x="4" y="102"/>
                  </a:lnTo>
                  <a:lnTo>
                    <a:pt x="4" y="106"/>
                  </a:lnTo>
                  <a:lnTo>
                    <a:pt x="0" y="114"/>
                  </a:lnTo>
                  <a:lnTo>
                    <a:pt x="4" y="114"/>
                  </a:lnTo>
                  <a:lnTo>
                    <a:pt x="10" y="114"/>
                  </a:lnTo>
                  <a:lnTo>
                    <a:pt x="14" y="112"/>
                  </a:lnTo>
                  <a:lnTo>
                    <a:pt x="18" y="108"/>
                  </a:lnTo>
                  <a:lnTo>
                    <a:pt x="28" y="108"/>
                  </a:lnTo>
                  <a:lnTo>
                    <a:pt x="32" y="104"/>
                  </a:lnTo>
                  <a:lnTo>
                    <a:pt x="36" y="102"/>
                  </a:lnTo>
                  <a:lnTo>
                    <a:pt x="44" y="102"/>
                  </a:lnTo>
                  <a:lnTo>
                    <a:pt x="50" y="100"/>
                  </a:lnTo>
                  <a:lnTo>
                    <a:pt x="56" y="100"/>
                  </a:lnTo>
                  <a:lnTo>
                    <a:pt x="56" y="94"/>
                  </a:lnTo>
                  <a:lnTo>
                    <a:pt x="52" y="92"/>
                  </a:lnTo>
                  <a:lnTo>
                    <a:pt x="56" y="92"/>
                  </a:lnTo>
                  <a:lnTo>
                    <a:pt x="58" y="96"/>
                  </a:lnTo>
                  <a:lnTo>
                    <a:pt x="62" y="96"/>
                  </a:lnTo>
                  <a:lnTo>
                    <a:pt x="62" y="9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7" name="Freeform 491">
              <a:extLst>
                <a:ext uri="{FF2B5EF4-FFF2-40B4-BE49-F238E27FC236}">
                  <a16:creationId xmlns:a16="http://schemas.microsoft.com/office/drawing/2014/main" id="{B82F68BC-088A-446A-9BB3-476AF02F1DA2}"/>
                </a:ext>
              </a:extLst>
            </p:cNvPr>
            <p:cNvSpPr>
              <a:spLocks/>
            </p:cNvSpPr>
            <p:nvPr/>
          </p:nvSpPr>
          <p:spPr bwMode="auto">
            <a:xfrm>
              <a:off x="3184332" y="4697894"/>
              <a:ext cx="100995" cy="134660"/>
            </a:xfrm>
            <a:custGeom>
              <a:avLst/>
              <a:gdLst/>
              <a:ahLst/>
              <a:cxnLst>
                <a:cxn ang="0">
                  <a:pos x="30" y="104"/>
                </a:cxn>
                <a:cxn ang="0">
                  <a:pos x="32" y="96"/>
                </a:cxn>
                <a:cxn ang="0">
                  <a:pos x="36" y="96"/>
                </a:cxn>
                <a:cxn ang="0">
                  <a:pos x="42" y="98"/>
                </a:cxn>
                <a:cxn ang="0">
                  <a:pos x="42" y="92"/>
                </a:cxn>
                <a:cxn ang="0">
                  <a:pos x="40" y="84"/>
                </a:cxn>
                <a:cxn ang="0">
                  <a:pos x="42" y="80"/>
                </a:cxn>
                <a:cxn ang="0">
                  <a:pos x="40" y="74"/>
                </a:cxn>
                <a:cxn ang="0">
                  <a:pos x="48" y="74"/>
                </a:cxn>
                <a:cxn ang="0">
                  <a:pos x="48" y="70"/>
                </a:cxn>
                <a:cxn ang="0">
                  <a:pos x="54" y="72"/>
                </a:cxn>
                <a:cxn ang="0">
                  <a:pos x="58" y="72"/>
                </a:cxn>
                <a:cxn ang="0">
                  <a:pos x="66" y="72"/>
                </a:cxn>
                <a:cxn ang="0">
                  <a:pos x="70" y="78"/>
                </a:cxn>
                <a:cxn ang="0">
                  <a:pos x="72" y="78"/>
                </a:cxn>
                <a:cxn ang="0">
                  <a:pos x="74" y="68"/>
                </a:cxn>
                <a:cxn ang="0">
                  <a:pos x="70" y="64"/>
                </a:cxn>
                <a:cxn ang="0">
                  <a:pos x="72" y="58"/>
                </a:cxn>
                <a:cxn ang="0">
                  <a:pos x="70" y="52"/>
                </a:cxn>
                <a:cxn ang="0">
                  <a:pos x="70" y="44"/>
                </a:cxn>
                <a:cxn ang="0">
                  <a:pos x="64" y="38"/>
                </a:cxn>
                <a:cxn ang="0">
                  <a:pos x="66" y="36"/>
                </a:cxn>
                <a:cxn ang="0">
                  <a:pos x="66" y="26"/>
                </a:cxn>
                <a:cxn ang="0">
                  <a:pos x="74" y="24"/>
                </a:cxn>
                <a:cxn ang="0">
                  <a:pos x="78" y="16"/>
                </a:cxn>
                <a:cxn ang="0">
                  <a:pos x="66" y="14"/>
                </a:cxn>
                <a:cxn ang="0">
                  <a:pos x="60" y="16"/>
                </a:cxn>
                <a:cxn ang="0">
                  <a:pos x="60" y="10"/>
                </a:cxn>
                <a:cxn ang="0">
                  <a:pos x="56" y="0"/>
                </a:cxn>
                <a:cxn ang="0">
                  <a:pos x="48" y="0"/>
                </a:cxn>
                <a:cxn ang="0">
                  <a:pos x="42" y="0"/>
                </a:cxn>
                <a:cxn ang="0">
                  <a:pos x="36" y="2"/>
                </a:cxn>
                <a:cxn ang="0">
                  <a:pos x="8" y="18"/>
                </a:cxn>
                <a:cxn ang="0">
                  <a:pos x="6" y="22"/>
                </a:cxn>
                <a:cxn ang="0">
                  <a:pos x="8" y="28"/>
                </a:cxn>
                <a:cxn ang="0">
                  <a:pos x="4" y="36"/>
                </a:cxn>
                <a:cxn ang="0">
                  <a:pos x="6" y="40"/>
                </a:cxn>
                <a:cxn ang="0">
                  <a:pos x="6" y="42"/>
                </a:cxn>
                <a:cxn ang="0">
                  <a:pos x="6" y="44"/>
                </a:cxn>
                <a:cxn ang="0">
                  <a:pos x="4" y="58"/>
                </a:cxn>
                <a:cxn ang="0">
                  <a:pos x="0" y="62"/>
                </a:cxn>
                <a:cxn ang="0">
                  <a:pos x="2" y="66"/>
                </a:cxn>
                <a:cxn ang="0">
                  <a:pos x="6" y="68"/>
                </a:cxn>
                <a:cxn ang="0">
                  <a:pos x="8" y="70"/>
                </a:cxn>
                <a:cxn ang="0">
                  <a:pos x="4" y="72"/>
                </a:cxn>
                <a:cxn ang="0">
                  <a:pos x="24" y="94"/>
                </a:cxn>
                <a:cxn ang="0">
                  <a:pos x="24" y="100"/>
                </a:cxn>
                <a:cxn ang="0">
                  <a:pos x="30" y="104"/>
                </a:cxn>
              </a:cxnLst>
              <a:rect l="0" t="0" r="r" b="b"/>
              <a:pathLst>
                <a:path w="78" h="104">
                  <a:moveTo>
                    <a:pt x="30" y="104"/>
                  </a:moveTo>
                  <a:lnTo>
                    <a:pt x="30" y="104"/>
                  </a:lnTo>
                  <a:lnTo>
                    <a:pt x="30" y="100"/>
                  </a:lnTo>
                  <a:lnTo>
                    <a:pt x="32" y="96"/>
                  </a:lnTo>
                  <a:lnTo>
                    <a:pt x="32" y="94"/>
                  </a:lnTo>
                  <a:lnTo>
                    <a:pt x="36" y="96"/>
                  </a:lnTo>
                  <a:lnTo>
                    <a:pt x="40" y="98"/>
                  </a:lnTo>
                  <a:lnTo>
                    <a:pt x="42" y="98"/>
                  </a:lnTo>
                  <a:lnTo>
                    <a:pt x="44" y="96"/>
                  </a:lnTo>
                  <a:lnTo>
                    <a:pt x="42" y="92"/>
                  </a:lnTo>
                  <a:lnTo>
                    <a:pt x="40" y="86"/>
                  </a:lnTo>
                  <a:lnTo>
                    <a:pt x="40" y="84"/>
                  </a:lnTo>
                  <a:lnTo>
                    <a:pt x="40" y="82"/>
                  </a:lnTo>
                  <a:lnTo>
                    <a:pt x="42" y="80"/>
                  </a:lnTo>
                  <a:lnTo>
                    <a:pt x="40" y="78"/>
                  </a:lnTo>
                  <a:lnTo>
                    <a:pt x="40" y="74"/>
                  </a:lnTo>
                  <a:lnTo>
                    <a:pt x="42" y="74"/>
                  </a:lnTo>
                  <a:lnTo>
                    <a:pt x="48" y="74"/>
                  </a:lnTo>
                  <a:lnTo>
                    <a:pt x="50" y="74"/>
                  </a:lnTo>
                  <a:lnTo>
                    <a:pt x="48" y="70"/>
                  </a:lnTo>
                  <a:lnTo>
                    <a:pt x="50" y="70"/>
                  </a:lnTo>
                  <a:lnTo>
                    <a:pt x="54" y="72"/>
                  </a:lnTo>
                  <a:lnTo>
                    <a:pt x="54" y="74"/>
                  </a:lnTo>
                  <a:lnTo>
                    <a:pt x="58" y="72"/>
                  </a:lnTo>
                  <a:lnTo>
                    <a:pt x="64" y="72"/>
                  </a:lnTo>
                  <a:lnTo>
                    <a:pt x="66" y="72"/>
                  </a:lnTo>
                  <a:lnTo>
                    <a:pt x="66" y="74"/>
                  </a:lnTo>
                  <a:lnTo>
                    <a:pt x="70" y="78"/>
                  </a:lnTo>
                  <a:lnTo>
                    <a:pt x="72" y="80"/>
                  </a:lnTo>
                  <a:lnTo>
                    <a:pt x="72" y="78"/>
                  </a:lnTo>
                  <a:lnTo>
                    <a:pt x="74" y="72"/>
                  </a:lnTo>
                  <a:lnTo>
                    <a:pt x="74" y="68"/>
                  </a:lnTo>
                  <a:lnTo>
                    <a:pt x="70" y="66"/>
                  </a:lnTo>
                  <a:lnTo>
                    <a:pt x="70" y="64"/>
                  </a:lnTo>
                  <a:lnTo>
                    <a:pt x="72" y="62"/>
                  </a:lnTo>
                  <a:lnTo>
                    <a:pt x="72" y="58"/>
                  </a:lnTo>
                  <a:lnTo>
                    <a:pt x="70" y="56"/>
                  </a:lnTo>
                  <a:lnTo>
                    <a:pt x="70" y="52"/>
                  </a:lnTo>
                  <a:lnTo>
                    <a:pt x="70" y="48"/>
                  </a:lnTo>
                  <a:lnTo>
                    <a:pt x="70" y="44"/>
                  </a:lnTo>
                  <a:lnTo>
                    <a:pt x="68" y="40"/>
                  </a:lnTo>
                  <a:lnTo>
                    <a:pt x="64" y="38"/>
                  </a:lnTo>
                  <a:lnTo>
                    <a:pt x="64" y="36"/>
                  </a:lnTo>
                  <a:lnTo>
                    <a:pt x="66" y="36"/>
                  </a:lnTo>
                  <a:lnTo>
                    <a:pt x="64" y="30"/>
                  </a:lnTo>
                  <a:lnTo>
                    <a:pt x="66" y="26"/>
                  </a:lnTo>
                  <a:lnTo>
                    <a:pt x="70" y="24"/>
                  </a:lnTo>
                  <a:lnTo>
                    <a:pt x="74" y="24"/>
                  </a:lnTo>
                  <a:lnTo>
                    <a:pt x="76" y="24"/>
                  </a:lnTo>
                  <a:lnTo>
                    <a:pt x="78" y="16"/>
                  </a:lnTo>
                  <a:lnTo>
                    <a:pt x="70" y="14"/>
                  </a:lnTo>
                  <a:lnTo>
                    <a:pt x="66" y="14"/>
                  </a:lnTo>
                  <a:lnTo>
                    <a:pt x="62" y="16"/>
                  </a:lnTo>
                  <a:lnTo>
                    <a:pt x="60" y="16"/>
                  </a:lnTo>
                  <a:lnTo>
                    <a:pt x="60" y="14"/>
                  </a:lnTo>
                  <a:lnTo>
                    <a:pt x="60" y="10"/>
                  </a:lnTo>
                  <a:lnTo>
                    <a:pt x="60" y="0"/>
                  </a:lnTo>
                  <a:lnTo>
                    <a:pt x="56" y="0"/>
                  </a:lnTo>
                  <a:lnTo>
                    <a:pt x="50" y="0"/>
                  </a:lnTo>
                  <a:lnTo>
                    <a:pt x="48" y="0"/>
                  </a:lnTo>
                  <a:lnTo>
                    <a:pt x="46" y="0"/>
                  </a:lnTo>
                  <a:lnTo>
                    <a:pt x="42" y="0"/>
                  </a:lnTo>
                  <a:lnTo>
                    <a:pt x="38" y="2"/>
                  </a:lnTo>
                  <a:lnTo>
                    <a:pt x="36" y="2"/>
                  </a:lnTo>
                  <a:lnTo>
                    <a:pt x="34" y="20"/>
                  </a:lnTo>
                  <a:lnTo>
                    <a:pt x="8" y="18"/>
                  </a:lnTo>
                  <a:lnTo>
                    <a:pt x="6" y="20"/>
                  </a:lnTo>
                  <a:lnTo>
                    <a:pt x="6" y="22"/>
                  </a:lnTo>
                  <a:lnTo>
                    <a:pt x="6" y="26"/>
                  </a:lnTo>
                  <a:lnTo>
                    <a:pt x="8" y="28"/>
                  </a:lnTo>
                  <a:lnTo>
                    <a:pt x="10" y="36"/>
                  </a:lnTo>
                  <a:lnTo>
                    <a:pt x="4" y="36"/>
                  </a:lnTo>
                  <a:lnTo>
                    <a:pt x="4" y="38"/>
                  </a:lnTo>
                  <a:lnTo>
                    <a:pt x="6" y="40"/>
                  </a:lnTo>
                  <a:lnTo>
                    <a:pt x="8" y="40"/>
                  </a:lnTo>
                  <a:lnTo>
                    <a:pt x="6" y="42"/>
                  </a:lnTo>
                  <a:lnTo>
                    <a:pt x="4" y="42"/>
                  </a:lnTo>
                  <a:lnTo>
                    <a:pt x="6" y="44"/>
                  </a:lnTo>
                  <a:lnTo>
                    <a:pt x="4" y="52"/>
                  </a:lnTo>
                  <a:lnTo>
                    <a:pt x="4" y="58"/>
                  </a:lnTo>
                  <a:lnTo>
                    <a:pt x="0" y="58"/>
                  </a:lnTo>
                  <a:lnTo>
                    <a:pt x="0" y="62"/>
                  </a:lnTo>
                  <a:lnTo>
                    <a:pt x="4" y="64"/>
                  </a:lnTo>
                  <a:lnTo>
                    <a:pt x="2" y="66"/>
                  </a:lnTo>
                  <a:lnTo>
                    <a:pt x="4" y="68"/>
                  </a:lnTo>
                  <a:lnTo>
                    <a:pt x="6" y="68"/>
                  </a:lnTo>
                  <a:lnTo>
                    <a:pt x="6" y="70"/>
                  </a:lnTo>
                  <a:lnTo>
                    <a:pt x="8" y="70"/>
                  </a:lnTo>
                  <a:lnTo>
                    <a:pt x="8" y="72"/>
                  </a:lnTo>
                  <a:lnTo>
                    <a:pt x="4" y="72"/>
                  </a:lnTo>
                  <a:lnTo>
                    <a:pt x="4" y="74"/>
                  </a:lnTo>
                  <a:lnTo>
                    <a:pt x="24" y="94"/>
                  </a:lnTo>
                  <a:lnTo>
                    <a:pt x="24" y="96"/>
                  </a:lnTo>
                  <a:lnTo>
                    <a:pt x="24" y="100"/>
                  </a:lnTo>
                  <a:lnTo>
                    <a:pt x="28" y="102"/>
                  </a:lnTo>
                  <a:lnTo>
                    <a:pt x="30" y="104"/>
                  </a:lnTo>
                  <a:lnTo>
                    <a:pt x="30" y="10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8" name="Freeform 492">
              <a:extLst>
                <a:ext uri="{FF2B5EF4-FFF2-40B4-BE49-F238E27FC236}">
                  <a16:creationId xmlns:a16="http://schemas.microsoft.com/office/drawing/2014/main" id="{B22DC174-D3F1-4CE5-AB94-C7DD34C1152B}"/>
                </a:ext>
              </a:extLst>
            </p:cNvPr>
            <p:cNvSpPr>
              <a:spLocks/>
            </p:cNvSpPr>
            <p:nvPr/>
          </p:nvSpPr>
          <p:spPr bwMode="auto">
            <a:xfrm>
              <a:off x="3583132" y="4444112"/>
              <a:ext cx="258961" cy="222706"/>
            </a:xfrm>
            <a:custGeom>
              <a:avLst/>
              <a:gdLst/>
              <a:ahLst/>
              <a:cxnLst>
                <a:cxn ang="0">
                  <a:pos x="130" y="72"/>
                </a:cxn>
                <a:cxn ang="0">
                  <a:pos x="138" y="82"/>
                </a:cxn>
                <a:cxn ang="0">
                  <a:pos x="142" y="90"/>
                </a:cxn>
                <a:cxn ang="0">
                  <a:pos x="184" y="108"/>
                </a:cxn>
                <a:cxn ang="0">
                  <a:pos x="166" y="160"/>
                </a:cxn>
                <a:cxn ang="0">
                  <a:pos x="144" y="164"/>
                </a:cxn>
                <a:cxn ang="0">
                  <a:pos x="130" y="168"/>
                </a:cxn>
                <a:cxn ang="0">
                  <a:pos x="120" y="170"/>
                </a:cxn>
                <a:cxn ang="0">
                  <a:pos x="112" y="166"/>
                </a:cxn>
                <a:cxn ang="0">
                  <a:pos x="108" y="166"/>
                </a:cxn>
                <a:cxn ang="0">
                  <a:pos x="102" y="168"/>
                </a:cxn>
                <a:cxn ang="0">
                  <a:pos x="98" y="168"/>
                </a:cxn>
                <a:cxn ang="0">
                  <a:pos x="90" y="172"/>
                </a:cxn>
                <a:cxn ang="0">
                  <a:pos x="82" y="172"/>
                </a:cxn>
                <a:cxn ang="0">
                  <a:pos x="74" y="170"/>
                </a:cxn>
                <a:cxn ang="0">
                  <a:pos x="66" y="172"/>
                </a:cxn>
                <a:cxn ang="0">
                  <a:pos x="62" y="170"/>
                </a:cxn>
                <a:cxn ang="0">
                  <a:pos x="56" y="172"/>
                </a:cxn>
                <a:cxn ang="0">
                  <a:pos x="44" y="166"/>
                </a:cxn>
                <a:cxn ang="0">
                  <a:pos x="44" y="160"/>
                </a:cxn>
                <a:cxn ang="0">
                  <a:pos x="38" y="158"/>
                </a:cxn>
                <a:cxn ang="0">
                  <a:pos x="30" y="156"/>
                </a:cxn>
                <a:cxn ang="0">
                  <a:pos x="26" y="148"/>
                </a:cxn>
                <a:cxn ang="0">
                  <a:pos x="24" y="136"/>
                </a:cxn>
                <a:cxn ang="0">
                  <a:pos x="18" y="130"/>
                </a:cxn>
                <a:cxn ang="0">
                  <a:pos x="14" y="122"/>
                </a:cxn>
                <a:cxn ang="0">
                  <a:pos x="4" y="120"/>
                </a:cxn>
                <a:cxn ang="0">
                  <a:pos x="0" y="118"/>
                </a:cxn>
                <a:cxn ang="0">
                  <a:pos x="8" y="110"/>
                </a:cxn>
                <a:cxn ang="0">
                  <a:pos x="14" y="104"/>
                </a:cxn>
                <a:cxn ang="0">
                  <a:pos x="16" y="86"/>
                </a:cxn>
                <a:cxn ang="0">
                  <a:pos x="18" y="80"/>
                </a:cxn>
                <a:cxn ang="0">
                  <a:pos x="20" y="70"/>
                </a:cxn>
                <a:cxn ang="0">
                  <a:pos x="26" y="58"/>
                </a:cxn>
                <a:cxn ang="0">
                  <a:pos x="32" y="52"/>
                </a:cxn>
                <a:cxn ang="0">
                  <a:pos x="38" y="38"/>
                </a:cxn>
                <a:cxn ang="0">
                  <a:pos x="42" y="30"/>
                </a:cxn>
                <a:cxn ang="0">
                  <a:pos x="48" y="22"/>
                </a:cxn>
                <a:cxn ang="0">
                  <a:pos x="62" y="8"/>
                </a:cxn>
                <a:cxn ang="0">
                  <a:pos x="66" y="8"/>
                </a:cxn>
                <a:cxn ang="0">
                  <a:pos x="70" y="12"/>
                </a:cxn>
                <a:cxn ang="0">
                  <a:pos x="78" y="0"/>
                </a:cxn>
                <a:cxn ang="0">
                  <a:pos x="82" y="6"/>
                </a:cxn>
                <a:cxn ang="0">
                  <a:pos x="88" y="6"/>
                </a:cxn>
                <a:cxn ang="0">
                  <a:pos x="90" y="8"/>
                </a:cxn>
                <a:cxn ang="0">
                  <a:pos x="98" y="12"/>
                </a:cxn>
                <a:cxn ang="0">
                  <a:pos x="110" y="18"/>
                </a:cxn>
                <a:cxn ang="0">
                  <a:pos x="118" y="30"/>
                </a:cxn>
                <a:cxn ang="0">
                  <a:pos x="126" y="38"/>
                </a:cxn>
                <a:cxn ang="0">
                  <a:pos x="120" y="46"/>
                </a:cxn>
                <a:cxn ang="0">
                  <a:pos x="118" y="54"/>
                </a:cxn>
                <a:cxn ang="0">
                  <a:pos x="116" y="60"/>
                </a:cxn>
                <a:cxn ang="0">
                  <a:pos x="120" y="66"/>
                </a:cxn>
                <a:cxn ang="0">
                  <a:pos x="128" y="64"/>
                </a:cxn>
                <a:cxn ang="0">
                  <a:pos x="134" y="66"/>
                </a:cxn>
              </a:cxnLst>
              <a:rect l="0" t="0" r="r" b="b"/>
              <a:pathLst>
                <a:path w="200" h="172">
                  <a:moveTo>
                    <a:pt x="134" y="66"/>
                  </a:moveTo>
                  <a:lnTo>
                    <a:pt x="130" y="72"/>
                  </a:lnTo>
                  <a:lnTo>
                    <a:pt x="136" y="78"/>
                  </a:lnTo>
                  <a:lnTo>
                    <a:pt x="138" y="82"/>
                  </a:lnTo>
                  <a:lnTo>
                    <a:pt x="140" y="86"/>
                  </a:lnTo>
                  <a:lnTo>
                    <a:pt x="142" y="90"/>
                  </a:lnTo>
                  <a:lnTo>
                    <a:pt x="148" y="94"/>
                  </a:lnTo>
                  <a:lnTo>
                    <a:pt x="184" y="108"/>
                  </a:lnTo>
                  <a:lnTo>
                    <a:pt x="200" y="108"/>
                  </a:lnTo>
                  <a:lnTo>
                    <a:pt x="166" y="160"/>
                  </a:lnTo>
                  <a:lnTo>
                    <a:pt x="150" y="160"/>
                  </a:lnTo>
                  <a:lnTo>
                    <a:pt x="144" y="164"/>
                  </a:lnTo>
                  <a:lnTo>
                    <a:pt x="134" y="164"/>
                  </a:lnTo>
                  <a:lnTo>
                    <a:pt x="130" y="168"/>
                  </a:lnTo>
                  <a:lnTo>
                    <a:pt x="124" y="168"/>
                  </a:lnTo>
                  <a:lnTo>
                    <a:pt x="120" y="170"/>
                  </a:lnTo>
                  <a:lnTo>
                    <a:pt x="116" y="168"/>
                  </a:lnTo>
                  <a:lnTo>
                    <a:pt x="112" y="166"/>
                  </a:lnTo>
                  <a:lnTo>
                    <a:pt x="112" y="164"/>
                  </a:lnTo>
                  <a:lnTo>
                    <a:pt x="108" y="166"/>
                  </a:lnTo>
                  <a:lnTo>
                    <a:pt x="106" y="168"/>
                  </a:lnTo>
                  <a:lnTo>
                    <a:pt x="102" y="168"/>
                  </a:lnTo>
                  <a:lnTo>
                    <a:pt x="100" y="168"/>
                  </a:lnTo>
                  <a:lnTo>
                    <a:pt x="98" y="168"/>
                  </a:lnTo>
                  <a:lnTo>
                    <a:pt x="98" y="172"/>
                  </a:lnTo>
                  <a:lnTo>
                    <a:pt x="90" y="172"/>
                  </a:lnTo>
                  <a:lnTo>
                    <a:pt x="86" y="172"/>
                  </a:lnTo>
                  <a:lnTo>
                    <a:pt x="82" y="172"/>
                  </a:lnTo>
                  <a:lnTo>
                    <a:pt x="78" y="170"/>
                  </a:lnTo>
                  <a:lnTo>
                    <a:pt x="74" y="170"/>
                  </a:lnTo>
                  <a:lnTo>
                    <a:pt x="70" y="170"/>
                  </a:lnTo>
                  <a:lnTo>
                    <a:pt x="66" y="172"/>
                  </a:lnTo>
                  <a:lnTo>
                    <a:pt x="64" y="170"/>
                  </a:lnTo>
                  <a:lnTo>
                    <a:pt x="62" y="170"/>
                  </a:lnTo>
                  <a:lnTo>
                    <a:pt x="60" y="170"/>
                  </a:lnTo>
                  <a:lnTo>
                    <a:pt x="56" y="172"/>
                  </a:lnTo>
                  <a:lnTo>
                    <a:pt x="46" y="170"/>
                  </a:lnTo>
                  <a:lnTo>
                    <a:pt x="44" y="166"/>
                  </a:lnTo>
                  <a:lnTo>
                    <a:pt x="44" y="162"/>
                  </a:lnTo>
                  <a:lnTo>
                    <a:pt x="44" y="160"/>
                  </a:lnTo>
                  <a:lnTo>
                    <a:pt x="42" y="158"/>
                  </a:lnTo>
                  <a:lnTo>
                    <a:pt x="38" y="158"/>
                  </a:lnTo>
                  <a:lnTo>
                    <a:pt x="32" y="156"/>
                  </a:lnTo>
                  <a:lnTo>
                    <a:pt x="30" y="156"/>
                  </a:lnTo>
                  <a:lnTo>
                    <a:pt x="30" y="154"/>
                  </a:lnTo>
                  <a:lnTo>
                    <a:pt x="26" y="148"/>
                  </a:lnTo>
                  <a:lnTo>
                    <a:pt x="24" y="140"/>
                  </a:lnTo>
                  <a:lnTo>
                    <a:pt x="24" y="136"/>
                  </a:lnTo>
                  <a:lnTo>
                    <a:pt x="20" y="134"/>
                  </a:lnTo>
                  <a:lnTo>
                    <a:pt x="18" y="130"/>
                  </a:lnTo>
                  <a:lnTo>
                    <a:pt x="16" y="126"/>
                  </a:lnTo>
                  <a:lnTo>
                    <a:pt x="14" y="122"/>
                  </a:lnTo>
                  <a:lnTo>
                    <a:pt x="10" y="120"/>
                  </a:lnTo>
                  <a:lnTo>
                    <a:pt x="4" y="120"/>
                  </a:lnTo>
                  <a:lnTo>
                    <a:pt x="2" y="120"/>
                  </a:lnTo>
                  <a:lnTo>
                    <a:pt x="0" y="118"/>
                  </a:lnTo>
                  <a:lnTo>
                    <a:pt x="2" y="110"/>
                  </a:lnTo>
                  <a:lnTo>
                    <a:pt x="8" y="110"/>
                  </a:lnTo>
                  <a:lnTo>
                    <a:pt x="12" y="108"/>
                  </a:lnTo>
                  <a:lnTo>
                    <a:pt x="14" y="104"/>
                  </a:lnTo>
                  <a:lnTo>
                    <a:pt x="16" y="100"/>
                  </a:lnTo>
                  <a:lnTo>
                    <a:pt x="16" y="86"/>
                  </a:lnTo>
                  <a:lnTo>
                    <a:pt x="16" y="84"/>
                  </a:lnTo>
                  <a:lnTo>
                    <a:pt x="18" y="80"/>
                  </a:lnTo>
                  <a:lnTo>
                    <a:pt x="20" y="74"/>
                  </a:lnTo>
                  <a:lnTo>
                    <a:pt x="20" y="70"/>
                  </a:lnTo>
                  <a:lnTo>
                    <a:pt x="20" y="62"/>
                  </a:lnTo>
                  <a:lnTo>
                    <a:pt x="26" y="58"/>
                  </a:lnTo>
                  <a:lnTo>
                    <a:pt x="30" y="56"/>
                  </a:lnTo>
                  <a:lnTo>
                    <a:pt x="32" y="52"/>
                  </a:lnTo>
                  <a:lnTo>
                    <a:pt x="36" y="44"/>
                  </a:lnTo>
                  <a:lnTo>
                    <a:pt x="38" y="38"/>
                  </a:lnTo>
                  <a:lnTo>
                    <a:pt x="40" y="34"/>
                  </a:lnTo>
                  <a:lnTo>
                    <a:pt x="42" y="30"/>
                  </a:lnTo>
                  <a:lnTo>
                    <a:pt x="44" y="26"/>
                  </a:lnTo>
                  <a:lnTo>
                    <a:pt x="48" y="22"/>
                  </a:lnTo>
                  <a:lnTo>
                    <a:pt x="54" y="10"/>
                  </a:lnTo>
                  <a:lnTo>
                    <a:pt x="62" y="8"/>
                  </a:lnTo>
                  <a:lnTo>
                    <a:pt x="64" y="8"/>
                  </a:lnTo>
                  <a:lnTo>
                    <a:pt x="66" y="8"/>
                  </a:lnTo>
                  <a:lnTo>
                    <a:pt x="68" y="8"/>
                  </a:lnTo>
                  <a:lnTo>
                    <a:pt x="70" y="12"/>
                  </a:lnTo>
                  <a:lnTo>
                    <a:pt x="74" y="0"/>
                  </a:lnTo>
                  <a:lnTo>
                    <a:pt x="78" y="0"/>
                  </a:lnTo>
                  <a:lnTo>
                    <a:pt x="80" y="4"/>
                  </a:lnTo>
                  <a:lnTo>
                    <a:pt x="82" y="6"/>
                  </a:lnTo>
                  <a:lnTo>
                    <a:pt x="84" y="8"/>
                  </a:lnTo>
                  <a:lnTo>
                    <a:pt x="88" y="6"/>
                  </a:lnTo>
                  <a:lnTo>
                    <a:pt x="90" y="6"/>
                  </a:lnTo>
                  <a:lnTo>
                    <a:pt x="90" y="8"/>
                  </a:lnTo>
                  <a:lnTo>
                    <a:pt x="94" y="10"/>
                  </a:lnTo>
                  <a:lnTo>
                    <a:pt x="98" y="12"/>
                  </a:lnTo>
                  <a:lnTo>
                    <a:pt x="106" y="14"/>
                  </a:lnTo>
                  <a:lnTo>
                    <a:pt x="110" y="18"/>
                  </a:lnTo>
                  <a:lnTo>
                    <a:pt x="114" y="22"/>
                  </a:lnTo>
                  <a:lnTo>
                    <a:pt x="118" y="30"/>
                  </a:lnTo>
                  <a:lnTo>
                    <a:pt x="120" y="34"/>
                  </a:lnTo>
                  <a:lnTo>
                    <a:pt x="126" y="38"/>
                  </a:lnTo>
                  <a:lnTo>
                    <a:pt x="122" y="42"/>
                  </a:lnTo>
                  <a:lnTo>
                    <a:pt x="120" y="46"/>
                  </a:lnTo>
                  <a:lnTo>
                    <a:pt x="120" y="50"/>
                  </a:lnTo>
                  <a:lnTo>
                    <a:pt x="118" y="54"/>
                  </a:lnTo>
                  <a:lnTo>
                    <a:pt x="118" y="56"/>
                  </a:lnTo>
                  <a:lnTo>
                    <a:pt x="116" y="60"/>
                  </a:lnTo>
                  <a:lnTo>
                    <a:pt x="116" y="62"/>
                  </a:lnTo>
                  <a:lnTo>
                    <a:pt x="120" y="66"/>
                  </a:lnTo>
                  <a:lnTo>
                    <a:pt x="124" y="66"/>
                  </a:lnTo>
                  <a:lnTo>
                    <a:pt x="128" y="64"/>
                  </a:lnTo>
                  <a:lnTo>
                    <a:pt x="134" y="66"/>
                  </a:lnTo>
                  <a:lnTo>
                    <a:pt x="134" y="6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29" name="Freeform 493">
              <a:extLst>
                <a:ext uri="{FF2B5EF4-FFF2-40B4-BE49-F238E27FC236}">
                  <a16:creationId xmlns:a16="http://schemas.microsoft.com/office/drawing/2014/main" id="{EB919045-EC77-4409-99C5-7E2975A1085A}"/>
                </a:ext>
              </a:extLst>
            </p:cNvPr>
            <p:cNvSpPr>
              <a:spLocks/>
            </p:cNvSpPr>
            <p:nvPr/>
          </p:nvSpPr>
          <p:spPr bwMode="auto">
            <a:xfrm>
              <a:off x="3653051" y="4371603"/>
              <a:ext cx="106174" cy="121712"/>
            </a:xfrm>
            <a:custGeom>
              <a:avLst/>
              <a:gdLst/>
              <a:ahLst/>
              <a:cxnLst>
                <a:cxn ang="0">
                  <a:pos x="22" y="6"/>
                </a:cxn>
                <a:cxn ang="0">
                  <a:pos x="12" y="4"/>
                </a:cxn>
                <a:cxn ang="0">
                  <a:pos x="10" y="10"/>
                </a:cxn>
                <a:cxn ang="0">
                  <a:pos x="6" y="12"/>
                </a:cxn>
                <a:cxn ang="0">
                  <a:pos x="6" y="18"/>
                </a:cxn>
                <a:cxn ang="0">
                  <a:pos x="4" y="30"/>
                </a:cxn>
                <a:cxn ang="0">
                  <a:pos x="0" y="40"/>
                </a:cxn>
                <a:cxn ang="0">
                  <a:pos x="0" y="50"/>
                </a:cxn>
                <a:cxn ang="0">
                  <a:pos x="0" y="66"/>
                </a:cxn>
                <a:cxn ang="0">
                  <a:pos x="10" y="62"/>
                </a:cxn>
                <a:cxn ang="0">
                  <a:pos x="14" y="64"/>
                </a:cxn>
                <a:cxn ang="0">
                  <a:pos x="18" y="56"/>
                </a:cxn>
                <a:cxn ang="0">
                  <a:pos x="24" y="56"/>
                </a:cxn>
                <a:cxn ang="0">
                  <a:pos x="28" y="62"/>
                </a:cxn>
                <a:cxn ang="0">
                  <a:pos x="34" y="62"/>
                </a:cxn>
                <a:cxn ang="0">
                  <a:pos x="36" y="64"/>
                </a:cxn>
                <a:cxn ang="0">
                  <a:pos x="44" y="68"/>
                </a:cxn>
                <a:cxn ang="0">
                  <a:pos x="56" y="74"/>
                </a:cxn>
                <a:cxn ang="0">
                  <a:pos x="64" y="84"/>
                </a:cxn>
                <a:cxn ang="0">
                  <a:pos x="72" y="92"/>
                </a:cxn>
                <a:cxn ang="0">
                  <a:pos x="78" y="94"/>
                </a:cxn>
                <a:cxn ang="0">
                  <a:pos x="82" y="86"/>
                </a:cxn>
                <a:cxn ang="0">
                  <a:pos x="74" y="82"/>
                </a:cxn>
                <a:cxn ang="0">
                  <a:pos x="72" y="74"/>
                </a:cxn>
                <a:cxn ang="0">
                  <a:pos x="62" y="70"/>
                </a:cxn>
                <a:cxn ang="0">
                  <a:pos x="58" y="58"/>
                </a:cxn>
                <a:cxn ang="0">
                  <a:pos x="50" y="56"/>
                </a:cxn>
                <a:cxn ang="0">
                  <a:pos x="46" y="50"/>
                </a:cxn>
                <a:cxn ang="0">
                  <a:pos x="44" y="46"/>
                </a:cxn>
                <a:cxn ang="0">
                  <a:pos x="40" y="44"/>
                </a:cxn>
                <a:cxn ang="0">
                  <a:pos x="36" y="42"/>
                </a:cxn>
                <a:cxn ang="0">
                  <a:pos x="32" y="22"/>
                </a:cxn>
                <a:cxn ang="0">
                  <a:pos x="34" y="16"/>
                </a:cxn>
                <a:cxn ang="0">
                  <a:pos x="32" y="4"/>
                </a:cxn>
                <a:cxn ang="0">
                  <a:pos x="26" y="0"/>
                </a:cxn>
              </a:cxnLst>
              <a:rect l="0" t="0" r="r" b="b"/>
              <a:pathLst>
                <a:path w="82" h="94">
                  <a:moveTo>
                    <a:pt x="26" y="0"/>
                  </a:moveTo>
                  <a:lnTo>
                    <a:pt x="22" y="6"/>
                  </a:lnTo>
                  <a:lnTo>
                    <a:pt x="14" y="4"/>
                  </a:lnTo>
                  <a:lnTo>
                    <a:pt x="12" y="4"/>
                  </a:lnTo>
                  <a:lnTo>
                    <a:pt x="10" y="6"/>
                  </a:lnTo>
                  <a:lnTo>
                    <a:pt x="10" y="10"/>
                  </a:lnTo>
                  <a:lnTo>
                    <a:pt x="8" y="12"/>
                  </a:lnTo>
                  <a:lnTo>
                    <a:pt x="6" y="12"/>
                  </a:lnTo>
                  <a:lnTo>
                    <a:pt x="6" y="14"/>
                  </a:lnTo>
                  <a:lnTo>
                    <a:pt x="6" y="18"/>
                  </a:lnTo>
                  <a:lnTo>
                    <a:pt x="4" y="24"/>
                  </a:lnTo>
                  <a:lnTo>
                    <a:pt x="4" y="30"/>
                  </a:lnTo>
                  <a:lnTo>
                    <a:pt x="4" y="36"/>
                  </a:lnTo>
                  <a:lnTo>
                    <a:pt x="0" y="40"/>
                  </a:lnTo>
                  <a:lnTo>
                    <a:pt x="0" y="46"/>
                  </a:lnTo>
                  <a:lnTo>
                    <a:pt x="0" y="50"/>
                  </a:lnTo>
                  <a:lnTo>
                    <a:pt x="0" y="60"/>
                  </a:lnTo>
                  <a:lnTo>
                    <a:pt x="0" y="66"/>
                  </a:lnTo>
                  <a:lnTo>
                    <a:pt x="8" y="64"/>
                  </a:lnTo>
                  <a:lnTo>
                    <a:pt x="10" y="62"/>
                  </a:lnTo>
                  <a:lnTo>
                    <a:pt x="12" y="62"/>
                  </a:lnTo>
                  <a:lnTo>
                    <a:pt x="14" y="64"/>
                  </a:lnTo>
                  <a:lnTo>
                    <a:pt x="16" y="68"/>
                  </a:lnTo>
                  <a:lnTo>
                    <a:pt x="18" y="56"/>
                  </a:lnTo>
                  <a:lnTo>
                    <a:pt x="20" y="54"/>
                  </a:lnTo>
                  <a:lnTo>
                    <a:pt x="24" y="56"/>
                  </a:lnTo>
                  <a:lnTo>
                    <a:pt x="28" y="60"/>
                  </a:lnTo>
                  <a:lnTo>
                    <a:pt x="28" y="62"/>
                  </a:lnTo>
                  <a:lnTo>
                    <a:pt x="32" y="64"/>
                  </a:lnTo>
                  <a:lnTo>
                    <a:pt x="34" y="62"/>
                  </a:lnTo>
                  <a:lnTo>
                    <a:pt x="36" y="62"/>
                  </a:lnTo>
                  <a:lnTo>
                    <a:pt x="36" y="64"/>
                  </a:lnTo>
                  <a:lnTo>
                    <a:pt x="40" y="66"/>
                  </a:lnTo>
                  <a:lnTo>
                    <a:pt x="44" y="68"/>
                  </a:lnTo>
                  <a:lnTo>
                    <a:pt x="52" y="70"/>
                  </a:lnTo>
                  <a:lnTo>
                    <a:pt x="56" y="74"/>
                  </a:lnTo>
                  <a:lnTo>
                    <a:pt x="60" y="80"/>
                  </a:lnTo>
                  <a:lnTo>
                    <a:pt x="64" y="84"/>
                  </a:lnTo>
                  <a:lnTo>
                    <a:pt x="66" y="88"/>
                  </a:lnTo>
                  <a:lnTo>
                    <a:pt x="72" y="92"/>
                  </a:lnTo>
                  <a:lnTo>
                    <a:pt x="74" y="90"/>
                  </a:lnTo>
                  <a:lnTo>
                    <a:pt x="78" y="94"/>
                  </a:lnTo>
                  <a:lnTo>
                    <a:pt x="82" y="88"/>
                  </a:lnTo>
                  <a:lnTo>
                    <a:pt x="82" y="86"/>
                  </a:lnTo>
                  <a:lnTo>
                    <a:pt x="76" y="82"/>
                  </a:lnTo>
                  <a:lnTo>
                    <a:pt x="74" y="82"/>
                  </a:lnTo>
                  <a:lnTo>
                    <a:pt x="72" y="80"/>
                  </a:lnTo>
                  <a:lnTo>
                    <a:pt x="72" y="74"/>
                  </a:lnTo>
                  <a:lnTo>
                    <a:pt x="68" y="72"/>
                  </a:lnTo>
                  <a:lnTo>
                    <a:pt x="62" y="70"/>
                  </a:lnTo>
                  <a:lnTo>
                    <a:pt x="60" y="64"/>
                  </a:lnTo>
                  <a:lnTo>
                    <a:pt x="58" y="58"/>
                  </a:lnTo>
                  <a:lnTo>
                    <a:pt x="56" y="56"/>
                  </a:lnTo>
                  <a:lnTo>
                    <a:pt x="50" y="56"/>
                  </a:lnTo>
                  <a:lnTo>
                    <a:pt x="50" y="50"/>
                  </a:lnTo>
                  <a:lnTo>
                    <a:pt x="46" y="50"/>
                  </a:lnTo>
                  <a:lnTo>
                    <a:pt x="44" y="50"/>
                  </a:lnTo>
                  <a:lnTo>
                    <a:pt x="44" y="46"/>
                  </a:lnTo>
                  <a:lnTo>
                    <a:pt x="42" y="44"/>
                  </a:lnTo>
                  <a:lnTo>
                    <a:pt x="40" y="44"/>
                  </a:lnTo>
                  <a:lnTo>
                    <a:pt x="40" y="46"/>
                  </a:lnTo>
                  <a:lnTo>
                    <a:pt x="36" y="42"/>
                  </a:lnTo>
                  <a:lnTo>
                    <a:pt x="36" y="36"/>
                  </a:lnTo>
                  <a:lnTo>
                    <a:pt x="32" y="22"/>
                  </a:lnTo>
                  <a:lnTo>
                    <a:pt x="32" y="18"/>
                  </a:lnTo>
                  <a:lnTo>
                    <a:pt x="34" y="16"/>
                  </a:lnTo>
                  <a:lnTo>
                    <a:pt x="32" y="10"/>
                  </a:lnTo>
                  <a:lnTo>
                    <a:pt x="32" y="4"/>
                  </a:lnTo>
                  <a:lnTo>
                    <a:pt x="28" y="2"/>
                  </a:lnTo>
                  <a:lnTo>
                    <a:pt x="26" y="0"/>
                  </a:lnTo>
                  <a:lnTo>
                    <a:pt x="26"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0" name="Freeform 494">
              <a:extLst>
                <a:ext uri="{FF2B5EF4-FFF2-40B4-BE49-F238E27FC236}">
                  <a16:creationId xmlns:a16="http://schemas.microsoft.com/office/drawing/2014/main" id="{A5BA3D4A-061F-43DA-A268-55CE000BAB4D}"/>
                </a:ext>
              </a:extLst>
            </p:cNvPr>
            <p:cNvSpPr>
              <a:spLocks/>
            </p:cNvSpPr>
            <p:nvPr/>
          </p:nvSpPr>
          <p:spPr bwMode="auto">
            <a:xfrm>
              <a:off x="3194691" y="4700484"/>
              <a:ext cx="36255" cy="23306"/>
            </a:xfrm>
            <a:custGeom>
              <a:avLst/>
              <a:gdLst/>
              <a:ahLst/>
              <a:cxnLst>
                <a:cxn ang="0">
                  <a:pos x="4" y="0"/>
                </a:cxn>
                <a:cxn ang="0">
                  <a:pos x="4" y="0"/>
                </a:cxn>
                <a:cxn ang="0">
                  <a:pos x="4" y="4"/>
                </a:cxn>
                <a:cxn ang="0">
                  <a:pos x="2" y="4"/>
                </a:cxn>
                <a:cxn ang="0">
                  <a:pos x="2" y="8"/>
                </a:cxn>
                <a:cxn ang="0">
                  <a:pos x="2" y="14"/>
                </a:cxn>
                <a:cxn ang="0">
                  <a:pos x="0" y="18"/>
                </a:cxn>
                <a:cxn ang="0">
                  <a:pos x="26" y="18"/>
                </a:cxn>
                <a:cxn ang="0">
                  <a:pos x="28" y="0"/>
                </a:cxn>
                <a:cxn ang="0">
                  <a:pos x="4" y="0"/>
                </a:cxn>
                <a:cxn ang="0">
                  <a:pos x="4" y="0"/>
                </a:cxn>
              </a:cxnLst>
              <a:rect l="0" t="0" r="r" b="b"/>
              <a:pathLst>
                <a:path w="28" h="18">
                  <a:moveTo>
                    <a:pt x="4" y="0"/>
                  </a:moveTo>
                  <a:lnTo>
                    <a:pt x="4" y="0"/>
                  </a:lnTo>
                  <a:lnTo>
                    <a:pt x="4" y="4"/>
                  </a:lnTo>
                  <a:lnTo>
                    <a:pt x="2" y="4"/>
                  </a:lnTo>
                  <a:lnTo>
                    <a:pt x="2" y="8"/>
                  </a:lnTo>
                  <a:lnTo>
                    <a:pt x="2" y="14"/>
                  </a:lnTo>
                  <a:lnTo>
                    <a:pt x="0" y="18"/>
                  </a:lnTo>
                  <a:lnTo>
                    <a:pt x="26" y="18"/>
                  </a:lnTo>
                  <a:lnTo>
                    <a:pt x="28" y="0"/>
                  </a:lnTo>
                  <a:lnTo>
                    <a:pt x="4" y="0"/>
                  </a:lnTo>
                  <a:lnTo>
                    <a:pt x="4"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1" name="Freeform 495">
              <a:extLst>
                <a:ext uri="{FF2B5EF4-FFF2-40B4-BE49-F238E27FC236}">
                  <a16:creationId xmlns:a16="http://schemas.microsoft.com/office/drawing/2014/main" id="{5020189C-C65D-40D1-BC41-909AF0D2B7D7}"/>
                </a:ext>
              </a:extLst>
            </p:cNvPr>
            <p:cNvSpPr>
              <a:spLocks/>
            </p:cNvSpPr>
            <p:nvPr/>
          </p:nvSpPr>
          <p:spPr bwMode="auto">
            <a:xfrm>
              <a:off x="3220587" y="4671998"/>
              <a:ext cx="126891" cy="173504"/>
            </a:xfrm>
            <a:custGeom>
              <a:avLst/>
              <a:gdLst/>
              <a:ahLst/>
              <a:cxnLst>
                <a:cxn ang="0">
                  <a:pos x="12" y="132"/>
                </a:cxn>
                <a:cxn ang="0">
                  <a:pos x="18" y="130"/>
                </a:cxn>
                <a:cxn ang="0">
                  <a:pos x="24" y="128"/>
                </a:cxn>
                <a:cxn ang="0">
                  <a:pos x="30" y="130"/>
                </a:cxn>
                <a:cxn ang="0">
                  <a:pos x="38" y="130"/>
                </a:cxn>
                <a:cxn ang="0">
                  <a:pos x="40" y="122"/>
                </a:cxn>
                <a:cxn ang="0">
                  <a:pos x="48" y="122"/>
                </a:cxn>
                <a:cxn ang="0">
                  <a:pos x="54" y="134"/>
                </a:cxn>
                <a:cxn ang="0">
                  <a:pos x="68" y="122"/>
                </a:cxn>
                <a:cxn ang="0">
                  <a:pos x="74" y="106"/>
                </a:cxn>
                <a:cxn ang="0">
                  <a:pos x="76" y="92"/>
                </a:cxn>
                <a:cxn ang="0">
                  <a:pos x="82" y="78"/>
                </a:cxn>
                <a:cxn ang="0">
                  <a:pos x="84" y="66"/>
                </a:cxn>
                <a:cxn ang="0">
                  <a:pos x="90" y="46"/>
                </a:cxn>
                <a:cxn ang="0">
                  <a:pos x="90" y="28"/>
                </a:cxn>
                <a:cxn ang="0">
                  <a:pos x="96" y="16"/>
                </a:cxn>
                <a:cxn ang="0">
                  <a:pos x="88" y="4"/>
                </a:cxn>
                <a:cxn ang="0">
                  <a:pos x="78" y="4"/>
                </a:cxn>
                <a:cxn ang="0">
                  <a:pos x="74" y="12"/>
                </a:cxn>
                <a:cxn ang="0">
                  <a:pos x="68" y="20"/>
                </a:cxn>
                <a:cxn ang="0">
                  <a:pos x="56" y="24"/>
                </a:cxn>
                <a:cxn ang="0">
                  <a:pos x="48" y="20"/>
                </a:cxn>
                <a:cxn ang="0">
                  <a:pos x="32" y="28"/>
                </a:cxn>
                <a:cxn ang="0">
                  <a:pos x="34" y="34"/>
                </a:cxn>
                <a:cxn ang="0">
                  <a:pos x="48" y="34"/>
                </a:cxn>
                <a:cxn ang="0">
                  <a:pos x="42" y="44"/>
                </a:cxn>
                <a:cxn ang="0">
                  <a:pos x="38" y="56"/>
                </a:cxn>
                <a:cxn ang="0">
                  <a:pos x="40" y="60"/>
                </a:cxn>
                <a:cxn ang="0">
                  <a:pos x="42" y="72"/>
                </a:cxn>
                <a:cxn ang="0">
                  <a:pos x="44" y="80"/>
                </a:cxn>
                <a:cxn ang="0">
                  <a:pos x="46" y="86"/>
                </a:cxn>
                <a:cxn ang="0">
                  <a:pos x="44" y="100"/>
                </a:cxn>
                <a:cxn ang="0">
                  <a:pos x="38" y="92"/>
                </a:cxn>
                <a:cxn ang="0">
                  <a:pos x="26" y="94"/>
                </a:cxn>
                <a:cxn ang="0">
                  <a:pos x="20" y="90"/>
                </a:cxn>
                <a:cxn ang="0">
                  <a:pos x="14" y="94"/>
                </a:cxn>
                <a:cxn ang="0">
                  <a:pos x="14" y="100"/>
                </a:cxn>
                <a:cxn ang="0">
                  <a:pos x="12" y="106"/>
                </a:cxn>
                <a:cxn ang="0">
                  <a:pos x="14" y="118"/>
                </a:cxn>
                <a:cxn ang="0">
                  <a:pos x="4" y="114"/>
                </a:cxn>
                <a:cxn ang="0">
                  <a:pos x="0" y="124"/>
                </a:cxn>
                <a:cxn ang="0">
                  <a:pos x="6" y="130"/>
                </a:cxn>
                <a:cxn ang="0">
                  <a:pos x="12" y="134"/>
                </a:cxn>
              </a:cxnLst>
              <a:rect l="0" t="0" r="r" b="b"/>
              <a:pathLst>
                <a:path w="98" h="134">
                  <a:moveTo>
                    <a:pt x="12" y="134"/>
                  </a:moveTo>
                  <a:lnTo>
                    <a:pt x="12" y="134"/>
                  </a:lnTo>
                  <a:lnTo>
                    <a:pt x="12" y="132"/>
                  </a:lnTo>
                  <a:lnTo>
                    <a:pt x="16" y="132"/>
                  </a:lnTo>
                  <a:lnTo>
                    <a:pt x="20" y="132"/>
                  </a:lnTo>
                  <a:lnTo>
                    <a:pt x="18" y="130"/>
                  </a:lnTo>
                  <a:lnTo>
                    <a:pt x="20" y="128"/>
                  </a:lnTo>
                  <a:lnTo>
                    <a:pt x="22" y="128"/>
                  </a:lnTo>
                  <a:lnTo>
                    <a:pt x="24" y="128"/>
                  </a:lnTo>
                  <a:lnTo>
                    <a:pt x="26" y="130"/>
                  </a:lnTo>
                  <a:lnTo>
                    <a:pt x="28" y="130"/>
                  </a:lnTo>
                  <a:lnTo>
                    <a:pt x="30" y="130"/>
                  </a:lnTo>
                  <a:lnTo>
                    <a:pt x="32" y="128"/>
                  </a:lnTo>
                  <a:lnTo>
                    <a:pt x="34" y="128"/>
                  </a:lnTo>
                  <a:lnTo>
                    <a:pt x="38" y="130"/>
                  </a:lnTo>
                  <a:lnTo>
                    <a:pt x="40" y="128"/>
                  </a:lnTo>
                  <a:lnTo>
                    <a:pt x="40" y="126"/>
                  </a:lnTo>
                  <a:lnTo>
                    <a:pt x="40" y="122"/>
                  </a:lnTo>
                  <a:lnTo>
                    <a:pt x="44" y="124"/>
                  </a:lnTo>
                  <a:lnTo>
                    <a:pt x="48" y="124"/>
                  </a:lnTo>
                  <a:lnTo>
                    <a:pt x="48" y="122"/>
                  </a:lnTo>
                  <a:lnTo>
                    <a:pt x="48" y="132"/>
                  </a:lnTo>
                  <a:lnTo>
                    <a:pt x="50" y="134"/>
                  </a:lnTo>
                  <a:lnTo>
                    <a:pt x="54" y="134"/>
                  </a:lnTo>
                  <a:lnTo>
                    <a:pt x="62" y="132"/>
                  </a:lnTo>
                  <a:lnTo>
                    <a:pt x="68" y="126"/>
                  </a:lnTo>
                  <a:lnTo>
                    <a:pt x="68" y="122"/>
                  </a:lnTo>
                  <a:lnTo>
                    <a:pt x="72" y="116"/>
                  </a:lnTo>
                  <a:lnTo>
                    <a:pt x="72" y="110"/>
                  </a:lnTo>
                  <a:lnTo>
                    <a:pt x="74" y="106"/>
                  </a:lnTo>
                  <a:lnTo>
                    <a:pt x="74" y="102"/>
                  </a:lnTo>
                  <a:lnTo>
                    <a:pt x="74" y="96"/>
                  </a:lnTo>
                  <a:lnTo>
                    <a:pt x="76" y="92"/>
                  </a:lnTo>
                  <a:lnTo>
                    <a:pt x="78" y="86"/>
                  </a:lnTo>
                  <a:lnTo>
                    <a:pt x="78" y="80"/>
                  </a:lnTo>
                  <a:lnTo>
                    <a:pt x="82" y="78"/>
                  </a:lnTo>
                  <a:lnTo>
                    <a:pt x="82" y="78"/>
                  </a:lnTo>
                  <a:lnTo>
                    <a:pt x="84" y="72"/>
                  </a:lnTo>
                  <a:lnTo>
                    <a:pt x="84" y="66"/>
                  </a:lnTo>
                  <a:lnTo>
                    <a:pt x="88" y="60"/>
                  </a:lnTo>
                  <a:lnTo>
                    <a:pt x="90" y="54"/>
                  </a:lnTo>
                  <a:lnTo>
                    <a:pt x="90" y="46"/>
                  </a:lnTo>
                  <a:lnTo>
                    <a:pt x="90" y="40"/>
                  </a:lnTo>
                  <a:lnTo>
                    <a:pt x="90" y="34"/>
                  </a:lnTo>
                  <a:lnTo>
                    <a:pt x="90" y="28"/>
                  </a:lnTo>
                  <a:lnTo>
                    <a:pt x="92" y="24"/>
                  </a:lnTo>
                  <a:lnTo>
                    <a:pt x="92" y="20"/>
                  </a:lnTo>
                  <a:lnTo>
                    <a:pt x="96" y="16"/>
                  </a:lnTo>
                  <a:lnTo>
                    <a:pt x="98" y="10"/>
                  </a:lnTo>
                  <a:lnTo>
                    <a:pt x="98" y="0"/>
                  </a:lnTo>
                  <a:lnTo>
                    <a:pt x="88" y="4"/>
                  </a:lnTo>
                  <a:lnTo>
                    <a:pt x="86" y="4"/>
                  </a:lnTo>
                  <a:lnTo>
                    <a:pt x="82" y="2"/>
                  </a:lnTo>
                  <a:lnTo>
                    <a:pt x="78" y="4"/>
                  </a:lnTo>
                  <a:lnTo>
                    <a:pt x="78" y="8"/>
                  </a:lnTo>
                  <a:lnTo>
                    <a:pt x="76" y="10"/>
                  </a:lnTo>
                  <a:lnTo>
                    <a:pt x="74" y="12"/>
                  </a:lnTo>
                  <a:lnTo>
                    <a:pt x="72" y="12"/>
                  </a:lnTo>
                  <a:lnTo>
                    <a:pt x="70" y="14"/>
                  </a:lnTo>
                  <a:lnTo>
                    <a:pt x="68" y="20"/>
                  </a:lnTo>
                  <a:lnTo>
                    <a:pt x="70" y="26"/>
                  </a:lnTo>
                  <a:lnTo>
                    <a:pt x="64" y="24"/>
                  </a:lnTo>
                  <a:lnTo>
                    <a:pt x="56" y="24"/>
                  </a:lnTo>
                  <a:lnTo>
                    <a:pt x="52" y="24"/>
                  </a:lnTo>
                  <a:lnTo>
                    <a:pt x="50" y="22"/>
                  </a:lnTo>
                  <a:lnTo>
                    <a:pt x="48" y="20"/>
                  </a:lnTo>
                  <a:lnTo>
                    <a:pt x="42" y="20"/>
                  </a:lnTo>
                  <a:lnTo>
                    <a:pt x="32" y="20"/>
                  </a:lnTo>
                  <a:lnTo>
                    <a:pt x="32" y="28"/>
                  </a:lnTo>
                  <a:lnTo>
                    <a:pt x="32" y="32"/>
                  </a:lnTo>
                  <a:lnTo>
                    <a:pt x="32" y="34"/>
                  </a:lnTo>
                  <a:lnTo>
                    <a:pt x="34" y="34"/>
                  </a:lnTo>
                  <a:lnTo>
                    <a:pt x="38" y="32"/>
                  </a:lnTo>
                  <a:lnTo>
                    <a:pt x="42" y="32"/>
                  </a:lnTo>
                  <a:lnTo>
                    <a:pt x="48" y="34"/>
                  </a:lnTo>
                  <a:lnTo>
                    <a:pt x="48" y="44"/>
                  </a:lnTo>
                  <a:lnTo>
                    <a:pt x="46" y="44"/>
                  </a:lnTo>
                  <a:lnTo>
                    <a:pt x="42" y="44"/>
                  </a:lnTo>
                  <a:lnTo>
                    <a:pt x="38" y="46"/>
                  </a:lnTo>
                  <a:lnTo>
                    <a:pt x="36" y="50"/>
                  </a:lnTo>
                  <a:lnTo>
                    <a:pt x="38" y="56"/>
                  </a:lnTo>
                  <a:lnTo>
                    <a:pt x="36" y="56"/>
                  </a:lnTo>
                  <a:lnTo>
                    <a:pt x="36" y="58"/>
                  </a:lnTo>
                  <a:lnTo>
                    <a:pt x="40" y="60"/>
                  </a:lnTo>
                  <a:lnTo>
                    <a:pt x="42" y="64"/>
                  </a:lnTo>
                  <a:lnTo>
                    <a:pt x="42" y="68"/>
                  </a:lnTo>
                  <a:lnTo>
                    <a:pt x="42" y="72"/>
                  </a:lnTo>
                  <a:lnTo>
                    <a:pt x="42" y="76"/>
                  </a:lnTo>
                  <a:lnTo>
                    <a:pt x="44" y="78"/>
                  </a:lnTo>
                  <a:lnTo>
                    <a:pt x="44" y="80"/>
                  </a:lnTo>
                  <a:lnTo>
                    <a:pt x="42" y="82"/>
                  </a:lnTo>
                  <a:lnTo>
                    <a:pt x="42" y="84"/>
                  </a:lnTo>
                  <a:lnTo>
                    <a:pt x="46" y="86"/>
                  </a:lnTo>
                  <a:lnTo>
                    <a:pt x="46" y="92"/>
                  </a:lnTo>
                  <a:lnTo>
                    <a:pt x="44" y="98"/>
                  </a:lnTo>
                  <a:lnTo>
                    <a:pt x="44" y="100"/>
                  </a:lnTo>
                  <a:lnTo>
                    <a:pt x="42" y="98"/>
                  </a:lnTo>
                  <a:lnTo>
                    <a:pt x="38" y="94"/>
                  </a:lnTo>
                  <a:lnTo>
                    <a:pt x="38" y="92"/>
                  </a:lnTo>
                  <a:lnTo>
                    <a:pt x="36" y="92"/>
                  </a:lnTo>
                  <a:lnTo>
                    <a:pt x="30" y="92"/>
                  </a:lnTo>
                  <a:lnTo>
                    <a:pt x="26" y="94"/>
                  </a:lnTo>
                  <a:lnTo>
                    <a:pt x="26" y="92"/>
                  </a:lnTo>
                  <a:lnTo>
                    <a:pt x="22" y="90"/>
                  </a:lnTo>
                  <a:lnTo>
                    <a:pt x="20" y="90"/>
                  </a:lnTo>
                  <a:lnTo>
                    <a:pt x="22" y="94"/>
                  </a:lnTo>
                  <a:lnTo>
                    <a:pt x="20" y="94"/>
                  </a:lnTo>
                  <a:lnTo>
                    <a:pt x="14" y="94"/>
                  </a:lnTo>
                  <a:lnTo>
                    <a:pt x="12" y="94"/>
                  </a:lnTo>
                  <a:lnTo>
                    <a:pt x="12" y="98"/>
                  </a:lnTo>
                  <a:lnTo>
                    <a:pt x="14" y="100"/>
                  </a:lnTo>
                  <a:lnTo>
                    <a:pt x="12" y="102"/>
                  </a:lnTo>
                  <a:lnTo>
                    <a:pt x="12" y="104"/>
                  </a:lnTo>
                  <a:lnTo>
                    <a:pt x="12" y="106"/>
                  </a:lnTo>
                  <a:lnTo>
                    <a:pt x="14" y="112"/>
                  </a:lnTo>
                  <a:lnTo>
                    <a:pt x="16" y="116"/>
                  </a:lnTo>
                  <a:lnTo>
                    <a:pt x="14" y="118"/>
                  </a:lnTo>
                  <a:lnTo>
                    <a:pt x="12" y="118"/>
                  </a:lnTo>
                  <a:lnTo>
                    <a:pt x="8" y="116"/>
                  </a:lnTo>
                  <a:lnTo>
                    <a:pt x="4" y="114"/>
                  </a:lnTo>
                  <a:lnTo>
                    <a:pt x="2" y="116"/>
                  </a:lnTo>
                  <a:lnTo>
                    <a:pt x="0" y="120"/>
                  </a:lnTo>
                  <a:lnTo>
                    <a:pt x="0" y="124"/>
                  </a:lnTo>
                  <a:lnTo>
                    <a:pt x="2" y="126"/>
                  </a:lnTo>
                  <a:lnTo>
                    <a:pt x="6" y="128"/>
                  </a:lnTo>
                  <a:lnTo>
                    <a:pt x="6" y="130"/>
                  </a:lnTo>
                  <a:lnTo>
                    <a:pt x="8" y="130"/>
                  </a:lnTo>
                  <a:lnTo>
                    <a:pt x="8" y="134"/>
                  </a:lnTo>
                  <a:lnTo>
                    <a:pt x="12" y="134"/>
                  </a:lnTo>
                  <a:lnTo>
                    <a:pt x="12" y="1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2" name="Freeform 496">
              <a:extLst>
                <a:ext uri="{FF2B5EF4-FFF2-40B4-BE49-F238E27FC236}">
                  <a16:creationId xmlns:a16="http://schemas.microsoft.com/office/drawing/2014/main" id="{184D9D70-365B-4094-BAAE-5A07D3AB7823}"/>
                </a:ext>
              </a:extLst>
            </p:cNvPr>
            <p:cNvSpPr>
              <a:spLocks/>
            </p:cNvSpPr>
            <p:nvPr/>
          </p:nvSpPr>
          <p:spPr bwMode="auto">
            <a:xfrm>
              <a:off x="3173974" y="4470008"/>
              <a:ext cx="139839" cy="235655"/>
            </a:xfrm>
            <a:custGeom>
              <a:avLst/>
              <a:gdLst/>
              <a:ahLst/>
              <a:cxnLst>
                <a:cxn ang="0">
                  <a:pos x="0" y="142"/>
                </a:cxn>
                <a:cxn ang="0">
                  <a:pos x="2" y="146"/>
                </a:cxn>
                <a:cxn ang="0">
                  <a:pos x="8" y="146"/>
                </a:cxn>
                <a:cxn ang="0">
                  <a:pos x="10" y="152"/>
                </a:cxn>
                <a:cxn ang="0">
                  <a:pos x="16" y="154"/>
                </a:cxn>
                <a:cxn ang="0">
                  <a:pos x="22" y="166"/>
                </a:cxn>
                <a:cxn ang="0">
                  <a:pos x="44" y="178"/>
                </a:cxn>
                <a:cxn ang="0">
                  <a:pos x="50" y="176"/>
                </a:cxn>
                <a:cxn ang="0">
                  <a:pos x="56" y="176"/>
                </a:cxn>
                <a:cxn ang="0">
                  <a:pos x="64" y="176"/>
                </a:cxn>
                <a:cxn ang="0">
                  <a:pos x="76" y="176"/>
                </a:cxn>
                <a:cxn ang="0">
                  <a:pos x="86" y="178"/>
                </a:cxn>
                <a:cxn ang="0">
                  <a:pos x="92" y="180"/>
                </a:cxn>
                <a:cxn ang="0">
                  <a:pos x="106" y="182"/>
                </a:cxn>
                <a:cxn ang="0">
                  <a:pos x="106" y="170"/>
                </a:cxn>
                <a:cxn ang="0">
                  <a:pos x="104" y="164"/>
                </a:cxn>
                <a:cxn ang="0">
                  <a:pos x="96" y="154"/>
                </a:cxn>
                <a:cxn ang="0">
                  <a:pos x="88" y="144"/>
                </a:cxn>
                <a:cxn ang="0">
                  <a:pos x="78" y="126"/>
                </a:cxn>
                <a:cxn ang="0">
                  <a:pos x="74" y="122"/>
                </a:cxn>
                <a:cxn ang="0">
                  <a:pos x="76" y="116"/>
                </a:cxn>
                <a:cxn ang="0">
                  <a:pos x="82" y="106"/>
                </a:cxn>
                <a:cxn ang="0">
                  <a:pos x="90" y="90"/>
                </a:cxn>
                <a:cxn ang="0">
                  <a:pos x="86" y="78"/>
                </a:cxn>
                <a:cxn ang="0">
                  <a:pos x="76" y="64"/>
                </a:cxn>
                <a:cxn ang="0">
                  <a:pos x="78" y="58"/>
                </a:cxn>
                <a:cxn ang="0">
                  <a:pos x="88" y="58"/>
                </a:cxn>
                <a:cxn ang="0">
                  <a:pos x="94" y="56"/>
                </a:cxn>
                <a:cxn ang="0">
                  <a:pos x="92" y="48"/>
                </a:cxn>
                <a:cxn ang="0">
                  <a:pos x="90" y="40"/>
                </a:cxn>
                <a:cxn ang="0">
                  <a:pos x="90" y="30"/>
                </a:cxn>
                <a:cxn ang="0">
                  <a:pos x="92" y="24"/>
                </a:cxn>
                <a:cxn ang="0">
                  <a:pos x="88" y="16"/>
                </a:cxn>
                <a:cxn ang="0">
                  <a:pos x="88" y="12"/>
                </a:cxn>
                <a:cxn ang="0">
                  <a:pos x="78" y="0"/>
                </a:cxn>
                <a:cxn ang="0">
                  <a:pos x="80" y="14"/>
                </a:cxn>
                <a:cxn ang="0">
                  <a:pos x="80" y="24"/>
                </a:cxn>
                <a:cxn ang="0">
                  <a:pos x="76" y="28"/>
                </a:cxn>
                <a:cxn ang="0">
                  <a:pos x="74" y="32"/>
                </a:cxn>
                <a:cxn ang="0">
                  <a:pos x="68" y="40"/>
                </a:cxn>
                <a:cxn ang="0">
                  <a:pos x="68" y="46"/>
                </a:cxn>
                <a:cxn ang="0">
                  <a:pos x="64" y="52"/>
                </a:cxn>
                <a:cxn ang="0">
                  <a:pos x="62" y="58"/>
                </a:cxn>
                <a:cxn ang="0">
                  <a:pos x="64" y="62"/>
                </a:cxn>
                <a:cxn ang="0">
                  <a:pos x="52" y="68"/>
                </a:cxn>
                <a:cxn ang="0">
                  <a:pos x="48" y="74"/>
                </a:cxn>
                <a:cxn ang="0">
                  <a:pos x="46" y="82"/>
                </a:cxn>
                <a:cxn ang="0">
                  <a:pos x="44" y="90"/>
                </a:cxn>
                <a:cxn ang="0">
                  <a:pos x="38" y="96"/>
                </a:cxn>
                <a:cxn ang="0">
                  <a:pos x="34" y="106"/>
                </a:cxn>
                <a:cxn ang="0">
                  <a:pos x="34" y="112"/>
                </a:cxn>
                <a:cxn ang="0">
                  <a:pos x="30" y="118"/>
                </a:cxn>
                <a:cxn ang="0">
                  <a:pos x="24" y="120"/>
                </a:cxn>
                <a:cxn ang="0">
                  <a:pos x="24" y="112"/>
                </a:cxn>
                <a:cxn ang="0">
                  <a:pos x="14" y="112"/>
                </a:cxn>
                <a:cxn ang="0">
                  <a:pos x="6" y="114"/>
                </a:cxn>
                <a:cxn ang="0">
                  <a:pos x="2" y="122"/>
                </a:cxn>
                <a:cxn ang="0">
                  <a:pos x="0" y="124"/>
                </a:cxn>
                <a:cxn ang="0">
                  <a:pos x="0" y="130"/>
                </a:cxn>
                <a:cxn ang="0">
                  <a:pos x="0" y="138"/>
                </a:cxn>
                <a:cxn ang="0">
                  <a:pos x="0" y="142"/>
                </a:cxn>
              </a:cxnLst>
              <a:rect l="0" t="0" r="r" b="b"/>
              <a:pathLst>
                <a:path w="108" h="182">
                  <a:moveTo>
                    <a:pt x="0" y="142"/>
                  </a:moveTo>
                  <a:lnTo>
                    <a:pt x="0" y="142"/>
                  </a:lnTo>
                  <a:lnTo>
                    <a:pt x="2" y="144"/>
                  </a:lnTo>
                  <a:lnTo>
                    <a:pt x="2" y="146"/>
                  </a:lnTo>
                  <a:lnTo>
                    <a:pt x="8" y="144"/>
                  </a:lnTo>
                  <a:lnTo>
                    <a:pt x="8" y="146"/>
                  </a:lnTo>
                  <a:lnTo>
                    <a:pt x="8" y="150"/>
                  </a:lnTo>
                  <a:lnTo>
                    <a:pt x="10" y="152"/>
                  </a:lnTo>
                  <a:lnTo>
                    <a:pt x="18" y="150"/>
                  </a:lnTo>
                  <a:lnTo>
                    <a:pt x="16" y="154"/>
                  </a:lnTo>
                  <a:lnTo>
                    <a:pt x="20" y="166"/>
                  </a:lnTo>
                  <a:lnTo>
                    <a:pt x="22" y="166"/>
                  </a:lnTo>
                  <a:lnTo>
                    <a:pt x="20" y="178"/>
                  </a:lnTo>
                  <a:lnTo>
                    <a:pt x="44" y="178"/>
                  </a:lnTo>
                  <a:lnTo>
                    <a:pt x="46" y="178"/>
                  </a:lnTo>
                  <a:lnTo>
                    <a:pt x="50" y="176"/>
                  </a:lnTo>
                  <a:lnTo>
                    <a:pt x="54" y="176"/>
                  </a:lnTo>
                  <a:lnTo>
                    <a:pt x="56" y="176"/>
                  </a:lnTo>
                  <a:lnTo>
                    <a:pt x="58" y="176"/>
                  </a:lnTo>
                  <a:lnTo>
                    <a:pt x="64" y="176"/>
                  </a:lnTo>
                  <a:lnTo>
                    <a:pt x="68" y="176"/>
                  </a:lnTo>
                  <a:lnTo>
                    <a:pt x="76" y="176"/>
                  </a:lnTo>
                  <a:lnTo>
                    <a:pt x="82" y="176"/>
                  </a:lnTo>
                  <a:lnTo>
                    <a:pt x="86" y="178"/>
                  </a:lnTo>
                  <a:lnTo>
                    <a:pt x="88" y="180"/>
                  </a:lnTo>
                  <a:lnTo>
                    <a:pt x="92" y="180"/>
                  </a:lnTo>
                  <a:lnTo>
                    <a:pt x="100" y="180"/>
                  </a:lnTo>
                  <a:lnTo>
                    <a:pt x="106" y="182"/>
                  </a:lnTo>
                  <a:lnTo>
                    <a:pt x="104" y="176"/>
                  </a:lnTo>
                  <a:lnTo>
                    <a:pt x="106" y="170"/>
                  </a:lnTo>
                  <a:lnTo>
                    <a:pt x="108" y="168"/>
                  </a:lnTo>
                  <a:lnTo>
                    <a:pt x="104" y="164"/>
                  </a:lnTo>
                  <a:lnTo>
                    <a:pt x="98" y="158"/>
                  </a:lnTo>
                  <a:lnTo>
                    <a:pt x="96" y="154"/>
                  </a:lnTo>
                  <a:lnTo>
                    <a:pt x="90" y="150"/>
                  </a:lnTo>
                  <a:lnTo>
                    <a:pt x="88" y="144"/>
                  </a:lnTo>
                  <a:lnTo>
                    <a:pt x="84" y="140"/>
                  </a:lnTo>
                  <a:lnTo>
                    <a:pt x="78" y="126"/>
                  </a:lnTo>
                  <a:lnTo>
                    <a:pt x="76" y="122"/>
                  </a:lnTo>
                  <a:lnTo>
                    <a:pt x="74" y="122"/>
                  </a:lnTo>
                  <a:lnTo>
                    <a:pt x="74" y="120"/>
                  </a:lnTo>
                  <a:lnTo>
                    <a:pt x="76" y="116"/>
                  </a:lnTo>
                  <a:lnTo>
                    <a:pt x="80" y="112"/>
                  </a:lnTo>
                  <a:lnTo>
                    <a:pt x="82" y="106"/>
                  </a:lnTo>
                  <a:lnTo>
                    <a:pt x="86" y="98"/>
                  </a:lnTo>
                  <a:lnTo>
                    <a:pt x="90" y="90"/>
                  </a:lnTo>
                  <a:lnTo>
                    <a:pt x="88" y="84"/>
                  </a:lnTo>
                  <a:lnTo>
                    <a:pt x="86" y="78"/>
                  </a:lnTo>
                  <a:lnTo>
                    <a:pt x="76" y="66"/>
                  </a:lnTo>
                  <a:lnTo>
                    <a:pt x="76" y="64"/>
                  </a:lnTo>
                  <a:lnTo>
                    <a:pt x="76" y="62"/>
                  </a:lnTo>
                  <a:lnTo>
                    <a:pt x="78" y="58"/>
                  </a:lnTo>
                  <a:lnTo>
                    <a:pt x="82" y="58"/>
                  </a:lnTo>
                  <a:lnTo>
                    <a:pt x="88" y="58"/>
                  </a:lnTo>
                  <a:lnTo>
                    <a:pt x="94" y="58"/>
                  </a:lnTo>
                  <a:lnTo>
                    <a:pt x="94" y="56"/>
                  </a:lnTo>
                  <a:lnTo>
                    <a:pt x="94" y="52"/>
                  </a:lnTo>
                  <a:lnTo>
                    <a:pt x="92" y="48"/>
                  </a:lnTo>
                  <a:lnTo>
                    <a:pt x="92" y="44"/>
                  </a:lnTo>
                  <a:lnTo>
                    <a:pt x="90" y="40"/>
                  </a:lnTo>
                  <a:lnTo>
                    <a:pt x="88" y="34"/>
                  </a:lnTo>
                  <a:lnTo>
                    <a:pt x="90" y="30"/>
                  </a:lnTo>
                  <a:lnTo>
                    <a:pt x="92" y="28"/>
                  </a:lnTo>
                  <a:lnTo>
                    <a:pt x="92" y="24"/>
                  </a:lnTo>
                  <a:lnTo>
                    <a:pt x="92" y="20"/>
                  </a:lnTo>
                  <a:lnTo>
                    <a:pt x="88" y="16"/>
                  </a:lnTo>
                  <a:lnTo>
                    <a:pt x="88" y="14"/>
                  </a:lnTo>
                  <a:lnTo>
                    <a:pt x="88" y="12"/>
                  </a:lnTo>
                  <a:lnTo>
                    <a:pt x="88" y="8"/>
                  </a:lnTo>
                  <a:lnTo>
                    <a:pt x="78" y="0"/>
                  </a:lnTo>
                  <a:lnTo>
                    <a:pt x="78" y="12"/>
                  </a:lnTo>
                  <a:lnTo>
                    <a:pt x="80" y="14"/>
                  </a:lnTo>
                  <a:lnTo>
                    <a:pt x="82" y="16"/>
                  </a:lnTo>
                  <a:lnTo>
                    <a:pt x="80" y="24"/>
                  </a:lnTo>
                  <a:lnTo>
                    <a:pt x="78" y="28"/>
                  </a:lnTo>
                  <a:lnTo>
                    <a:pt x="76" y="28"/>
                  </a:lnTo>
                  <a:lnTo>
                    <a:pt x="74" y="30"/>
                  </a:lnTo>
                  <a:lnTo>
                    <a:pt x="74" y="32"/>
                  </a:lnTo>
                  <a:lnTo>
                    <a:pt x="72" y="36"/>
                  </a:lnTo>
                  <a:lnTo>
                    <a:pt x="68" y="40"/>
                  </a:lnTo>
                  <a:lnTo>
                    <a:pt x="68" y="42"/>
                  </a:lnTo>
                  <a:lnTo>
                    <a:pt x="68" y="46"/>
                  </a:lnTo>
                  <a:lnTo>
                    <a:pt x="66" y="50"/>
                  </a:lnTo>
                  <a:lnTo>
                    <a:pt x="64" y="52"/>
                  </a:lnTo>
                  <a:lnTo>
                    <a:pt x="62" y="56"/>
                  </a:lnTo>
                  <a:lnTo>
                    <a:pt x="62" y="58"/>
                  </a:lnTo>
                  <a:lnTo>
                    <a:pt x="64" y="60"/>
                  </a:lnTo>
                  <a:lnTo>
                    <a:pt x="64" y="62"/>
                  </a:lnTo>
                  <a:lnTo>
                    <a:pt x="62" y="64"/>
                  </a:lnTo>
                  <a:lnTo>
                    <a:pt x="52" y="68"/>
                  </a:lnTo>
                  <a:lnTo>
                    <a:pt x="50" y="70"/>
                  </a:lnTo>
                  <a:lnTo>
                    <a:pt x="48" y="74"/>
                  </a:lnTo>
                  <a:lnTo>
                    <a:pt x="48" y="78"/>
                  </a:lnTo>
                  <a:lnTo>
                    <a:pt x="46" y="82"/>
                  </a:lnTo>
                  <a:lnTo>
                    <a:pt x="44" y="86"/>
                  </a:lnTo>
                  <a:lnTo>
                    <a:pt x="44" y="90"/>
                  </a:lnTo>
                  <a:lnTo>
                    <a:pt x="40" y="94"/>
                  </a:lnTo>
                  <a:lnTo>
                    <a:pt x="38" y="96"/>
                  </a:lnTo>
                  <a:lnTo>
                    <a:pt x="36" y="100"/>
                  </a:lnTo>
                  <a:lnTo>
                    <a:pt x="34" y="106"/>
                  </a:lnTo>
                  <a:lnTo>
                    <a:pt x="36" y="110"/>
                  </a:lnTo>
                  <a:lnTo>
                    <a:pt x="34" y="112"/>
                  </a:lnTo>
                  <a:lnTo>
                    <a:pt x="32" y="114"/>
                  </a:lnTo>
                  <a:lnTo>
                    <a:pt x="30" y="118"/>
                  </a:lnTo>
                  <a:lnTo>
                    <a:pt x="28" y="120"/>
                  </a:lnTo>
                  <a:lnTo>
                    <a:pt x="24" y="120"/>
                  </a:lnTo>
                  <a:lnTo>
                    <a:pt x="26" y="114"/>
                  </a:lnTo>
                  <a:lnTo>
                    <a:pt x="24" y="112"/>
                  </a:lnTo>
                  <a:lnTo>
                    <a:pt x="18" y="110"/>
                  </a:lnTo>
                  <a:lnTo>
                    <a:pt x="14" y="112"/>
                  </a:lnTo>
                  <a:lnTo>
                    <a:pt x="8" y="114"/>
                  </a:lnTo>
                  <a:lnTo>
                    <a:pt x="6" y="114"/>
                  </a:lnTo>
                  <a:lnTo>
                    <a:pt x="4" y="116"/>
                  </a:lnTo>
                  <a:lnTo>
                    <a:pt x="2" y="122"/>
                  </a:lnTo>
                  <a:lnTo>
                    <a:pt x="2" y="122"/>
                  </a:lnTo>
                  <a:lnTo>
                    <a:pt x="0" y="124"/>
                  </a:lnTo>
                  <a:lnTo>
                    <a:pt x="0" y="128"/>
                  </a:lnTo>
                  <a:lnTo>
                    <a:pt x="0" y="130"/>
                  </a:lnTo>
                  <a:lnTo>
                    <a:pt x="2" y="132"/>
                  </a:lnTo>
                  <a:lnTo>
                    <a:pt x="0" y="138"/>
                  </a:lnTo>
                  <a:lnTo>
                    <a:pt x="0" y="142"/>
                  </a:lnTo>
                  <a:lnTo>
                    <a:pt x="0" y="14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3" name="Freeform 497">
              <a:extLst>
                <a:ext uri="{FF2B5EF4-FFF2-40B4-BE49-F238E27FC236}">
                  <a16:creationId xmlns:a16="http://schemas.microsoft.com/office/drawing/2014/main" id="{21118D6F-07C4-4EF2-BD94-2883FBBD459E}"/>
                </a:ext>
              </a:extLst>
            </p:cNvPr>
            <p:cNvSpPr>
              <a:spLocks/>
            </p:cNvSpPr>
            <p:nvPr/>
          </p:nvSpPr>
          <p:spPr bwMode="auto">
            <a:xfrm>
              <a:off x="3523571" y="4814426"/>
              <a:ext cx="38844" cy="41434"/>
            </a:xfrm>
            <a:custGeom>
              <a:avLst/>
              <a:gdLst/>
              <a:ahLst/>
              <a:cxnLst>
                <a:cxn ang="0">
                  <a:pos x="0" y="2"/>
                </a:cxn>
                <a:cxn ang="0">
                  <a:pos x="0" y="2"/>
                </a:cxn>
                <a:cxn ang="0">
                  <a:pos x="2" y="2"/>
                </a:cxn>
                <a:cxn ang="0">
                  <a:pos x="4" y="0"/>
                </a:cxn>
                <a:cxn ang="0">
                  <a:pos x="6" y="2"/>
                </a:cxn>
                <a:cxn ang="0">
                  <a:pos x="8" y="8"/>
                </a:cxn>
                <a:cxn ang="0">
                  <a:pos x="12" y="6"/>
                </a:cxn>
                <a:cxn ang="0">
                  <a:pos x="14" y="4"/>
                </a:cxn>
                <a:cxn ang="0">
                  <a:pos x="14" y="2"/>
                </a:cxn>
                <a:cxn ang="0">
                  <a:pos x="14" y="0"/>
                </a:cxn>
                <a:cxn ang="0">
                  <a:pos x="16" y="0"/>
                </a:cxn>
                <a:cxn ang="0">
                  <a:pos x="22" y="2"/>
                </a:cxn>
                <a:cxn ang="0">
                  <a:pos x="24" y="2"/>
                </a:cxn>
                <a:cxn ang="0">
                  <a:pos x="24" y="6"/>
                </a:cxn>
                <a:cxn ang="0">
                  <a:pos x="24" y="8"/>
                </a:cxn>
                <a:cxn ang="0">
                  <a:pos x="26" y="12"/>
                </a:cxn>
                <a:cxn ang="0">
                  <a:pos x="30" y="12"/>
                </a:cxn>
                <a:cxn ang="0">
                  <a:pos x="28" y="16"/>
                </a:cxn>
                <a:cxn ang="0">
                  <a:pos x="22" y="20"/>
                </a:cxn>
                <a:cxn ang="0">
                  <a:pos x="20" y="28"/>
                </a:cxn>
                <a:cxn ang="0">
                  <a:pos x="14" y="32"/>
                </a:cxn>
                <a:cxn ang="0">
                  <a:pos x="8" y="30"/>
                </a:cxn>
                <a:cxn ang="0">
                  <a:pos x="8" y="10"/>
                </a:cxn>
                <a:cxn ang="0">
                  <a:pos x="2" y="8"/>
                </a:cxn>
                <a:cxn ang="0">
                  <a:pos x="0" y="4"/>
                </a:cxn>
                <a:cxn ang="0">
                  <a:pos x="0" y="2"/>
                </a:cxn>
                <a:cxn ang="0">
                  <a:pos x="0" y="2"/>
                </a:cxn>
              </a:cxnLst>
              <a:rect l="0" t="0" r="r" b="b"/>
              <a:pathLst>
                <a:path w="30" h="32">
                  <a:moveTo>
                    <a:pt x="0" y="2"/>
                  </a:moveTo>
                  <a:lnTo>
                    <a:pt x="0" y="2"/>
                  </a:lnTo>
                  <a:lnTo>
                    <a:pt x="2" y="2"/>
                  </a:lnTo>
                  <a:lnTo>
                    <a:pt x="4" y="0"/>
                  </a:lnTo>
                  <a:lnTo>
                    <a:pt x="6" y="2"/>
                  </a:lnTo>
                  <a:lnTo>
                    <a:pt x="8" y="8"/>
                  </a:lnTo>
                  <a:lnTo>
                    <a:pt x="12" y="6"/>
                  </a:lnTo>
                  <a:lnTo>
                    <a:pt x="14" y="4"/>
                  </a:lnTo>
                  <a:lnTo>
                    <a:pt x="14" y="2"/>
                  </a:lnTo>
                  <a:lnTo>
                    <a:pt x="14" y="0"/>
                  </a:lnTo>
                  <a:lnTo>
                    <a:pt x="16" y="0"/>
                  </a:lnTo>
                  <a:lnTo>
                    <a:pt x="22" y="2"/>
                  </a:lnTo>
                  <a:lnTo>
                    <a:pt x="24" y="2"/>
                  </a:lnTo>
                  <a:lnTo>
                    <a:pt x="24" y="6"/>
                  </a:lnTo>
                  <a:lnTo>
                    <a:pt x="24" y="8"/>
                  </a:lnTo>
                  <a:lnTo>
                    <a:pt x="26" y="12"/>
                  </a:lnTo>
                  <a:lnTo>
                    <a:pt x="30" y="12"/>
                  </a:lnTo>
                  <a:lnTo>
                    <a:pt x="28" y="16"/>
                  </a:lnTo>
                  <a:lnTo>
                    <a:pt x="22" y="20"/>
                  </a:lnTo>
                  <a:lnTo>
                    <a:pt x="20" y="28"/>
                  </a:lnTo>
                  <a:lnTo>
                    <a:pt x="14" y="32"/>
                  </a:lnTo>
                  <a:lnTo>
                    <a:pt x="8" y="30"/>
                  </a:lnTo>
                  <a:lnTo>
                    <a:pt x="8" y="10"/>
                  </a:lnTo>
                  <a:lnTo>
                    <a:pt x="2" y="8"/>
                  </a:lnTo>
                  <a:lnTo>
                    <a:pt x="0" y="4"/>
                  </a:lnTo>
                  <a:lnTo>
                    <a:pt x="0" y="2"/>
                  </a:lnTo>
                  <a:lnTo>
                    <a:pt x="0"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4" name="Freeform 498">
              <a:extLst>
                <a:ext uri="{FF2B5EF4-FFF2-40B4-BE49-F238E27FC236}">
                  <a16:creationId xmlns:a16="http://schemas.microsoft.com/office/drawing/2014/main" id="{5CAC7ECD-A927-4FD7-83C5-8CE134A9D023}"/>
                </a:ext>
              </a:extLst>
            </p:cNvPr>
            <p:cNvSpPr>
              <a:spLocks/>
            </p:cNvSpPr>
            <p:nvPr/>
          </p:nvSpPr>
          <p:spPr bwMode="auto">
            <a:xfrm>
              <a:off x="3363015" y="5130359"/>
              <a:ext cx="165735" cy="191631"/>
            </a:xfrm>
            <a:custGeom>
              <a:avLst/>
              <a:gdLst/>
              <a:ahLst/>
              <a:cxnLst>
                <a:cxn ang="0">
                  <a:pos x="0" y="122"/>
                </a:cxn>
                <a:cxn ang="0">
                  <a:pos x="6" y="124"/>
                </a:cxn>
                <a:cxn ang="0">
                  <a:pos x="12" y="136"/>
                </a:cxn>
                <a:cxn ang="0">
                  <a:pos x="10" y="146"/>
                </a:cxn>
                <a:cxn ang="0">
                  <a:pos x="14" y="148"/>
                </a:cxn>
                <a:cxn ang="0">
                  <a:pos x="18" y="146"/>
                </a:cxn>
                <a:cxn ang="0">
                  <a:pos x="28" y="142"/>
                </a:cxn>
                <a:cxn ang="0">
                  <a:pos x="40" y="136"/>
                </a:cxn>
                <a:cxn ang="0">
                  <a:pos x="46" y="130"/>
                </a:cxn>
                <a:cxn ang="0">
                  <a:pos x="48" y="124"/>
                </a:cxn>
                <a:cxn ang="0">
                  <a:pos x="54" y="122"/>
                </a:cxn>
                <a:cxn ang="0">
                  <a:pos x="58" y="126"/>
                </a:cxn>
                <a:cxn ang="0">
                  <a:pos x="60" y="124"/>
                </a:cxn>
                <a:cxn ang="0">
                  <a:pos x="64" y="126"/>
                </a:cxn>
                <a:cxn ang="0">
                  <a:pos x="72" y="126"/>
                </a:cxn>
                <a:cxn ang="0">
                  <a:pos x="78" y="128"/>
                </a:cxn>
                <a:cxn ang="0">
                  <a:pos x="80" y="108"/>
                </a:cxn>
                <a:cxn ang="0">
                  <a:pos x="88" y="106"/>
                </a:cxn>
                <a:cxn ang="0">
                  <a:pos x="90" y="100"/>
                </a:cxn>
                <a:cxn ang="0">
                  <a:pos x="92" y="92"/>
                </a:cxn>
                <a:cxn ang="0">
                  <a:pos x="98" y="86"/>
                </a:cxn>
                <a:cxn ang="0">
                  <a:pos x="104" y="82"/>
                </a:cxn>
                <a:cxn ang="0">
                  <a:pos x="116" y="76"/>
                </a:cxn>
                <a:cxn ang="0">
                  <a:pos x="118" y="74"/>
                </a:cxn>
                <a:cxn ang="0">
                  <a:pos x="120" y="74"/>
                </a:cxn>
                <a:cxn ang="0">
                  <a:pos x="126" y="70"/>
                </a:cxn>
                <a:cxn ang="0">
                  <a:pos x="126" y="66"/>
                </a:cxn>
                <a:cxn ang="0">
                  <a:pos x="120" y="64"/>
                </a:cxn>
                <a:cxn ang="0">
                  <a:pos x="118" y="64"/>
                </a:cxn>
                <a:cxn ang="0">
                  <a:pos x="114" y="60"/>
                </a:cxn>
                <a:cxn ang="0">
                  <a:pos x="114" y="50"/>
                </a:cxn>
                <a:cxn ang="0">
                  <a:pos x="112" y="48"/>
                </a:cxn>
                <a:cxn ang="0">
                  <a:pos x="108" y="42"/>
                </a:cxn>
                <a:cxn ang="0">
                  <a:pos x="104" y="34"/>
                </a:cxn>
                <a:cxn ang="0">
                  <a:pos x="98" y="30"/>
                </a:cxn>
                <a:cxn ang="0">
                  <a:pos x="96" y="26"/>
                </a:cxn>
                <a:cxn ang="0">
                  <a:pos x="94" y="28"/>
                </a:cxn>
                <a:cxn ang="0">
                  <a:pos x="90" y="28"/>
                </a:cxn>
                <a:cxn ang="0">
                  <a:pos x="88" y="24"/>
                </a:cxn>
                <a:cxn ang="0">
                  <a:pos x="80" y="14"/>
                </a:cxn>
                <a:cxn ang="0">
                  <a:pos x="78" y="10"/>
                </a:cxn>
                <a:cxn ang="0">
                  <a:pos x="74" y="6"/>
                </a:cxn>
                <a:cxn ang="0">
                  <a:pos x="72" y="0"/>
                </a:cxn>
                <a:cxn ang="0">
                  <a:pos x="68" y="0"/>
                </a:cxn>
                <a:cxn ang="0">
                  <a:pos x="64" y="4"/>
                </a:cxn>
                <a:cxn ang="0">
                  <a:pos x="60" y="2"/>
                </a:cxn>
                <a:cxn ang="0">
                  <a:pos x="58" y="6"/>
                </a:cxn>
                <a:cxn ang="0">
                  <a:pos x="56" y="6"/>
                </a:cxn>
                <a:cxn ang="0">
                  <a:pos x="16" y="8"/>
                </a:cxn>
                <a:cxn ang="0">
                  <a:pos x="0" y="64"/>
                </a:cxn>
                <a:cxn ang="0">
                  <a:pos x="0" y="122"/>
                </a:cxn>
              </a:cxnLst>
              <a:rect l="0" t="0" r="r" b="b"/>
              <a:pathLst>
                <a:path w="128" h="148">
                  <a:moveTo>
                    <a:pt x="0" y="122"/>
                  </a:moveTo>
                  <a:lnTo>
                    <a:pt x="0" y="122"/>
                  </a:lnTo>
                  <a:lnTo>
                    <a:pt x="4" y="122"/>
                  </a:lnTo>
                  <a:lnTo>
                    <a:pt x="6" y="124"/>
                  </a:lnTo>
                  <a:lnTo>
                    <a:pt x="10" y="128"/>
                  </a:lnTo>
                  <a:lnTo>
                    <a:pt x="12" y="136"/>
                  </a:lnTo>
                  <a:lnTo>
                    <a:pt x="10" y="140"/>
                  </a:lnTo>
                  <a:lnTo>
                    <a:pt x="10" y="146"/>
                  </a:lnTo>
                  <a:lnTo>
                    <a:pt x="12" y="148"/>
                  </a:lnTo>
                  <a:lnTo>
                    <a:pt x="14" y="148"/>
                  </a:lnTo>
                  <a:lnTo>
                    <a:pt x="16" y="148"/>
                  </a:lnTo>
                  <a:lnTo>
                    <a:pt x="18" y="146"/>
                  </a:lnTo>
                  <a:lnTo>
                    <a:pt x="20" y="146"/>
                  </a:lnTo>
                  <a:lnTo>
                    <a:pt x="28" y="142"/>
                  </a:lnTo>
                  <a:lnTo>
                    <a:pt x="32" y="140"/>
                  </a:lnTo>
                  <a:lnTo>
                    <a:pt x="40" y="136"/>
                  </a:lnTo>
                  <a:lnTo>
                    <a:pt x="44" y="132"/>
                  </a:lnTo>
                  <a:lnTo>
                    <a:pt x="46" y="130"/>
                  </a:lnTo>
                  <a:lnTo>
                    <a:pt x="46" y="126"/>
                  </a:lnTo>
                  <a:lnTo>
                    <a:pt x="48" y="124"/>
                  </a:lnTo>
                  <a:lnTo>
                    <a:pt x="50" y="122"/>
                  </a:lnTo>
                  <a:lnTo>
                    <a:pt x="54" y="122"/>
                  </a:lnTo>
                  <a:lnTo>
                    <a:pt x="56" y="126"/>
                  </a:lnTo>
                  <a:lnTo>
                    <a:pt x="58" y="126"/>
                  </a:lnTo>
                  <a:lnTo>
                    <a:pt x="58" y="124"/>
                  </a:lnTo>
                  <a:lnTo>
                    <a:pt x="60" y="124"/>
                  </a:lnTo>
                  <a:lnTo>
                    <a:pt x="62" y="126"/>
                  </a:lnTo>
                  <a:lnTo>
                    <a:pt x="64" y="126"/>
                  </a:lnTo>
                  <a:lnTo>
                    <a:pt x="68" y="126"/>
                  </a:lnTo>
                  <a:lnTo>
                    <a:pt x="72" y="126"/>
                  </a:lnTo>
                  <a:lnTo>
                    <a:pt x="76" y="128"/>
                  </a:lnTo>
                  <a:lnTo>
                    <a:pt x="78" y="128"/>
                  </a:lnTo>
                  <a:lnTo>
                    <a:pt x="80" y="126"/>
                  </a:lnTo>
                  <a:lnTo>
                    <a:pt x="80" y="108"/>
                  </a:lnTo>
                  <a:lnTo>
                    <a:pt x="82" y="108"/>
                  </a:lnTo>
                  <a:lnTo>
                    <a:pt x="88" y="106"/>
                  </a:lnTo>
                  <a:lnTo>
                    <a:pt x="88" y="104"/>
                  </a:lnTo>
                  <a:lnTo>
                    <a:pt x="90" y="100"/>
                  </a:lnTo>
                  <a:lnTo>
                    <a:pt x="90" y="94"/>
                  </a:lnTo>
                  <a:lnTo>
                    <a:pt x="92" y="92"/>
                  </a:lnTo>
                  <a:lnTo>
                    <a:pt x="96" y="90"/>
                  </a:lnTo>
                  <a:lnTo>
                    <a:pt x="98" y="86"/>
                  </a:lnTo>
                  <a:lnTo>
                    <a:pt x="100" y="84"/>
                  </a:lnTo>
                  <a:lnTo>
                    <a:pt x="104" y="82"/>
                  </a:lnTo>
                  <a:lnTo>
                    <a:pt x="110" y="80"/>
                  </a:lnTo>
                  <a:lnTo>
                    <a:pt x="116" y="76"/>
                  </a:lnTo>
                  <a:lnTo>
                    <a:pt x="118" y="76"/>
                  </a:lnTo>
                  <a:lnTo>
                    <a:pt x="118" y="74"/>
                  </a:lnTo>
                  <a:lnTo>
                    <a:pt x="118" y="74"/>
                  </a:lnTo>
                  <a:lnTo>
                    <a:pt x="120" y="74"/>
                  </a:lnTo>
                  <a:lnTo>
                    <a:pt x="124" y="72"/>
                  </a:lnTo>
                  <a:lnTo>
                    <a:pt x="126" y="70"/>
                  </a:lnTo>
                  <a:lnTo>
                    <a:pt x="128" y="68"/>
                  </a:lnTo>
                  <a:lnTo>
                    <a:pt x="126" y="66"/>
                  </a:lnTo>
                  <a:lnTo>
                    <a:pt x="122" y="66"/>
                  </a:lnTo>
                  <a:lnTo>
                    <a:pt x="120" y="64"/>
                  </a:lnTo>
                  <a:lnTo>
                    <a:pt x="118" y="64"/>
                  </a:lnTo>
                  <a:lnTo>
                    <a:pt x="118" y="64"/>
                  </a:lnTo>
                  <a:lnTo>
                    <a:pt x="114" y="62"/>
                  </a:lnTo>
                  <a:lnTo>
                    <a:pt x="114" y="60"/>
                  </a:lnTo>
                  <a:lnTo>
                    <a:pt x="112" y="54"/>
                  </a:lnTo>
                  <a:lnTo>
                    <a:pt x="114" y="50"/>
                  </a:lnTo>
                  <a:lnTo>
                    <a:pt x="114" y="48"/>
                  </a:lnTo>
                  <a:lnTo>
                    <a:pt x="112" y="48"/>
                  </a:lnTo>
                  <a:lnTo>
                    <a:pt x="110" y="46"/>
                  </a:lnTo>
                  <a:lnTo>
                    <a:pt x="108" y="42"/>
                  </a:lnTo>
                  <a:lnTo>
                    <a:pt x="106" y="40"/>
                  </a:lnTo>
                  <a:lnTo>
                    <a:pt x="104" y="34"/>
                  </a:lnTo>
                  <a:lnTo>
                    <a:pt x="100" y="32"/>
                  </a:lnTo>
                  <a:lnTo>
                    <a:pt x="98" y="30"/>
                  </a:lnTo>
                  <a:lnTo>
                    <a:pt x="96" y="28"/>
                  </a:lnTo>
                  <a:lnTo>
                    <a:pt x="96" y="26"/>
                  </a:lnTo>
                  <a:lnTo>
                    <a:pt x="96" y="28"/>
                  </a:lnTo>
                  <a:lnTo>
                    <a:pt x="94" y="28"/>
                  </a:lnTo>
                  <a:lnTo>
                    <a:pt x="92" y="28"/>
                  </a:lnTo>
                  <a:lnTo>
                    <a:pt x="90" y="28"/>
                  </a:lnTo>
                  <a:lnTo>
                    <a:pt x="90" y="26"/>
                  </a:lnTo>
                  <a:lnTo>
                    <a:pt x="88" y="24"/>
                  </a:lnTo>
                  <a:lnTo>
                    <a:pt x="82" y="18"/>
                  </a:lnTo>
                  <a:lnTo>
                    <a:pt x="80" y="14"/>
                  </a:lnTo>
                  <a:lnTo>
                    <a:pt x="80" y="10"/>
                  </a:lnTo>
                  <a:lnTo>
                    <a:pt x="78" y="10"/>
                  </a:lnTo>
                  <a:lnTo>
                    <a:pt x="76" y="8"/>
                  </a:lnTo>
                  <a:lnTo>
                    <a:pt x="74" y="6"/>
                  </a:lnTo>
                  <a:lnTo>
                    <a:pt x="74" y="4"/>
                  </a:lnTo>
                  <a:lnTo>
                    <a:pt x="72" y="0"/>
                  </a:lnTo>
                  <a:lnTo>
                    <a:pt x="70" y="0"/>
                  </a:lnTo>
                  <a:lnTo>
                    <a:pt x="68" y="0"/>
                  </a:lnTo>
                  <a:lnTo>
                    <a:pt x="66" y="2"/>
                  </a:lnTo>
                  <a:lnTo>
                    <a:pt x="64" y="4"/>
                  </a:lnTo>
                  <a:lnTo>
                    <a:pt x="62" y="4"/>
                  </a:lnTo>
                  <a:lnTo>
                    <a:pt x="60" y="2"/>
                  </a:lnTo>
                  <a:lnTo>
                    <a:pt x="58" y="4"/>
                  </a:lnTo>
                  <a:lnTo>
                    <a:pt x="58" y="6"/>
                  </a:lnTo>
                  <a:lnTo>
                    <a:pt x="58" y="6"/>
                  </a:lnTo>
                  <a:lnTo>
                    <a:pt x="56" y="6"/>
                  </a:lnTo>
                  <a:lnTo>
                    <a:pt x="26" y="8"/>
                  </a:lnTo>
                  <a:lnTo>
                    <a:pt x="16" y="8"/>
                  </a:lnTo>
                  <a:lnTo>
                    <a:pt x="16" y="64"/>
                  </a:lnTo>
                  <a:lnTo>
                    <a:pt x="0" y="64"/>
                  </a:lnTo>
                  <a:lnTo>
                    <a:pt x="0" y="122"/>
                  </a:lnTo>
                  <a:lnTo>
                    <a:pt x="0" y="12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5" name="Freeform 499">
              <a:extLst>
                <a:ext uri="{FF2B5EF4-FFF2-40B4-BE49-F238E27FC236}">
                  <a16:creationId xmlns:a16="http://schemas.microsoft.com/office/drawing/2014/main" id="{A13D0527-9B17-4252-A6A7-F28963DCC929}"/>
                </a:ext>
              </a:extLst>
            </p:cNvPr>
            <p:cNvSpPr>
              <a:spLocks noEditPoints="1"/>
            </p:cNvSpPr>
            <p:nvPr/>
          </p:nvSpPr>
          <p:spPr bwMode="auto">
            <a:xfrm>
              <a:off x="3233535" y="4837733"/>
              <a:ext cx="209758" cy="295216"/>
            </a:xfrm>
            <a:custGeom>
              <a:avLst/>
              <a:gdLst/>
              <a:ahLst/>
              <a:cxnLst>
                <a:cxn ang="0">
                  <a:pos x="12" y="8"/>
                </a:cxn>
                <a:cxn ang="0">
                  <a:pos x="16" y="2"/>
                </a:cxn>
                <a:cxn ang="0">
                  <a:pos x="10" y="0"/>
                </a:cxn>
                <a:cxn ang="0">
                  <a:pos x="6" y="4"/>
                </a:cxn>
                <a:cxn ang="0">
                  <a:pos x="2" y="10"/>
                </a:cxn>
                <a:cxn ang="0">
                  <a:pos x="6" y="14"/>
                </a:cxn>
                <a:cxn ang="0">
                  <a:pos x="10" y="36"/>
                </a:cxn>
                <a:cxn ang="0">
                  <a:pos x="18" y="54"/>
                </a:cxn>
                <a:cxn ang="0">
                  <a:pos x="22" y="64"/>
                </a:cxn>
                <a:cxn ang="0">
                  <a:pos x="24" y="72"/>
                </a:cxn>
                <a:cxn ang="0">
                  <a:pos x="22" y="76"/>
                </a:cxn>
                <a:cxn ang="0">
                  <a:pos x="22" y="92"/>
                </a:cxn>
                <a:cxn ang="0">
                  <a:pos x="26" y="106"/>
                </a:cxn>
                <a:cxn ang="0">
                  <a:pos x="26" y="132"/>
                </a:cxn>
                <a:cxn ang="0">
                  <a:pos x="18" y="144"/>
                </a:cxn>
                <a:cxn ang="0">
                  <a:pos x="12" y="152"/>
                </a:cxn>
                <a:cxn ang="0">
                  <a:pos x="10" y="172"/>
                </a:cxn>
                <a:cxn ang="0">
                  <a:pos x="6" y="178"/>
                </a:cxn>
                <a:cxn ang="0">
                  <a:pos x="0" y="196"/>
                </a:cxn>
                <a:cxn ang="0">
                  <a:pos x="0" y="206"/>
                </a:cxn>
                <a:cxn ang="0">
                  <a:pos x="10" y="212"/>
                </a:cxn>
                <a:cxn ang="0">
                  <a:pos x="16" y="210"/>
                </a:cxn>
                <a:cxn ang="0">
                  <a:pos x="26" y="212"/>
                </a:cxn>
                <a:cxn ang="0">
                  <a:pos x="86" y="218"/>
                </a:cxn>
                <a:cxn ang="0">
                  <a:pos x="90" y="222"/>
                </a:cxn>
                <a:cxn ang="0">
                  <a:pos x="96" y="222"/>
                </a:cxn>
                <a:cxn ang="0">
                  <a:pos x="102" y="224"/>
                </a:cxn>
                <a:cxn ang="0">
                  <a:pos x="114" y="226"/>
                </a:cxn>
                <a:cxn ang="0">
                  <a:pos x="146" y="222"/>
                </a:cxn>
                <a:cxn ang="0">
                  <a:pos x="142" y="212"/>
                </a:cxn>
                <a:cxn ang="0">
                  <a:pos x="134" y="196"/>
                </a:cxn>
                <a:cxn ang="0">
                  <a:pos x="160" y="136"/>
                </a:cxn>
                <a:cxn ang="0">
                  <a:pos x="160" y="122"/>
                </a:cxn>
                <a:cxn ang="0">
                  <a:pos x="160" y="108"/>
                </a:cxn>
                <a:cxn ang="0">
                  <a:pos x="146" y="110"/>
                </a:cxn>
                <a:cxn ang="0">
                  <a:pos x="138" y="104"/>
                </a:cxn>
                <a:cxn ang="0">
                  <a:pos x="138" y="92"/>
                </a:cxn>
                <a:cxn ang="0">
                  <a:pos x="136" y="82"/>
                </a:cxn>
                <a:cxn ang="0">
                  <a:pos x="132" y="72"/>
                </a:cxn>
                <a:cxn ang="0">
                  <a:pos x="132" y="62"/>
                </a:cxn>
                <a:cxn ang="0">
                  <a:pos x="130" y="52"/>
                </a:cxn>
                <a:cxn ang="0">
                  <a:pos x="118" y="48"/>
                </a:cxn>
                <a:cxn ang="0">
                  <a:pos x="110" y="44"/>
                </a:cxn>
                <a:cxn ang="0">
                  <a:pos x="100" y="46"/>
                </a:cxn>
                <a:cxn ang="0">
                  <a:pos x="102" y="56"/>
                </a:cxn>
                <a:cxn ang="0">
                  <a:pos x="96" y="56"/>
                </a:cxn>
                <a:cxn ang="0">
                  <a:pos x="92" y="60"/>
                </a:cxn>
                <a:cxn ang="0">
                  <a:pos x="80" y="56"/>
                </a:cxn>
                <a:cxn ang="0">
                  <a:pos x="76" y="40"/>
                </a:cxn>
                <a:cxn ang="0">
                  <a:pos x="74" y="22"/>
                </a:cxn>
                <a:cxn ang="0">
                  <a:pos x="26" y="22"/>
                </a:cxn>
                <a:cxn ang="0">
                  <a:pos x="12" y="30"/>
                </a:cxn>
              </a:cxnLst>
              <a:rect l="0" t="0" r="r" b="b"/>
              <a:pathLst>
                <a:path w="162" h="228">
                  <a:moveTo>
                    <a:pt x="6" y="14"/>
                  </a:moveTo>
                  <a:lnTo>
                    <a:pt x="12" y="12"/>
                  </a:lnTo>
                  <a:lnTo>
                    <a:pt x="12" y="8"/>
                  </a:lnTo>
                  <a:lnTo>
                    <a:pt x="12" y="6"/>
                  </a:lnTo>
                  <a:lnTo>
                    <a:pt x="14" y="4"/>
                  </a:lnTo>
                  <a:lnTo>
                    <a:pt x="16" y="2"/>
                  </a:lnTo>
                  <a:lnTo>
                    <a:pt x="14" y="0"/>
                  </a:lnTo>
                  <a:lnTo>
                    <a:pt x="12" y="0"/>
                  </a:lnTo>
                  <a:lnTo>
                    <a:pt x="10" y="0"/>
                  </a:lnTo>
                  <a:lnTo>
                    <a:pt x="8" y="4"/>
                  </a:lnTo>
                  <a:lnTo>
                    <a:pt x="10" y="4"/>
                  </a:lnTo>
                  <a:lnTo>
                    <a:pt x="6" y="4"/>
                  </a:lnTo>
                  <a:lnTo>
                    <a:pt x="2" y="4"/>
                  </a:lnTo>
                  <a:lnTo>
                    <a:pt x="2" y="6"/>
                  </a:lnTo>
                  <a:lnTo>
                    <a:pt x="2" y="10"/>
                  </a:lnTo>
                  <a:lnTo>
                    <a:pt x="2" y="12"/>
                  </a:lnTo>
                  <a:lnTo>
                    <a:pt x="6" y="14"/>
                  </a:lnTo>
                  <a:lnTo>
                    <a:pt x="6" y="14"/>
                  </a:lnTo>
                  <a:close/>
                  <a:moveTo>
                    <a:pt x="10" y="30"/>
                  </a:moveTo>
                  <a:lnTo>
                    <a:pt x="10" y="30"/>
                  </a:lnTo>
                  <a:lnTo>
                    <a:pt x="10" y="36"/>
                  </a:lnTo>
                  <a:lnTo>
                    <a:pt x="14" y="46"/>
                  </a:lnTo>
                  <a:lnTo>
                    <a:pt x="18" y="50"/>
                  </a:lnTo>
                  <a:lnTo>
                    <a:pt x="18" y="54"/>
                  </a:lnTo>
                  <a:lnTo>
                    <a:pt x="18" y="58"/>
                  </a:lnTo>
                  <a:lnTo>
                    <a:pt x="22" y="62"/>
                  </a:lnTo>
                  <a:lnTo>
                    <a:pt x="22" y="64"/>
                  </a:lnTo>
                  <a:lnTo>
                    <a:pt x="20" y="68"/>
                  </a:lnTo>
                  <a:lnTo>
                    <a:pt x="24" y="70"/>
                  </a:lnTo>
                  <a:lnTo>
                    <a:pt x="24" y="72"/>
                  </a:lnTo>
                  <a:lnTo>
                    <a:pt x="22" y="72"/>
                  </a:lnTo>
                  <a:lnTo>
                    <a:pt x="22" y="74"/>
                  </a:lnTo>
                  <a:lnTo>
                    <a:pt x="22" y="76"/>
                  </a:lnTo>
                  <a:lnTo>
                    <a:pt x="20" y="78"/>
                  </a:lnTo>
                  <a:lnTo>
                    <a:pt x="20" y="88"/>
                  </a:lnTo>
                  <a:lnTo>
                    <a:pt x="22" y="92"/>
                  </a:lnTo>
                  <a:lnTo>
                    <a:pt x="22" y="96"/>
                  </a:lnTo>
                  <a:lnTo>
                    <a:pt x="20" y="98"/>
                  </a:lnTo>
                  <a:lnTo>
                    <a:pt x="26" y="106"/>
                  </a:lnTo>
                  <a:lnTo>
                    <a:pt x="28" y="112"/>
                  </a:lnTo>
                  <a:lnTo>
                    <a:pt x="28" y="120"/>
                  </a:lnTo>
                  <a:lnTo>
                    <a:pt x="26" y="132"/>
                  </a:lnTo>
                  <a:lnTo>
                    <a:pt x="22" y="138"/>
                  </a:lnTo>
                  <a:lnTo>
                    <a:pt x="18" y="140"/>
                  </a:lnTo>
                  <a:lnTo>
                    <a:pt x="18" y="144"/>
                  </a:lnTo>
                  <a:lnTo>
                    <a:pt x="18" y="146"/>
                  </a:lnTo>
                  <a:lnTo>
                    <a:pt x="16" y="150"/>
                  </a:lnTo>
                  <a:lnTo>
                    <a:pt x="12" y="152"/>
                  </a:lnTo>
                  <a:lnTo>
                    <a:pt x="10" y="158"/>
                  </a:lnTo>
                  <a:lnTo>
                    <a:pt x="10" y="162"/>
                  </a:lnTo>
                  <a:lnTo>
                    <a:pt x="10" y="172"/>
                  </a:lnTo>
                  <a:lnTo>
                    <a:pt x="8" y="174"/>
                  </a:lnTo>
                  <a:lnTo>
                    <a:pt x="6" y="176"/>
                  </a:lnTo>
                  <a:lnTo>
                    <a:pt x="6" y="178"/>
                  </a:lnTo>
                  <a:lnTo>
                    <a:pt x="2" y="184"/>
                  </a:lnTo>
                  <a:lnTo>
                    <a:pt x="0" y="190"/>
                  </a:lnTo>
                  <a:lnTo>
                    <a:pt x="0" y="196"/>
                  </a:lnTo>
                  <a:lnTo>
                    <a:pt x="2" y="202"/>
                  </a:lnTo>
                  <a:lnTo>
                    <a:pt x="0" y="204"/>
                  </a:lnTo>
                  <a:lnTo>
                    <a:pt x="0" y="206"/>
                  </a:lnTo>
                  <a:lnTo>
                    <a:pt x="0" y="212"/>
                  </a:lnTo>
                  <a:lnTo>
                    <a:pt x="4" y="212"/>
                  </a:lnTo>
                  <a:lnTo>
                    <a:pt x="10" y="212"/>
                  </a:lnTo>
                  <a:lnTo>
                    <a:pt x="12" y="212"/>
                  </a:lnTo>
                  <a:lnTo>
                    <a:pt x="14" y="210"/>
                  </a:lnTo>
                  <a:lnTo>
                    <a:pt x="16" y="210"/>
                  </a:lnTo>
                  <a:lnTo>
                    <a:pt x="18" y="208"/>
                  </a:lnTo>
                  <a:lnTo>
                    <a:pt x="22" y="210"/>
                  </a:lnTo>
                  <a:lnTo>
                    <a:pt x="26" y="212"/>
                  </a:lnTo>
                  <a:lnTo>
                    <a:pt x="82" y="214"/>
                  </a:lnTo>
                  <a:lnTo>
                    <a:pt x="84" y="216"/>
                  </a:lnTo>
                  <a:lnTo>
                    <a:pt x="86" y="218"/>
                  </a:lnTo>
                  <a:lnTo>
                    <a:pt x="88" y="220"/>
                  </a:lnTo>
                  <a:lnTo>
                    <a:pt x="90" y="220"/>
                  </a:lnTo>
                  <a:lnTo>
                    <a:pt x="90" y="222"/>
                  </a:lnTo>
                  <a:lnTo>
                    <a:pt x="92" y="222"/>
                  </a:lnTo>
                  <a:lnTo>
                    <a:pt x="92" y="222"/>
                  </a:lnTo>
                  <a:lnTo>
                    <a:pt x="96" y="222"/>
                  </a:lnTo>
                  <a:lnTo>
                    <a:pt x="98" y="224"/>
                  </a:lnTo>
                  <a:lnTo>
                    <a:pt x="100" y="224"/>
                  </a:lnTo>
                  <a:lnTo>
                    <a:pt x="102" y="224"/>
                  </a:lnTo>
                  <a:lnTo>
                    <a:pt x="106" y="224"/>
                  </a:lnTo>
                  <a:lnTo>
                    <a:pt x="108" y="224"/>
                  </a:lnTo>
                  <a:lnTo>
                    <a:pt x="114" y="226"/>
                  </a:lnTo>
                  <a:lnTo>
                    <a:pt x="118" y="228"/>
                  </a:lnTo>
                  <a:lnTo>
                    <a:pt x="150" y="222"/>
                  </a:lnTo>
                  <a:lnTo>
                    <a:pt x="146" y="222"/>
                  </a:lnTo>
                  <a:lnTo>
                    <a:pt x="146" y="218"/>
                  </a:lnTo>
                  <a:lnTo>
                    <a:pt x="146" y="216"/>
                  </a:lnTo>
                  <a:lnTo>
                    <a:pt x="142" y="212"/>
                  </a:lnTo>
                  <a:lnTo>
                    <a:pt x="138" y="206"/>
                  </a:lnTo>
                  <a:lnTo>
                    <a:pt x="136" y="202"/>
                  </a:lnTo>
                  <a:lnTo>
                    <a:pt x="134" y="196"/>
                  </a:lnTo>
                  <a:lnTo>
                    <a:pt x="132" y="194"/>
                  </a:lnTo>
                  <a:lnTo>
                    <a:pt x="132" y="136"/>
                  </a:lnTo>
                  <a:lnTo>
                    <a:pt x="160" y="136"/>
                  </a:lnTo>
                  <a:lnTo>
                    <a:pt x="160" y="132"/>
                  </a:lnTo>
                  <a:lnTo>
                    <a:pt x="160" y="124"/>
                  </a:lnTo>
                  <a:lnTo>
                    <a:pt x="160" y="122"/>
                  </a:lnTo>
                  <a:lnTo>
                    <a:pt x="162" y="118"/>
                  </a:lnTo>
                  <a:lnTo>
                    <a:pt x="162" y="112"/>
                  </a:lnTo>
                  <a:lnTo>
                    <a:pt x="160" y="108"/>
                  </a:lnTo>
                  <a:lnTo>
                    <a:pt x="150" y="108"/>
                  </a:lnTo>
                  <a:lnTo>
                    <a:pt x="150" y="108"/>
                  </a:lnTo>
                  <a:lnTo>
                    <a:pt x="146" y="110"/>
                  </a:lnTo>
                  <a:lnTo>
                    <a:pt x="144" y="112"/>
                  </a:lnTo>
                  <a:lnTo>
                    <a:pt x="140" y="108"/>
                  </a:lnTo>
                  <a:lnTo>
                    <a:pt x="138" y="104"/>
                  </a:lnTo>
                  <a:lnTo>
                    <a:pt x="138" y="100"/>
                  </a:lnTo>
                  <a:lnTo>
                    <a:pt x="138" y="96"/>
                  </a:lnTo>
                  <a:lnTo>
                    <a:pt x="138" y="92"/>
                  </a:lnTo>
                  <a:lnTo>
                    <a:pt x="140" y="88"/>
                  </a:lnTo>
                  <a:lnTo>
                    <a:pt x="138" y="84"/>
                  </a:lnTo>
                  <a:lnTo>
                    <a:pt x="136" y="82"/>
                  </a:lnTo>
                  <a:lnTo>
                    <a:pt x="136" y="80"/>
                  </a:lnTo>
                  <a:lnTo>
                    <a:pt x="134" y="76"/>
                  </a:lnTo>
                  <a:lnTo>
                    <a:pt x="132" y="72"/>
                  </a:lnTo>
                  <a:lnTo>
                    <a:pt x="132" y="68"/>
                  </a:lnTo>
                  <a:lnTo>
                    <a:pt x="132" y="64"/>
                  </a:lnTo>
                  <a:lnTo>
                    <a:pt x="132" y="62"/>
                  </a:lnTo>
                  <a:lnTo>
                    <a:pt x="130" y="60"/>
                  </a:lnTo>
                  <a:lnTo>
                    <a:pt x="130" y="58"/>
                  </a:lnTo>
                  <a:lnTo>
                    <a:pt x="130" y="52"/>
                  </a:lnTo>
                  <a:lnTo>
                    <a:pt x="128" y="48"/>
                  </a:lnTo>
                  <a:lnTo>
                    <a:pt x="124" y="48"/>
                  </a:lnTo>
                  <a:lnTo>
                    <a:pt x="118" y="48"/>
                  </a:lnTo>
                  <a:lnTo>
                    <a:pt x="118" y="44"/>
                  </a:lnTo>
                  <a:lnTo>
                    <a:pt x="116" y="44"/>
                  </a:lnTo>
                  <a:lnTo>
                    <a:pt x="110" y="44"/>
                  </a:lnTo>
                  <a:lnTo>
                    <a:pt x="104" y="42"/>
                  </a:lnTo>
                  <a:lnTo>
                    <a:pt x="102" y="44"/>
                  </a:lnTo>
                  <a:lnTo>
                    <a:pt x="100" y="46"/>
                  </a:lnTo>
                  <a:lnTo>
                    <a:pt x="100" y="50"/>
                  </a:lnTo>
                  <a:lnTo>
                    <a:pt x="102" y="54"/>
                  </a:lnTo>
                  <a:lnTo>
                    <a:pt x="102" y="56"/>
                  </a:lnTo>
                  <a:lnTo>
                    <a:pt x="100" y="58"/>
                  </a:lnTo>
                  <a:lnTo>
                    <a:pt x="98" y="58"/>
                  </a:lnTo>
                  <a:lnTo>
                    <a:pt x="96" y="56"/>
                  </a:lnTo>
                  <a:lnTo>
                    <a:pt x="94" y="58"/>
                  </a:lnTo>
                  <a:lnTo>
                    <a:pt x="92" y="60"/>
                  </a:lnTo>
                  <a:lnTo>
                    <a:pt x="92" y="60"/>
                  </a:lnTo>
                  <a:lnTo>
                    <a:pt x="86" y="60"/>
                  </a:lnTo>
                  <a:lnTo>
                    <a:pt x="82" y="58"/>
                  </a:lnTo>
                  <a:lnTo>
                    <a:pt x="80" y="56"/>
                  </a:lnTo>
                  <a:lnTo>
                    <a:pt x="78" y="50"/>
                  </a:lnTo>
                  <a:lnTo>
                    <a:pt x="78" y="44"/>
                  </a:lnTo>
                  <a:lnTo>
                    <a:pt x="76" y="40"/>
                  </a:lnTo>
                  <a:lnTo>
                    <a:pt x="76" y="36"/>
                  </a:lnTo>
                  <a:lnTo>
                    <a:pt x="76" y="32"/>
                  </a:lnTo>
                  <a:lnTo>
                    <a:pt x="74" y="22"/>
                  </a:lnTo>
                  <a:lnTo>
                    <a:pt x="46" y="24"/>
                  </a:lnTo>
                  <a:lnTo>
                    <a:pt x="32" y="22"/>
                  </a:lnTo>
                  <a:lnTo>
                    <a:pt x="26" y="22"/>
                  </a:lnTo>
                  <a:lnTo>
                    <a:pt x="22" y="24"/>
                  </a:lnTo>
                  <a:lnTo>
                    <a:pt x="18" y="26"/>
                  </a:lnTo>
                  <a:lnTo>
                    <a:pt x="12" y="30"/>
                  </a:lnTo>
                  <a:lnTo>
                    <a:pt x="10" y="30"/>
                  </a:lnTo>
                  <a:lnTo>
                    <a:pt x="10" y="3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6" name="Freeform 500">
              <a:extLst>
                <a:ext uri="{FF2B5EF4-FFF2-40B4-BE49-F238E27FC236}">
                  <a16:creationId xmlns:a16="http://schemas.microsoft.com/office/drawing/2014/main" id="{4F93DDBF-350D-4EB9-84BA-5E3CE5B220D4}"/>
                </a:ext>
              </a:extLst>
            </p:cNvPr>
            <p:cNvSpPr>
              <a:spLocks/>
            </p:cNvSpPr>
            <p:nvPr/>
          </p:nvSpPr>
          <p:spPr bwMode="auto">
            <a:xfrm>
              <a:off x="3311223" y="5220995"/>
              <a:ext cx="271909" cy="271909"/>
            </a:xfrm>
            <a:custGeom>
              <a:avLst/>
              <a:gdLst/>
              <a:ahLst/>
              <a:cxnLst>
                <a:cxn ang="0">
                  <a:pos x="38" y="102"/>
                </a:cxn>
                <a:cxn ang="0">
                  <a:pos x="30" y="108"/>
                </a:cxn>
                <a:cxn ang="0">
                  <a:pos x="20" y="110"/>
                </a:cxn>
                <a:cxn ang="0">
                  <a:pos x="12" y="104"/>
                </a:cxn>
                <a:cxn ang="0">
                  <a:pos x="8" y="100"/>
                </a:cxn>
                <a:cxn ang="0">
                  <a:pos x="0" y="108"/>
                </a:cxn>
                <a:cxn ang="0">
                  <a:pos x="6" y="120"/>
                </a:cxn>
                <a:cxn ang="0">
                  <a:pos x="10" y="130"/>
                </a:cxn>
                <a:cxn ang="0">
                  <a:pos x="16" y="142"/>
                </a:cxn>
                <a:cxn ang="0">
                  <a:pos x="22" y="168"/>
                </a:cxn>
                <a:cxn ang="0">
                  <a:pos x="16" y="176"/>
                </a:cxn>
                <a:cxn ang="0">
                  <a:pos x="18" y="182"/>
                </a:cxn>
                <a:cxn ang="0">
                  <a:pos x="18" y="188"/>
                </a:cxn>
                <a:cxn ang="0">
                  <a:pos x="18" y="198"/>
                </a:cxn>
                <a:cxn ang="0">
                  <a:pos x="24" y="200"/>
                </a:cxn>
                <a:cxn ang="0">
                  <a:pos x="28" y="204"/>
                </a:cxn>
                <a:cxn ang="0">
                  <a:pos x="36" y="206"/>
                </a:cxn>
                <a:cxn ang="0">
                  <a:pos x="46" y="208"/>
                </a:cxn>
                <a:cxn ang="0">
                  <a:pos x="62" y="200"/>
                </a:cxn>
                <a:cxn ang="0">
                  <a:pos x="74" y="198"/>
                </a:cxn>
                <a:cxn ang="0">
                  <a:pos x="80" y="196"/>
                </a:cxn>
                <a:cxn ang="0">
                  <a:pos x="90" y="196"/>
                </a:cxn>
                <a:cxn ang="0">
                  <a:pos x="100" y="198"/>
                </a:cxn>
                <a:cxn ang="0">
                  <a:pos x="112" y="196"/>
                </a:cxn>
                <a:cxn ang="0">
                  <a:pos x="120" y="192"/>
                </a:cxn>
                <a:cxn ang="0">
                  <a:pos x="126" y="192"/>
                </a:cxn>
                <a:cxn ang="0">
                  <a:pos x="136" y="188"/>
                </a:cxn>
                <a:cxn ang="0">
                  <a:pos x="150" y="178"/>
                </a:cxn>
                <a:cxn ang="0">
                  <a:pos x="156" y="170"/>
                </a:cxn>
                <a:cxn ang="0">
                  <a:pos x="168" y="160"/>
                </a:cxn>
                <a:cxn ang="0">
                  <a:pos x="170" y="152"/>
                </a:cxn>
                <a:cxn ang="0">
                  <a:pos x="180" y="138"/>
                </a:cxn>
                <a:cxn ang="0">
                  <a:pos x="188" y="126"/>
                </a:cxn>
                <a:cxn ang="0">
                  <a:pos x="206" y="112"/>
                </a:cxn>
                <a:cxn ang="0">
                  <a:pos x="210" y="72"/>
                </a:cxn>
                <a:cxn ang="0">
                  <a:pos x="198" y="78"/>
                </a:cxn>
                <a:cxn ang="0">
                  <a:pos x="186" y="72"/>
                </a:cxn>
                <a:cxn ang="0">
                  <a:pos x="188" y="60"/>
                </a:cxn>
                <a:cxn ang="0">
                  <a:pos x="192" y="60"/>
                </a:cxn>
                <a:cxn ang="0">
                  <a:pos x="196" y="56"/>
                </a:cxn>
                <a:cxn ang="0">
                  <a:pos x="194" y="44"/>
                </a:cxn>
                <a:cxn ang="0">
                  <a:pos x="194" y="22"/>
                </a:cxn>
                <a:cxn ang="0">
                  <a:pos x="196" y="8"/>
                </a:cxn>
                <a:cxn ang="0">
                  <a:pos x="188" y="0"/>
                </a:cxn>
                <a:cxn ang="0">
                  <a:pos x="180" y="0"/>
                </a:cxn>
                <a:cxn ang="0">
                  <a:pos x="170" y="0"/>
                </a:cxn>
                <a:cxn ang="0">
                  <a:pos x="166" y="4"/>
                </a:cxn>
                <a:cxn ang="0">
                  <a:pos x="158" y="4"/>
                </a:cxn>
                <a:cxn ang="0">
                  <a:pos x="150" y="10"/>
                </a:cxn>
                <a:cxn ang="0">
                  <a:pos x="138" y="16"/>
                </a:cxn>
                <a:cxn ang="0">
                  <a:pos x="130" y="24"/>
                </a:cxn>
                <a:cxn ang="0">
                  <a:pos x="128" y="36"/>
                </a:cxn>
                <a:cxn ang="0">
                  <a:pos x="120" y="58"/>
                </a:cxn>
                <a:cxn ang="0">
                  <a:pos x="114" y="58"/>
                </a:cxn>
                <a:cxn ang="0">
                  <a:pos x="104" y="58"/>
                </a:cxn>
                <a:cxn ang="0">
                  <a:pos x="98" y="58"/>
                </a:cxn>
                <a:cxn ang="0">
                  <a:pos x="90" y="54"/>
                </a:cxn>
                <a:cxn ang="0">
                  <a:pos x="86" y="62"/>
                </a:cxn>
                <a:cxn ang="0">
                  <a:pos x="72" y="70"/>
                </a:cxn>
                <a:cxn ang="0">
                  <a:pos x="58" y="76"/>
                </a:cxn>
                <a:cxn ang="0">
                  <a:pos x="54" y="78"/>
                </a:cxn>
                <a:cxn ang="0">
                  <a:pos x="54" y="66"/>
                </a:cxn>
                <a:cxn ang="0">
                  <a:pos x="46" y="54"/>
                </a:cxn>
              </a:cxnLst>
              <a:rect l="0" t="0" r="r" b="b"/>
              <a:pathLst>
                <a:path w="210" h="210">
                  <a:moveTo>
                    <a:pt x="42" y="52"/>
                  </a:moveTo>
                  <a:lnTo>
                    <a:pt x="40" y="102"/>
                  </a:lnTo>
                  <a:lnTo>
                    <a:pt x="38" y="102"/>
                  </a:lnTo>
                  <a:lnTo>
                    <a:pt x="34" y="102"/>
                  </a:lnTo>
                  <a:lnTo>
                    <a:pt x="32" y="104"/>
                  </a:lnTo>
                  <a:lnTo>
                    <a:pt x="30" y="108"/>
                  </a:lnTo>
                  <a:lnTo>
                    <a:pt x="26" y="110"/>
                  </a:lnTo>
                  <a:lnTo>
                    <a:pt x="24" y="110"/>
                  </a:lnTo>
                  <a:lnTo>
                    <a:pt x="20" y="110"/>
                  </a:lnTo>
                  <a:lnTo>
                    <a:pt x="14" y="110"/>
                  </a:lnTo>
                  <a:lnTo>
                    <a:pt x="12" y="106"/>
                  </a:lnTo>
                  <a:lnTo>
                    <a:pt x="12" y="104"/>
                  </a:lnTo>
                  <a:lnTo>
                    <a:pt x="12" y="102"/>
                  </a:lnTo>
                  <a:lnTo>
                    <a:pt x="12" y="100"/>
                  </a:lnTo>
                  <a:lnTo>
                    <a:pt x="8" y="100"/>
                  </a:lnTo>
                  <a:lnTo>
                    <a:pt x="6" y="102"/>
                  </a:lnTo>
                  <a:lnTo>
                    <a:pt x="2" y="106"/>
                  </a:lnTo>
                  <a:lnTo>
                    <a:pt x="0" y="108"/>
                  </a:lnTo>
                  <a:lnTo>
                    <a:pt x="4" y="116"/>
                  </a:lnTo>
                  <a:lnTo>
                    <a:pt x="8" y="118"/>
                  </a:lnTo>
                  <a:lnTo>
                    <a:pt x="6" y="120"/>
                  </a:lnTo>
                  <a:lnTo>
                    <a:pt x="6" y="122"/>
                  </a:lnTo>
                  <a:lnTo>
                    <a:pt x="8" y="124"/>
                  </a:lnTo>
                  <a:lnTo>
                    <a:pt x="10" y="130"/>
                  </a:lnTo>
                  <a:lnTo>
                    <a:pt x="10" y="138"/>
                  </a:lnTo>
                  <a:lnTo>
                    <a:pt x="12" y="140"/>
                  </a:lnTo>
                  <a:lnTo>
                    <a:pt x="16" y="142"/>
                  </a:lnTo>
                  <a:lnTo>
                    <a:pt x="20" y="154"/>
                  </a:lnTo>
                  <a:lnTo>
                    <a:pt x="22" y="158"/>
                  </a:lnTo>
                  <a:lnTo>
                    <a:pt x="22" y="168"/>
                  </a:lnTo>
                  <a:lnTo>
                    <a:pt x="20" y="176"/>
                  </a:lnTo>
                  <a:lnTo>
                    <a:pt x="16" y="174"/>
                  </a:lnTo>
                  <a:lnTo>
                    <a:pt x="16" y="176"/>
                  </a:lnTo>
                  <a:lnTo>
                    <a:pt x="14" y="176"/>
                  </a:lnTo>
                  <a:lnTo>
                    <a:pt x="16" y="182"/>
                  </a:lnTo>
                  <a:lnTo>
                    <a:pt x="18" y="182"/>
                  </a:lnTo>
                  <a:lnTo>
                    <a:pt x="16" y="184"/>
                  </a:lnTo>
                  <a:lnTo>
                    <a:pt x="16" y="188"/>
                  </a:lnTo>
                  <a:lnTo>
                    <a:pt x="18" y="188"/>
                  </a:lnTo>
                  <a:lnTo>
                    <a:pt x="20" y="190"/>
                  </a:lnTo>
                  <a:lnTo>
                    <a:pt x="20" y="196"/>
                  </a:lnTo>
                  <a:lnTo>
                    <a:pt x="18" y="198"/>
                  </a:lnTo>
                  <a:lnTo>
                    <a:pt x="22" y="204"/>
                  </a:lnTo>
                  <a:lnTo>
                    <a:pt x="24" y="204"/>
                  </a:lnTo>
                  <a:lnTo>
                    <a:pt x="24" y="200"/>
                  </a:lnTo>
                  <a:lnTo>
                    <a:pt x="26" y="200"/>
                  </a:lnTo>
                  <a:lnTo>
                    <a:pt x="28" y="202"/>
                  </a:lnTo>
                  <a:lnTo>
                    <a:pt x="28" y="204"/>
                  </a:lnTo>
                  <a:lnTo>
                    <a:pt x="30" y="204"/>
                  </a:lnTo>
                  <a:lnTo>
                    <a:pt x="34" y="204"/>
                  </a:lnTo>
                  <a:lnTo>
                    <a:pt x="36" y="206"/>
                  </a:lnTo>
                  <a:lnTo>
                    <a:pt x="40" y="208"/>
                  </a:lnTo>
                  <a:lnTo>
                    <a:pt x="44" y="210"/>
                  </a:lnTo>
                  <a:lnTo>
                    <a:pt x="46" y="208"/>
                  </a:lnTo>
                  <a:lnTo>
                    <a:pt x="54" y="204"/>
                  </a:lnTo>
                  <a:lnTo>
                    <a:pt x="54" y="200"/>
                  </a:lnTo>
                  <a:lnTo>
                    <a:pt x="62" y="200"/>
                  </a:lnTo>
                  <a:lnTo>
                    <a:pt x="70" y="204"/>
                  </a:lnTo>
                  <a:lnTo>
                    <a:pt x="72" y="202"/>
                  </a:lnTo>
                  <a:lnTo>
                    <a:pt x="74" y="198"/>
                  </a:lnTo>
                  <a:lnTo>
                    <a:pt x="76" y="198"/>
                  </a:lnTo>
                  <a:lnTo>
                    <a:pt x="78" y="198"/>
                  </a:lnTo>
                  <a:lnTo>
                    <a:pt x="80" y="196"/>
                  </a:lnTo>
                  <a:lnTo>
                    <a:pt x="82" y="196"/>
                  </a:lnTo>
                  <a:lnTo>
                    <a:pt x="88" y="198"/>
                  </a:lnTo>
                  <a:lnTo>
                    <a:pt x="90" y="196"/>
                  </a:lnTo>
                  <a:lnTo>
                    <a:pt x="92" y="196"/>
                  </a:lnTo>
                  <a:lnTo>
                    <a:pt x="94" y="194"/>
                  </a:lnTo>
                  <a:lnTo>
                    <a:pt x="100" y="198"/>
                  </a:lnTo>
                  <a:lnTo>
                    <a:pt x="104" y="198"/>
                  </a:lnTo>
                  <a:lnTo>
                    <a:pt x="110" y="198"/>
                  </a:lnTo>
                  <a:lnTo>
                    <a:pt x="112" y="196"/>
                  </a:lnTo>
                  <a:lnTo>
                    <a:pt x="114" y="196"/>
                  </a:lnTo>
                  <a:lnTo>
                    <a:pt x="120" y="196"/>
                  </a:lnTo>
                  <a:lnTo>
                    <a:pt x="120" y="192"/>
                  </a:lnTo>
                  <a:lnTo>
                    <a:pt x="122" y="190"/>
                  </a:lnTo>
                  <a:lnTo>
                    <a:pt x="124" y="190"/>
                  </a:lnTo>
                  <a:lnTo>
                    <a:pt x="126" y="192"/>
                  </a:lnTo>
                  <a:lnTo>
                    <a:pt x="130" y="192"/>
                  </a:lnTo>
                  <a:lnTo>
                    <a:pt x="132" y="190"/>
                  </a:lnTo>
                  <a:lnTo>
                    <a:pt x="136" y="188"/>
                  </a:lnTo>
                  <a:lnTo>
                    <a:pt x="140" y="188"/>
                  </a:lnTo>
                  <a:lnTo>
                    <a:pt x="148" y="182"/>
                  </a:lnTo>
                  <a:lnTo>
                    <a:pt x="150" y="178"/>
                  </a:lnTo>
                  <a:lnTo>
                    <a:pt x="152" y="178"/>
                  </a:lnTo>
                  <a:lnTo>
                    <a:pt x="154" y="174"/>
                  </a:lnTo>
                  <a:lnTo>
                    <a:pt x="156" y="170"/>
                  </a:lnTo>
                  <a:lnTo>
                    <a:pt x="160" y="168"/>
                  </a:lnTo>
                  <a:lnTo>
                    <a:pt x="166" y="160"/>
                  </a:lnTo>
                  <a:lnTo>
                    <a:pt x="168" y="160"/>
                  </a:lnTo>
                  <a:lnTo>
                    <a:pt x="170" y="158"/>
                  </a:lnTo>
                  <a:lnTo>
                    <a:pt x="170" y="154"/>
                  </a:lnTo>
                  <a:lnTo>
                    <a:pt x="170" y="152"/>
                  </a:lnTo>
                  <a:lnTo>
                    <a:pt x="178" y="148"/>
                  </a:lnTo>
                  <a:lnTo>
                    <a:pt x="178" y="142"/>
                  </a:lnTo>
                  <a:lnTo>
                    <a:pt x="180" y="138"/>
                  </a:lnTo>
                  <a:lnTo>
                    <a:pt x="184" y="136"/>
                  </a:lnTo>
                  <a:lnTo>
                    <a:pt x="186" y="132"/>
                  </a:lnTo>
                  <a:lnTo>
                    <a:pt x="188" y="126"/>
                  </a:lnTo>
                  <a:lnTo>
                    <a:pt x="190" y="122"/>
                  </a:lnTo>
                  <a:lnTo>
                    <a:pt x="196" y="118"/>
                  </a:lnTo>
                  <a:lnTo>
                    <a:pt x="206" y="112"/>
                  </a:lnTo>
                  <a:lnTo>
                    <a:pt x="204" y="96"/>
                  </a:lnTo>
                  <a:lnTo>
                    <a:pt x="208" y="96"/>
                  </a:lnTo>
                  <a:lnTo>
                    <a:pt x="210" y="72"/>
                  </a:lnTo>
                  <a:lnTo>
                    <a:pt x="200" y="70"/>
                  </a:lnTo>
                  <a:lnTo>
                    <a:pt x="202" y="80"/>
                  </a:lnTo>
                  <a:lnTo>
                    <a:pt x="198" y="78"/>
                  </a:lnTo>
                  <a:lnTo>
                    <a:pt x="192" y="76"/>
                  </a:lnTo>
                  <a:lnTo>
                    <a:pt x="188" y="74"/>
                  </a:lnTo>
                  <a:lnTo>
                    <a:pt x="186" y="72"/>
                  </a:lnTo>
                  <a:lnTo>
                    <a:pt x="186" y="68"/>
                  </a:lnTo>
                  <a:lnTo>
                    <a:pt x="186" y="64"/>
                  </a:lnTo>
                  <a:lnTo>
                    <a:pt x="188" y="60"/>
                  </a:lnTo>
                  <a:lnTo>
                    <a:pt x="188" y="58"/>
                  </a:lnTo>
                  <a:lnTo>
                    <a:pt x="190" y="58"/>
                  </a:lnTo>
                  <a:lnTo>
                    <a:pt x="192" y="60"/>
                  </a:lnTo>
                  <a:lnTo>
                    <a:pt x="194" y="58"/>
                  </a:lnTo>
                  <a:lnTo>
                    <a:pt x="196" y="58"/>
                  </a:lnTo>
                  <a:lnTo>
                    <a:pt x="196" y="56"/>
                  </a:lnTo>
                  <a:lnTo>
                    <a:pt x="194" y="52"/>
                  </a:lnTo>
                  <a:lnTo>
                    <a:pt x="194" y="48"/>
                  </a:lnTo>
                  <a:lnTo>
                    <a:pt x="194" y="44"/>
                  </a:lnTo>
                  <a:lnTo>
                    <a:pt x="196" y="38"/>
                  </a:lnTo>
                  <a:lnTo>
                    <a:pt x="196" y="30"/>
                  </a:lnTo>
                  <a:lnTo>
                    <a:pt x="194" y="22"/>
                  </a:lnTo>
                  <a:lnTo>
                    <a:pt x="194" y="16"/>
                  </a:lnTo>
                  <a:lnTo>
                    <a:pt x="196" y="12"/>
                  </a:lnTo>
                  <a:lnTo>
                    <a:pt x="196" y="8"/>
                  </a:lnTo>
                  <a:lnTo>
                    <a:pt x="196" y="4"/>
                  </a:lnTo>
                  <a:lnTo>
                    <a:pt x="194" y="0"/>
                  </a:lnTo>
                  <a:lnTo>
                    <a:pt x="188" y="0"/>
                  </a:lnTo>
                  <a:lnTo>
                    <a:pt x="184" y="0"/>
                  </a:lnTo>
                  <a:lnTo>
                    <a:pt x="182" y="0"/>
                  </a:lnTo>
                  <a:lnTo>
                    <a:pt x="180" y="0"/>
                  </a:lnTo>
                  <a:lnTo>
                    <a:pt x="174" y="0"/>
                  </a:lnTo>
                  <a:lnTo>
                    <a:pt x="172" y="0"/>
                  </a:lnTo>
                  <a:lnTo>
                    <a:pt x="170" y="0"/>
                  </a:lnTo>
                  <a:lnTo>
                    <a:pt x="170" y="0"/>
                  </a:lnTo>
                  <a:lnTo>
                    <a:pt x="168" y="0"/>
                  </a:lnTo>
                  <a:lnTo>
                    <a:pt x="166" y="4"/>
                  </a:lnTo>
                  <a:lnTo>
                    <a:pt x="162" y="4"/>
                  </a:lnTo>
                  <a:lnTo>
                    <a:pt x="160" y="4"/>
                  </a:lnTo>
                  <a:lnTo>
                    <a:pt x="158" y="4"/>
                  </a:lnTo>
                  <a:lnTo>
                    <a:pt x="158" y="6"/>
                  </a:lnTo>
                  <a:lnTo>
                    <a:pt x="156" y="6"/>
                  </a:lnTo>
                  <a:lnTo>
                    <a:pt x="150" y="10"/>
                  </a:lnTo>
                  <a:lnTo>
                    <a:pt x="144" y="12"/>
                  </a:lnTo>
                  <a:lnTo>
                    <a:pt x="140" y="14"/>
                  </a:lnTo>
                  <a:lnTo>
                    <a:pt x="138" y="16"/>
                  </a:lnTo>
                  <a:lnTo>
                    <a:pt x="136" y="20"/>
                  </a:lnTo>
                  <a:lnTo>
                    <a:pt x="132" y="22"/>
                  </a:lnTo>
                  <a:lnTo>
                    <a:pt x="130" y="24"/>
                  </a:lnTo>
                  <a:lnTo>
                    <a:pt x="130" y="30"/>
                  </a:lnTo>
                  <a:lnTo>
                    <a:pt x="128" y="34"/>
                  </a:lnTo>
                  <a:lnTo>
                    <a:pt x="128" y="36"/>
                  </a:lnTo>
                  <a:lnTo>
                    <a:pt x="122" y="38"/>
                  </a:lnTo>
                  <a:lnTo>
                    <a:pt x="120" y="38"/>
                  </a:lnTo>
                  <a:lnTo>
                    <a:pt x="120" y="58"/>
                  </a:lnTo>
                  <a:lnTo>
                    <a:pt x="118" y="60"/>
                  </a:lnTo>
                  <a:lnTo>
                    <a:pt x="116" y="60"/>
                  </a:lnTo>
                  <a:lnTo>
                    <a:pt x="114" y="58"/>
                  </a:lnTo>
                  <a:lnTo>
                    <a:pt x="110" y="58"/>
                  </a:lnTo>
                  <a:lnTo>
                    <a:pt x="106" y="58"/>
                  </a:lnTo>
                  <a:lnTo>
                    <a:pt x="104" y="58"/>
                  </a:lnTo>
                  <a:lnTo>
                    <a:pt x="102" y="56"/>
                  </a:lnTo>
                  <a:lnTo>
                    <a:pt x="100" y="56"/>
                  </a:lnTo>
                  <a:lnTo>
                    <a:pt x="98" y="58"/>
                  </a:lnTo>
                  <a:lnTo>
                    <a:pt x="96" y="58"/>
                  </a:lnTo>
                  <a:lnTo>
                    <a:pt x="94" y="54"/>
                  </a:lnTo>
                  <a:lnTo>
                    <a:pt x="90" y="54"/>
                  </a:lnTo>
                  <a:lnTo>
                    <a:pt x="88" y="56"/>
                  </a:lnTo>
                  <a:lnTo>
                    <a:pt x="86" y="58"/>
                  </a:lnTo>
                  <a:lnTo>
                    <a:pt x="86" y="62"/>
                  </a:lnTo>
                  <a:lnTo>
                    <a:pt x="84" y="64"/>
                  </a:lnTo>
                  <a:lnTo>
                    <a:pt x="80" y="66"/>
                  </a:lnTo>
                  <a:lnTo>
                    <a:pt x="72" y="70"/>
                  </a:lnTo>
                  <a:lnTo>
                    <a:pt x="68" y="72"/>
                  </a:lnTo>
                  <a:lnTo>
                    <a:pt x="60" y="76"/>
                  </a:lnTo>
                  <a:lnTo>
                    <a:pt x="58" y="76"/>
                  </a:lnTo>
                  <a:lnTo>
                    <a:pt x="56" y="78"/>
                  </a:lnTo>
                  <a:lnTo>
                    <a:pt x="54" y="78"/>
                  </a:lnTo>
                  <a:lnTo>
                    <a:pt x="54" y="78"/>
                  </a:lnTo>
                  <a:lnTo>
                    <a:pt x="52" y="76"/>
                  </a:lnTo>
                  <a:lnTo>
                    <a:pt x="52" y="70"/>
                  </a:lnTo>
                  <a:lnTo>
                    <a:pt x="54" y="66"/>
                  </a:lnTo>
                  <a:lnTo>
                    <a:pt x="52" y="60"/>
                  </a:lnTo>
                  <a:lnTo>
                    <a:pt x="48" y="56"/>
                  </a:lnTo>
                  <a:lnTo>
                    <a:pt x="46" y="54"/>
                  </a:lnTo>
                  <a:lnTo>
                    <a:pt x="42" y="52"/>
                  </a:lnTo>
                  <a:lnTo>
                    <a:pt x="42" y="5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7" name="Freeform 501">
              <a:extLst>
                <a:ext uri="{FF2B5EF4-FFF2-40B4-BE49-F238E27FC236}">
                  <a16:creationId xmlns:a16="http://schemas.microsoft.com/office/drawing/2014/main" id="{49BA9FD0-68DF-43F2-AACA-2422DC341C0B}"/>
                </a:ext>
              </a:extLst>
            </p:cNvPr>
            <p:cNvSpPr>
              <a:spLocks/>
            </p:cNvSpPr>
            <p:nvPr/>
          </p:nvSpPr>
          <p:spPr bwMode="auto">
            <a:xfrm>
              <a:off x="4064799" y="3972803"/>
              <a:ext cx="220117" cy="266730"/>
            </a:xfrm>
            <a:custGeom>
              <a:avLst/>
              <a:gdLst/>
              <a:ahLst/>
              <a:cxnLst>
                <a:cxn ang="0">
                  <a:pos x="74" y="204"/>
                </a:cxn>
                <a:cxn ang="0">
                  <a:pos x="76" y="206"/>
                </a:cxn>
                <a:cxn ang="0">
                  <a:pos x="104" y="204"/>
                </a:cxn>
                <a:cxn ang="0">
                  <a:pos x="110" y="190"/>
                </a:cxn>
                <a:cxn ang="0">
                  <a:pos x="108" y="184"/>
                </a:cxn>
                <a:cxn ang="0">
                  <a:pos x="106" y="148"/>
                </a:cxn>
                <a:cxn ang="0">
                  <a:pos x="124" y="138"/>
                </a:cxn>
                <a:cxn ang="0">
                  <a:pos x="152" y="110"/>
                </a:cxn>
                <a:cxn ang="0">
                  <a:pos x="164" y="88"/>
                </a:cxn>
                <a:cxn ang="0">
                  <a:pos x="152" y="58"/>
                </a:cxn>
                <a:cxn ang="0">
                  <a:pos x="154" y="26"/>
                </a:cxn>
                <a:cxn ang="0">
                  <a:pos x="160" y="0"/>
                </a:cxn>
                <a:cxn ang="0">
                  <a:pos x="150" y="0"/>
                </a:cxn>
                <a:cxn ang="0">
                  <a:pos x="132" y="4"/>
                </a:cxn>
                <a:cxn ang="0">
                  <a:pos x="120" y="22"/>
                </a:cxn>
                <a:cxn ang="0">
                  <a:pos x="118" y="30"/>
                </a:cxn>
                <a:cxn ang="0">
                  <a:pos x="110" y="40"/>
                </a:cxn>
                <a:cxn ang="0">
                  <a:pos x="102" y="44"/>
                </a:cxn>
                <a:cxn ang="0">
                  <a:pos x="106" y="54"/>
                </a:cxn>
                <a:cxn ang="0">
                  <a:pos x="100" y="64"/>
                </a:cxn>
                <a:cxn ang="0">
                  <a:pos x="94" y="72"/>
                </a:cxn>
                <a:cxn ang="0">
                  <a:pos x="86" y="66"/>
                </a:cxn>
                <a:cxn ang="0">
                  <a:pos x="76" y="74"/>
                </a:cxn>
                <a:cxn ang="0">
                  <a:pos x="78" y="84"/>
                </a:cxn>
                <a:cxn ang="0">
                  <a:pos x="72" y="84"/>
                </a:cxn>
                <a:cxn ang="0">
                  <a:pos x="56" y="100"/>
                </a:cxn>
                <a:cxn ang="0">
                  <a:pos x="54" y="112"/>
                </a:cxn>
                <a:cxn ang="0">
                  <a:pos x="44" y="118"/>
                </a:cxn>
                <a:cxn ang="0">
                  <a:pos x="26" y="116"/>
                </a:cxn>
                <a:cxn ang="0">
                  <a:pos x="18" y="118"/>
                </a:cxn>
                <a:cxn ang="0">
                  <a:pos x="8" y="122"/>
                </a:cxn>
                <a:cxn ang="0">
                  <a:pos x="8" y="130"/>
                </a:cxn>
                <a:cxn ang="0">
                  <a:pos x="20" y="142"/>
                </a:cxn>
                <a:cxn ang="0">
                  <a:pos x="24" y="156"/>
                </a:cxn>
                <a:cxn ang="0">
                  <a:pos x="30" y="164"/>
                </a:cxn>
                <a:cxn ang="0">
                  <a:pos x="18" y="170"/>
                </a:cxn>
                <a:cxn ang="0">
                  <a:pos x="2" y="182"/>
                </a:cxn>
                <a:cxn ang="0">
                  <a:pos x="6" y="198"/>
                </a:cxn>
                <a:cxn ang="0">
                  <a:pos x="8" y="196"/>
                </a:cxn>
                <a:cxn ang="0">
                  <a:pos x="14" y="194"/>
                </a:cxn>
                <a:cxn ang="0">
                  <a:pos x="24" y="196"/>
                </a:cxn>
                <a:cxn ang="0">
                  <a:pos x="34" y="194"/>
                </a:cxn>
                <a:cxn ang="0">
                  <a:pos x="50" y="190"/>
                </a:cxn>
                <a:cxn ang="0">
                  <a:pos x="56" y="190"/>
                </a:cxn>
                <a:cxn ang="0">
                  <a:pos x="66" y="194"/>
                </a:cxn>
                <a:cxn ang="0">
                  <a:pos x="68" y="198"/>
                </a:cxn>
              </a:cxnLst>
              <a:rect l="0" t="0" r="r" b="b"/>
              <a:pathLst>
                <a:path w="170" h="206">
                  <a:moveTo>
                    <a:pt x="68" y="202"/>
                  </a:moveTo>
                  <a:lnTo>
                    <a:pt x="74" y="204"/>
                  </a:lnTo>
                  <a:lnTo>
                    <a:pt x="76" y="206"/>
                  </a:lnTo>
                  <a:lnTo>
                    <a:pt x="76" y="206"/>
                  </a:lnTo>
                  <a:lnTo>
                    <a:pt x="86" y="202"/>
                  </a:lnTo>
                  <a:lnTo>
                    <a:pt x="104" y="204"/>
                  </a:lnTo>
                  <a:lnTo>
                    <a:pt x="116" y="198"/>
                  </a:lnTo>
                  <a:lnTo>
                    <a:pt x="110" y="190"/>
                  </a:lnTo>
                  <a:lnTo>
                    <a:pt x="108" y="188"/>
                  </a:lnTo>
                  <a:lnTo>
                    <a:pt x="108" y="184"/>
                  </a:lnTo>
                  <a:lnTo>
                    <a:pt x="98" y="168"/>
                  </a:lnTo>
                  <a:lnTo>
                    <a:pt x="106" y="148"/>
                  </a:lnTo>
                  <a:lnTo>
                    <a:pt x="112" y="154"/>
                  </a:lnTo>
                  <a:lnTo>
                    <a:pt x="124" y="138"/>
                  </a:lnTo>
                  <a:lnTo>
                    <a:pt x="140" y="120"/>
                  </a:lnTo>
                  <a:lnTo>
                    <a:pt x="152" y="110"/>
                  </a:lnTo>
                  <a:lnTo>
                    <a:pt x="154" y="102"/>
                  </a:lnTo>
                  <a:lnTo>
                    <a:pt x="164" y="88"/>
                  </a:lnTo>
                  <a:lnTo>
                    <a:pt x="170" y="66"/>
                  </a:lnTo>
                  <a:lnTo>
                    <a:pt x="152" y="58"/>
                  </a:lnTo>
                  <a:lnTo>
                    <a:pt x="144" y="44"/>
                  </a:lnTo>
                  <a:lnTo>
                    <a:pt x="154" y="26"/>
                  </a:lnTo>
                  <a:lnTo>
                    <a:pt x="142" y="12"/>
                  </a:lnTo>
                  <a:lnTo>
                    <a:pt x="160" y="0"/>
                  </a:lnTo>
                  <a:lnTo>
                    <a:pt x="158" y="0"/>
                  </a:lnTo>
                  <a:lnTo>
                    <a:pt x="150" y="0"/>
                  </a:lnTo>
                  <a:lnTo>
                    <a:pt x="144" y="2"/>
                  </a:lnTo>
                  <a:lnTo>
                    <a:pt x="132" y="4"/>
                  </a:lnTo>
                  <a:lnTo>
                    <a:pt x="120" y="14"/>
                  </a:lnTo>
                  <a:lnTo>
                    <a:pt x="120" y="22"/>
                  </a:lnTo>
                  <a:lnTo>
                    <a:pt x="116" y="24"/>
                  </a:lnTo>
                  <a:lnTo>
                    <a:pt x="118" y="30"/>
                  </a:lnTo>
                  <a:lnTo>
                    <a:pt x="116" y="38"/>
                  </a:lnTo>
                  <a:lnTo>
                    <a:pt x="110" y="40"/>
                  </a:lnTo>
                  <a:lnTo>
                    <a:pt x="104" y="38"/>
                  </a:lnTo>
                  <a:lnTo>
                    <a:pt x="102" y="44"/>
                  </a:lnTo>
                  <a:lnTo>
                    <a:pt x="106" y="48"/>
                  </a:lnTo>
                  <a:lnTo>
                    <a:pt x="106" y="54"/>
                  </a:lnTo>
                  <a:lnTo>
                    <a:pt x="100" y="60"/>
                  </a:lnTo>
                  <a:lnTo>
                    <a:pt x="100" y="64"/>
                  </a:lnTo>
                  <a:lnTo>
                    <a:pt x="98" y="70"/>
                  </a:lnTo>
                  <a:lnTo>
                    <a:pt x="94" y="72"/>
                  </a:lnTo>
                  <a:lnTo>
                    <a:pt x="90" y="70"/>
                  </a:lnTo>
                  <a:lnTo>
                    <a:pt x="86" y="66"/>
                  </a:lnTo>
                  <a:lnTo>
                    <a:pt x="82" y="70"/>
                  </a:lnTo>
                  <a:lnTo>
                    <a:pt x="76" y="74"/>
                  </a:lnTo>
                  <a:lnTo>
                    <a:pt x="80" y="80"/>
                  </a:lnTo>
                  <a:lnTo>
                    <a:pt x="78" y="84"/>
                  </a:lnTo>
                  <a:lnTo>
                    <a:pt x="76" y="86"/>
                  </a:lnTo>
                  <a:lnTo>
                    <a:pt x="72" y="84"/>
                  </a:lnTo>
                  <a:lnTo>
                    <a:pt x="64" y="96"/>
                  </a:lnTo>
                  <a:lnTo>
                    <a:pt x="56" y="100"/>
                  </a:lnTo>
                  <a:lnTo>
                    <a:pt x="56" y="104"/>
                  </a:lnTo>
                  <a:lnTo>
                    <a:pt x="54" y="112"/>
                  </a:lnTo>
                  <a:lnTo>
                    <a:pt x="46" y="114"/>
                  </a:lnTo>
                  <a:lnTo>
                    <a:pt x="44" y="118"/>
                  </a:lnTo>
                  <a:lnTo>
                    <a:pt x="38" y="116"/>
                  </a:lnTo>
                  <a:lnTo>
                    <a:pt x="26" y="116"/>
                  </a:lnTo>
                  <a:lnTo>
                    <a:pt x="20" y="116"/>
                  </a:lnTo>
                  <a:lnTo>
                    <a:pt x="18" y="118"/>
                  </a:lnTo>
                  <a:lnTo>
                    <a:pt x="4" y="110"/>
                  </a:lnTo>
                  <a:lnTo>
                    <a:pt x="8" y="122"/>
                  </a:lnTo>
                  <a:lnTo>
                    <a:pt x="6" y="126"/>
                  </a:lnTo>
                  <a:lnTo>
                    <a:pt x="8" y="130"/>
                  </a:lnTo>
                  <a:lnTo>
                    <a:pt x="16" y="140"/>
                  </a:lnTo>
                  <a:lnTo>
                    <a:pt x="20" y="142"/>
                  </a:lnTo>
                  <a:lnTo>
                    <a:pt x="24" y="148"/>
                  </a:lnTo>
                  <a:lnTo>
                    <a:pt x="24" y="156"/>
                  </a:lnTo>
                  <a:lnTo>
                    <a:pt x="30" y="156"/>
                  </a:lnTo>
                  <a:lnTo>
                    <a:pt x="30" y="164"/>
                  </a:lnTo>
                  <a:lnTo>
                    <a:pt x="24" y="168"/>
                  </a:lnTo>
                  <a:lnTo>
                    <a:pt x="18" y="170"/>
                  </a:lnTo>
                  <a:lnTo>
                    <a:pt x="8" y="170"/>
                  </a:lnTo>
                  <a:lnTo>
                    <a:pt x="2" y="182"/>
                  </a:lnTo>
                  <a:lnTo>
                    <a:pt x="0" y="198"/>
                  </a:lnTo>
                  <a:lnTo>
                    <a:pt x="6" y="198"/>
                  </a:lnTo>
                  <a:lnTo>
                    <a:pt x="6" y="196"/>
                  </a:lnTo>
                  <a:lnTo>
                    <a:pt x="8" y="196"/>
                  </a:lnTo>
                  <a:lnTo>
                    <a:pt x="10" y="196"/>
                  </a:lnTo>
                  <a:lnTo>
                    <a:pt x="14" y="194"/>
                  </a:lnTo>
                  <a:lnTo>
                    <a:pt x="20" y="196"/>
                  </a:lnTo>
                  <a:lnTo>
                    <a:pt x="24" y="196"/>
                  </a:lnTo>
                  <a:lnTo>
                    <a:pt x="26" y="194"/>
                  </a:lnTo>
                  <a:lnTo>
                    <a:pt x="34" y="194"/>
                  </a:lnTo>
                  <a:lnTo>
                    <a:pt x="42" y="194"/>
                  </a:lnTo>
                  <a:lnTo>
                    <a:pt x="50" y="190"/>
                  </a:lnTo>
                  <a:lnTo>
                    <a:pt x="54" y="190"/>
                  </a:lnTo>
                  <a:lnTo>
                    <a:pt x="56" y="190"/>
                  </a:lnTo>
                  <a:lnTo>
                    <a:pt x="66" y="188"/>
                  </a:lnTo>
                  <a:lnTo>
                    <a:pt x="66" y="194"/>
                  </a:lnTo>
                  <a:lnTo>
                    <a:pt x="68" y="194"/>
                  </a:lnTo>
                  <a:lnTo>
                    <a:pt x="68" y="198"/>
                  </a:lnTo>
                  <a:lnTo>
                    <a:pt x="68" y="20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8" name="Freeform 502">
              <a:extLst>
                <a:ext uri="{FF2B5EF4-FFF2-40B4-BE49-F238E27FC236}">
                  <a16:creationId xmlns:a16="http://schemas.microsoft.com/office/drawing/2014/main" id="{C429AD4F-D30F-4347-B006-72B41ACE8E23}"/>
                </a:ext>
              </a:extLst>
            </p:cNvPr>
            <p:cNvSpPr>
              <a:spLocks/>
            </p:cNvSpPr>
            <p:nvPr/>
          </p:nvSpPr>
          <p:spPr bwMode="auto">
            <a:xfrm>
              <a:off x="3378553" y="3853681"/>
              <a:ext cx="119122" cy="108764"/>
            </a:xfrm>
            <a:custGeom>
              <a:avLst/>
              <a:gdLst/>
              <a:ahLst/>
              <a:cxnLst>
                <a:cxn ang="0">
                  <a:pos x="2" y="42"/>
                </a:cxn>
                <a:cxn ang="0">
                  <a:pos x="8" y="50"/>
                </a:cxn>
                <a:cxn ang="0">
                  <a:pos x="10" y="58"/>
                </a:cxn>
                <a:cxn ang="0">
                  <a:pos x="24" y="64"/>
                </a:cxn>
                <a:cxn ang="0">
                  <a:pos x="30" y="70"/>
                </a:cxn>
                <a:cxn ang="0">
                  <a:pos x="20" y="64"/>
                </a:cxn>
                <a:cxn ang="0">
                  <a:pos x="16" y="76"/>
                </a:cxn>
                <a:cxn ang="0">
                  <a:pos x="20" y="84"/>
                </a:cxn>
                <a:cxn ang="0">
                  <a:pos x="30" y="84"/>
                </a:cxn>
                <a:cxn ang="0">
                  <a:pos x="32" y="80"/>
                </a:cxn>
                <a:cxn ang="0">
                  <a:pos x="42" y="80"/>
                </a:cxn>
                <a:cxn ang="0">
                  <a:pos x="38" y="72"/>
                </a:cxn>
                <a:cxn ang="0">
                  <a:pos x="50" y="66"/>
                </a:cxn>
                <a:cxn ang="0">
                  <a:pos x="40" y="56"/>
                </a:cxn>
                <a:cxn ang="0">
                  <a:pos x="42" y="58"/>
                </a:cxn>
                <a:cxn ang="0">
                  <a:pos x="54" y="64"/>
                </a:cxn>
                <a:cxn ang="0">
                  <a:pos x="58" y="68"/>
                </a:cxn>
                <a:cxn ang="0">
                  <a:pos x="46" y="56"/>
                </a:cxn>
                <a:cxn ang="0">
                  <a:pos x="36" y="52"/>
                </a:cxn>
                <a:cxn ang="0">
                  <a:pos x="34" y="42"/>
                </a:cxn>
                <a:cxn ang="0">
                  <a:pos x="40" y="42"/>
                </a:cxn>
                <a:cxn ang="0">
                  <a:pos x="34" y="30"/>
                </a:cxn>
                <a:cxn ang="0">
                  <a:pos x="32" y="24"/>
                </a:cxn>
                <a:cxn ang="0">
                  <a:pos x="42" y="30"/>
                </a:cxn>
                <a:cxn ang="0">
                  <a:pos x="44" y="26"/>
                </a:cxn>
                <a:cxn ang="0">
                  <a:pos x="50" y="24"/>
                </a:cxn>
                <a:cxn ang="0">
                  <a:pos x="52" y="22"/>
                </a:cxn>
                <a:cxn ang="0">
                  <a:pos x="48" y="14"/>
                </a:cxn>
                <a:cxn ang="0">
                  <a:pos x="76" y="14"/>
                </a:cxn>
                <a:cxn ang="0">
                  <a:pos x="80" y="16"/>
                </a:cxn>
                <a:cxn ang="0">
                  <a:pos x="84" y="8"/>
                </a:cxn>
                <a:cxn ang="0">
                  <a:pos x="90" y="10"/>
                </a:cxn>
                <a:cxn ang="0">
                  <a:pos x="90" y="4"/>
                </a:cxn>
                <a:cxn ang="0">
                  <a:pos x="80" y="2"/>
                </a:cxn>
                <a:cxn ang="0">
                  <a:pos x="80" y="6"/>
                </a:cxn>
                <a:cxn ang="0">
                  <a:pos x="70" y="4"/>
                </a:cxn>
                <a:cxn ang="0">
                  <a:pos x="60" y="0"/>
                </a:cxn>
                <a:cxn ang="0">
                  <a:pos x="54" y="8"/>
                </a:cxn>
                <a:cxn ang="0">
                  <a:pos x="42" y="6"/>
                </a:cxn>
                <a:cxn ang="0">
                  <a:pos x="38" y="12"/>
                </a:cxn>
                <a:cxn ang="0">
                  <a:pos x="30" y="14"/>
                </a:cxn>
                <a:cxn ang="0">
                  <a:pos x="26" y="18"/>
                </a:cxn>
                <a:cxn ang="0">
                  <a:pos x="10" y="20"/>
                </a:cxn>
                <a:cxn ang="0">
                  <a:pos x="6" y="32"/>
                </a:cxn>
                <a:cxn ang="0">
                  <a:pos x="0" y="34"/>
                </a:cxn>
              </a:cxnLst>
              <a:rect l="0" t="0" r="r" b="b"/>
              <a:pathLst>
                <a:path w="92" h="84">
                  <a:moveTo>
                    <a:pt x="0" y="34"/>
                  </a:moveTo>
                  <a:lnTo>
                    <a:pt x="0" y="34"/>
                  </a:lnTo>
                  <a:lnTo>
                    <a:pt x="2" y="42"/>
                  </a:lnTo>
                  <a:lnTo>
                    <a:pt x="6" y="44"/>
                  </a:lnTo>
                  <a:lnTo>
                    <a:pt x="6" y="46"/>
                  </a:lnTo>
                  <a:lnTo>
                    <a:pt x="8" y="50"/>
                  </a:lnTo>
                  <a:lnTo>
                    <a:pt x="14" y="50"/>
                  </a:lnTo>
                  <a:lnTo>
                    <a:pt x="10" y="52"/>
                  </a:lnTo>
                  <a:lnTo>
                    <a:pt x="10" y="58"/>
                  </a:lnTo>
                  <a:lnTo>
                    <a:pt x="12" y="62"/>
                  </a:lnTo>
                  <a:lnTo>
                    <a:pt x="18" y="62"/>
                  </a:lnTo>
                  <a:lnTo>
                    <a:pt x="24" y="64"/>
                  </a:lnTo>
                  <a:lnTo>
                    <a:pt x="34" y="68"/>
                  </a:lnTo>
                  <a:lnTo>
                    <a:pt x="34" y="70"/>
                  </a:lnTo>
                  <a:lnTo>
                    <a:pt x="30" y="70"/>
                  </a:lnTo>
                  <a:lnTo>
                    <a:pt x="28" y="68"/>
                  </a:lnTo>
                  <a:lnTo>
                    <a:pt x="26" y="66"/>
                  </a:lnTo>
                  <a:lnTo>
                    <a:pt x="20" y="64"/>
                  </a:lnTo>
                  <a:lnTo>
                    <a:pt x="18" y="66"/>
                  </a:lnTo>
                  <a:lnTo>
                    <a:pt x="12" y="70"/>
                  </a:lnTo>
                  <a:lnTo>
                    <a:pt x="16" y="76"/>
                  </a:lnTo>
                  <a:lnTo>
                    <a:pt x="16" y="82"/>
                  </a:lnTo>
                  <a:lnTo>
                    <a:pt x="18" y="84"/>
                  </a:lnTo>
                  <a:lnTo>
                    <a:pt x="20" y="84"/>
                  </a:lnTo>
                  <a:lnTo>
                    <a:pt x="20" y="82"/>
                  </a:lnTo>
                  <a:lnTo>
                    <a:pt x="24" y="84"/>
                  </a:lnTo>
                  <a:lnTo>
                    <a:pt x="30" y="84"/>
                  </a:lnTo>
                  <a:lnTo>
                    <a:pt x="34" y="84"/>
                  </a:lnTo>
                  <a:lnTo>
                    <a:pt x="34" y="82"/>
                  </a:lnTo>
                  <a:lnTo>
                    <a:pt x="32" y="80"/>
                  </a:lnTo>
                  <a:lnTo>
                    <a:pt x="32" y="80"/>
                  </a:lnTo>
                  <a:lnTo>
                    <a:pt x="38" y="80"/>
                  </a:lnTo>
                  <a:lnTo>
                    <a:pt x="42" y="80"/>
                  </a:lnTo>
                  <a:lnTo>
                    <a:pt x="44" y="78"/>
                  </a:lnTo>
                  <a:lnTo>
                    <a:pt x="38" y="74"/>
                  </a:lnTo>
                  <a:lnTo>
                    <a:pt x="38" y="72"/>
                  </a:lnTo>
                  <a:lnTo>
                    <a:pt x="44" y="72"/>
                  </a:lnTo>
                  <a:lnTo>
                    <a:pt x="50" y="76"/>
                  </a:lnTo>
                  <a:lnTo>
                    <a:pt x="50" y="66"/>
                  </a:lnTo>
                  <a:lnTo>
                    <a:pt x="44" y="64"/>
                  </a:lnTo>
                  <a:lnTo>
                    <a:pt x="40" y="60"/>
                  </a:lnTo>
                  <a:lnTo>
                    <a:pt x="40" y="56"/>
                  </a:lnTo>
                  <a:lnTo>
                    <a:pt x="38" y="56"/>
                  </a:lnTo>
                  <a:lnTo>
                    <a:pt x="40" y="54"/>
                  </a:lnTo>
                  <a:lnTo>
                    <a:pt x="42" y="58"/>
                  </a:lnTo>
                  <a:lnTo>
                    <a:pt x="46" y="62"/>
                  </a:lnTo>
                  <a:lnTo>
                    <a:pt x="48" y="64"/>
                  </a:lnTo>
                  <a:lnTo>
                    <a:pt x="54" y="64"/>
                  </a:lnTo>
                  <a:lnTo>
                    <a:pt x="56" y="66"/>
                  </a:lnTo>
                  <a:lnTo>
                    <a:pt x="58" y="70"/>
                  </a:lnTo>
                  <a:lnTo>
                    <a:pt x="58" y="68"/>
                  </a:lnTo>
                  <a:lnTo>
                    <a:pt x="58" y="66"/>
                  </a:lnTo>
                  <a:lnTo>
                    <a:pt x="54" y="58"/>
                  </a:lnTo>
                  <a:lnTo>
                    <a:pt x="46" y="56"/>
                  </a:lnTo>
                  <a:lnTo>
                    <a:pt x="46" y="52"/>
                  </a:lnTo>
                  <a:lnTo>
                    <a:pt x="42" y="50"/>
                  </a:lnTo>
                  <a:lnTo>
                    <a:pt x="36" y="52"/>
                  </a:lnTo>
                  <a:lnTo>
                    <a:pt x="38" y="50"/>
                  </a:lnTo>
                  <a:lnTo>
                    <a:pt x="36" y="46"/>
                  </a:lnTo>
                  <a:lnTo>
                    <a:pt x="34" y="42"/>
                  </a:lnTo>
                  <a:lnTo>
                    <a:pt x="38" y="46"/>
                  </a:lnTo>
                  <a:lnTo>
                    <a:pt x="42" y="46"/>
                  </a:lnTo>
                  <a:lnTo>
                    <a:pt x="40" y="42"/>
                  </a:lnTo>
                  <a:lnTo>
                    <a:pt x="36" y="38"/>
                  </a:lnTo>
                  <a:lnTo>
                    <a:pt x="36" y="34"/>
                  </a:lnTo>
                  <a:lnTo>
                    <a:pt x="34" y="30"/>
                  </a:lnTo>
                  <a:lnTo>
                    <a:pt x="32" y="30"/>
                  </a:lnTo>
                  <a:lnTo>
                    <a:pt x="30" y="28"/>
                  </a:lnTo>
                  <a:lnTo>
                    <a:pt x="32" y="24"/>
                  </a:lnTo>
                  <a:lnTo>
                    <a:pt x="36" y="20"/>
                  </a:lnTo>
                  <a:lnTo>
                    <a:pt x="38" y="24"/>
                  </a:lnTo>
                  <a:lnTo>
                    <a:pt x="42" y="30"/>
                  </a:lnTo>
                  <a:lnTo>
                    <a:pt x="46" y="30"/>
                  </a:lnTo>
                  <a:lnTo>
                    <a:pt x="42" y="26"/>
                  </a:lnTo>
                  <a:lnTo>
                    <a:pt x="44" y="26"/>
                  </a:lnTo>
                  <a:lnTo>
                    <a:pt x="44" y="24"/>
                  </a:lnTo>
                  <a:lnTo>
                    <a:pt x="50" y="26"/>
                  </a:lnTo>
                  <a:lnTo>
                    <a:pt x="50" y="24"/>
                  </a:lnTo>
                  <a:lnTo>
                    <a:pt x="50" y="24"/>
                  </a:lnTo>
                  <a:lnTo>
                    <a:pt x="54" y="24"/>
                  </a:lnTo>
                  <a:lnTo>
                    <a:pt x="52" y="22"/>
                  </a:lnTo>
                  <a:lnTo>
                    <a:pt x="48" y="18"/>
                  </a:lnTo>
                  <a:lnTo>
                    <a:pt x="48" y="16"/>
                  </a:lnTo>
                  <a:lnTo>
                    <a:pt x="48" y="14"/>
                  </a:lnTo>
                  <a:lnTo>
                    <a:pt x="56" y="14"/>
                  </a:lnTo>
                  <a:lnTo>
                    <a:pt x="62" y="16"/>
                  </a:lnTo>
                  <a:lnTo>
                    <a:pt x="76" y="14"/>
                  </a:lnTo>
                  <a:lnTo>
                    <a:pt x="76" y="16"/>
                  </a:lnTo>
                  <a:lnTo>
                    <a:pt x="78" y="18"/>
                  </a:lnTo>
                  <a:lnTo>
                    <a:pt x="80" y="16"/>
                  </a:lnTo>
                  <a:lnTo>
                    <a:pt x="82" y="14"/>
                  </a:lnTo>
                  <a:lnTo>
                    <a:pt x="82" y="10"/>
                  </a:lnTo>
                  <a:lnTo>
                    <a:pt x="84" y="8"/>
                  </a:lnTo>
                  <a:lnTo>
                    <a:pt x="84" y="10"/>
                  </a:lnTo>
                  <a:lnTo>
                    <a:pt x="88" y="10"/>
                  </a:lnTo>
                  <a:lnTo>
                    <a:pt x="90" y="10"/>
                  </a:lnTo>
                  <a:lnTo>
                    <a:pt x="92" y="8"/>
                  </a:lnTo>
                  <a:lnTo>
                    <a:pt x="92" y="6"/>
                  </a:lnTo>
                  <a:lnTo>
                    <a:pt x="90" y="4"/>
                  </a:lnTo>
                  <a:lnTo>
                    <a:pt x="86" y="0"/>
                  </a:lnTo>
                  <a:lnTo>
                    <a:pt x="82" y="0"/>
                  </a:lnTo>
                  <a:lnTo>
                    <a:pt x="80" y="2"/>
                  </a:lnTo>
                  <a:lnTo>
                    <a:pt x="80" y="4"/>
                  </a:lnTo>
                  <a:lnTo>
                    <a:pt x="82" y="6"/>
                  </a:lnTo>
                  <a:lnTo>
                    <a:pt x="80" y="6"/>
                  </a:lnTo>
                  <a:lnTo>
                    <a:pt x="76" y="6"/>
                  </a:lnTo>
                  <a:lnTo>
                    <a:pt x="70" y="6"/>
                  </a:lnTo>
                  <a:lnTo>
                    <a:pt x="70" y="4"/>
                  </a:lnTo>
                  <a:lnTo>
                    <a:pt x="68" y="2"/>
                  </a:lnTo>
                  <a:lnTo>
                    <a:pt x="66" y="2"/>
                  </a:lnTo>
                  <a:lnTo>
                    <a:pt x="60" y="0"/>
                  </a:lnTo>
                  <a:lnTo>
                    <a:pt x="58" y="2"/>
                  </a:lnTo>
                  <a:lnTo>
                    <a:pt x="56" y="4"/>
                  </a:lnTo>
                  <a:lnTo>
                    <a:pt x="54" y="8"/>
                  </a:lnTo>
                  <a:lnTo>
                    <a:pt x="52" y="8"/>
                  </a:lnTo>
                  <a:lnTo>
                    <a:pt x="46" y="6"/>
                  </a:lnTo>
                  <a:lnTo>
                    <a:pt x="42" y="6"/>
                  </a:lnTo>
                  <a:lnTo>
                    <a:pt x="40" y="10"/>
                  </a:lnTo>
                  <a:lnTo>
                    <a:pt x="40" y="12"/>
                  </a:lnTo>
                  <a:lnTo>
                    <a:pt x="38" y="12"/>
                  </a:lnTo>
                  <a:lnTo>
                    <a:pt x="34" y="12"/>
                  </a:lnTo>
                  <a:lnTo>
                    <a:pt x="32" y="14"/>
                  </a:lnTo>
                  <a:lnTo>
                    <a:pt x="30" y="14"/>
                  </a:lnTo>
                  <a:lnTo>
                    <a:pt x="30" y="16"/>
                  </a:lnTo>
                  <a:lnTo>
                    <a:pt x="28" y="16"/>
                  </a:lnTo>
                  <a:lnTo>
                    <a:pt x="26" y="18"/>
                  </a:lnTo>
                  <a:lnTo>
                    <a:pt x="24" y="20"/>
                  </a:lnTo>
                  <a:lnTo>
                    <a:pt x="22" y="20"/>
                  </a:lnTo>
                  <a:lnTo>
                    <a:pt x="10" y="20"/>
                  </a:lnTo>
                  <a:lnTo>
                    <a:pt x="10" y="24"/>
                  </a:lnTo>
                  <a:lnTo>
                    <a:pt x="8" y="30"/>
                  </a:lnTo>
                  <a:lnTo>
                    <a:pt x="6" y="32"/>
                  </a:lnTo>
                  <a:lnTo>
                    <a:pt x="6" y="34"/>
                  </a:lnTo>
                  <a:lnTo>
                    <a:pt x="4" y="34"/>
                  </a:lnTo>
                  <a:lnTo>
                    <a:pt x="0" y="34"/>
                  </a:lnTo>
                  <a:lnTo>
                    <a:pt x="0" y="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39" name="Freeform 503">
              <a:extLst>
                <a:ext uri="{FF2B5EF4-FFF2-40B4-BE49-F238E27FC236}">
                  <a16:creationId xmlns:a16="http://schemas.microsoft.com/office/drawing/2014/main" id="{B551737A-4DA4-4A3A-9BDE-27035C80A725}"/>
                </a:ext>
              </a:extLst>
            </p:cNvPr>
            <p:cNvSpPr>
              <a:spLocks/>
            </p:cNvSpPr>
            <p:nvPr/>
          </p:nvSpPr>
          <p:spPr bwMode="auto">
            <a:xfrm>
              <a:off x="3432935" y="3998699"/>
              <a:ext cx="49203" cy="15538"/>
            </a:xfrm>
            <a:custGeom>
              <a:avLst/>
              <a:gdLst/>
              <a:ahLst/>
              <a:cxnLst>
                <a:cxn ang="0">
                  <a:pos x="4" y="0"/>
                </a:cxn>
                <a:cxn ang="0">
                  <a:pos x="4" y="0"/>
                </a:cxn>
                <a:cxn ang="0">
                  <a:pos x="0" y="2"/>
                </a:cxn>
                <a:cxn ang="0">
                  <a:pos x="0" y="4"/>
                </a:cxn>
                <a:cxn ang="0">
                  <a:pos x="10" y="8"/>
                </a:cxn>
                <a:cxn ang="0">
                  <a:pos x="14" y="8"/>
                </a:cxn>
                <a:cxn ang="0">
                  <a:pos x="18" y="10"/>
                </a:cxn>
                <a:cxn ang="0">
                  <a:pos x="20" y="12"/>
                </a:cxn>
                <a:cxn ang="0">
                  <a:pos x="24" y="12"/>
                </a:cxn>
                <a:cxn ang="0">
                  <a:pos x="26" y="10"/>
                </a:cxn>
                <a:cxn ang="0">
                  <a:pos x="30" y="10"/>
                </a:cxn>
                <a:cxn ang="0">
                  <a:pos x="32" y="10"/>
                </a:cxn>
                <a:cxn ang="0">
                  <a:pos x="36" y="10"/>
                </a:cxn>
                <a:cxn ang="0">
                  <a:pos x="38" y="8"/>
                </a:cxn>
                <a:cxn ang="0">
                  <a:pos x="36" y="6"/>
                </a:cxn>
                <a:cxn ang="0">
                  <a:pos x="32" y="6"/>
                </a:cxn>
                <a:cxn ang="0">
                  <a:pos x="32" y="2"/>
                </a:cxn>
                <a:cxn ang="0">
                  <a:pos x="30" y="2"/>
                </a:cxn>
                <a:cxn ang="0">
                  <a:pos x="30" y="4"/>
                </a:cxn>
                <a:cxn ang="0">
                  <a:pos x="20" y="4"/>
                </a:cxn>
                <a:cxn ang="0">
                  <a:pos x="12" y="2"/>
                </a:cxn>
                <a:cxn ang="0">
                  <a:pos x="4" y="0"/>
                </a:cxn>
              </a:cxnLst>
              <a:rect l="0" t="0" r="r" b="b"/>
              <a:pathLst>
                <a:path w="38" h="12">
                  <a:moveTo>
                    <a:pt x="4" y="0"/>
                  </a:moveTo>
                  <a:lnTo>
                    <a:pt x="4" y="0"/>
                  </a:lnTo>
                  <a:lnTo>
                    <a:pt x="0" y="2"/>
                  </a:lnTo>
                  <a:lnTo>
                    <a:pt x="0" y="4"/>
                  </a:lnTo>
                  <a:lnTo>
                    <a:pt x="10" y="8"/>
                  </a:lnTo>
                  <a:lnTo>
                    <a:pt x="14" y="8"/>
                  </a:lnTo>
                  <a:lnTo>
                    <a:pt x="18" y="10"/>
                  </a:lnTo>
                  <a:lnTo>
                    <a:pt x="20" y="12"/>
                  </a:lnTo>
                  <a:lnTo>
                    <a:pt x="24" y="12"/>
                  </a:lnTo>
                  <a:lnTo>
                    <a:pt x="26" y="10"/>
                  </a:lnTo>
                  <a:lnTo>
                    <a:pt x="30" y="10"/>
                  </a:lnTo>
                  <a:lnTo>
                    <a:pt x="32" y="10"/>
                  </a:lnTo>
                  <a:lnTo>
                    <a:pt x="36" y="10"/>
                  </a:lnTo>
                  <a:lnTo>
                    <a:pt x="38" y="8"/>
                  </a:lnTo>
                  <a:lnTo>
                    <a:pt x="36" y="6"/>
                  </a:lnTo>
                  <a:lnTo>
                    <a:pt x="32" y="6"/>
                  </a:lnTo>
                  <a:lnTo>
                    <a:pt x="32" y="2"/>
                  </a:lnTo>
                  <a:lnTo>
                    <a:pt x="30" y="2"/>
                  </a:lnTo>
                  <a:lnTo>
                    <a:pt x="30" y="4"/>
                  </a:lnTo>
                  <a:lnTo>
                    <a:pt x="20" y="4"/>
                  </a:lnTo>
                  <a:lnTo>
                    <a:pt x="12" y="2"/>
                  </a:lnTo>
                  <a:lnTo>
                    <a:pt x="4"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0" name="Freeform 504">
              <a:extLst>
                <a:ext uri="{FF2B5EF4-FFF2-40B4-BE49-F238E27FC236}">
                  <a16:creationId xmlns:a16="http://schemas.microsoft.com/office/drawing/2014/main" id="{68C38BBE-0629-4119-9258-7BBABB9B61CC}"/>
                </a:ext>
              </a:extLst>
            </p:cNvPr>
            <p:cNvSpPr>
              <a:spLocks/>
            </p:cNvSpPr>
            <p:nvPr/>
          </p:nvSpPr>
          <p:spPr bwMode="auto">
            <a:xfrm>
              <a:off x="3432935" y="3998699"/>
              <a:ext cx="49203" cy="15538"/>
            </a:xfrm>
            <a:custGeom>
              <a:avLst/>
              <a:gdLst/>
              <a:ahLst/>
              <a:cxnLst>
                <a:cxn ang="0">
                  <a:pos x="4" y="0"/>
                </a:cxn>
                <a:cxn ang="0">
                  <a:pos x="4" y="0"/>
                </a:cxn>
                <a:cxn ang="0">
                  <a:pos x="0" y="2"/>
                </a:cxn>
                <a:cxn ang="0">
                  <a:pos x="0" y="4"/>
                </a:cxn>
                <a:cxn ang="0">
                  <a:pos x="10" y="8"/>
                </a:cxn>
                <a:cxn ang="0">
                  <a:pos x="14" y="8"/>
                </a:cxn>
                <a:cxn ang="0">
                  <a:pos x="18" y="10"/>
                </a:cxn>
                <a:cxn ang="0">
                  <a:pos x="20" y="12"/>
                </a:cxn>
                <a:cxn ang="0">
                  <a:pos x="24" y="12"/>
                </a:cxn>
                <a:cxn ang="0">
                  <a:pos x="26" y="10"/>
                </a:cxn>
                <a:cxn ang="0">
                  <a:pos x="30" y="10"/>
                </a:cxn>
                <a:cxn ang="0">
                  <a:pos x="32" y="10"/>
                </a:cxn>
                <a:cxn ang="0">
                  <a:pos x="36" y="10"/>
                </a:cxn>
                <a:cxn ang="0">
                  <a:pos x="38" y="8"/>
                </a:cxn>
                <a:cxn ang="0">
                  <a:pos x="36" y="6"/>
                </a:cxn>
                <a:cxn ang="0">
                  <a:pos x="32" y="6"/>
                </a:cxn>
                <a:cxn ang="0">
                  <a:pos x="32" y="2"/>
                </a:cxn>
                <a:cxn ang="0">
                  <a:pos x="30" y="2"/>
                </a:cxn>
                <a:cxn ang="0">
                  <a:pos x="30" y="4"/>
                </a:cxn>
                <a:cxn ang="0">
                  <a:pos x="20" y="4"/>
                </a:cxn>
                <a:cxn ang="0">
                  <a:pos x="12" y="2"/>
                </a:cxn>
                <a:cxn ang="0">
                  <a:pos x="4" y="0"/>
                </a:cxn>
              </a:cxnLst>
              <a:rect l="0" t="0" r="r" b="b"/>
              <a:pathLst>
                <a:path w="38" h="12">
                  <a:moveTo>
                    <a:pt x="4" y="0"/>
                  </a:moveTo>
                  <a:lnTo>
                    <a:pt x="4" y="0"/>
                  </a:lnTo>
                  <a:lnTo>
                    <a:pt x="0" y="2"/>
                  </a:lnTo>
                  <a:lnTo>
                    <a:pt x="0" y="4"/>
                  </a:lnTo>
                  <a:lnTo>
                    <a:pt x="10" y="8"/>
                  </a:lnTo>
                  <a:lnTo>
                    <a:pt x="14" y="8"/>
                  </a:lnTo>
                  <a:lnTo>
                    <a:pt x="18" y="10"/>
                  </a:lnTo>
                  <a:lnTo>
                    <a:pt x="20" y="12"/>
                  </a:lnTo>
                  <a:lnTo>
                    <a:pt x="24" y="12"/>
                  </a:lnTo>
                  <a:lnTo>
                    <a:pt x="26" y="10"/>
                  </a:lnTo>
                  <a:lnTo>
                    <a:pt x="30" y="10"/>
                  </a:lnTo>
                  <a:lnTo>
                    <a:pt x="32" y="10"/>
                  </a:lnTo>
                  <a:lnTo>
                    <a:pt x="36" y="10"/>
                  </a:lnTo>
                  <a:lnTo>
                    <a:pt x="38" y="8"/>
                  </a:lnTo>
                  <a:lnTo>
                    <a:pt x="36" y="6"/>
                  </a:lnTo>
                  <a:lnTo>
                    <a:pt x="32" y="6"/>
                  </a:lnTo>
                  <a:lnTo>
                    <a:pt x="32" y="2"/>
                  </a:lnTo>
                  <a:lnTo>
                    <a:pt x="30" y="2"/>
                  </a:lnTo>
                  <a:lnTo>
                    <a:pt x="30" y="4"/>
                  </a:lnTo>
                  <a:lnTo>
                    <a:pt x="20" y="4"/>
                  </a:lnTo>
                  <a:lnTo>
                    <a:pt x="12" y="2"/>
                  </a:lnTo>
                  <a:lnTo>
                    <a:pt x="4"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1" name="Freeform 505">
              <a:extLst>
                <a:ext uri="{FF2B5EF4-FFF2-40B4-BE49-F238E27FC236}">
                  <a16:creationId xmlns:a16="http://schemas.microsoft.com/office/drawing/2014/main" id="{9BECF6D7-9A7D-459C-BBA2-F435AC1C1864}"/>
                </a:ext>
              </a:extLst>
            </p:cNvPr>
            <p:cNvSpPr>
              <a:spLocks/>
            </p:cNvSpPr>
            <p:nvPr/>
          </p:nvSpPr>
          <p:spPr bwMode="auto">
            <a:xfrm>
              <a:off x="3132540" y="3646512"/>
              <a:ext cx="10358" cy="23306"/>
            </a:xfrm>
            <a:custGeom>
              <a:avLst/>
              <a:gdLst/>
              <a:ahLst/>
              <a:cxnLst>
                <a:cxn ang="0">
                  <a:pos x="0" y="10"/>
                </a:cxn>
                <a:cxn ang="0">
                  <a:pos x="0" y="10"/>
                </a:cxn>
                <a:cxn ang="0">
                  <a:pos x="0" y="6"/>
                </a:cxn>
                <a:cxn ang="0">
                  <a:pos x="0" y="2"/>
                </a:cxn>
                <a:cxn ang="0">
                  <a:pos x="2" y="2"/>
                </a:cxn>
                <a:cxn ang="0">
                  <a:pos x="4" y="0"/>
                </a:cxn>
                <a:cxn ang="0">
                  <a:pos x="4" y="2"/>
                </a:cxn>
                <a:cxn ang="0">
                  <a:pos x="6" y="4"/>
                </a:cxn>
                <a:cxn ang="0">
                  <a:pos x="8" y="6"/>
                </a:cxn>
                <a:cxn ang="0">
                  <a:pos x="8" y="10"/>
                </a:cxn>
                <a:cxn ang="0">
                  <a:pos x="6" y="12"/>
                </a:cxn>
                <a:cxn ang="0">
                  <a:pos x="6" y="16"/>
                </a:cxn>
                <a:cxn ang="0">
                  <a:pos x="8" y="18"/>
                </a:cxn>
                <a:cxn ang="0">
                  <a:pos x="2" y="16"/>
                </a:cxn>
                <a:cxn ang="0">
                  <a:pos x="0" y="14"/>
                </a:cxn>
                <a:cxn ang="0">
                  <a:pos x="0" y="12"/>
                </a:cxn>
                <a:cxn ang="0">
                  <a:pos x="0" y="10"/>
                </a:cxn>
                <a:cxn ang="0">
                  <a:pos x="0" y="10"/>
                </a:cxn>
              </a:cxnLst>
              <a:rect l="0" t="0" r="r" b="b"/>
              <a:pathLst>
                <a:path w="8" h="18">
                  <a:moveTo>
                    <a:pt x="0" y="10"/>
                  </a:moveTo>
                  <a:lnTo>
                    <a:pt x="0" y="10"/>
                  </a:lnTo>
                  <a:lnTo>
                    <a:pt x="0" y="6"/>
                  </a:lnTo>
                  <a:lnTo>
                    <a:pt x="0" y="2"/>
                  </a:lnTo>
                  <a:lnTo>
                    <a:pt x="2" y="2"/>
                  </a:lnTo>
                  <a:lnTo>
                    <a:pt x="4" y="0"/>
                  </a:lnTo>
                  <a:lnTo>
                    <a:pt x="4" y="2"/>
                  </a:lnTo>
                  <a:lnTo>
                    <a:pt x="6" y="4"/>
                  </a:lnTo>
                  <a:lnTo>
                    <a:pt x="8" y="6"/>
                  </a:lnTo>
                  <a:lnTo>
                    <a:pt x="8" y="10"/>
                  </a:lnTo>
                  <a:lnTo>
                    <a:pt x="6" y="12"/>
                  </a:lnTo>
                  <a:lnTo>
                    <a:pt x="6" y="16"/>
                  </a:lnTo>
                  <a:lnTo>
                    <a:pt x="8" y="18"/>
                  </a:lnTo>
                  <a:lnTo>
                    <a:pt x="2" y="16"/>
                  </a:lnTo>
                  <a:lnTo>
                    <a:pt x="0" y="14"/>
                  </a:lnTo>
                  <a:lnTo>
                    <a:pt x="0" y="12"/>
                  </a:lnTo>
                  <a:lnTo>
                    <a:pt x="0" y="10"/>
                  </a:lnTo>
                  <a:lnTo>
                    <a:pt x="0"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2" name="Freeform 506">
              <a:extLst>
                <a:ext uri="{FF2B5EF4-FFF2-40B4-BE49-F238E27FC236}">
                  <a16:creationId xmlns:a16="http://schemas.microsoft.com/office/drawing/2014/main" id="{FB0AD1EB-1F05-47EE-A52D-282519936826}"/>
                </a:ext>
              </a:extLst>
            </p:cNvPr>
            <p:cNvSpPr>
              <a:spLocks/>
            </p:cNvSpPr>
            <p:nvPr/>
          </p:nvSpPr>
          <p:spPr bwMode="auto">
            <a:xfrm>
              <a:off x="3518392" y="3742328"/>
              <a:ext cx="31075" cy="23306"/>
            </a:xfrm>
            <a:custGeom>
              <a:avLst/>
              <a:gdLst/>
              <a:ahLst/>
              <a:cxnLst>
                <a:cxn ang="0">
                  <a:pos x="24" y="6"/>
                </a:cxn>
                <a:cxn ang="0">
                  <a:pos x="24" y="6"/>
                </a:cxn>
                <a:cxn ang="0">
                  <a:pos x="22" y="4"/>
                </a:cxn>
                <a:cxn ang="0">
                  <a:pos x="16" y="2"/>
                </a:cxn>
                <a:cxn ang="0">
                  <a:pos x="12" y="0"/>
                </a:cxn>
                <a:cxn ang="0">
                  <a:pos x="10" y="0"/>
                </a:cxn>
                <a:cxn ang="0">
                  <a:pos x="8" y="2"/>
                </a:cxn>
                <a:cxn ang="0">
                  <a:pos x="6" y="4"/>
                </a:cxn>
                <a:cxn ang="0">
                  <a:pos x="4" y="8"/>
                </a:cxn>
                <a:cxn ang="0">
                  <a:pos x="2" y="14"/>
                </a:cxn>
                <a:cxn ang="0">
                  <a:pos x="0" y="16"/>
                </a:cxn>
                <a:cxn ang="0">
                  <a:pos x="2" y="16"/>
                </a:cxn>
                <a:cxn ang="0">
                  <a:pos x="4" y="18"/>
                </a:cxn>
                <a:cxn ang="0">
                  <a:pos x="6" y="18"/>
                </a:cxn>
                <a:cxn ang="0">
                  <a:pos x="6" y="16"/>
                </a:cxn>
                <a:cxn ang="0">
                  <a:pos x="8" y="16"/>
                </a:cxn>
                <a:cxn ang="0">
                  <a:pos x="12" y="16"/>
                </a:cxn>
                <a:cxn ang="0">
                  <a:pos x="14" y="18"/>
                </a:cxn>
                <a:cxn ang="0">
                  <a:pos x="14" y="16"/>
                </a:cxn>
                <a:cxn ang="0">
                  <a:pos x="18" y="14"/>
                </a:cxn>
                <a:cxn ang="0">
                  <a:pos x="22" y="10"/>
                </a:cxn>
                <a:cxn ang="0">
                  <a:pos x="24" y="6"/>
                </a:cxn>
              </a:cxnLst>
              <a:rect l="0" t="0" r="r" b="b"/>
              <a:pathLst>
                <a:path w="24" h="18">
                  <a:moveTo>
                    <a:pt x="24" y="6"/>
                  </a:moveTo>
                  <a:lnTo>
                    <a:pt x="24" y="6"/>
                  </a:lnTo>
                  <a:lnTo>
                    <a:pt x="22" y="4"/>
                  </a:lnTo>
                  <a:lnTo>
                    <a:pt x="16" y="2"/>
                  </a:lnTo>
                  <a:lnTo>
                    <a:pt x="12" y="0"/>
                  </a:lnTo>
                  <a:lnTo>
                    <a:pt x="10" y="0"/>
                  </a:lnTo>
                  <a:lnTo>
                    <a:pt x="8" y="2"/>
                  </a:lnTo>
                  <a:lnTo>
                    <a:pt x="6" y="4"/>
                  </a:lnTo>
                  <a:lnTo>
                    <a:pt x="4" y="8"/>
                  </a:lnTo>
                  <a:lnTo>
                    <a:pt x="2" y="14"/>
                  </a:lnTo>
                  <a:lnTo>
                    <a:pt x="0" y="16"/>
                  </a:lnTo>
                  <a:lnTo>
                    <a:pt x="2" y="16"/>
                  </a:lnTo>
                  <a:lnTo>
                    <a:pt x="4" y="18"/>
                  </a:lnTo>
                  <a:lnTo>
                    <a:pt x="6" y="18"/>
                  </a:lnTo>
                  <a:lnTo>
                    <a:pt x="6" y="16"/>
                  </a:lnTo>
                  <a:lnTo>
                    <a:pt x="8" y="16"/>
                  </a:lnTo>
                  <a:lnTo>
                    <a:pt x="12" y="16"/>
                  </a:lnTo>
                  <a:lnTo>
                    <a:pt x="14" y="18"/>
                  </a:lnTo>
                  <a:lnTo>
                    <a:pt x="14" y="16"/>
                  </a:lnTo>
                  <a:lnTo>
                    <a:pt x="18" y="14"/>
                  </a:lnTo>
                  <a:lnTo>
                    <a:pt x="22" y="10"/>
                  </a:lnTo>
                  <a:lnTo>
                    <a:pt x="24" y="6"/>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3" name="Freeform 507">
              <a:extLst>
                <a:ext uri="{FF2B5EF4-FFF2-40B4-BE49-F238E27FC236}">
                  <a16:creationId xmlns:a16="http://schemas.microsoft.com/office/drawing/2014/main" id="{0DB3ACE0-FBEB-42BA-9F36-4AC6BFF454F4}"/>
                </a:ext>
              </a:extLst>
            </p:cNvPr>
            <p:cNvSpPr>
              <a:spLocks/>
            </p:cNvSpPr>
            <p:nvPr/>
          </p:nvSpPr>
          <p:spPr bwMode="auto">
            <a:xfrm>
              <a:off x="3518392" y="3742328"/>
              <a:ext cx="31075" cy="23306"/>
            </a:xfrm>
            <a:custGeom>
              <a:avLst/>
              <a:gdLst/>
              <a:ahLst/>
              <a:cxnLst>
                <a:cxn ang="0">
                  <a:pos x="24" y="6"/>
                </a:cxn>
                <a:cxn ang="0">
                  <a:pos x="24" y="6"/>
                </a:cxn>
                <a:cxn ang="0">
                  <a:pos x="22" y="4"/>
                </a:cxn>
                <a:cxn ang="0">
                  <a:pos x="16" y="2"/>
                </a:cxn>
                <a:cxn ang="0">
                  <a:pos x="12" y="0"/>
                </a:cxn>
                <a:cxn ang="0">
                  <a:pos x="10" y="0"/>
                </a:cxn>
                <a:cxn ang="0">
                  <a:pos x="8" y="2"/>
                </a:cxn>
                <a:cxn ang="0">
                  <a:pos x="6" y="4"/>
                </a:cxn>
                <a:cxn ang="0">
                  <a:pos x="4" y="8"/>
                </a:cxn>
                <a:cxn ang="0">
                  <a:pos x="2" y="14"/>
                </a:cxn>
                <a:cxn ang="0">
                  <a:pos x="0" y="16"/>
                </a:cxn>
                <a:cxn ang="0">
                  <a:pos x="2" y="16"/>
                </a:cxn>
                <a:cxn ang="0">
                  <a:pos x="4" y="18"/>
                </a:cxn>
                <a:cxn ang="0">
                  <a:pos x="6" y="18"/>
                </a:cxn>
                <a:cxn ang="0">
                  <a:pos x="6" y="16"/>
                </a:cxn>
                <a:cxn ang="0">
                  <a:pos x="8" y="16"/>
                </a:cxn>
                <a:cxn ang="0">
                  <a:pos x="12" y="16"/>
                </a:cxn>
                <a:cxn ang="0">
                  <a:pos x="14" y="18"/>
                </a:cxn>
                <a:cxn ang="0">
                  <a:pos x="14" y="16"/>
                </a:cxn>
                <a:cxn ang="0">
                  <a:pos x="18" y="14"/>
                </a:cxn>
                <a:cxn ang="0">
                  <a:pos x="22" y="10"/>
                </a:cxn>
                <a:cxn ang="0">
                  <a:pos x="24" y="6"/>
                </a:cxn>
              </a:cxnLst>
              <a:rect l="0" t="0" r="r" b="b"/>
              <a:pathLst>
                <a:path w="24" h="18">
                  <a:moveTo>
                    <a:pt x="24" y="6"/>
                  </a:moveTo>
                  <a:lnTo>
                    <a:pt x="24" y="6"/>
                  </a:lnTo>
                  <a:lnTo>
                    <a:pt x="22" y="4"/>
                  </a:lnTo>
                  <a:lnTo>
                    <a:pt x="16" y="2"/>
                  </a:lnTo>
                  <a:lnTo>
                    <a:pt x="12" y="0"/>
                  </a:lnTo>
                  <a:lnTo>
                    <a:pt x="10" y="0"/>
                  </a:lnTo>
                  <a:lnTo>
                    <a:pt x="8" y="2"/>
                  </a:lnTo>
                  <a:lnTo>
                    <a:pt x="6" y="4"/>
                  </a:lnTo>
                  <a:lnTo>
                    <a:pt x="4" y="8"/>
                  </a:lnTo>
                  <a:lnTo>
                    <a:pt x="2" y="14"/>
                  </a:lnTo>
                  <a:lnTo>
                    <a:pt x="0" y="16"/>
                  </a:lnTo>
                  <a:lnTo>
                    <a:pt x="2" y="16"/>
                  </a:lnTo>
                  <a:lnTo>
                    <a:pt x="4" y="18"/>
                  </a:lnTo>
                  <a:lnTo>
                    <a:pt x="6" y="18"/>
                  </a:lnTo>
                  <a:lnTo>
                    <a:pt x="6" y="16"/>
                  </a:lnTo>
                  <a:lnTo>
                    <a:pt x="8" y="16"/>
                  </a:lnTo>
                  <a:lnTo>
                    <a:pt x="12" y="16"/>
                  </a:lnTo>
                  <a:lnTo>
                    <a:pt x="14" y="18"/>
                  </a:lnTo>
                  <a:lnTo>
                    <a:pt x="14" y="16"/>
                  </a:lnTo>
                  <a:lnTo>
                    <a:pt x="18" y="14"/>
                  </a:lnTo>
                  <a:lnTo>
                    <a:pt x="22" y="10"/>
                  </a:lnTo>
                  <a:lnTo>
                    <a:pt x="24" y="6"/>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4" name="Freeform 508">
              <a:extLst>
                <a:ext uri="{FF2B5EF4-FFF2-40B4-BE49-F238E27FC236}">
                  <a16:creationId xmlns:a16="http://schemas.microsoft.com/office/drawing/2014/main" id="{E3A56861-145B-4EE5-BECB-E57A8568CC19}"/>
                </a:ext>
              </a:extLst>
            </p:cNvPr>
            <p:cNvSpPr>
              <a:spLocks/>
            </p:cNvSpPr>
            <p:nvPr/>
          </p:nvSpPr>
          <p:spPr bwMode="auto">
            <a:xfrm>
              <a:off x="3487316" y="3680177"/>
              <a:ext cx="62151" cy="82868"/>
            </a:xfrm>
            <a:custGeom>
              <a:avLst/>
              <a:gdLst/>
              <a:ahLst/>
              <a:cxnLst>
                <a:cxn ang="0">
                  <a:pos x="24" y="64"/>
                </a:cxn>
                <a:cxn ang="0">
                  <a:pos x="24" y="64"/>
                </a:cxn>
                <a:cxn ang="0">
                  <a:pos x="28" y="62"/>
                </a:cxn>
                <a:cxn ang="0">
                  <a:pos x="30" y="56"/>
                </a:cxn>
                <a:cxn ang="0">
                  <a:pos x="32" y="52"/>
                </a:cxn>
                <a:cxn ang="0">
                  <a:pos x="32" y="50"/>
                </a:cxn>
                <a:cxn ang="0">
                  <a:pos x="34" y="48"/>
                </a:cxn>
                <a:cxn ang="0">
                  <a:pos x="36" y="48"/>
                </a:cxn>
                <a:cxn ang="0">
                  <a:pos x="40" y="50"/>
                </a:cxn>
                <a:cxn ang="0">
                  <a:pos x="46" y="52"/>
                </a:cxn>
                <a:cxn ang="0">
                  <a:pos x="48" y="54"/>
                </a:cxn>
                <a:cxn ang="0">
                  <a:pos x="40" y="42"/>
                </a:cxn>
                <a:cxn ang="0">
                  <a:pos x="38" y="40"/>
                </a:cxn>
                <a:cxn ang="0">
                  <a:pos x="36" y="38"/>
                </a:cxn>
                <a:cxn ang="0">
                  <a:pos x="36" y="34"/>
                </a:cxn>
                <a:cxn ang="0">
                  <a:pos x="36" y="30"/>
                </a:cxn>
                <a:cxn ang="0">
                  <a:pos x="34" y="26"/>
                </a:cxn>
                <a:cxn ang="0">
                  <a:pos x="32" y="24"/>
                </a:cxn>
                <a:cxn ang="0">
                  <a:pos x="32" y="20"/>
                </a:cxn>
                <a:cxn ang="0">
                  <a:pos x="32" y="14"/>
                </a:cxn>
                <a:cxn ang="0">
                  <a:pos x="28" y="10"/>
                </a:cxn>
                <a:cxn ang="0">
                  <a:pos x="22" y="6"/>
                </a:cxn>
                <a:cxn ang="0">
                  <a:pos x="16" y="2"/>
                </a:cxn>
                <a:cxn ang="0">
                  <a:pos x="12" y="0"/>
                </a:cxn>
                <a:cxn ang="0">
                  <a:pos x="8" y="2"/>
                </a:cxn>
                <a:cxn ang="0">
                  <a:pos x="4" y="2"/>
                </a:cxn>
                <a:cxn ang="0">
                  <a:pos x="0" y="4"/>
                </a:cxn>
                <a:cxn ang="0">
                  <a:pos x="0" y="6"/>
                </a:cxn>
                <a:cxn ang="0">
                  <a:pos x="4" y="8"/>
                </a:cxn>
                <a:cxn ang="0">
                  <a:pos x="10" y="16"/>
                </a:cxn>
                <a:cxn ang="0">
                  <a:pos x="10" y="20"/>
                </a:cxn>
                <a:cxn ang="0">
                  <a:pos x="14" y="24"/>
                </a:cxn>
                <a:cxn ang="0">
                  <a:pos x="18" y="30"/>
                </a:cxn>
                <a:cxn ang="0">
                  <a:pos x="20" y="34"/>
                </a:cxn>
                <a:cxn ang="0">
                  <a:pos x="20" y="36"/>
                </a:cxn>
                <a:cxn ang="0">
                  <a:pos x="20" y="38"/>
                </a:cxn>
                <a:cxn ang="0">
                  <a:pos x="20" y="40"/>
                </a:cxn>
                <a:cxn ang="0">
                  <a:pos x="20" y="42"/>
                </a:cxn>
                <a:cxn ang="0">
                  <a:pos x="22" y="44"/>
                </a:cxn>
                <a:cxn ang="0">
                  <a:pos x="20" y="46"/>
                </a:cxn>
                <a:cxn ang="0">
                  <a:pos x="20" y="48"/>
                </a:cxn>
                <a:cxn ang="0">
                  <a:pos x="20" y="54"/>
                </a:cxn>
                <a:cxn ang="0">
                  <a:pos x="20" y="56"/>
                </a:cxn>
                <a:cxn ang="0">
                  <a:pos x="22" y="58"/>
                </a:cxn>
                <a:cxn ang="0">
                  <a:pos x="20" y="60"/>
                </a:cxn>
                <a:cxn ang="0">
                  <a:pos x="20" y="62"/>
                </a:cxn>
                <a:cxn ang="0">
                  <a:pos x="22" y="64"/>
                </a:cxn>
                <a:cxn ang="0">
                  <a:pos x="24" y="64"/>
                </a:cxn>
                <a:cxn ang="0">
                  <a:pos x="24" y="64"/>
                </a:cxn>
              </a:cxnLst>
              <a:rect l="0" t="0" r="r" b="b"/>
              <a:pathLst>
                <a:path w="48" h="64">
                  <a:moveTo>
                    <a:pt x="24" y="64"/>
                  </a:moveTo>
                  <a:lnTo>
                    <a:pt x="24" y="64"/>
                  </a:lnTo>
                  <a:lnTo>
                    <a:pt x="28" y="62"/>
                  </a:lnTo>
                  <a:lnTo>
                    <a:pt x="30" y="56"/>
                  </a:lnTo>
                  <a:lnTo>
                    <a:pt x="32" y="52"/>
                  </a:lnTo>
                  <a:lnTo>
                    <a:pt x="32" y="50"/>
                  </a:lnTo>
                  <a:lnTo>
                    <a:pt x="34" y="48"/>
                  </a:lnTo>
                  <a:lnTo>
                    <a:pt x="36" y="48"/>
                  </a:lnTo>
                  <a:lnTo>
                    <a:pt x="40" y="50"/>
                  </a:lnTo>
                  <a:lnTo>
                    <a:pt x="46" y="52"/>
                  </a:lnTo>
                  <a:lnTo>
                    <a:pt x="48" y="54"/>
                  </a:lnTo>
                  <a:lnTo>
                    <a:pt x="40" y="42"/>
                  </a:lnTo>
                  <a:lnTo>
                    <a:pt x="38" y="40"/>
                  </a:lnTo>
                  <a:lnTo>
                    <a:pt x="36" y="38"/>
                  </a:lnTo>
                  <a:lnTo>
                    <a:pt x="36" y="34"/>
                  </a:lnTo>
                  <a:lnTo>
                    <a:pt x="36" y="30"/>
                  </a:lnTo>
                  <a:lnTo>
                    <a:pt x="34" y="26"/>
                  </a:lnTo>
                  <a:lnTo>
                    <a:pt x="32" y="24"/>
                  </a:lnTo>
                  <a:lnTo>
                    <a:pt x="32" y="20"/>
                  </a:lnTo>
                  <a:lnTo>
                    <a:pt x="32" y="14"/>
                  </a:lnTo>
                  <a:lnTo>
                    <a:pt x="28" y="10"/>
                  </a:lnTo>
                  <a:lnTo>
                    <a:pt x="22" y="6"/>
                  </a:lnTo>
                  <a:lnTo>
                    <a:pt x="16" y="2"/>
                  </a:lnTo>
                  <a:lnTo>
                    <a:pt x="12" y="0"/>
                  </a:lnTo>
                  <a:lnTo>
                    <a:pt x="8" y="2"/>
                  </a:lnTo>
                  <a:lnTo>
                    <a:pt x="4" y="2"/>
                  </a:lnTo>
                  <a:lnTo>
                    <a:pt x="0" y="4"/>
                  </a:lnTo>
                  <a:lnTo>
                    <a:pt x="0" y="6"/>
                  </a:lnTo>
                  <a:lnTo>
                    <a:pt x="4" y="8"/>
                  </a:lnTo>
                  <a:lnTo>
                    <a:pt x="10" y="16"/>
                  </a:lnTo>
                  <a:lnTo>
                    <a:pt x="10" y="20"/>
                  </a:lnTo>
                  <a:lnTo>
                    <a:pt x="14" y="24"/>
                  </a:lnTo>
                  <a:lnTo>
                    <a:pt x="18" y="30"/>
                  </a:lnTo>
                  <a:lnTo>
                    <a:pt x="20" y="34"/>
                  </a:lnTo>
                  <a:lnTo>
                    <a:pt x="20" y="36"/>
                  </a:lnTo>
                  <a:lnTo>
                    <a:pt x="20" y="38"/>
                  </a:lnTo>
                  <a:lnTo>
                    <a:pt x="20" y="40"/>
                  </a:lnTo>
                  <a:lnTo>
                    <a:pt x="20" y="42"/>
                  </a:lnTo>
                  <a:lnTo>
                    <a:pt x="22" y="44"/>
                  </a:lnTo>
                  <a:lnTo>
                    <a:pt x="20" y="46"/>
                  </a:lnTo>
                  <a:lnTo>
                    <a:pt x="20" y="48"/>
                  </a:lnTo>
                  <a:lnTo>
                    <a:pt x="20" y="54"/>
                  </a:lnTo>
                  <a:lnTo>
                    <a:pt x="20" y="56"/>
                  </a:lnTo>
                  <a:lnTo>
                    <a:pt x="22" y="58"/>
                  </a:lnTo>
                  <a:lnTo>
                    <a:pt x="20" y="60"/>
                  </a:lnTo>
                  <a:lnTo>
                    <a:pt x="20" y="62"/>
                  </a:lnTo>
                  <a:lnTo>
                    <a:pt x="22" y="64"/>
                  </a:lnTo>
                  <a:lnTo>
                    <a:pt x="24" y="64"/>
                  </a:lnTo>
                  <a:lnTo>
                    <a:pt x="24" y="6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5" name="Freeform 509">
              <a:extLst>
                <a:ext uri="{FF2B5EF4-FFF2-40B4-BE49-F238E27FC236}">
                  <a16:creationId xmlns:a16="http://schemas.microsoft.com/office/drawing/2014/main" id="{8408FBD2-E3B1-431A-8875-A2828F43EA16}"/>
                </a:ext>
              </a:extLst>
            </p:cNvPr>
            <p:cNvSpPr>
              <a:spLocks/>
            </p:cNvSpPr>
            <p:nvPr/>
          </p:nvSpPr>
          <p:spPr bwMode="auto">
            <a:xfrm>
              <a:off x="3388911" y="3436754"/>
              <a:ext cx="132070" cy="75099"/>
            </a:xfrm>
            <a:custGeom>
              <a:avLst/>
              <a:gdLst/>
              <a:ahLst/>
              <a:cxnLst>
                <a:cxn ang="0">
                  <a:pos x="0" y="40"/>
                </a:cxn>
                <a:cxn ang="0">
                  <a:pos x="0" y="40"/>
                </a:cxn>
                <a:cxn ang="0">
                  <a:pos x="6" y="38"/>
                </a:cxn>
                <a:cxn ang="0">
                  <a:pos x="12" y="34"/>
                </a:cxn>
                <a:cxn ang="0">
                  <a:pos x="18" y="36"/>
                </a:cxn>
                <a:cxn ang="0">
                  <a:pos x="26" y="38"/>
                </a:cxn>
                <a:cxn ang="0">
                  <a:pos x="38" y="42"/>
                </a:cxn>
                <a:cxn ang="0">
                  <a:pos x="42" y="44"/>
                </a:cxn>
                <a:cxn ang="0">
                  <a:pos x="46" y="44"/>
                </a:cxn>
                <a:cxn ang="0">
                  <a:pos x="50" y="44"/>
                </a:cxn>
                <a:cxn ang="0">
                  <a:pos x="52" y="46"/>
                </a:cxn>
                <a:cxn ang="0">
                  <a:pos x="54" y="50"/>
                </a:cxn>
                <a:cxn ang="0">
                  <a:pos x="58" y="50"/>
                </a:cxn>
                <a:cxn ang="0">
                  <a:pos x="62" y="52"/>
                </a:cxn>
                <a:cxn ang="0">
                  <a:pos x="68" y="56"/>
                </a:cxn>
                <a:cxn ang="0">
                  <a:pos x="74" y="58"/>
                </a:cxn>
                <a:cxn ang="0">
                  <a:pos x="78" y="54"/>
                </a:cxn>
                <a:cxn ang="0">
                  <a:pos x="80" y="52"/>
                </a:cxn>
                <a:cxn ang="0">
                  <a:pos x="84" y="52"/>
                </a:cxn>
                <a:cxn ang="0">
                  <a:pos x="88" y="54"/>
                </a:cxn>
                <a:cxn ang="0">
                  <a:pos x="90" y="48"/>
                </a:cxn>
                <a:cxn ang="0">
                  <a:pos x="90" y="42"/>
                </a:cxn>
                <a:cxn ang="0">
                  <a:pos x="92" y="40"/>
                </a:cxn>
                <a:cxn ang="0">
                  <a:pos x="96" y="42"/>
                </a:cxn>
                <a:cxn ang="0">
                  <a:pos x="100" y="42"/>
                </a:cxn>
                <a:cxn ang="0">
                  <a:pos x="102" y="40"/>
                </a:cxn>
                <a:cxn ang="0">
                  <a:pos x="100" y="34"/>
                </a:cxn>
                <a:cxn ang="0">
                  <a:pos x="96" y="28"/>
                </a:cxn>
                <a:cxn ang="0">
                  <a:pos x="94" y="26"/>
                </a:cxn>
                <a:cxn ang="0">
                  <a:pos x="92" y="26"/>
                </a:cxn>
                <a:cxn ang="0">
                  <a:pos x="90" y="24"/>
                </a:cxn>
                <a:cxn ang="0">
                  <a:pos x="90" y="14"/>
                </a:cxn>
                <a:cxn ang="0">
                  <a:pos x="86" y="16"/>
                </a:cxn>
                <a:cxn ang="0">
                  <a:pos x="84" y="16"/>
                </a:cxn>
                <a:cxn ang="0">
                  <a:pos x="82" y="14"/>
                </a:cxn>
                <a:cxn ang="0">
                  <a:pos x="82" y="10"/>
                </a:cxn>
                <a:cxn ang="0">
                  <a:pos x="80" y="10"/>
                </a:cxn>
                <a:cxn ang="0">
                  <a:pos x="74" y="12"/>
                </a:cxn>
                <a:cxn ang="0">
                  <a:pos x="70" y="6"/>
                </a:cxn>
                <a:cxn ang="0">
                  <a:pos x="66" y="6"/>
                </a:cxn>
                <a:cxn ang="0">
                  <a:pos x="66" y="4"/>
                </a:cxn>
                <a:cxn ang="0">
                  <a:pos x="62" y="2"/>
                </a:cxn>
                <a:cxn ang="0">
                  <a:pos x="56" y="0"/>
                </a:cxn>
                <a:cxn ang="0">
                  <a:pos x="52" y="0"/>
                </a:cxn>
                <a:cxn ang="0">
                  <a:pos x="52" y="2"/>
                </a:cxn>
                <a:cxn ang="0">
                  <a:pos x="48" y="2"/>
                </a:cxn>
                <a:cxn ang="0">
                  <a:pos x="42" y="2"/>
                </a:cxn>
                <a:cxn ang="0">
                  <a:pos x="42" y="8"/>
                </a:cxn>
                <a:cxn ang="0">
                  <a:pos x="44" y="18"/>
                </a:cxn>
                <a:cxn ang="0">
                  <a:pos x="36" y="22"/>
                </a:cxn>
                <a:cxn ang="0">
                  <a:pos x="32" y="22"/>
                </a:cxn>
                <a:cxn ang="0">
                  <a:pos x="28" y="20"/>
                </a:cxn>
                <a:cxn ang="0">
                  <a:pos x="20" y="12"/>
                </a:cxn>
                <a:cxn ang="0">
                  <a:pos x="20" y="10"/>
                </a:cxn>
                <a:cxn ang="0">
                  <a:pos x="22" y="10"/>
                </a:cxn>
                <a:cxn ang="0">
                  <a:pos x="22" y="6"/>
                </a:cxn>
                <a:cxn ang="0">
                  <a:pos x="20" y="6"/>
                </a:cxn>
                <a:cxn ang="0">
                  <a:pos x="18" y="8"/>
                </a:cxn>
                <a:cxn ang="0">
                  <a:pos x="12" y="10"/>
                </a:cxn>
                <a:cxn ang="0">
                  <a:pos x="10" y="16"/>
                </a:cxn>
                <a:cxn ang="0">
                  <a:pos x="2" y="28"/>
                </a:cxn>
                <a:cxn ang="0">
                  <a:pos x="0" y="40"/>
                </a:cxn>
                <a:cxn ang="0">
                  <a:pos x="0" y="40"/>
                </a:cxn>
              </a:cxnLst>
              <a:rect l="0" t="0" r="r" b="b"/>
              <a:pathLst>
                <a:path w="102" h="58">
                  <a:moveTo>
                    <a:pt x="0" y="40"/>
                  </a:moveTo>
                  <a:lnTo>
                    <a:pt x="0" y="40"/>
                  </a:lnTo>
                  <a:lnTo>
                    <a:pt x="6" y="38"/>
                  </a:lnTo>
                  <a:lnTo>
                    <a:pt x="12" y="34"/>
                  </a:lnTo>
                  <a:lnTo>
                    <a:pt x="18" y="36"/>
                  </a:lnTo>
                  <a:lnTo>
                    <a:pt x="26" y="38"/>
                  </a:lnTo>
                  <a:lnTo>
                    <a:pt x="38" y="42"/>
                  </a:lnTo>
                  <a:lnTo>
                    <a:pt x="42" y="44"/>
                  </a:lnTo>
                  <a:lnTo>
                    <a:pt x="46" y="44"/>
                  </a:lnTo>
                  <a:lnTo>
                    <a:pt x="50" y="44"/>
                  </a:lnTo>
                  <a:lnTo>
                    <a:pt x="52" y="46"/>
                  </a:lnTo>
                  <a:lnTo>
                    <a:pt x="54" y="50"/>
                  </a:lnTo>
                  <a:lnTo>
                    <a:pt x="58" y="50"/>
                  </a:lnTo>
                  <a:lnTo>
                    <a:pt x="62" y="52"/>
                  </a:lnTo>
                  <a:lnTo>
                    <a:pt x="68" y="56"/>
                  </a:lnTo>
                  <a:lnTo>
                    <a:pt x="74" y="58"/>
                  </a:lnTo>
                  <a:lnTo>
                    <a:pt x="78" y="54"/>
                  </a:lnTo>
                  <a:lnTo>
                    <a:pt x="80" y="52"/>
                  </a:lnTo>
                  <a:lnTo>
                    <a:pt x="84" y="52"/>
                  </a:lnTo>
                  <a:lnTo>
                    <a:pt x="88" y="54"/>
                  </a:lnTo>
                  <a:lnTo>
                    <a:pt x="90" y="48"/>
                  </a:lnTo>
                  <a:lnTo>
                    <a:pt x="90" y="42"/>
                  </a:lnTo>
                  <a:lnTo>
                    <a:pt x="92" y="40"/>
                  </a:lnTo>
                  <a:lnTo>
                    <a:pt x="96" y="42"/>
                  </a:lnTo>
                  <a:lnTo>
                    <a:pt x="100" y="42"/>
                  </a:lnTo>
                  <a:lnTo>
                    <a:pt x="102" y="40"/>
                  </a:lnTo>
                  <a:lnTo>
                    <a:pt x="100" y="34"/>
                  </a:lnTo>
                  <a:lnTo>
                    <a:pt x="96" y="28"/>
                  </a:lnTo>
                  <a:lnTo>
                    <a:pt x="94" y="26"/>
                  </a:lnTo>
                  <a:lnTo>
                    <a:pt x="92" y="26"/>
                  </a:lnTo>
                  <a:lnTo>
                    <a:pt x="90" y="24"/>
                  </a:lnTo>
                  <a:lnTo>
                    <a:pt x="90" y="14"/>
                  </a:lnTo>
                  <a:lnTo>
                    <a:pt x="86" y="16"/>
                  </a:lnTo>
                  <a:lnTo>
                    <a:pt x="84" y="16"/>
                  </a:lnTo>
                  <a:lnTo>
                    <a:pt x="82" y="14"/>
                  </a:lnTo>
                  <a:lnTo>
                    <a:pt x="82" y="10"/>
                  </a:lnTo>
                  <a:lnTo>
                    <a:pt x="80" y="10"/>
                  </a:lnTo>
                  <a:lnTo>
                    <a:pt x="74" y="12"/>
                  </a:lnTo>
                  <a:lnTo>
                    <a:pt x="70" y="6"/>
                  </a:lnTo>
                  <a:lnTo>
                    <a:pt x="66" y="6"/>
                  </a:lnTo>
                  <a:lnTo>
                    <a:pt x="66" y="4"/>
                  </a:lnTo>
                  <a:lnTo>
                    <a:pt x="62" y="2"/>
                  </a:lnTo>
                  <a:lnTo>
                    <a:pt x="56" y="0"/>
                  </a:lnTo>
                  <a:lnTo>
                    <a:pt x="52" y="0"/>
                  </a:lnTo>
                  <a:lnTo>
                    <a:pt x="52" y="2"/>
                  </a:lnTo>
                  <a:lnTo>
                    <a:pt x="48" y="2"/>
                  </a:lnTo>
                  <a:lnTo>
                    <a:pt x="42" y="2"/>
                  </a:lnTo>
                  <a:lnTo>
                    <a:pt x="42" y="8"/>
                  </a:lnTo>
                  <a:lnTo>
                    <a:pt x="44" y="18"/>
                  </a:lnTo>
                  <a:lnTo>
                    <a:pt x="36" y="22"/>
                  </a:lnTo>
                  <a:lnTo>
                    <a:pt x="32" y="22"/>
                  </a:lnTo>
                  <a:lnTo>
                    <a:pt x="28" y="20"/>
                  </a:lnTo>
                  <a:lnTo>
                    <a:pt x="20" y="12"/>
                  </a:lnTo>
                  <a:lnTo>
                    <a:pt x="20" y="10"/>
                  </a:lnTo>
                  <a:lnTo>
                    <a:pt x="22" y="10"/>
                  </a:lnTo>
                  <a:lnTo>
                    <a:pt x="22" y="6"/>
                  </a:lnTo>
                  <a:lnTo>
                    <a:pt x="20" y="6"/>
                  </a:lnTo>
                  <a:lnTo>
                    <a:pt x="18" y="8"/>
                  </a:lnTo>
                  <a:lnTo>
                    <a:pt x="12" y="10"/>
                  </a:lnTo>
                  <a:lnTo>
                    <a:pt x="10" y="16"/>
                  </a:lnTo>
                  <a:lnTo>
                    <a:pt x="2" y="28"/>
                  </a:lnTo>
                  <a:lnTo>
                    <a:pt x="0" y="40"/>
                  </a:lnTo>
                  <a:lnTo>
                    <a:pt x="0" y="4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6" name="Freeform 510">
              <a:extLst>
                <a:ext uri="{FF2B5EF4-FFF2-40B4-BE49-F238E27FC236}">
                  <a16:creationId xmlns:a16="http://schemas.microsoft.com/office/drawing/2014/main" id="{82581AE6-1C4A-4CAC-9566-E8CB4D88BE53}"/>
                </a:ext>
              </a:extLst>
            </p:cNvPr>
            <p:cNvSpPr>
              <a:spLocks/>
            </p:cNvSpPr>
            <p:nvPr/>
          </p:nvSpPr>
          <p:spPr bwMode="auto">
            <a:xfrm>
              <a:off x="2635335" y="3193330"/>
              <a:ext cx="132070" cy="90636"/>
            </a:xfrm>
            <a:custGeom>
              <a:avLst/>
              <a:gdLst/>
              <a:ahLst/>
              <a:cxnLst>
                <a:cxn ang="0">
                  <a:pos x="74" y="0"/>
                </a:cxn>
                <a:cxn ang="0">
                  <a:pos x="70" y="10"/>
                </a:cxn>
                <a:cxn ang="0">
                  <a:pos x="66" y="10"/>
                </a:cxn>
                <a:cxn ang="0">
                  <a:pos x="60" y="10"/>
                </a:cxn>
                <a:cxn ang="0">
                  <a:pos x="56" y="14"/>
                </a:cxn>
                <a:cxn ang="0">
                  <a:pos x="54" y="6"/>
                </a:cxn>
                <a:cxn ang="0">
                  <a:pos x="48" y="10"/>
                </a:cxn>
                <a:cxn ang="0">
                  <a:pos x="46" y="16"/>
                </a:cxn>
                <a:cxn ang="0">
                  <a:pos x="42" y="12"/>
                </a:cxn>
                <a:cxn ang="0">
                  <a:pos x="38" y="16"/>
                </a:cxn>
                <a:cxn ang="0">
                  <a:pos x="32" y="22"/>
                </a:cxn>
                <a:cxn ang="0">
                  <a:pos x="28" y="26"/>
                </a:cxn>
                <a:cxn ang="0">
                  <a:pos x="28" y="16"/>
                </a:cxn>
                <a:cxn ang="0">
                  <a:pos x="26" y="12"/>
                </a:cxn>
                <a:cxn ang="0">
                  <a:pos x="16" y="6"/>
                </a:cxn>
                <a:cxn ang="0">
                  <a:pos x="20" y="14"/>
                </a:cxn>
                <a:cxn ang="0">
                  <a:pos x="18" y="14"/>
                </a:cxn>
                <a:cxn ang="0">
                  <a:pos x="10" y="6"/>
                </a:cxn>
                <a:cxn ang="0">
                  <a:pos x="8" y="12"/>
                </a:cxn>
                <a:cxn ang="0">
                  <a:pos x="8" y="20"/>
                </a:cxn>
                <a:cxn ang="0">
                  <a:pos x="0" y="24"/>
                </a:cxn>
                <a:cxn ang="0">
                  <a:pos x="6" y="28"/>
                </a:cxn>
                <a:cxn ang="0">
                  <a:pos x="18" y="24"/>
                </a:cxn>
                <a:cxn ang="0">
                  <a:pos x="16" y="26"/>
                </a:cxn>
                <a:cxn ang="0">
                  <a:pos x="20" y="32"/>
                </a:cxn>
                <a:cxn ang="0">
                  <a:pos x="12" y="34"/>
                </a:cxn>
                <a:cxn ang="0">
                  <a:pos x="4" y="38"/>
                </a:cxn>
                <a:cxn ang="0">
                  <a:pos x="10" y="38"/>
                </a:cxn>
                <a:cxn ang="0">
                  <a:pos x="22" y="44"/>
                </a:cxn>
                <a:cxn ang="0">
                  <a:pos x="22" y="54"/>
                </a:cxn>
                <a:cxn ang="0">
                  <a:pos x="14" y="58"/>
                </a:cxn>
                <a:cxn ang="0">
                  <a:pos x="30" y="58"/>
                </a:cxn>
                <a:cxn ang="0">
                  <a:pos x="34" y="60"/>
                </a:cxn>
                <a:cxn ang="0">
                  <a:pos x="38" y="68"/>
                </a:cxn>
                <a:cxn ang="0">
                  <a:pos x="50" y="70"/>
                </a:cxn>
                <a:cxn ang="0">
                  <a:pos x="56" y="68"/>
                </a:cxn>
                <a:cxn ang="0">
                  <a:pos x="60" y="62"/>
                </a:cxn>
                <a:cxn ang="0">
                  <a:pos x="62" y="58"/>
                </a:cxn>
                <a:cxn ang="0">
                  <a:pos x="68" y="56"/>
                </a:cxn>
                <a:cxn ang="0">
                  <a:pos x="78" y="52"/>
                </a:cxn>
                <a:cxn ang="0">
                  <a:pos x="88" y="46"/>
                </a:cxn>
                <a:cxn ang="0">
                  <a:pos x="96" y="38"/>
                </a:cxn>
                <a:cxn ang="0">
                  <a:pos x="98" y="36"/>
                </a:cxn>
                <a:cxn ang="0">
                  <a:pos x="100" y="38"/>
                </a:cxn>
                <a:cxn ang="0">
                  <a:pos x="102" y="32"/>
                </a:cxn>
                <a:cxn ang="0">
                  <a:pos x="100" y="28"/>
                </a:cxn>
                <a:cxn ang="0">
                  <a:pos x="96" y="24"/>
                </a:cxn>
                <a:cxn ang="0">
                  <a:pos x="92" y="20"/>
                </a:cxn>
                <a:cxn ang="0">
                  <a:pos x="88" y="12"/>
                </a:cxn>
                <a:cxn ang="0">
                  <a:pos x="94" y="4"/>
                </a:cxn>
                <a:cxn ang="0">
                  <a:pos x="84" y="8"/>
                </a:cxn>
                <a:cxn ang="0">
                  <a:pos x="78" y="0"/>
                </a:cxn>
              </a:cxnLst>
              <a:rect l="0" t="0" r="r" b="b"/>
              <a:pathLst>
                <a:path w="102" h="70">
                  <a:moveTo>
                    <a:pt x="78" y="0"/>
                  </a:moveTo>
                  <a:lnTo>
                    <a:pt x="78" y="0"/>
                  </a:lnTo>
                  <a:lnTo>
                    <a:pt x="74" y="0"/>
                  </a:lnTo>
                  <a:lnTo>
                    <a:pt x="74" y="8"/>
                  </a:lnTo>
                  <a:lnTo>
                    <a:pt x="72" y="10"/>
                  </a:lnTo>
                  <a:lnTo>
                    <a:pt x="70" y="10"/>
                  </a:lnTo>
                  <a:lnTo>
                    <a:pt x="70" y="8"/>
                  </a:lnTo>
                  <a:lnTo>
                    <a:pt x="68" y="6"/>
                  </a:lnTo>
                  <a:lnTo>
                    <a:pt x="66" y="10"/>
                  </a:lnTo>
                  <a:lnTo>
                    <a:pt x="64" y="10"/>
                  </a:lnTo>
                  <a:lnTo>
                    <a:pt x="62" y="12"/>
                  </a:lnTo>
                  <a:lnTo>
                    <a:pt x="60" y="10"/>
                  </a:lnTo>
                  <a:lnTo>
                    <a:pt x="58" y="8"/>
                  </a:lnTo>
                  <a:lnTo>
                    <a:pt x="58" y="16"/>
                  </a:lnTo>
                  <a:lnTo>
                    <a:pt x="56" y="14"/>
                  </a:lnTo>
                  <a:lnTo>
                    <a:pt x="54" y="10"/>
                  </a:lnTo>
                  <a:lnTo>
                    <a:pt x="54" y="8"/>
                  </a:lnTo>
                  <a:lnTo>
                    <a:pt x="54" y="6"/>
                  </a:lnTo>
                  <a:lnTo>
                    <a:pt x="52" y="6"/>
                  </a:lnTo>
                  <a:lnTo>
                    <a:pt x="50" y="8"/>
                  </a:lnTo>
                  <a:lnTo>
                    <a:pt x="48" y="10"/>
                  </a:lnTo>
                  <a:lnTo>
                    <a:pt x="46" y="10"/>
                  </a:lnTo>
                  <a:lnTo>
                    <a:pt x="44" y="12"/>
                  </a:lnTo>
                  <a:lnTo>
                    <a:pt x="46" y="16"/>
                  </a:lnTo>
                  <a:lnTo>
                    <a:pt x="44" y="16"/>
                  </a:lnTo>
                  <a:lnTo>
                    <a:pt x="44" y="18"/>
                  </a:lnTo>
                  <a:lnTo>
                    <a:pt x="42" y="12"/>
                  </a:lnTo>
                  <a:lnTo>
                    <a:pt x="40" y="8"/>
                  </a:lnTo>
                  <a:lnTo>
                    <a:pt x="38" y="10"/>
                  </a:lnTo>
                  <a:lnTo>
                    <a:pt x="38" y="16"/>
                  </a:lnTo>
                  <a:lnTo>
                    <a:pt x="38" y="24"/>
                  </a:lnTo>
                  <a:lnTo>
                    <a:pt x="34" y="22"/>
                  </a:lnTo>
                  <a:lnTo>
                    <a:pt x="32" y="22"/>
                  </a:lnTo>
                  <a:lnTo>
                    <a:pt x="32" y="28"/>
                  </a:lnTo>
                  <a:lnTo>
                    <a:pt x="28" y="30"/>
                  </a:lnTo>
                  <a:lnTo>
                    <a:pt x="28" y="26"/>
                  </a:lnTo>
                  <a:lnTo>
                    <a:pt x="28" y="20"/>
                  </a:lnTo>
                  <a:lnTo>
                    <a:pt x="28" y="18"/>
                  </a:lnTo>
                  <a:lnTo>
                    <a:pt x="28" y="16"/>
                  </a:lnTo>
                  <a:lnTo>
                    <a:pt x="28" y="14"/>
                  </a:lnTo>
                  <a:lnTo>
                    <a:pt x="28" y="12"/>
                  </a:lnTo>
                  <a:lnTo>
                    <a:pt x="26" y="12"/>
                  </a:lnTo>
                  <a:lnTo>
                    <a:pt x="26" y="10"/>
                  </a:lnTo>
                  <a:lnTo>
                    <a:pt x="24" y="6"/>
                  </a:lnTo>
                  <a:lnTo>
                    <a:pt x="16" y="6"/>
                  </a:lnTo>
                  <a:lnTo>
                    <a:pt x="16" y="8"/>
                  </a:lnTo>
                  <a:lnTo>
                    <a:pt x="20" y="10"/>
                  </a:lnTo>
                  <a:lnTo>
                    <a:pt x="20" y="14"/>
                  </a:lnTo>
                  <a:lnTo>
                    <a:pt x="22" y="16"/>
                  </a:lnTo>
                  <a:lnTo>
                    <a:pt x="20" y="16"/>
                  </a:lnTo>
                  <a:lnTo>
                    <a:pt x="18" y="14"/>
                  </a:lnTo>
                  <a:lnTo>
                    <a:pt x="14" y="12"/>
                  </a:lnTo>
                  <a:lnTo>
                    <a:pt x="12" y="8"/>
                  </a:lnTo>
                  <a:lnTo>
                    <a:pt x="10" y="6"/>
                  </a:lnTo>
                  <a:lnTo>
                    <a:pt x="10" y="10"/>
                  </a:lnTo>
                  <a:lnTo>
                    <a:pt x="6" y="12"/>
                  </a:lnTo>
                  <a:lnTo>
                    <a:pt x="8" y="12"/>
                  </a:lnTo>
                  <a:lnTo>
                    <a:pt x="10" y="12"/>
                  </a:lnTo>
                  <a:lnTo>
                    <a:pt x="10" y="18"/>
                  </a:lnTo>
                  <a:lnTo>
                    <a:pt x="8" y="20"/>
                  </a:lnTo>
                  <a:lnTo>
                    <a:pt x="4" y="26"/>
                  </a:lnTo>
                  <a:lnTo>
                    <a:pt x="2" y="26"/>
                  </a:lnTo>
                  <a:lnTo>
                    <a:pt x="0" y="24"/>
                  </a:lnTo>
                  <a:lnTo>
                    <a:pt x="0" y="28"/>
                  </a:lnTo>
                  <a:lnTo>
                    <a:pt x="4" y="28"/>
                  </a:lnTo>
                  <a:lnTo>
                    <a:pt x="6" y="28"/>
                  </a:lnTo>
                  <a:lnTo>
                    <a:pt x="8" y="26"/>
                  </a:lnTo>
                  <a:lnTo>
                    <a:pt x="16" y="22"/>
                  </a:lnTo>
                  <a:lnTo>
                    <a:pt x="18" y="24"/>
                  </a:lnTo>
                  <a:lnTo>
                    <a:pt x="20" y="24"/>
                  </a:lnTo>
                  <a:lnTo>
                    <a:pt x="20" y="26"/>
                  </a:lnTo>
                  <a:lnTo>
                    <a:pt x="16" y="26"/>
                  </a:lnTo>
                  <a:lnTo>
                    <a:pt x="18" y="32"/>
                  </a:lnTo>
                  <a:lnTo>
                    <a:pt x="20" y="30"/>
                  </a:lnTo>
                  <a:lnTo>
                    <a:pt x="20" y="32"/>
                  </a:lnTo>
                  <a:lnTo>
                    <a:pt x="20" y="34"/>
                  </a:lnTo>
                  <a:lnTo>
                    <a:pt x="14" y="32"/>
                  </a:lnTo>
                  <a:lnTo>
                    <a:pt x="12" y="34"/>
                  </a:lnTo>
                  <a:lnTo>
                    <a:pt x="8" y="38"/>
                  </a:lnTo>
                  <a:lnTo>
                    <a:pt x="4" y="38"/>
                  </a:lnTo>
                  <a:lnTo>
                    <a:pt x="4" y="38"/>
                  </a:lnTo>
                  <a:lnTo>
                    <a:pt x="4" y="40"/>
                  </a:lnTo>
                  <a:lnTo>
                    <a:pt x="8" y="40"/>
                  </a:lnTo>
                  <a:lnTo>
                    <a:pt x="10" y="38"/>
                  </a:lnTo>
                  <a:lnTo>
                    <a:pt x="18" y="40"/>
                  </a:lnTo>
                  <a:lnTo>
                    <a:pt x="20" y="44"/>
                  </a:lnTo>
                  <a:lnTo>
                    <a:pt x="22" y="44"/>
                  </a:lnTo>
                  <a:lnTo>
                    <a:pt x="22" y="48"/>
                  </a:lnTo>
                  <a:lnTo>
                    <a:pt x="22" y="50"/>
                  </a:lnTo>
                  <a:lnTo>
                    <a:pt x="22" y="54"/>
                  </a:lnTo>
                  <a:lnTo>
                    <a:pt x="18" y="54"/>
                  </a:lnTo>
                  <a:lnTo>
                    <a:pt x="14" y="56"/>
                  </a:lnTo>
                  <a:lnTo>
                    <a:pt x="14" y="58"/>
                  </a:lnTo>
                  <a:lnTo>
                    <a:pt x="22" y="58"/>
                  </a:lnTo>
                  <a:lnTo>
                    <a:pt x="30" y="56"/>
                  </a:lnTo>
                  <a:lnTo>
                    <a:pt x="30" y="58"/>
                  </a:lnTo>
                  <a:lnTo>
                    <a:pt x="32" y="58"/>
                  </a:lnTo>
                  <a:lnTo>
                    <a:pt x="34" y="58"/>
                  </a:lnTo>
                  <a:lnTo>
                    <a:pt x="34" y="60"/>
                  </a:lnTo>
                  <a:lnTo>
                    <a:pt x="40" y="62"/>
                  </a:lnTo>
                  <a:lnTo>
                    <a:pt x="42" y="62"/>
                  </a:lnTo>
                  <a:lnTo>
                    <a:pt x="38" y="68"/>
                  </a:lnTo>
                  <a:lnTo>
                    <a:pt x="42" y="66"/>
                  </a:lnTo>
                  <a:lnTo>
                    <a:pt x="48" y="68"/>
                  </a:lnTo>
                  <a:lnTo>
                    <a:pt x="50" y="70"/>
                  </a:lnTo>
                  <a:lnTo>
                    <a:pt x="54" y="68"/>
                  </a:lnTo>
                  <a:lnTo>
                    <a:pt x="56" y="66"/>
                  </a:lnTo>
                  <a:lnTo>
                    <a:pt x="56" y="68"/>
                  </a:lnTo>
                  <a:lnTo>
                    <a:pt x="58" y="68"/>
                  </a:lnTo>
                  <a:lnTo>
                    <a:pt x="60" y="66"/>
                  </a:lnTo>
                  <a:lnTo>
                    <a:pt x="60" y="62"/>
                  </a:lnTo>
                  <a:lnTo>
                    <a:pt x="60" y="60"/>
                  </a:lnTo>
                  <a:lnTo>
                    <a:pt x="60" y="56"/>
                  </a:lnTo>
                  <a:lnTo>
                    <a:pt x="62" y="58"/>
                  </a:lnTo>
                  <a:lnTo>
                    <a:pt x="66" y="60"/>
                  </a:lnTo>
                  <a:lnTo>
                    <a:pt x="68" y="60"/>
                  </a:lnTo>
                  <a:lnTo>
                    <a:pt x="68" y="56"/>
                  </a:lnTo>
                  <a:lnTo>
                    <a:pt x="70" y="56"/>
                  </a:lnTo>
                  <a:lnTo>
                    <a:pt x="74" y="58"/>
                  </a:lnTo>
                  <a:lnTo>
                    <a:pt x="78" y="52"/>
                  </a:lnTo>
                  <a:lnTo>
                    <a:pt x="82" y="50"/>
                  </a:lnTo>
                  <a:lnTo>
                    <a:pt x="86" y="50"/>
                  </a:lnTo>
                  <a:lnTo>
                    <a:pt x="88" y="46"/>
                  </a:lnTo>
                  <a:lnTo>
                    <a:pt x="90" y="46"/>
                  </a:lnTo>
                  <a:lnTo>
                    <a:pt x="92" y="38"/>
                  </a:lnTo>
                  <a:lnTo>
                    <a:pt x="96" y="38"/>
                  </a:lnTo>
                  <a:lnTo>
                    <a:pt x="96" y="38"/>
                  </a:lnTo>
                  <a:lnTo>
                    <a:pt x="96" y="36"/>
                  </a:lnTo>
                  <a:lnTo>
                    <a:pt x="98" y="36"/>
                  </a:lnTo>
                  <a:lnTo>
                    <a:pt x="96" y="38"/>
                  </a:lnTo>
                  <a:lnTo>
                    <a:pt x="98" y="38"/>
                  </a:lnTo>
                  <a:lnTo>
                    <a:pt x="100" y="38"/>
                  </a:lnTo>
                  <a:lnTo>
                    <a:pt x="102" y="36"/>
                  </a:lnTo>
                  <a:lnTo>
                    <a:pt x="100" y="34"/>
                  </a:lnTo>
                  <a:lnTo>
                    <a:pt x="102" y="32"/>
                  </a:lnTo>
                  <a:lnTo>
                    <a:pt x="100" y="32"/>
                  </a:lnTo>
                  <a:lnTo>
                    <a:pt x="100" y="30"/>
                  </a:lnTo>
                  <a:lnTo>
                    <a:pt x="100" y="28"/>
                  </a:lnTo>
                  <a:lnTo>
                    <a:pt x="100" y="26"/>
                  </a:lnTo>
                  <a:lnTo>
                    <a:pt x="98" y="22"/>
                  </a:lnTo>
                  <a:lnTo>
                    <a:pt x="96" y="24"/>
                  </a:lnTo>
                  <a:lnTo>
                    <a:pt x="96" y="22"/>
                  </a:lnTo>
                  <a:lnTo>
                    <a:pt x="94" y="20"/>
                  </a:lnTo>
                  <a:lnTo>
                    <a:pt x="92" y="20"/>
                  </a:lnTo>
                  <a:lnTo>
                    <a:pt x="90" y="22"/>
                  </a:lnTo>
                  <a:lnTo>
                    <a:pt x="90" y="14"/>
                  </a:lnTo>
                  <a:lnTo>
                    <a:pt x="88" y="12"/>
                  </a:lnTo>
                  <a:lnTo>
                    <a:pt x="88" y="8"/>
                  </a:lnTo>
                  <a:lnTo>
                    <a:pt x="92" y="6"/>
                  </a:lnTo>
                  <a:lnTo>
                    <a:pt x="94" y="4"/>
                  </a:lnTo>
                  <a:lnTo>
                    <a:pt x="86" y="6"/>
                  </a:lnTo>
                  <a:lnTo>
                    <a:pt x="86" y="8"/>
                  </a:lnTo>
                  <a:lnTo>
                    <a:pt x="84" y="8"/>
                  </a:lnTo>
                  <a:lnTo>
                    <a:pt x="80" y="0"/>
                  </a:lnTo>
                  <a:lnTo>
                    <a:pt x="78" y="0"/>
                  </a:lnTo>
                  <a:lnTo>
                    <a:pt x="78"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7" name="Freeform 511">
              <a:extLst>
                <a:ext uri="{FF2B5EF4-FFF2-40B4-BE49-F238E27FC236}">
                  <a16:creationId xmlns:a16="http://schemas.microsoft.com/office/drawing/2014/main" id="{178A477C-E72C-4A77-9175-867935ADAF84}"/>
                </a:ext>
              </a:extLst>
            </p:cNvPr>
            <p:cNvSpPr>
              <a:spLocks/>
            </p:cNvSpPr>
            <p:nvPr/>
          </p:nvSpPr>
          <p:spPr bwMode="auto">
            <a:xfrm>
              <a:off x="3438114" y="3390141"/>
              <a:ext cx="77688" cy="64740"/>
            </a:xfrm>
            <a:custGeom>
              <a:avLst/>
              <a:gdLst/>
              <a:ahLst/>
              <a:cxnLst>
                <a:cxn ang="0">
                  <a:pos x="54" y="16"/>
                </a:cxn>
                <a:cxn ang="0">
                  <a:pos x="58" y="14"/>
                </a:cxn>
                <a:cxn ang="0">
                  <a:pos x="58" y="12"/>
                </a:cxn>
                <a:cxn ang="0">
                  <a:pos x="60" y="10"/>
                </a:cxn>
                <a:cxn ang="0">
                  <a:pos x="58" y="6"/>
                </a:cxn>
                <a:cxn ang="0">
                  <a:pos x="56" y="4"/>
                </a:cxn>
                <a:cxn ang="0">
                  <a:pos x="50" y="2"/>
                </a:cxn>
                <a:cxn ang="0">
                  <a:pos x="46" y="0"/>
                </a:cxn>
                <a:cxn ang="0">
                  <a:pos x="42" y="0"/>
                </a:cxn>
                <a:cxn ang="0">
                  <a:pos x="42" y="4"/>
                </a:cxn>
                <a:cxn ang="0">
                  <a:pos x="28" y="4"/>
                </a:cxn>
                <a:cxn ang="0">
                  <a:pos x="28" y="2"/>
                </a:cxn>
                <a:cxn ang="0">
                  <a:pos x="26" y="2"/>
                </a:cxn>
                <a:cxn ang="0">
                  <a:pos x="24" y="2"/>
                </a:cxn>
                <a:cxn ang="0">
                  <a:pos x="22" y="6"/>
                </a:cxn>
                <a:cxn ang="0">
                  <a:pos x="18" y="6"/>
                </a:cxn>
                <a:cxn ang="0">
                  <a:pos x="12" y="6"/>
                </a:cxn>
                <a:cxn ang="0">
                  <a:pos x="0" y="10"/>
                </a:cxn>
                <a:cxn ang="0">
                  <a:pos x="0" y="20"/>
                </a:cxn>
                <a:cxn ang="0">
                  <a:pos x="0" y="28"/>
                </a:cxn>
                <a:cxn ang="0">
                  <a:pos x="6" y="28"/>
                </a:cxn>
                <a:cxn ang="0">
                  <a:pos x="4" y="38"/>
                </a:cxn>
                <a:cxn ang="0">
                  <a:pos x="12" y="38"/>
                </a:cxn>
                <a:cxn ang="0">
                  <a:pos x="16" y="38"/>
                </a:cxn>
                <a:cxn ang="0">
                  <a:pos x="16" y="36"/>
                </a:cxn>
                <a:cxn ang="0">
                  <a:pos x="20" y="36"/>
                </a:cxn>
                <a:cxn ang="0">
                  <a:pos x="24" y="38"/>
                </a:cxn>
                <a:cxn ang="0">
                  <a:pos x="28" y="40"/>
                </a:cxn>
                <a:cxn ang="0">
                  <a:pos x="28" y="42"/>
                </a:cxn>
                <a:cxn ang="0">
                  <a:pos x="32" y="42"/>
                </a:cxn>
                <a:cxn ang="0">
                  <a:pos x="36" y="50"/>
                </a:cxn>
                <a:cxn ang="0">
                  <a:pos x="42" y="48"/>
                </a:cxn>
                <a:cxn ang="0">
                  <a:pos x="44" y="44"/>
                </a:cxn>
                <a:cxn ang="0">
                  <a:pos x="44" y="40"/>
                </a:cxn>
                <a:cxn ang="0">
                  <a:pos x="46" y="40"/>
                </a:cxn>
                <a:cxn ang="0">
                  <a:pos x="50" y="36"/>
                </a:cxn>
                <a:cxn ang="0">
                  <a:pos x="52" y="34"/>
                </a:cxn>
                <a:cxn ang="0">
                  <a:pos x="52" y="30"/>
                </a:cxn>
                <a:cxn ang="0">
                  <a:pos x="48" y="28"/>
                </a:cxn>
                <a:cxn ang="0">
                  <a:pos x="48" y="22"/>
                </a:cxn>
                <a:cxn ang="0">
                  <a:pos x="46" y="16"/>
                </a:cxn>
                <a:cxn ang="0">
                  <a:pos x="50" y="14"/>
                </a:cxn>
                <a:cxn ang="0">
                  <a:pos x="54" y="14"/>
                </a:cxn>
                <a:cxn ang="0">
                  <a:pos x="54" y="16"/>
                </a:cxn>
                <a:cxn ang="0">
                  <a:pos x="54" y="16"/>
                </a:cxn>
              </a:cxnLst>
              <a:rect l="0" t="0" r="r" b="b"/>
              <a:pathLst>
                <a:path w="60" h="50">
                  <a:moveTo>
                    <a:pt x="54" y="16"/>
                  </a:moveTo>
                  <a:lnTo>
                    <a:pt x="58" y="14"/>
                  </a:lnTo>
                  <a:lnTo>
                    <a:pt x="58" y="12"/>
                  </a:lnTo>
                  <a:lnTo>
                    <a:pt x="60" y="10"/>
                  </a:lnTo>
                  <a:lnTo>
                    <a:pt x="58" y="6"/>
                  </a:lnTo>
                  <a:lnTo>
                    <a:pt x="56" y="4"/>
                  </a:lnTo>
                  <a:lnTo>
                    <a:pt x="50" y="2"/>
                  </a:lnTo>
                  <a:lnTo>
                    <a:pt x="46" y="0"/>
                  </a:lnTo>
                  <a:lnTo>
                    <a:pt x="42" y="0"/>
                  </a:lnTo>
                  <a:lnTo>
                    <a:pt x="42" y="4"/>
                  </a:lnTo>
                  <a:lnTo>
                    <a:pt x="28" y="4"/>
                  </a:lnTo>
                  <a:lnTo>
                    <a:pt x="28" y="2"/>
                  </a:lnTo>
                  <a:lnTo>
                    <a:pt x="26" y="2"/>
                  </a:lnTo>
                  <a:lnTo>
                    <a:pt x="24" y="2"/>
                  </a:lnTo>
                  <a:lnTo>
                    <a:pt x="22" y="6"/>
                  </a:lnTo>
                  <a:lnTo>
                    <a:pt x="18" y="6"/>
                  </a:lnTo>
                  <a:lnTo>
                    <a:pt x="12" y="6"/>
                  </a:lnTo>
                  <a:lnTo>
                    <a:pt x="0" y="10"/>
                  </a:lnTo>
                  <a:lnTo>
                    <a:pt x="0" y="20"/>
                  </a:lnTo>
                  <a:lnTo>
                    <a:pt x="0" y="28"/>
                  </a:lnTo>
                  <a:lnTo>
                    <a:pt x="6" y="28"/>
                  </a:lnTo>
                  <a:lnTo>
                    <a:pt x="4" y="38"/>
                  </a:lnTo>
                  <a:lnTo>
                    <a:pt x="12" y="38"/>
                  </a:lnTo>
                  <a:lnTo>
                    <a:pt x="16" y="38"/>
                  </a:lnTo>
                  <a:lnTo>
                    <a:pt x="16" y="36"/>
                  </a:lnTo>
                  <a:lnTo>
                    <a:pt x="20" y="36"/>
                  </a:lnTo>
                  <a:lnTo>
                    <a:pt x="24" y="38"/>
                  </a:lnTo>
                  <a:lnTo>
                    <a:pt x="28" y="40"/>
                  </a:lnTo>
                  <a:lnTo>
                    <a:pt x="28" y="42"/>
                  </a:lnTo>
                  <a:lnTo>
                    <a:pt x="32" y="42"/>
                  </a:lnTo>
                  <a:lnTo>
                    <a:pt x="36" y="50"/>
                  </a:lnTo>
                  <a:lnTo>
                    <a:pt x="42" y="48"/>
                  </a:lnTo>
                  <a:lnTo>
                    <a:pt x="44" y="44"/>
                  </a:lnTo>
                  <a:lnTo>
                    <a:pt x="44" y="40"/>
                  </a:lnTo>
                  <a:lnTo>
                    <a:pt x="46" y="40"/>
                  </a:lnTo>
                  <a:lnTo>
                    <a:pt x="50" y="36"/>
                  </a:lnTo>
                  <a:lnTo>
                    <a:pt x="52" y="34"/>
                  </a:lnTo>
                  <a:lnTo>
                    <a:pt x="52" y="30"/>
                  </a:lnTo>
                  <a:lnTo>
                    <a:pt x="48" y="28"/>
                  </a:lnTo>
                  <a:lnTo>
                    <a:pt x="48" y="22"/>
                  </a:lnTo>
                  <a:lnTo>
                    <a:pt x="46" y="16"/>
                  </a:lnTo>
                  <a:lnTo>
                    <a:pt x="50" y="14"/>
                  </a:lnTo>
                  <a:lnTo>
                    <a:pt x="54" y="14"/>
                  </a:lnTo>
                  <a:lnTo>
                    <a:pt x="54" y="16"/>
                  </a:lnTo>
                  <a:lnTo>
                    <a:pt x="54" y="1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8" name="Freeform 512">
              <a:extLst>
                <a:ext uri="{FF2B5EF4-FFF2-40B4-BE49-F238E27FC236}">
                  <a16:creationId xmlns:a16="http://schemas.microsoft.com/office/drawing/2014/main" id="{25F4E82B-2501-4F6F-9A8A-DF959EB9AF52}"/>
                </a:ext>
              </a:extLst>
            </p:cNvPr>
            <p:cNvSpPr>
              <a:spLocks/>
            </p:cNvSpPr>
            <p:nvPr/>
          </p:nvSpPr>
          <p:spPr bwMode="auto">
            <a:xfrm>
              <a:off x="3347478" y="3755276"/>
              <a:ext cx="85457" cy="98405"/>
            </a:xfrm>
            <a:custGeom>
              <a:avLst/>
              <a:gdLst/>
              <a:ahLst/>
              <a:cxnLst>
                <a:cxn ang="0">
                  <a:pos x="66" y="28"/>
                </a:cxn>
                <a:cxn ang="0">
                  <a:pos x="60" y="26"/>
                </a:cxn>
                <a:cxn ang="0">
                  <a:pos x="58" y="20"/>
                </a:cxn>
                <a:cxn ang="0">
                  <a:pos x="64" y="20"/>
                </a:cxn>
                <a:cxn ang="0">
                  <a:pos x="58" y="14"/>
                </a:cxn>
                <a:cxn ang="0">
                  <a:pos x="54" y="16"/>
                </a:cxn>
                <a:cxn ang="0">
                  <a:pos x="50" y="20"/>
                </a:cxn>
                <a:cxn ang="0">
                  <a:pos x="46" y="14"/>
                </a:cxn>
                <a:cxn ang="0">
                  <a:pos x="40" y="14"/>
                </a:cxn>
                <a:cxn ang="0">
                  <a:pos x="40" y="6"/>
                </a:cxn>
                <a:cxn ang="0">
                  <a:pos x="34" y="0"/>
                </a:cxn>
                <a:cxn ang="0">
                  <a:pos x="22" y="0"/>
                </a:cxn>
                <a:cxn ang="0">
                  <a:pos x="18" y="6"/>
                </a:cxn>
                <a:cxn ang="0">
                  <a:pos x="12" y="10"/>
                </a:cxn>
                <a:cxn ang="0">
                  <a:pos x="12" y="14"/>
                </a:cxn>
                <a:cxn ang="0">
                  <a:pos x="14" y="18"/>
                </a:cxn>
                <a:cxn ang="0">
                  <a:pos x="12" y="26"/>
                </a:cxn>
                <a:cxn ang="0">
                  <a:pos x="16" y="30"/>
                </a:cxn>
                <a:cxn ang="0">
                  <a:pos x="14" y="34"/>
                </a:cxn>
                <a:cxn ang="0">
                  <a:pos x="12" y="36"/>
                </a:cxn>
                <a:cxn ang="0">
                  <a:pos x="16" y="38"/>
                </a:cxn>
                <a:cxn ang="0">
                  <a:pos x="14" y="40"/>
                </a:cxn>
                <a:cxn ang="0">
                  <a:pos x="8" y="46"/>
                </a:cxn>
                <a:cxn ang="0">
                  <a:pos x="0" y="52"/>
                </a:cxn>
                <a:cxn ang="0">
                  <a:pos x="0" y="60"/>
                </a:cxn>
                <a:cxn ang="0">
                  <a:pos x="4" y="64"/>
                </a:cxn>
                <a:cxn ang="0">
                  <a:pos x="12" y="64"/>
                </a:cxn>
                <a:cxn ang="0">
                  <a:pos x="22" y="66"/>
                </a:cxn>
                <a:cxn ang="0">
                  <a:pos x="28" y="68"/>
                </a:cxn>
                <a:cxn ang="0">
                  <a:pos x="36" y="70"/>
                </a:cxn>
                <a:cxn ang="0">
                  <a:pos x="42" y="72"/>
                </a:cxn>
                <a:cxn ang="0">
                  <a:pos x="48" y="66"/>
                </a:cxn>
                <a:cxn ang="0">
                  <a:pos x="58" y="64"/>
                </a:cxn>
                <a:cxn ang="0">
                  <a:pos x="62" y="58"/>
                </a:cxn>
                <a:cxn ang="0">
                  <a:pos x="66" y="50"/>
                </a:cxn>
                <a:cxn ang="0">
                  <a:pos x="58" y="46"/>
                </a:cxn>
                <a:cxn ang="0">
                  <a:pos x="58" y="40"/>
                </a:cxn>
                <a:cxn ang="0">
                  <a:pos x="62" y="36"/>
                </a:cxn>
                <a:cxn ang="0">
                  <a:pos x="66" y="28"/>
                </a:cxn>
              </a:cxnLst>
              <a:rect l="0" t="0" r="r" b="b"/>
              <a:pathLst>
                <a:path w="66" h="76">
                  <a:moveTo>
                    <a:pt x="66" y="28"/>
                  </a:moveTo>
                  <a:lnTo>
                    <a:pt x="66" y="28"/>
                  </a:lnTo>
                  <a:lnTo>
                    <a:pt x="64" y="28"/>
                  </a:lnTo>
                  <a:lnTo>
                    <a:pt x="60" y="26"/>
                  </a:lnTo>
                  <a:lnTo>
                    <a:pt x="58" y="22"/>
                  </a:lnTo>
                  <a:lnTo>
                    <a:pt x="58" y="20"/>
                  </a:lnTo>
                  <a:lnTo>
                    <a:pt x="62" y="20"/>
                  </a:lnTo>
                  <a:lnTo>
                    <a:pt x="64" y="20"/>
                  </a:lnTo>
                  <a:lnTo>
                    <a:pt x="62" y="18"/>
                  </a:lnTo>
                  <a:lnTo>
                    <a:pt x="58" y="14"/>
                  </a:lnTo>
                  <a:lnTo>
                    <a:pt x="54" y="14"/>
                  </a:lnTo>
                  <a:lnTo>
                    <a:pt x="54" y="16"/>
                  </a:lnTo>
                  <a:lnTo>
                    <a:pt x="52" y="18"/>
                  </a:lnTo>
                  <a:lnTo>
                    <a:pt x="50" y="20"/>
                  </a:lnTo>
                  <a:lnTo>
                    <a:pt x="48" y="18"/>
                  </a:lnTo>
                  <a:lnTo>
                    <a:pt x="46" y="14"/>
                  </a:lnTo>
                  <a:lnTo>
                    <a:pt x="44" y="14"/>
                  </a:lnTo>
                  <a:lnTo>
                    <a:pt x="40" y="14"/>
                  </a:lnTo>
                  <a:lnTo>
                    <a:pt x="42" y="10"/>
                  </a:lnTo>
                  <a:lnTo>
                    <a:pt x="40" y="6"/>
                  </a:lnTo>
                  <a:lnTo>
                    <a:pt x="38" y="4"/>
                  </a:lnTo>
                  <a:lnTo>
                    <a:pt x="34" y="0"/>
                  </a:lnTo>
                  <a:lnTo>
                    <a:pt x="28" y="0"/>
                  </a:lnTo>
                  <a:lnTo>
                    <a:pt x="22" y="0"/>
                  </a:lnTo>
                  <a:lnTo>
                    <a:pt x="20" y="4"/>
                  </a:lnTo>
                  <a:lnTo>
                    <a:pt x="18" y="6"/>
                  </a:lnTo>
                  <a:lnTo>
                    <a:pt x="14" y="8"/>
                  </a:lnTo>
                  <a:lnTo>
                    <a:pt x="12" y="10"/>
                  </a:lnTo>
                  <a:lnTo>
                    <a:pt x="12" y="12"/>
                  </a:lnTo>
                  <a:lnTo>
                    <a:pt x="12" y="14"/>
                  </a:lnTo>
                  <a:lnTo>
                    <a:pt x="14" y="16"/>
                  </a:lnTo>
                  <a:lnTo>
                    <a:pt x="14" y="18"/>
                  </a:lnTo>
                  <a:lnTo>
                    <a:pt x="12" y="22"/>
                  </a:lnTo>
                  <a:lnTo>
                    <a:pt x="12" y="26"/>
                  </a:lnTo>
                  <a:lnTo>
                    <a:pt x="14" y="30"/>
                  </a:lnTo>
                  <a:lnTo>
                    <a:pt x="16" y="30"/>
                  </a:lnTo>
                  <a:lnTo>
                    <a:pt x="16" y="32"/>
                  </a:lnTo>
                  <a:lnTo>
                    <a:pt x="14" y="34"/>
                  </a:lnTo>
                  <a:lnTo>
                    <a:pt x="10" y="34"/>
                  </a:lnTo>
                  <a:lnTo>
                    <a:pt x="12" y="36"/>
                  </a:lnTo>
                  <a:lnTo>
                    <a:pt x="14" y="38"/>
                  </a:lnTo>
                  <a:lnTo>
                    <a:pt x="16" y="38"/>
                  </a:lnTo>
                  <a:lnTo>
                    <a:pt x="16" y="40"/>
                  </a:lnTo>
                  <a:lnTo>
                    <a:pt x="14" y="40"/>
                  </a:lnTo>
                  <a:lnTo>
                    <a:pt x="10" y="44"/>
                  </a:lnTo>
                  <a:lnTo>
                    <a:pt x="8" y="46"/>
                  </a:lnTo>
                  <a:lnTo>
                    <a:pt x="2" y="48"/>
                  </a:lnTo>
                  <a:lnTo>
                    <a:pt x="0" y="52"/>
                  </a:lnTo>
                  <a:lnTo>
                    <a:pt x="0" y="56"/>
                  </a:lnTo>
                  <a:lnTo>
                    <a:pt x="0" y="60"/>
                  </a:lnTo>
                  <a:lnTo>
                    <a:pt x="2" y="64"/>
                  </a:lnTo>
                  <a:lnTo>
                    <a:pt x="4" y="64"/>
                  </a:lnTo>
                  <a:lnTo>
                    <a:pt x="10" y="70"/>
                  </a:lnTo>
                  <a:lnTo>
                    <a:pt x="12" y="64"/>
                  </a:lnTo>
                  <a:lnTo>
                    <a:pt x="20" y="60"/>
                  </a:lnTo>
                  <a:lnTo>
                    <a:pt x="22" y="66"/>
                  </a:lnTo>
                  <a:lnTo>
                    <a:pt x="22" y="62"/>
                  </a:lnTo>
                  <a:lnTo>
                    <a:pt x="28" y="68"/>
                  </a:lnTo>
                  <a:lnTo>
                    <a:pt x="30" y="76"/>
                  </a:lnTo>
                  <a:lnTo>
                    <a:pt x="36" y="70"/>
                  </a:lnTo>
                  <a:lnTo>
                    <a:pt x="40" y="68"/>
                  </a:lnTo>
                  <a:lnTo>
                    <a:pt x="42" y="72"/>
                  </a:lnTo>
                  <a:lnTo>
                    <a:pt x="44" y="66"/>
                  </a:lnTo>
                  <a:lnTo>
                    <a:pt x="48" y="66"/>
                  </a:lnTo>
                  <a:lnTo>
                    <a:pt x="52" y="66"/>
                  </a:lnTo>
                  <a:lnTo>
                    <a:pt x="58" y="64"/>
                  </a:lnTo>
                  <a:lnTo>
                    <a:pt x="60" y="62"/>
                  </a:lnTo>
                  <a:lnTo>
                    <a:pt x="62" y="58"/>
                  </a:lnTo>
                  <a:lnTo>
                    <a:pt x="66" y="52"/>
                  </a:lnTo>
                  <a:lnTo>
                    <a:pt x="66" y="50"/>
                  </a:lnTo>
                  <a:lnTo>
                    <a:pt x="60" y="48"/>
                  </a:lnTo>
                  <a:lnTo>
                    <a:pt x="58" y="46"/>
                  </a:lnTo>
                  <a:lnTo>
                    <a:pt x="56" y="44"/>
                  </a:lnTo>
                  <a:lnTo>
                    <a:pt x="58" y="40"/>
                  </a:lnTo>
                  <a:lnTo>
                    <a:pt x="58" y="38"/>
                  </a:lnTo>
                  <a:lnTo>
                    <a:pt x="62" y="36"/>
                  </a:lnTo>
                  <a:lnTo>
                    <a:pt x="66" y="32"/>
                  </a:lnTo>
                  <a:lnTo>
                    <a:pt x="66" y="28"/>
                  </a:lnTo>
                  <a:lnTo>
                    <a:pt x="66" y="2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49" name="Freeform 513">
              <a:extLst>
                <a:ext uri="{FF2B5EF4-FFF2-40B4-BE49-F238E27FC236}">
                  <a16:creationId xmlns:a16="http://schemas.microsoft.com/office/drawing/2014/main" id="{4681B344-3609-4051-9874-58176445EB32}"/>
                </a:ext>
              </a:extLst>
            </p:cNvPr>
            <p:cNvSpPr>
              <a:spLocks/>
            </p:cNvSpPr>
            <p:nvPr/>
          </p:nvSpPr>
          <p:spPr bwMode="auto">
            <a:xfrm>
              <a:off x="3976753" y="3763045"/>
              <a:ext cx="277088" cy="199400"/>
            </a:xfrm>
            <a:custGeom>
              <a:avLst/>
              <a:gdLst/>
              <a:ahLst/>
              <a:cxnLst>
                <a:cxn ang="0">
                  <a:pos x="188" y="56"/>
                </a:cxn>
                <a:cxn ang="0">
                  <a:pos x="172" y="60"/>
                </a:cxn>
                <a:cxn ang="0">
                  <a:pos x="164" y="66"/>
                </a:cxn>
                <a:cxn ang="0">
                  <a:pos x="152" y="76"/>
                </a:cxn>
                <a:cxn ang="0">
                  <a:pos x="146" y="76"/>
                </a:cxn>
                <a:cxn ang="0">
                  <a:pos x="126" y="70"/>
                </a:cxn>
                <a:cxn ang="0">
                  <a:pos x="124" y="64"/>
                </a:cxn>
                <a:cxn ang="0">
                  <a:pos x="118" y="58"/>
                </a:cxn>
                <a:cxn ang="0">
                  <a:pos x="104" y="54"/>
                </a:cxn>
                <a:cxn ang="0">
                  <a:pos x="74" y="34"/>
                </a:cxn>
                <a:cxn ang="0">
                  <a:pos x="64" y="32"/>
                </a:cxn>
                <a:cxn ang="0">
                  <a:pos x="50" y="36"/>
                </a:cxn>
                <a:cxn ang="0">
                  <a:pos x="44" y="38"/>
                </a:cxn>
                <a:cxn ang="0">
                  <a:pos x="42" y="38"/>
                </a:cxn>
                <a:cxn ang="0">
                  <a:pos x="28" y="28"/>
                </a:cxn>
                <a:cxn ang="0">
                  <a:pos x="26" y="18"/>
                </a:cxn>
                <a:cxn ang="0">
                  <a:pos x="32" y="2"/>
                </a:cxn>
                <a:cxn ang="0">
                  <a:pos x="8" y="4"/>
                </a:cxn>
                <a:cxn ang="0">
                  <a:pos x="14" y="68"/>
                </a:cxn>
                <a:cxn ang="0">
                  <a:pos x="20" y="56"/>
                </a:cxn>
                <a:cxn ang="0">
                  <a:pos x="34" y="52"/>
                </a:cxn>
                <a:cxn ang="0">
                  <a:pos x="46" y="76"/>
                </a:cxn>
                <a:cxn ang="0">
                  <a:pos x="58" y="80"/>
                </a:cxn>
                <a:cxn ang="0">
                  <a:pos x="80" y="86"/>
                </a:cxn>
                <a:cxn ang="0">
                  <a:pos x="88" y="108"/>
                </a:cxn>
                <a:cxn ang="0">
                  <a:pos x="108" y="124"/>
                </a:cxn>
                <a:cxn ang="0">
                  <a:pos x="130" y="130"/>
                </a:cxn>
                <a:cxn ang="0">
                  <a:pos x="130" y="140"/>
                </a:cxn>
                <a:cxn ang="0">
                  <a:pos x="144" y="152"/>
                </a:cxn>
                <a:cxn ang="0">
                  <a:pos x="156" y="140"/>
                </a:cxn>
                <a:cxn ang="0">
                  <a:pos x="154" y="130"/>
                </a:cxn>
                <a:cxn ang="0">
                  <a:pos x="150" y="122"/>
                </a:cxn>
                <a:cxn ang="0">
                  <a:pos x="144" y="114"/>
                </a:cxn>
                <a:cxn ang="0">
                  <a:pos x="152" y="112"/>
                </a:cxn>
                <a:cxn ang="0">
                  <a:pos x="164" y="106"/>
                </a:cxn>
                <a:cxn ang="0">
                  <a:pos x="164" y="100"/>
                </a:cxn>
                <a:cxn ang="0">
                  <a:pos x="166" y="92"/>
                </a:cxn>
                <a:cxn ang="0">
                  <a:pos x="170" y="84"/>
                </a:cxn>
                <a:cxn ang="0">
                  <a:pos x="180" y="88"/>
                </a:cxn>
                <a:cxn ang="0">
                  <a:pos x="190" y="90"/>
                </a:cxn>
                <a:cxn ang="0">
                  <a:pos x="188" y="100"/>
                </a:cxn>
                <a:cxn ang="0">
                  <a:pos x="202" y="96"/>
                </a:cxn>
                <a:cxn ang="0">
                  <a:pos x="214" y="82"/>
                </a:cxn>
                <a:cxn ang="0">
                  <a:pos x="204" y="78"/>
                </a:cxn>
                <a:cxn ang="0">
                  <a:pos x="198" y="72"/>
                </a:cxn>
                <a:cxn ang="0">
                  <a:pos x="188" y="72"/>
                </a:cxn>
                <a:cxn ang="0">
                  <a:pos x="184" y="68"/>
                </a:cxn>
                <a:cxn ang="0">
                  <a:pos x="194" y="56"/>
                </a:cxn>
                <a:cxn ang="0">
                  <a:pos x="194" y="56"/>
                </a:cxn>
              </a:cxnLst>
              <a:rect l="0" t="0" r="r" b="b"/>
              <a:pathLst>
                <a:path w="214" h="154">
                  <a:moveTo>
                    <a:pt x="194" y="56"/>
                  </a:moveTo>
                  <a:lnTo>
                    <a:pt x="194" y="56"/>
                  </a:lnTo>
                  <a:lnTo>
                    <a:pt x="192" y="56"/>
                  </a:lnTo>
                  <a:lnTo>
                    <a:pt x="188" y="56"/>
                  </a:lnTo>
                  <a:lnTo>
                    <a:pt x="184" y="58"/>
                  </a:lnTo>
                  <a:lnTo>
                    <a:pt x="180" y="58"/>
                  </a:lnTo>
                  <a:lnTo>
                    <a:pt x="174" y="60"/>
                  </a:lnTo>
                  <a:lnTo>
                    <a:pt x="172" y="60"/>
                  </a:lnTo>
                  <a:lnTo>
                    <a:pt x="172" y="62"/>
                  </a:lnTo>
                  <a:lnTo>
                    <a:pt x="170" y="64"/>
                  </a:lnTo>
                  <a:lnTo>
                    <a:pt x="168" y="64"/>
                  </a:lnTo>
                  <a:lnTo>
                    <a:pt x="164" y="66"/>
                  </a:lnTo>
                  <a:lnTo>
                    <a:pt x="162" y="68"/>
                  </a:lnTo>
                  <a:lnTo>
                    <a:pt x="160" y="70"/>
                  </a:lnTo>
                  <a:lnTo>
                    <a:pt x="160" y="74"/>
                  </a:lnTo>
                  <a:lnTo>
                    <a:pt x="152" y="76"/>
                  </a:lnTo>
                  <a:lnTo>
                    <a:pt x="152" y="80"/>
                  </a:lnTo>
                  <a:lnTo>
                    <a:pt x="146" y="82"/>
                  </a:lnTo>
                  <a:lnTo>
                    <a:pt x="146" y="80"/>
                  </a:lnTo>
                  <a:lnTo>
                    <a:pt x="146" y="76"/>
                  </a:lnTo>
                  <a:lnTo>
                    <a:pt x="142" y="72"/>
                  </a:lnTo>
                  <a:lnTo>
                    <a:pt x="138" y="72"/>
                  </a:lnTo>
                  <a:lnTo>
                    <a:pt x="132" y="72"/>
                  </a:lnTo>
                  <a:lnTo>
                    <a:pt x="126" y="70"/>
                  </a:lnTo>
                  <a:lnTo>
                    <a:pt x="124" y="70"/>
                  </a:lnTo>
                  <a:lnTo>
                    <a:pt x="124" y="68"/>
                  </a:lnTo>
                  <a:lnTo>
                    <a:pt x="126" y="64"/>
                  </a:lnTo>
                  <a:lnTo>
                    <a:pt x="124" y="64"/>
                  </a:lnTo>
                  <a:lnTo>
                    <a:pt x="124" y="62"/>
                  </a:lnTo>
                  <a:lnTo>
                    <a:pt x="122" y="62"/>
                  </a:lnTo>
                  <a:lnTo>
                    <a:pt x="122" y="58"/>
                  </a:lnTo>
                  <a:lnTo>
                    <a:pt x="118" y="58"/>
                  </a:lnTo>
                  <a:lnTo>
                    <a:pt x="114" y="58"/>
                  </a:lnTo>
                  <a:lnTo>
                    <a:pt x="110" y="56"/>
                  </a:lnTo>
                  <a:lnTo>
                    <a:pt x="106" y="50"/>
                  </a:lnTo>
                  <a:lnTo>
                    <a:pt x="104" y="54"/>
                  </a:lnTo>
                  <a:lnTo>
                    <a:pt x="88" y="50"/>
                  </a:lnTo>
                  <a:lnTo>
                    <a:pt x="80" y="50"/>
                  </a:lnTo>
                  <a:lnTo>
                    <a:pt x="76" y="50"/>
                  </a:lnTo>
                  <a:lnTo>
                    <a:pt x="74" y="34"/>
                  </a:lnTo>
                  <a:lnTo>
                    <a:pt x="72" y="30"/>
                  </a:lnTo>
                  <a:lnTo>
                    <a:pt x="72" y="26"/>
                  </a:lnTo>
                  <a:lnTo>
                    <a:pt x="68" y="26"/>
                  </a:lnTo>
                  <a:lnTo>
                    <a:pt x="64" y="32"/>
                  </a:lnTo>
                  <a:lnTo>
                    <a:pt x="60" y="38"/>
                  </a:lnTo>
                  <a:lnTo>
                    <a:pt x="54" y="40"/>
                  </a:lnTo>
                  <a:lnTo>
                    <a:pt x="48" y="40"/>
                  </a:lnTo>
                  <a:lnTo>
                    <a:pt x="50" y="36"/>
                  </a:lnTo>
                  <a:lnTo>
                    <a:pt x="50" y="34"/>
                  </a:lnTo>
                  <a:lnTo>
                    <a:pt x="48" y="32"/>
                  </a:lnTo>
                  <a:lnTo>
                    <a:pt x="46" y="34"/>
                  </a:lnTo>
                  <a:lnTo>
                    <a:pt x="44" y="38"/>
                  </a:lnTo>
                  <a:lnTo>
                    <a:pt x="42" y="46"/>
                  </a:lnTo>
                  <a:lnTo>
                    <a:pt x="38" y="42"/>
                  </a:lnTo>
                  <a:lnTo>
                    <a:pt x="42" y="40"/>
                  </a:lnTo>
                  <a:lnTo>
                    <a:pt x="42" y="38"/>
                  </a:lnTo>
                  <a:lnTo>
                    <a:pt x="42" y="32"/>
                  </a:lnTo>
                  <a:lnTo>
                    <a:pt x="38" y="30"/>
                  </a:lnTo>
                  <a:lnTo>
                    <a:pt x="28" y="34"/>
                  </a:lnTo>
                  <a:lnTo>
                    <a:pt x="28" y="28"/>
                  </a:lnTo>
                  <a:lnTo>
                    <a:pt x="26" y="26"/>
                  </a:lnTo>
                  <a:lnTo>
                    <a:pt x="28" y="24"/>
                  </a:lnTo>
                  <a:lnTo>
                    <a:pt x="26" y="22"/>
                  </a:lnTo>
                  <a:lnTo>
                    <a:pt x="26" y="18"/>
                  </a:lnTo>
                  <a:lnTo>
                    <a:pt x="28" y="14"/>
                  </a:lnTo>
                  <a:lnTo>
                    <a:pt x="28" y="10"/>
                  </a:lnTo>
                  <a:lnTo>
                    <a:pt x="28" y="4"/>
                  </a:lnTo>
                  <a:lnTo>
                    <a:pt x="32" y="2"/>
                  </a:lnTo>
                  <a:lnTo>
                    <a:pt x="26" y="0"/>
                  </a:lnTo>
                  <a:lnTo>
                    <a:pt x="20" y="2"/>
                  </a:lnTo>
                  <a:lnTo>
                    <a:pt x="14" y="2"/>
                  </a:lnTo>
                  <a:lnTo>
                    <a:pt x="8" y="4"/>
                  </a:lnTo>
                  <a:lnTo>
                    <a:pt x="2" y="6"/>
                  </a:lnTo>
                  <a:lnTo>
                    <a:pt x="0" y="68"/>
                  </a:lnTo>
                  <a:lnTo>
                    <a:pt x="14" y="70"/>
                  </a:lnTo>
                  <a:lnTo>
                    <a:pt x="14" y="68"/>
                  </a:lnTo>
                  <a:lnTo>
                    <a:pt x="12" y="64"/>
                  </a:lnTo>
                  <a:lnTo>
                    <a:pt x="12" y="58"/>
                  </a:lnTo>
                  <a:lnTo>
                    <a:pt x="14" y="56"/>
                  </a:lnTo>
                  <a:lnTo>
                    <a:pt x="20" y="56"/>
                  </a:lnTo>
                  <a:lnTo>
                    <a:pt x="22" y="54"/>
                  </a:lnTo>
                  <a:lnTo>
                    <a:pt x="26" y="50"/>
                  </a:lnTo>
                  <a:lnTo>
                    <a:pt x="30" y="50"/>
                  </a:lnTo>
                  <a:lnTo>
                    <a:pt x="34" y="52"/>
                  </a:lnTo>
                  <a:lnTo>
                    <a:pt x="36" y="58"/>
                  </a:lnTo>
                  <a:lnTo>
                    <a:pt x="38" y="68"/>
                  </a:lnTo>
                  <a:lnTo>
                    <a:pt x="46" y="70"/>
                  </a:lnTo>
                  <a:lnTo>
                    <a:pt x="46" y="76"/>
                  </a:lnTo>
                  <a:lnTo>
                    <a:pt x="44" y="80"/>
                  </a:lnTo>
                  <a:lnTo>
                    <a:pt x="46" y="82"/>
                  </a:lnTo>
                  <a:lnTo>
                    <a:pt x="52" y="84"/>
                  </a:lnTo>
                  <a:lnTo>
                    <a:pt x="58" y="80"/>
                  </a:lnTo>
                  <a:lnTo>
                    <a:pt x="62" y="78"/>
                  </a:lnTo>
                  <a:lnTo>
                    <a:pt x="70" y="78"/>
                  </a:lnTo>
                  <a:lnTo>
                    <a:pt x="76" y="78"/>
                  </a:lnTo>
                  <a:lnTo>
                    <a:pt x="80" y="86"/>
                  </a:lnTo>
                  <a:lnTo>
                    <a:pt x="80" y="92"/>
                  </a:lnTo>
                  <a:lnTo>
                    <a:pt x="82" y="96"/>
                  </a:lnTo>
                  <a:lnTo>
                    <a:pt x="86" y="100"/>
                  </a:lnTo>
                  <a:lnTo>
                    <a:pt x="88" y="108"/>
                  </a:lnTo>
                  <a:lnTo>
                    <a:pt x="92" y="110"/>
                  </a:lnTo>
                  <a:lnTo>
                    <a:pt x="98" y="112"/>
                  </a:lnTo>
                  <a:lnTo>
                    <a:pt x="104" y="118"/>
                  </a:lnTo>
                  <a:lnTo>
                    <a:pt x="108" y="124"/>
                  </a:lnTo>
                  <a:lnTo>
                    <a:pt x="116" y="122"/>
                  </a:lnTo>
                  <a:lnTo>
                    <a:pt x="120" y="126"/>
                  </a:lnTo>
                  <a:lnTo>
                    <a:pt x="126" y="126"/>
                  </a:lnTo>
                  <a:lnTo>
                    <a:pt x="130" y="130"/>
                  </a:lnTo>
                  <a:lnTo>
                    <a:pt x="136" y="130"/>
                  </a:lnTo>
                  <a:lnTo>
                    <a:pt x="138" y="132"/>
                  </a:lnTo>
                  <a:lnTo>
                    <a:pt x="130" y="136"/>
                  </a:lnTo>
                  <a:lnTo>
                    <a:pt x="130" y="140"/>
                  </a:lnTo>
                  <a:lnTo>
                    <a:pt x="130" y="148"/>
                  </a:lnTo>
                  <a:lnTo>
                    <a:pt x="136" y="148"/>
                  </a:lnTo>
                  <a:lnTo>
                    <a:pt x="140" y="154"/>
                  </a:lnTo>
                  <a:lnTo>
                    <a:pt x="144" y="152"/>
                  </a:lnTo>
                  <a:lnTo>
                    <a:pt x="150" y="152"/>
                  </a:lnTo>
                  <a:lnTo>
                    <a:pt x="152" y="144"/>
                  </a:lnTo>
                  <a:lnTo>
                    <a:pt x="154" y="142"/>
                  </a:lnTo>
                  <a:lnTo>
                    <a:pt x="156" y="140"/>
                  </a:lnTo>
                  <a:lnTo>
                    <a:pt x="158" y="136"/>
                  </a:lnTo>
                  <a:lnTo>
                    <a:pt x="156" y="134"/>
                  </a:lnTo>
                  <a:lnTo>
                    <a:pt x="154" y="132"/>
                  </a:lnTo>
                  <a:lnTo>
                    <a:pt x="154" y="130"/>
                  </a:lnTo>
                  <a:lnTo>
                    <a:pt x="158" y="124"/>
                  </a:lnTo>
                  <a:lnTo>
                    <a:pt x="158" y="122"/>
                  </a:lnTo>
                  <a:lnTo>
                    <a:pt x="156" y="122"/>
                  </a:lnTo>
                  <a:lnTo>
                    <a:pt x="150" y="122"/>
                  </a:lnTo>
                  <a:lnTo>
                    <a:pt x="148" y="122"/>
                  </a:lnTo>
                  <a:lnTo>
                    <a:pt x="144" y="118"/>
                  </a:lnTo>
                  <a:lnTo>
                    <a:pt x="144" y="116"/>
                  </a:lnTo>
                  <a:lnTo>
                    <a:pt x="144" y="114"/>
                  </a:lnTo>
                  <a:lnTo>
                    <a:pt x="146" y="110"/>
                  </a:lnTo>
                  <a:lnTo>
                    <a:pt x="150" y="110"/>
                  </a:lnTo>
                  <a:lnTo>
                    <a:pt x="152" y="110"/>
                  </a:lnTo>
                  <a:lnTo>
                    <a:pt x="152" y="112"/>
                  </a:lnTo>
                  <a:lnTo>
                    <a:pt x="154" y="112"/>
                  </a:lnTo>
                  <a:lnTo>
                    <a:pt x="156" y="110"/>
                  </a:lnTo>
                  <a:lnTo>
                    <a:pt x="162" y="108"/>
                  </a:lnTo>
                  <a:lnTo>
                    <a:pt x="164" y="106"/>
                  </a:lnTo>
                  <a:lnTo>
                    <a:pt x="164" y="104"/>
                  </a:lnTo>
                  <a:lnTo>
                    <a:pt x="162" y="106"/>
                  </a:lnTo>
                  <a:lnTo>
                    <a:pt x="162" y="102"/>
                  </a:lnTo>
                  <a:lnTo>
                    <a:pt x="164" y="100"/>
                  </a:lnTo>
                  <a:lnTo>
                    <a:pt x="166" y="98"/>
                  </a:lnTo>
                  <a:lnTo>
                    <a:pt x="168" y="96"/>
                  </a:lnTo>
                  <a:lnTo>
                    <a:pt x="168" y="94"/>
                  </a:lnTo>
                  <a:lnTo>
                    <a:pt x="166" y="92"/>
                  </a:lnTo>
                  <a:lnTo>
                    <a:pt x="164" y="86"/>
                  </a:lnTo>
                  <a:lnTo>
                    <a:pt x="166" y="86"/>
                  </a:lnTo>
                  <a:lnTo>
                    <a:pt x="168" y="84"/>
                  </a:lnTo>
                  <a:lnTo>
                    <a:pt x="170" y="84"/>
                  </a:lnTo>
                  <a:lnTo>
                    <a:pt x="172" y="86"/>
                  </a:lnTo>
                  <a:lnTo>
                    <a:pt x="176" y="90"/>
                  </a:lnTo>
                  <a:lnTo>
                    <a:pt x="178" y="90"/>
                  </a:lnTo>
                  <a:lnTo>
                    <a:pt x="180" y="88"/>
                  </a:lnTo>
                  <a:lnTo>
                    <a:pt x="180" y="86"/>
                  </a:lnTo>
                  <a:lnTo>
                    <a:pt x="184" y="84"/>
                  </a:lnTo>
                  <a:lnTo>
                    <a:pt x="188" y="84"/>
                  </a:lnTo>
                  <a:lnTo>
                    <a:pt x="190" y="90"/>
                  </a:lnTo>
                  <a:lnTo>
                    <a:pt x="184" y="92"/>
                  </a:lnTo>
                  <a:lnTo>
                    <a:pt x="184" y="100"/>
                  </a:lnTo>
                  <a:lnTo>
                    <a:pt x="186" y="98"/>
                  </a:lnTo>
                  <a:lnTo>
                    <a:pt x="188" y="100"/>
                  </a:lnTo>
                  <a:lnTo>
                    <a:pt x="190" y="100"/>
                  </a:lnTo>
                  <a:lnTo>
                    <a:pt x="192" y="100"/>
                  </a:lnTo>
                  <a:lnTo>
                    <a:pt x="196" y="96"/>
                  </a:lnTo>
                  <a:lnTo>
                    <a:pt x="202" y="96"/>
                  </a:lnTo>
                  <a:lnTo>
                    <a:pt x="206" y="94"/>
                  </a:lnTo>
                  <a:lnTo>
                    <a:pt x="208" y="92"/>
                  </a:lnTo>
                  <a:lnTo>
                    <a:pt x="212" y="84"/>
                  </a:lnTo>
                  <a:lnTo>
                    <a:pt x="214" y="82"/>
                  </a:lnTo>
                  <a:lnTo>
                    <a:pt x="212" y="82"/>
                  </a:lnTo>
                  <a:lnTo>
                    <a:pt x="210" y="82"/>
                  </a:lnTo>
                  <a:lnTo>
                    <a:pt x="208" y="80"/>
                  </a:lnTo>
                  <a:lnTo>
                    <a:pt x="204" y="78"/>
                  </a:lnTo>
                  <a:lnTo>
                    <a:pt x="200" y="78"/>
                  </a:lnTo>
                  <a:lnTo>
                    <a:pt x="196" y="76"/>
                  </a:lnTo>
                  <a:lnTo>
                    <a:pt x="198" y="74"/>
                  </a:lnTo>
                  <a:lnTo>
                    <a:pt x="198" y="72"/>
                  </a:lnTo>
                  <a:lnTo>
                    <a:pt x="196" y="72"/>
                  </a:lnTo>
                  <a:lnTo>
                    <a:pt x="192" y="72"/>
                  </a:lnTo>
                  <a:lnTo>
                    <a:pt x="190" y="74"/>
                  </a:lnTo>
                  <a:lnTo>
                    <a:pt x="188" y="72"/>
                  </a:lnTo>
                  <a:lnTo>
                    <a:pt x="186" y="70"/>
                  </a:lnTo>
                  <a:lnTo>
                    <a:pt x="184" y="68"/>
                  </a:lnTo>
                  <a:lnTo>
                    <a:pt x="182" y="68"/>
                  </a:lnTo>
                  <a:lnTo>
                    <a:pt x="184" y="68"/>
                  </a:lnTo>
                  <a:lnTo>
                    <a:pt x="188" y="66"/>
                  </a:lnTo>
                  <a:lnTo>
                    <a:pt x="194" y="60"/>
                  </a:lnTo>
                  <a:lnTo>
                    <a:pt x="196" y="58"/>
                  </a:lnTo>
                  <a:lnTo>
                    <a:pt x="194" y="56"/>
                  </a:lnTo>
                  <a:lnTo>
                    <a:pt x="192" y="56"/>
                  </a:lnTo>
                  <a:lnTo>
                    <a:pt x="188" y="56"/>
                  </a:lnTo>
                  <a:lnTo>
                    <a:pt x="194" y="56"/>
                  </a:lnTo>
                  <a:lnTo>
                    <a:pt x="194" y="5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0" name="Freeform 514">
              <a:extLst>
                <a:ext uri="{FF2B5EF4-FFF2-40B4-BE49-F238E27FC236}">
                  <a16:creationId xmlns:a16="http://schemas.microsoft.com/office/drawing/2014/main" id="{41BA766E-BEC0-4476-9DF4-E9E75F17E98E}"/>
                </a:ext>
              </a:extLst>
            </p:cNvPr>
            <p:cNvSpPr>
              <a:spLocks/>
            </p:cNvSpPr>
            <p:nvPr/>
          </p:nvSpPr>
          <p:spPr bwMode="auto">
            <a:xfrm>
              <a:off x="3430345" y="3589541"/>
              <a:ext cx="284857" cy="204579"/>
            </a:xfrm>
            <a:custGeom>
              <a:avLst/>
              <a:gdLst/>
              <a:ahLst/>
              <a:cxnLst>
                <a:cxn ang="0">
                  <a:pos x="194" y="104"/>
                </a:cxn>
                <a:cxn ang="0">
                  <a:pos x="180" y="114"/>
                </a:cxn>
                <a:cxn ang="0">
                  <a:pos x="168" y="118"/>
                </a:cxn>
                <a:cxn ang="0">
                  <a:pos x="156" y="124"/>
                </a:cxn>
                <a:cxn ang="0">
                  <a:pos x="138" y="122"/>
                </a:cxn>
                <a:cxn ang="0">
                  <a:pos x="146" y="132"/>
                </a:cxn>
                <a:cxn ang="0">
                  <a:pos x="150" y="134"/>
                </a:cxn>
                <a:cxn ang="0">
                  <a:pos x="158" y="138"/>
                </a:cxn>
                <a:cxn ang="0">
                  <a:pos x="172" y="138"/>
                </a:cxn>
                <a:cxn ang="0">
                  <a:pos x="160" y="146"/>
                </a:cxn>
                <a:cxn ang="0">
                  <a:pos x="134" y="142"/>
                </a:cxn>
                <a:cxn ang="0">
                  <a:pos x="124" y="134"/>
                </a:cxn>
                <a:cxn ang="0">
                  <a:pos x="136" y="130"/>
                </a:cxn>
                <a:cxn ang="0">
                  <a:pos x="132" y="124"/>
                </a:cxn>
                <a:cxn ang="0">
                  <a:pos x="120" y="128"/>
                </a:cxn>
                <a:cxn ang="0">
                  <a:pos x="108" y="122"/>
                </a:cxn>
                <a:cxn ang="0">
                  <a:pos x="114" y="118"/>
                </a:cxn>
                <a:cxn ang="0">
                  <a:pos x="100" y="116"/>
                </a:cxn>
                <a:cxn ang="0">
                  <a:pos x="84" y="112"/>
                </a:cxn>
                <a:cxn ang="0">
                  <a:pos x="80" y="100"/>
                </a:cxn>
                <a:cxn ang="0">
                  <a:pos x="74" y="84"/>
                </a:cxn>
                <a:cxn ang="0">
                  <a:pos x="56" y="70"/>
                </a:cxn>
                <a:cxn ang="0">
                  <a:pos x="44" y="76"/>
                </a:cxn>
                <a:cxn ang="0">
                  <a:pos x="32" y="84"/>
                </a:cxn>
                <a:cxn ang="0">
                  <a:pos x="22" y="90"/>
                </a:cxn>
                <a:cxn ang="0">
                  <a:pos x="8" y="84"/>
                </a:cxn>
                <a:cxn ang="0">
                  <a:pos x="2" y="72"/>
                </a:cxn>
                <a:cxn ang="0">
                  <a:pos x="12" y="66"/>
                </a:cxn>
                <a:cxn ang="0">
                  <a:pos x="14" y="48"/>
                </a:cxn>
                <a:cxn ang="0">
                  <a:pos x="14" y="30"/>
                </a:cxn>
                <a:cxn ang="0">
                  <a:pos x="16" y="16"/>
                </a:cxn>
                <a:cxn ang="0">
                  <a:pos x="18" y="6"/>
                </a:cxn>
                <a:cxn ang="0">
                  <a:pos x="26" y="8"/>
                </a:cxn>
                <a:cxn ang="0">
                  <a:pos x="58" y="8"/>
                </a:cxn>
                <a:cxn ang="0">
                  <a:pos x="70" y="6"/>
                </a:cxn>
                <a:cxn ang="0">
                  <a:pos x="78" y="6"/>
                </a:cxn>
                <a:cxn ang="0">
                  <a:pos x="96" y="8"/>
                </a:cxn>
                <a:cxn ang="0">
                  <a:pos x="106" y="0"/>
                </a:cxn>
                <a:cxn ang="0">
                  <a:pos x="116" y="0"/>
                </a:cxn>
                <a:cxn ang="0">
                  <a:pos x="126" y="4"/>
                </a:cxn>
                <a:cxn ang="0">
                  <a:pos x="130" y="14"/>
                </a:cxn>
                <a:cxn ang="0">
                  <a:pos x="134" y="20"/>
                </a:cxn>
                <a:cxn ang="0">
                  <a:pos x="148" y="24"/>
                </a:cxn>
                <a:cxn ang="0">
                  <a:pos x="156" y="28"/>
                </a:cxn>
                <a:cxn ang="0">
                  <a:pos x="166" y="40"/>
                </a:cxn>
                <a:cxn ang="0">
                  <a:pos x="186" y="36"/>
                </a:cxn>
                <a:cxn ang="0">
                  <a:pos x="194" y="44"/>
                </a:cxn>
                <a:cxn ang="0">
                  <a:pos x="212" y="58"/>
                </a:cxn>
                <a:cxn ang="0">
                  <a:pos x="216" y="66"/>
                </a:cxn>
                <a:cxn ang="0">
                  <a:pos x="218" y="70"/>
                </a:cxn>
                <a:cxn ang="0">
                  <a:pos x="220" y="82"/>
                </a:cxn>
                <a:cxn ang="0">
                  <a:pos x="206" y="96"/>
                </a:cxn>
              </a:cxnLst>
              <a:rect l="0" t="0" r="r" b="b"/>
              <a:pathLst>
                <a:path w="220" h="158">
                  <a:moveTo>
                    <a:pt x="202" y="104"/>
                  </a:moveTo>
                  <a:lnTo>
                    <a:pt x="202" y="104"/>
                  </a:lnTo>
                  <a:lnTo>
                    <a:pt x="196" y="104"/>
                  </a:lnTo>
                  <a:lnTo>
                    <a:pt x="194" y="104"/>
                  </a:lnTo>
                  <a:lnTo>
                    <a:pt x="192" y="108"/>
                  </a:lnTo>
                  <a:lnTo>
                    <a:pt x="188" y="108"/>
                  </a:lnTo>
                  <a:lnTo>
                    <a:pt x="182" y="110"/>
                  </a:lnTo>
                  <a:lnTo>
                    <a:pt x="180" y="114"/>
                  </a:lnTo>
                  <a:lnTo>
                    <a:pt x="176" y="114"/>
                  </a:lnTo>
                  <a:lnTo>
                    <a:pt x="172" y="114"/>
                  </a:lnTo>
                  <a:lnTo>
                    <a:pt x="170" y="118"/>
                  </a:lnTo>
                  <a:lnTo>
                    <a:pt x="168" y="118"/>
                  </a:lnTo>
                  <a:lnTo>
                    <a:pt x="166" y="116"/>
                  </a:lnTo>
                  <a:lnTo>
                    <a:pt x="164" y="116"/>
                  </a:lnTo>
                  <a:lnTo>
                    <a:pt x="156" y="122"/>
                  </a:lnTo>
                  <a:lnTo>
                    <a:pt x="156" y="124"/>
                  </a:lnTo>
                  <a:lnTo>
                    <a:pt x="150" y="124"/>
                  </a:lnTo>
                  <a:lnTo>
                    <a:pt x="146" y="124"/>
                  </a:lnTo>
                  <a:lnTo>
                    <a:pt x="146" y="122"/>
                  </a:lnTo>
                  <a:lnTo>
                    <a:pt x="138" y="122"/>
                  </a:lnTo>
                  <a:lnTo>
                    <a:pt x="138" y="126"/>
                  </a:lnTo>
                  <a:lnTo>
                    <a:pt x="142" y="128"/>
                  </a:lnTo>
                  <a:lnTo>
                    <a:pt x="144" y="128"/>
                  </a:lnTo>
                  <a:lnTo>
                    <a:pt x="146" y="132"/>
                  </a:lnTo>
                  <a:lnTo>
                    <a:pt x="148" y="132"/>
                  </a:lnTo>
                  <a:lnTo>
                    <a:pt x="150" y="132"/>
                  </a:lnTo>
                  <a:lnTo>
                    <a:pt x="150" y="134"/>
                  </a:lnTo>
                  <a:lnTo>
                    <a:pt x="150" y="134"/>
                  </a:lnTo>
                  <a:lnTo>
                    <a:pt x="150" y="136"/>
                  </a:lnTo>
                  <a:lnTo>
                    <a:pt x="152" y="136"/>
                  </a:lnTo>
                  <a:lnTo>
                    <a:pt x="152" y="138"/>
                  </a:lnTo>
                  <a:lnTo>
                    <a:pt x="158" y="138"/>
                  </a:lnTo>
                  <a:lnTo>
                    <a:pt x="166" y="138"/>
                  </a:lnTo>
                  <a:lnTo>
                    <a:pt x="168" y="138"/>
                  </a:lnTo>
                  <a:lnTo>
                    <a:pt x="170" y="136"/>
                  </a:lnTo>
                  <a:lnTo>
                    <a:pt x="172" y="138"/>
                  </a:lnTo>
                  <a:lnTo>
                    <a:pt x="172" y="140"/>
                  </a:lnTo>
                  <a:lnTo>
                    <a:pt x="170" y="144"/>
                  </a:lnTo>
                  <a:lnTo>
                    <a:pt x="164" y="146"/>
                  </a:lnTo>
                  <a:lnTo>
                    <a:pt x="160" y="146"/>
                  </a:lnTo>
                  <a:lnTo>
                    <a:pt x="152" y="150"/>
                  </a:lnTo>
                  <a:lnTo>
                    <a:pt x="132" y="158"/>
                  </a:lnTo>
                  <a:lnTo>
                    <a:pt x="134" y="150"/>
                  </a:lnTo>
                  <a:lnTo>
                    <a:pt x="134" y="142"/>
                  </a:lnTo>
                  <a:lnTo>
                    <a:pt x="126" y="138"/>
                  </a:lnTo>
                  <a:lnTo>
                    <a:pt x="120" y="140"/>
                  </a:lnTo>
                  <a:lnTo>
                    <a:pt x="122" y="136"/>
                  </a:lnTo>
                  <a:lnTo>
                    <a:pt x="124" y="134"/>
                  </a:lnTo>
                  <a:lnTo>
                    <a:pt x="134" y="132"/>
                  </a:lnTo>
                  <a:lnTo>
                    <a:pt x="134" y="132"/>
                  </a:lnTo>
                  <a:lnTo>
                    <a:pt x="136" y="132"/>
                  </a:lnTo>
                  <a:lnTo>
                    <a:pt x="136" y="130"/>
                  </a:lnTo>
                  <a:lnTo>
                    <a:pt x="134" y="126"/>
                  </a:lnTo>
                  <a:lnTo>
                    <a:pt x="134" y="126"/>
                  </a:lnTo>
                  <a:lnTo>
                    <a:pt x="132" y="126"/>
                  </a:lnTo>
                  <a:lnTo>
                    <a:pt x="132" y="124"/>
                  </a:lnTo>
                  <a:lnTo>
                    <a:pt x="124" y="124"/>
                  </a:lnTo>
                  <a:lnTo>
                    <a:pt x="124" y="126"/>
                  </a:lnTo>
                  <a:lnTo>
                    <a:pt x="122" y="128"/>
                  </a:lnTo>
                  <a:lnTo>
                    <a:pt x="120" y="128"/>
                  </a:lnTo>
                  <a:lnTo>
                    <a:pt x="118" y="124"/>
                  </a:lnTo>
                  <a:lnTo>
                    <a:pt x="114" y="124"/>
                  </a:lnTo>
                  <a:lnTo>
                    <a:pt x="114" y="122"/>
                  </a:lnTo>
                  <a:lnTo>
                    <a:pt x="108" y="122"/>
                  </a:lnTo>
                  <a:lnTo>
                    <a:pt x="110" y="120"/>
                  </a:lnTo>
                  <a:lnTo>
                    <a:pt x="116" y="120"/>
                  </a:lnTo>
                  <a:lnTo>
                    <a:pt x="116" y="118"/>
                  </a:lnTo>
                  <a:lnTo>
                    <a:pt x="114" y="118"/>
                  </a:lnTo>
                  <a:lnTo>
                    <a:pt x="112" y="114"/>
                  </a:lnTo>
                  <a:lnTo>
                    <a:pt x="110" y="114"/>
                  </a:lnTo>
                  <a:lnTo>
                    <a:pt x="110" y="116"/>
                  </a:lnTo>
                  <a:lnTo>
                    <a:pt x="100" y="116"/>
                  </a:lnTo>
                  <a:lnTo>
                    <a:pt x="98" y="118"/>
                  </a:lnTo>
                  <a:lnTo>
                    <a:pt x="96" y="118"/>
                  </a:lnTo>
                  <a:lnTo>
                    <a:pt x="92" y="124"/>
                  </a:lnTo>
                  <a:lnTo>
                    <a:pt x="84" y="112"/>
                  </a:lnTo>
                  <a:lnTo>
                    <a:pt x="82" y="110"/>
                  </a:lnTo>
                  <a:lnTo>
                    <a:pt x="80" y="108"/>
                  </a:lnTo>
                  <a:lnTo>
                    <a:pt x="80" y="104"/>
                  </a:lnTo>
                  <a:lnTo>
                    <a:pt x="80" y="100"/>
                  </a:lnTo>
                  <a:lnTo>
                    <a:pt x="78" y="96"/>
                  </a:lnTo>
                  <a:lnTo>
                    <a:pt x="76" y="94"/>
                  </a:lnTo>
                  <a:lnTo>
                    <a:pt x="76" y="90"/>
                  </a:lnTo>
                  <a:lnTo>
                    <a:pt x="74" y="84"/>
                  </a:lnTo>
                  <a:lnTo>
                    <a:pt x="70" y="80"/>
                  </a:lnTo>
                  <a:lnTo>
                    <a:pt x="66" y="76"/>
                  </a:lnTo>
                  <a:lnTo>
                    <a:pt x="60" y="72"/>
                  </a:lnTo>
                  <a:lnTo>
                    <a:pt x="56" y="70"/>
                  </a:lnTo>
                  <a:lnTo>
                    <a:pt x="52" y="72"/>
                  </a:lnTo>
                  <a:lnTo>
                    <a:pt x="48" y="72"/>
                  </a:lnTo>
                  <a:lnTo>
                    <a:pt x="44" y="74"/>
                  </a:lnTo>
                  <a:lnTo>
                    <a:pt x="44" y="76"/>
                  </a:lnTo>
                  <a:lnTo>
                    <a:pt x="42" y="76"/>
                  </a:lnTo>
                  <a:lnTo>
                    <a:pt x="38" y="80"/>
                  </a:lnTo>
                  <a:lnTo>
                    <a:pt x="36" y="82"/>
                  </a:lnTo>
                  <a:lnTo>
                    <a:pt x="32" y="84"/>
                  </a:lnTo>
                  <a:lnTo>
                    <a:pt x="30" y="84"/>
                  </a:lnTo>
                  <a:lnTo>
                    <a:pt x="30" y="86"/>
                  </a:lnTo>
                  <a:lnTo>
                    <a:pt x="26" y="88"/>
                  </a:lnTo>
                  <a:lnTo>
                    <a:pt x="22" y="90"/>
                  </a:lnTo>
                  <a:lnTo>
                    <a:pt x="20" y="86"/>
                  </a:lnTo>
                  <a:lnTo>
                    <a:pt x="16" y="84"/>
                  </a:lnTo>
                  <a:lnTo>
                    <a:pt x="12" y="84"/>
                  </a:lnTo>
                  <a:lnTo>
                    <a:pt x="8" y="84"/>
                  </a:lnTo>
                  <a:lnTo>
                    <a:pt x="4" y="82"/>
                  </a:lnTo>
                  <a:lnTo>
                    <a:pt x="2" y="78"/>
                  </a:lnTo>
                  <a:lnTo>
                    <a:pt x="0" y="78"/>
                  </a:lnTo>
                  <a:lnTo>
                    <a:pt x="2" y="72"/>
                  </a:lnTo>
                  <a:lnTo>
                    <a:pt x="6" y="70"/>
                  </a:lnTo>
                  <a:lnTo>
                    <a:pt x="8" y="70"/>
                  </a:lnTo>
                  <a:lnTo>
                    <a:pt x="12" y="68"/>
                  </a:lnTo>
                  <a:lnTo>
                    <a:pt x="12" y="66"/>
                  </a:lnTo>
                  <a:lnTo>
                    <a:pt x="10" y="62"/>
                  </a:lnTo>
                  <a:lnTo>
                    <a:pt x="10" y="58"/>
                  </a:lnTo>
                  <a:lnTo>
                    <a:pt x="10" y="56"/>
                  </a:lnTo>
                  <a:lnTo>
                    <a:pt x="14" y="48"/>
                  </a:lnTo>
                  <a:lnTo>
                    <a:pt x="18" y="40"/>
                  </a:lnTo>
                  <a:lnTo>
                    <a:pt x="16" y="36"/>
                  </a:lnTo>
                  <a:lnTo>
                    <a:pt x="14" y="32"/>
                  </a:lnTo>
                  <a:lnTo>
                    <a:pt x="14" y="30"/>
                  </a:lnTo>
                  <a:lnTo>
                    <a:pt x="14" y="26"/>
                  </a:lnTo>
                  <a:lnTo>
                    <a:pt x="16" y="20"/>
                  </a:lnTo>
                  <a:lnTo>
                    <a:pt x="16" y="18"/>
                  </a:lnTo>
                  <a:lnTo>
                    <a:pt x="16" y="16"/>
                  </a:lnTo>
                  <a:lnTo>
                    <a:pt x="14" y="10"/>
                  </a:lnTo>
                  <a:lnTo>
                    <a:pt x="14" y="8"/>
                  </a:lnTo>
                  <a:lnTo>
                    <a:pt x="16" y="6"/>
                  </a:lnTo>
                  <a:lnTo>
                    <a:pt x="18" y="6"/>
                  </a:lnTo>
                  <a:lnTo>
                    <a:pt x="20" y="6"/>
                  </a:lnTo>
                  <a:lnTo>
                    <a:pt x="22" y="8"/>
                  </a:lnTo>
                  <a:lnTo>
                    <a:pt x="24" y="10"/>
                  </a:lnTo>
                  <a:lnTo>
                    <a:pt x="26" y="8"/>
                  </a:lnTo>
                  <a:lnTo>
                    <a:pt x="28" y="6"/>
                  </a:lnTo>
                  <a:lnTo>
                    <a:pt x="38" y="6"/>
                  </a:lnTo>
                  <a:lnTo>
                    <a:pt x="52" y="6"/>
                  </a:lnTo>
                  <a:lnTo>
                    <a:pt x="58" y="8"/>
                  </a:lnTo>
                  <a:lnTo>
                    <a:pt x="64" y="6"/>
                  </a:lnTo>
                  <a:lnTo>
                    <a:pt x="68" y="6"/>
                  </a:lnTo>
                  <a:lnTo>
                    <a:pt x="70" y="10"/>
                  </a:lnTo>
                  <a:lnTo>
                    <a:pt x="70" y="6"/>
                  </a:lnTo>
                  <a:lnTo>
                    <a:pt x="72" y="8"/>
                  </a:lnTo>
                  <a:lnTo>
                    <a:pt x="74" y="8"/>
                  </a:lnTo>
                  <a:lnTo>
                    <a:pt x="76" y="8"/>
                  </a:lnTo>
                  <a:lnTo>
                    <a:pt x="78" y="6"/>
                  </a:lnTo>
                  <a:lnTo>
                    <a:pt x="82" y="8"/>
                  </a:lnTo>
                  <a:lnTo>
                    <a:pt x="88" y="8"/>
                  </a:lnTo>
                  <a:lnTo>
                    <a:pt x="94" y="8"/>
                  </a:lnTo>
                  <a:lnTo>
                    <a:pt x="96" y="8"/>
                  </a:lnTo>
                  <a:lnTo>
                    <a:pt x="98" y="6"/>
                  </a:lnTo>
                  <a:lnTo>
                    <a:pt x="98" y="2"/>
                  </a:lnTo>
                  <a:lnTo>
                    <a:pt x="100" y="0"/>
                  </a:lnTo>
                  <a:lnTo>
                    <a:pt x="106" y="0"/>
                  </a:lnTo>
                  <a:lnTo>
                    <a:pt x="108" y="4"/>
                  </a:lnTo>
                  <a:lnTo>
                    <a:pt x="112" y="4"/>
                  </a:lnTo>
                  <a:lnTo>
                    <a:pt x="114" y="2"/>
                  </a:lnTo>
                  <a:lnTo>
                    <a:pt x="116" y="0"/>
                  </a:lnTo>
                  <a:lnTo>
                    <a:pt x="120" y="2"/>
                  </a:lnTo>
                  <a:lnTo>
                    <a:pt x="124" y="2"/>
                  </a:lnTo>
                  <a:lnTo>
                    <a:pt x="126" y="2"/>
                  </a:lnTo>
                  <a:lnTo>
                    <a:pt x="126" y="4"/>
                  </a:lnTo>
                  <a:lnTo>
                    <a:pt x="128" y="6"/>
                  </a:lnTo>
                  <a:lnTo>
                    <a:pt x="128" y="8"/>
                  </a:lnTo>
                  <a:lnTo>
                    <a:pt x="130" y="12"/>
                  </a:lnTo>
                  <a:lnTo>
                    <a:pt x="130" y="14"/>
                  </a:lnTo>
                  <a:lnTo>
                    <a:pt x="132" y="14"/>
                  </a:lnTo>
                  <a:lnTo>
                    <a:pt x="132" y="16"/>
                  </a:lnTo>
                  <a:lnTo>
                    <a:pt x="132" y="18"/>
                  </a:lnTo>
                  <a:lnTo>
                    <a:pt x="134" y="20"/>
                  </a:lnTo>
                  <a:lnTo>
                    <a:pt x="134" y="20"/>
                  </a:lnTo>
                  <a:lnTo>
                    <a:pt x="138" y="20"/>
                  </a:lnTo>
                  <a:lnTo>
                    <a:pt x="142" y="20"/>
                  </a:lnTo>
                  <a:lnTo>
                    <a:pt x="148" y="24"/>
                  </a:lnTo>
                  <a:lnTo>
                    <a:pt x="152" y="22"/>
                  </a:lnTo>
                  <a:lnTo>
                    <a:pt x="154" y="22"/>
                  </a:lnTo>
                  <a:lnTo>
                    <a:pt x="154" y="24"/>
                  </a:lnTo>
                  <a:lnTo>
                    <a:pt x="156" y="28"/>
                  </a:lnTo>
                  <a:lnTo>
                    <a:pt x="162" y="30"/>
                  </a:lnTo>
                  <a:lnTo>
                    <a:pt x="164" y="32"/>
                  </a:lnTo>
                  <a:lnTo>
                    <a:pt x="164" y="36"/>
                  </a:lnTo>
                  <a:lnTo>
                    <a:pt x="166" y="40"/>
                  </a:lnTo>
                  <a:lnTo>
                    <a:pt x="174" y="36"/>
                  </a:lnTo>
                  <a:lnTo>
                    <a:pt x="178" y="34"/>
                  </a:lnTo>
                  <a:lnTo>
                    <a:pt x="182" y="34"/>
                  </a:lnTo>
                  <a:lnTo>
                    <a:pt x="186" y="36"/>
                  </a:lnTo>
                  <a:lnTo>
                    <a:pt x="186" y="38"/>
                  </a:lnTo>
                  <a:lnTo>
                    <a:pt x="188" y="40"/>
                  </a:lnTo>
                  <a:lnTo>
                    <a:pt x="192" y="42"/>
                  </a:lnTo>
                  <a:lnTo>
                    <a:pt x="194" y="44"/>
                  </a:lnTo>
                  <a:lnTo>
                    <a:pt x="212" y="50"/>
                  </a:lnTo>
                  <a:lnTo>
                    <a:pt x="214" y="54"/>
                  </a:lnTo>
                  <a:lnTo>
                    <a:pt x="212" y="56"/>
                  </a:lnTo>
                  <a:lnTo>
                    <a:pt x="212" y="58"/>
                  </a:lnTo>
                  <a:lnTo>
                    <a:pt x="216" y="60"/>
                  </a:lnTo>
                  <a:lnTo>
                    <a:pt x="218" y="60"/>
                  </a:lnTo>
                  <a:lnTo>
                    <a:pt x="218" y="62"/>
                  </a:lnTo>
                  <a:lnTo>
                    <a:pt x="216" y="66"/>
                  </a:lnTo>
                  <a:lnTo>
                    <a:pt x="214" y="66"/>
                  </a:lnTo>
                  <a:lnTo>
                    <a:pt x="216" y="68"/>
                  </a:lnTo>
                  <a:lnTo>
                    <a:pt x="218" y="70"/>
                  </a:lnTo>
                  <a:lnTo>
                    <a:pt x="218" y="70"/>
                  </a:lnTo>
                  <a:lnTo>
                    <a:pt x="218" y="72"/>
                  </a:lnTo>
                  <a:lnTo>
                    <a:pt x="218" y="76"/>
                  </a:lnTo>
                  <a:lnTo>
                    <a:pt x="220" y="78"/>
                  </a:lnTo>
                  <a:lnTo>
                    <a:pt x="220" y="82"/>
                  </a:lnTo>
                  <a:lnTo>
                    <a:pt x="218" y="92"/>
                  </a:lnTo>
                  <a:lnTo>
                    <a:pt x="216" y="94"/>
                  </a:lnTo>
                  <a:lnTo>
                    <a:pt x="212" y="94"/>
                  </a:lnTo>
                  <a:lnTo>
                    <a:pt x="206" y="96"/>
                  </a:lnTo>
                  <a:lnTo>
                    <a:pt x="204" y="100"/>
                  </a:lnTo>
                  <a:lnTo>
                    <a:pt x="202" y="104"/>
                  </a:lnTo>
                  <a:lnTo>
                    <a:pt x="202" y="10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1" name="Freeform 515">
              <a:extLst>
                <a:ext uri="{FF2B5EF4-FFF2-40B4-BE49-F238E27FC236}">
                  <a16:creationId xmlns:a16="http://schemas.microsoft.com/office/drawing/2014/main" id="{6F892838-DC8D-436A-A18C-96D813371AD3}"/>
                </a:ext>
              </a:extLst>
            </p:cNvPr>
            <p:cNvSpPr>
              <a:spLocks/>
            </p:cNvSpPr>
            <p:nvPr/>
          </p:nvSpPr>
          <p:spPr bwMode="auto">
            <a:xfrm>
              <a:off x="3914602" y="3827785"/>
              <a:ext cx="240834" cy="168325"/>
            </a:xfrm>
            <a:custGeom>
              <a:avLst/>
              <a:gdLst/>
              <a:ahLst/>
              <a:cxnLst>
                <a:cxn ang="0">
                  <a:pos x="4" y="20"/>
                </a:cxn>
                <a:cxn ang="0">
                  <a:pos x="4" y="16"/>
                </a:cxn>
                <a:cxn ang="0">
                  <a:pos x="20" y="12"/>
                </a:cxn>
                <a:cxn ang="0">
                  <a:pos x="30" y="28"/>
                </a:cxn>
                <a:cxn ang="0">
                  <a:pos x="24" y="34"/>
                </a:cxn>
                <a:cxn ang="0">
                  <a:pos x="10" y="36"/>
                </a:cxn>
                <a:cxn ang="0">
                  <a:pos x="6" y="36"/>
                </a:cxn>
                <a:cxn ang="0">
                  <a:pos x="2" y="52"/>
                </a:cxn>
                <a:cxn ang="0">
                  <a:pos x="8" y="50"/>
                </a:cxn>
                <a:cxn ang="0">
                  <a:pos x="20" y="50"/>
                </a:cxn>
                <a:cxn ang="0">
                  <a:pos x="12" y="54"/>
                </a:cxn>
                <a:cxn ang="0">
                  <a:pos x="20" y="66"/>
                </a:cxn>
                <a:cxn ang="0">
                  <a:pos x="20" y="76"/>
                </a:cxn>
                <a:cxn ang="0">
                  <a:pos x="18" y="90"/>
                </a:cxn>
                <a:cxn ang="0">
                  <a:pos x="32" y="90"/>
                </a:cxn>
                <a:cxn ang="0">
                  <a:pos x="38" y="82"/>
                </a:cxn>
                <a:cxn ang="0">
                  <a:pos x="58" y="78"/>
                </a:cxn>
                <a:cxn ang="0">
                  <a:pos x="84" y="84"/>
                </a:cxn>
                <a:cxn ang="0">
                  <a:pos x="110" y="98"/>
                </a:cxn>
                <a:cxn ang="0">
                  <a:pos x="120" y="110"/>
                </a:cxn>
                <a:cxn ang="0">
                  <a:pos x="128" y="122"/>
                </a:cxn>
                <a:cxn ang="0">
                  <a:pos x="134" y="128"/>
                </a:cxn>
                <a:cxn ang="0">
                  <a:pos x="148" y="118"/>
                </a:cxn>
                <a:cxn ang="0">
                  <a:pos x="158" y="100"/>
                </a:cxn>
                <a:cxn ang="0">
                  <a:pos x="168" y="94"/>
                </a:cxn>
                <a:cxn ang="0">
                  <a:pos x="178" y="90"/>
                </a:cxn>
                <a:cxn ang="0">
                  <a:pos x="184" y="80"/>
                </a:cxn>
                <a:cxn ang="0">
                  <a:pos x="168" y="76"/>
                </a:cxn>
                <a:cxn ang="0">
                  <a:pos x="152" y="68"/>
                </a:cxn>
                <a:cxn ang="0">
                  <a:pos x="136" y="58"/>
                </a:cxn>
                <a:cxn ang="0">
                  <a:pos x="128" y="42"/>
                </a:cxn>
                <a:cxn ang="0">
                  <a:pos x="118" y="28"/>
                </a:cxn>
                <a:cxn ang="0">
                  <a:pos x="100" y="34"/>
                </a:cxn>
                <a:cxn ang="0">
                  <a:pos x="94" y="26"/>
                </a:cxn>
                <a:cxn ang="0">
                  <a:pos x="84" y="8"/>
                </a:cxn>
                <a:cxn ang="0">
                  <a:pos x="74" y="0"/>
                </a:cxn>
                <a:cxn ang="0">
                  <a:pos x="62" y="8"/>
                </a:cxn>
                <a:cxn ang="0">
                  <a:pos x="62" y="18"/>
                </a:cxn>
                <a:cxn ang="0">
                  <a:pos x="44" y="18"/>
                </a:cxn>
                <a:cxn ang="0">
                  <a:pos x="26" y="8"/>
                </a:cxn>
                <a:cxn ang="0">
                  <a:pos x="8" y="6"/>
                </a:cxn>
                <a:cxn ang="0">
                  <a:pos x="2" y="14"/>
                </a:cxn>
                <a:cxn ang="0">
                  <a:pos x="0" y="16"/>
                </a:cxn>
              </a:cxnLst>
              <a:rect l="0" t="0" r="r" b="b"/>
              <a:pathLst>
                <a:path w="186" h="130">
                  <a:moveTo>
                    <a:pt x="0" y="16"/>
                  </a:moveTo>
                  <a:lnTo>
                    <a:pt x="0" y="16"/>
                  </a:lnTo>
                  <a:lnTo>
                    <a:pt x="4" y="20"/>
                  </a:lnTo>
                  <a:lnTo>
                    <a:pt x="6" y="20"/>
                  </a:lnTo>
                  <a:lnTo>
                    <a:pt x="6" y="18"/>
                  </a:lnTo>
                  <a:lnTo>
                    <a:pt x="4" y="16"/>
                  </a:lnTo>
                  <a:lnTo>
                    <a:pt x="8" y="14"/>
                  </a:lnTo>
                  <a:lnTo>
                    <a:pt x="10" y="10"/>
                  </a:lnTo>
                  <a:lnTo>
                    <a:pt x="20" y="12"/>
                  </a:lnTo>
                  <a:lnTo>
                    <a:pt x="20" y="18"/>
                  </a:lnTo>
                  <a:lnTo>
                    <a:pt x="26" y="24"/>
                  </a:lnTo>
                  <a:lnTo>
                    <a:pt x="30" y="28"/>
                  </a:lnTo>
                  <a:lnTo>
                    <a:pt x="30" y="30"/>
                  </a:lnTo>
                  <a:lnTo>
                    <a:pt x="28" y="34"/>
                  </a:lnTo>
                  <a:lnTo>
                    <a:pt x="24" y="34"/>
                  </a:lnTo>
                  <a:lnTo>
                    <a:pt x="24" y="36"/>
                  </a:lnTo>
                  <a:lnTo>
                    <a:pt x="24" y="38"/>
                  </a:lnTo>
                  <a:lnTo>
                    <a:pt x="10" y="36"/>
                  </a:lnTo>
                  <a:lnTo>
                    <a:pt x="8" y="30"/>
                  </a:lnTo>
                  <a:lnTo>
                    <a:pt x="6" y="30"/>
                  </a:lnTo>
                  <a:lnTo>
                    <a:pt x="6" y="36"/>
                  </a:lnTo>
                  <a:lnTo>
                    <a:pt x="4" y="44"/>
                  </a:lnTo>
                  <a:lnTo>
                    <a:pt x="2" y="50"/>
                  </a:lnTo>
                  <a:lnTo>
                    <a:pt x="2" y="52"/>
                  </a:lnTo>
                  <a:lnTo>
                    <a:pt x="4" y="52"/>
                  </a:lnTo>
                  <a:lnTo>
                    <a:pt x="6" y="52"/>
                  </a:lnTo>
                  <a:lnTo>
                    <a:pt x="8" y="50"/>
                  </a:lnTo>
                  <a:lnTo>
                    <a:pt x="10" y="48"/>
                  </a:lnTo>
                  <a:lnTo>
                    <a:pt x="16" y="48"/>
                  </a:lnTo>
                  <a:lnTo>
                    <a:pt x="20" y="50"/>
                  </a:lnTo>
                  <a:lnTo>
                    <a:pt x="16" y="50"/>
                  </a:lnTo>
                  <a:lnTo>
                    <a:pt x="12" y="50"/>
                  </a:lnTo>
                  <a:lnTo>
                    <a:pt x="12" y="54"/>
                  </a:lnTo>
                  <a:lnTo>
                    <a:pt x="16" y="58"/>
                  </a:lnTo>
                  <a:lnTo>
                    <a:pt x="16" y="62"/>
                  </a:lnTo>
                  <a:lnTo>
                    <a:pt x="20" y="66"/>
                  </a:lnTo>
                  <a:lnTo>
                    <a:pt x="22" y="70"/>
                  </a:lnTo>
                  <a:lnTo>
                    <a:pt x="22" y="74"/>
                  </a:lnTo>
                  <a:lnTo>
                    <a:pt x="20" y="76"/>
                  </a:lnTo>
                  <a:lnTo>
                    <a:pt x="18" y="76"/>
                  </a:lnTo>
                  <a:lnTo>
                    <a:pt x="18" y="84"/>
                  </a:lnTo>
                  <a:lnTo>
                    <a:pt x="18" y="90"/>
                  </a:lnTo>
                  <a:lnTo>
                    <a:pt x="20" y="96"/>
                  </a:lnTo>
                  <a:lnTo>
                    <a:pt x="28" y="96"/>
                  </a:lnTo>
                  <a:lnTo>
                    <a:pt x="32" y="90"/>
                  </a:lnTo>
                  <a:lnTo>
                    <a:pt x="32" y="88"/>
                  </a:lnTo>
                  <a:lnTo>
                    <a:pt x="34" y="84"/>
                  </a:lnTo>
                  <a:lnTo>
                    <a:pt x="38" y="82"/>
                  </a:lnTo>
                  <a:lnTo>
                    <a:pt x="46" y="82"/>
                  </a:lnTo>
                  <a:lnTo>
                    <a:pt x="52" y="80"/>
                  </a:lnTo>
                  <a:lnTo>
                    <a:pt x="58" y="78"/>
                  </a:lnTo>
                  <a:lnTo>
                    <a:pt x="72" y="82"/>
                  </a:lnTo>
                  <a:lnTo>
                    <a:pt x="80" y="82"/>
                  </a:lnTo>
                  <a:lnTo>
                    <a:pt x="84" y="84"/>
                  </a:lnTo>
                  <a:lnTo>
                    <a:pt x="94" y="88"/>
                  </a:lnTo>
                  <a:lnTo>
                    <a:pt x="102" y="92"/>
                  </a:lnTo>
                  <a:lnTo>
                    <a:pt x="110" y="98"/>
                  </a:lnTo>
                  <a:lnTo>
                    <a:pt x="114" y="100"/>
                  </a:lnTo>
                  <a:lnTo>
                    <a:pt x="116" y="104"/>
                  </a:lnTo>
                  <a:lnTo>
                    <a:pt x="120" y="110"/>
                  </a:lnTo>
                  <a:lnTo>
                    <a:pt x="128" y="112"/>
                  </a:lnTo>
                  <a:lnTo>
                    <a:pt x="128" y="116"/>
                  </a:lnTo>
                  <a:lnTo>
                    <a:pt x="128" y="122"/>
                  </a:lnTo>
                  <a:lnTo>
                    <a:pt x="126" y="128"/>
                  </a:lnTo>
                  <a:lnTo>
                    <a:pt x="130" y="130"/>
                  </a:lnTo>
                  <a:lnTo>
                    <a:pt x="134" y="128"/>
                  </a:lnTo>
                  <a:lnTo>
                    <a:pt x="138" y="130"/>
                  </a:lnTo>
                  <a:lnTo>
                    <a:pt x="150" y="124"/>
                  </a:lnTo>
                  <a:lnTo>
                    <a:pt x="148" y="118"/>
                  </a:lnTo>
                  <a:lnTo>
                    <a:pt x="156" y="112"/>
                  </a:lnTo>
                  <a:lnTo>
                    <a:pt x="158" y="108"/>
                  </a:lnTo>
                  <a:lnTo>
                    <a:pt x="158" y="100"/>
                  </a:lnTo>
                  <a:lnTo>
                    <a:pt x="160" y="96"/>
                  </a:lnTo>
                  <a:lnTo>
                    <a:pt x="162" y="92"/>
                  </a:lnTo>
                  <a:lnTo>
                    <a:pt x="168" y="94"/>
                  </a:lnTo>
                  <a:lnTo>
                    <a:pt x="172" y="96"/>
                  </a:lnTo>
                  <a:lnTo>
                    <a:pt x="178" y="98"/>
                  </a:lnTo>
                  <a:lnTo>
                    <a:pt x="178" y="90"/>
                  </a:lnTo>
                  <a:lnTo>
                    <a:pt x="178" y="86"/>
                  </a:lnTo>
                  <a:lnTo>
                    <a:pt x="186" y="82"/>
                  </a:lnTo>
                  <a:lnTo>
                    <a:pt x="184" y="80"/>
                  </a:lnTo>
                  <a:lnTo>
                    <a:pt x="178" y="80"/>
                  </a:lnTo>
                  <a:lnTo>
                    <a:pt x="174" y="76"/>
                  </a:lnTo>
                  <a:lnTo>
                    <a:pt x="168" y="76"/>
                  </a:lnTo>
                  <a:lnTo>
                    <a:pt x="164" y="72"/>
                  </a:lnTo>
                  <a:lnTo>
                    <a:pt x="156" y="74"/>
                  </a:lnTo>
                  <a:lnTo>
                    <a:pt x="152" y="68"/>
                  </a:lnTo>
                  <a:lnTo>
                    <a:pt x="146" y="62"/>
                  </a:lnTo>
                  <a:lnTo>
                    <a:pt x="140" y="60"/>
                  </a:lnTo>
                  <a:lnTo>
                    <a:pt x="136" y="58"/>
                  </a:lnTo>
                  <a:lnTo>
                    <a:pt x="134" y="50"/>
                  </a:lnTo>
                  <a:lnTo>
                    <a:pt x="130" y="46"/>
                  </a:lnTo>
                  <a:lnTo>
                    <a:pt x="128" y="42"/>
                  </a:lnTo>
                  <a:lnTo>
                    <a:pt x="128" y="36"/>
                  </a:lnTo>
                  <a:lnTo>
                    <a:pt x="124" y="28"/>
                  </a:lnTo>
                  <a:lnTo>
                    <a:pt x="118" y="28"/>
                  </a:lnTo>
                  <a:lnTo>
                    <a:pt x="110" y="28"/>
                  </a:lnTo>
                  <a:lnTo>
                    <a:pt x="106" y="30"/>
                  </a:lnTo>
                  <a:lnTo>
                    <a:pt x="100" y="34"/>
                  </a:lnTo>
                  <a:lnTo>
                    <a:pt x="94" y="32"/>
                  </a:lnTo>
                  <a:lnTo>
                    <a:pt x="92" y="30"/>
                  </a:lnTo>
                  <a:lnTo>
                    <a:pt x="94" y="26"/>
                  </a:lnTo>
                  <a:lnTo>
                    <a:pt x="94" y="20"/>
                  </a:lnTo>
                  <a:lnTo>
                    <a:pt x="86" y="18"/>
                  </a:lnTo>
                  <a:lnTo>
                    <a:pt x="84" y="8"/>
                  </a:lnTo>
                  <a:lnTo>
                    <a:pt x="82" y="2"/>
                  </a:lnTo>
                  <a:lnTo>
                    <a:pt x="78" y="0"/>
                  </a:lnTo>
                  <a:lnTo>
                    <a:pt x="74" y="0"/>
                  </a:lnTo>
                  <a:lnTo>
                    <a:pt x="70" y="4"/>
                  </a:lnTo>
                  <a:lnTo>
                    <a:pt x="68" y="8"/>
                  </a:lnTo>
                  <a:lnTo>
                    <a:pt x="62" y="8"/>
                  </a:lnTo>
                  <a:lnTo>
                    <a:pt x="60" y="8"/>
                  </a:lnTo>
                  <a:lnTo>
                    <a:pt x="60" y="14"/>
                  </a:lnTo>
                  <a:lnTo>
                    <a:pt x="62" y="18"/>
                  </a:lnTo>
                  <a:lnTo>
                    <a:pt x="62" y="20"/>
                  </a:lnTo>
                  <a:lnTo>
                    <a:pt x="48" y="18"/>
                  </a:lnTo>
                  <a:lnTo>
                    <a:pt x="44" y="18"/>
                  </a:lnTo>
                  <a:lnTo>
                    <a:pt x="36" y="18"/>
                  </a:lnTo>
                  <a:lnTo>
                    <a:pt x="30" y="10"/>
                  </a:lnTo>
                  <a:lnTo>
                    <a:pt x="26" y="8"/>
                  </a:lnTo>
                  <a:lnTo>
                    <a:pt x="22" y="6"/>
                  </a:lnTo>
                  <a:lnTo>
                    <a:pt x="18" y="6"/>
                  </a:lnTo>
                  <a:lnTo>
                    <a:pt x="8" y="6"/>
                  </a:lnTo>
                  <a:lnTo>
                    <a:pt x="4" y="8"/>
                  </a:lnTo>
                  <a:lnTo>
                    <a:pt x="4" y="12"/>
                  </a:lnTo>
                  <a:lnTo>
                    <a:pt x="2" y="14"/>
                  </a:lnTo>
                  <a:lnTo>
                    <a:pt x="2" y="16"/>
                  </a:lnTo>
                  <a:lnTo>
                    <a:pt x="0" y="16"/>
                  </a:lnTo>
                  <a:lnTo>
                    <a:pt x="0" y="1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2" name="Freeform 516">
              <a:extLst>
                <a:ext uri="{FF2B5EF4-FFF2-40B4-BE49-F238E27FC236}">
                  <a16:creationId xmlns:a16="http://schemas.microsoft.com/office/drawing/2014/main" id="{F8FFC3D7-B8ED-4BA1-ADF1-815DC93D47AA}"/>
                </a:ext>
              </a:extLst>
            </p:cNvPr>
            <p:cNvSpPr>
              <a:spLocks/>
            </p:cNvSpPr>
            <p:nvPr/>
          </p:nvSpPr>
          <p:spPr bwMode="auto">
            <a:xfrm>
              <a:off x="3228355" y="3120821"/>
              <a:ext cx="212348" cy="388442"/>
            </a:xfrm>
            <a:custGeom>
              <a:avLst/>
              <a:gdLst/>
              <a:ahLst/>
              <a:cxnLst>
                <a:cxn ang="0">
                  <a:pos x="160" y="50"/>
                </a:cxn>
                <a:cxn ang="0">
                  <a:pos x="158" y="36"/>
                </a:cxn>
                <a:cxn ang="0">
                  <a:pos x="156" y="26"/>
                </a:cxn>
                <a:cxn ang="0">
                  <a:pos x="146" y="14"/>
                </a:cxn>
                <a:cxn ang="0">
                  <a:pos x="130" y="4"/>
                </a:cxn>
                <a:cxn ang="0">
                  <a:pos x="118" y="0"/>
                </a:cxn>
                <a:cxn ang="0">
                  <a:pos x="116" y="18"/>
                </a:cxn>
                <a:cxn ang="0">
                  <a:pos x="100" y="18"/>
                </a:cxn>
                <a:cxn ang="0">
                  <a:pos x="100" y="28"/>
                </a:cxn>
                <a:cxn ang="0">
                  <a:pos x="84" y="26"/>
                </a:cxn>
                <a:cxn ang="0">
                  <a:pos x="78" y="42"/>
                </a:cxn>
                <a:cxn ang="0">
                  <a:pos x="70" y="50"/>
                </a:cxn>
                <a:cxn ang="0">
                  <a:pos x="62" y="60"/>
                </a:cxn>
                <a:cxn ang="0">
                  <a:pos x="52" y="80"/>
                </a:cxn>
                <a:cxn ang="0">
                  <a:pos x="48" y="98"/>
                </a:cxn>
                <a:cxn ang="0">
                  <a:pos x="40" y="100"/>
                </a:cxn>
                <a:cxn ang="0">
                  <a:pos x="26" y="104"/>
                </a:cxn>
                <a:cxn ang="0">
                  <a:pos x="18" y="114"/>
                </a:cxn>
                <a:cxn ang="0">
                  <a:pos x="12" y="124"/>
                </a:cxn>
                <a:cxn ang="0">
                  <a:pos x="12" y="142"/>
                </a:cxn>
                <a:cxn ang="0">
                  <a:pos x="10" y="162"/>
                </a:cxn>
                <a:cxn ang="0">
                  <a:pos x="16" y="172"/>
                </a:cxn>
                <a:cxn ang="0">
                  <a:pos x="10" y="182"/>
                </a:cxn>
                <a:cxn ang="0">
                  <a:pos x="10" y="198"/>
                </a:cxn>
                <a:cxn ang="0">
                  <a:pos x="8" y="208"/>
                </a:cxn>
                <a:cxn ang="0">
                  <a:pos x="4" y="212"/>
                </a:cxn>
                <a:cxn ang="0">
                  <a:pos x="6" y="228"/>
                </a:cxn>
                <a:cxn ang="0">
                  <a:pos x="4" y="236"/>
                </a:cxn>
                <a:cxn ang="0">
                  <a:pos x="8" y="254"/>
                </a:cxn>
                <a:cxn ang="0">
                  <a:pos x="12" y="262"/>
                </a:cxn>
                <a:cxn ang="0">
                  <a:pos x="24" y="274"/>
                </a:cxn>
                <a:cxn ang="0">
                  <a:pos x="18" y="284"/>
                </a:cxn>
                <a:cxn ang="0">
                  <a:pos x="22" y="300"/>
                </a:cxn>
                <a:cxn ang="0">
                  <a:pos x="40" y="290"/>
                </a:cxn>
                <a:cxn ang="0">
                  <a:pos x="50" y="280"/>
                </a:cxn>
                <a:cxn ang="0">
                  <a:pos x="66" y="278"/>
                </a:cxn>
                <a:cxn ang="0">
                  <a:pos x="70" y="270"/>
                </a:cxn>
                <a:cxn ang="0">
                  <a:pos x="68" y="262"/>
                </a:cxn>
                <a:cxn ang="0">
                  <a:pos x="72" y="252"/>
                </a:cxn>
                <a:cxn ang="0">
                  <a:pos x="76" y="232"/>
                </a:cxn>
                <a:cxn ang="0">
                  <a:pos x="86" y="228"/>
                </a:cxn>
                <a:cxn ang="0">
                  <a:pos x="92" y="224"/>
                </a:cxn>
                <a:cxn ang="0">
                  <a:pos x="98" y="218"/>
                </a:cxn>
                <a:cxn ang="0">
                  <a:pos x="104" y="212"/>
                </a:cxn>
                <a:cxn ang="0">
                  <a:pos x="98" y="200"/>
                </a:cxn>
                <a:cxn ang="0">
                  <a:pos x="90" y="188"/>
                </a:cxn>
                <a:cxn ang="0">
                  <a:pos x="80" y="188"/>
                </a:cxn>
                <a:cxn ang="0">
                  <a:pos x="78" y="164"/>
                </a:cxn>
                <a:cxn ang="0">
                  <a:pos x="82" y="154"/>
                </a:cxn>
                <a:cxn ang="0">
                  <a:pos x="82" y="144"/>
                </a:cxn>
                <a:cxn ang="0">
                  <a:pos x="92" y="136"/>
                </a:cxn>
                <a:cxn ang="0">
                  <a:pos x="98" y="132"/>
                </a:cxn>
                <a:cxn ang="0">
                  <a:pos x="102" y="122"/>
                </a:cxn>
                <a:cxn ang="0">
                  <a:pos x="114" y="118"/>
                </a:cxn>
                <a:cxn ang="0">
                  <a:pos x="122" y="112"/>
                </a:cxn>
                <a:cxn ang="0">
                  <a:pos x="132" y="102"/>
                </a:cxn>
                <a:cxn ang="0">
                  <a:pos x="128" y="94"/>
                </a:cxn>
                <a:cxn ang="0">
                  <a:pos x="132" y="82"/>
                </a:cxn>
                <a:cxn ang="0">
                  <a:pos x="136" y="76"/>
                </a:cxn>
                <a:cxn ang="0">
                  <a:pos x="146" y="64"/>
                </a:cxn>
                <a:cxn ang="0">
                  <a:pos x="154" y="70"/>
                </a:cxn>
                <a:cxn ang="0">
                  <a:pos x="164" y="68"/>
                </a:cxn>
              </a:cxnLst>
              <a:rect l="0" t="0" r="r" b="b"/>
              <a:pathLst>
                <a:path w="164" h="300">
                  <a:moveTo>
                    <a:pt x="164" y="68"/>
                  </a:moveTo>
                  <a:lnTo>
                    <a:pt x="160" y="58"/>
                  </a:lnTo>
                  <a:lnTo>
                    <a:pt x="158" y="54"/>
                  </a:lnTo>
                  <a:lnTo>
                    <a:pt x="160" y="50"/>
                  </a:lnTo>
                  <a:lnTo>
                    <a:pt x="160" y="44"/>
                  </a:lnTo>
                  <a:lnTo>
                    <a:pt x="160" y="42"/>
                  </a:lnTo>
                  <a:lnTo>
                    <a:pt x="158" y="38"/>
                  </a:lnTo>
                  <a:lnTo>
                    <a:pt x="158" y="36"/>
                  </a:lnTo>
                  <a:lnTo>
                    <a:pt x="158" y="34"/>
                  </a:lnTo>
                  <a:lnTo>
                    <a:pt x="158" y="32"/>
                  </a:lnTo>
                  <a:lnTo>
                    <a:pt x="158" y="30"/>
                  </a:lnTo>
                  <a:lnTo>
                    <a:pt x="156" y="26"/>
                  </a:lnTo>
                  <a:lnTo>
                    <a:pt x="156" y="24"/>
                  </a:lnTo>
                  <a:lnTo>
                    <a:pt x="150" y="16"/>
                  </a:lnTo>
                  <a:lnTo>
                    <a:pt x="148" y="14"/>
                  </a:lnTo>
                  <a:lnTo>
                    <a:pt x="146" y="14"/>
                  </a:lnTo>
                  <a:lnTo>
                    <a:pt x="140" y="12"/>
                  </a:lnTo>
                  <a:lnTo>
                    <a:pt x="136" y="12"/>
                  </a:lnTo>
                  <a:lnTo>
                    <a:pt x="134" y="10"/>
                  </a:lnTo>
                  <a:lnTo>
                    <a:pt x="130" y="4"/>
                  </a:lnTo>
                  <a:lnTo>
                    <a:pt x="130" y="2"/>
                  </a:lnTo>
                  <a:lnTo>
                    <a:pt x="126" y="0"/>
                  </a:lnTo>
                  <a:lnTo>
                    <a:pt x="122" y="0"/>
                  </a:lnTo>
                  <a:lnTo>
                    <a:pt x="118" y="0"/>
                  </a:lnTo>
                  <a:lnTo>
                    <a:pt x="118" y="4"/>
                  </a:lnTo>
                  <a:lnTo>
                    <a:pt x="118" y="12"/>
                  </a:lnTo>
                  <a:lnTo>
                    <a:pt x="116" y="16"/>
                  </a:lnTo>
                  <a:lnTo>
                    <a:pt x="116" y="18"/>
                  </a:lnTo>
                  <a:lnTo>
                    <a:pt x="114" y="20"/>
                  </a:lnTo>
                  <a:lnTo>
                    <a:pt x="108" y="18"/>
                  </a:lnTo>
                  <a:lnTo>
                    <a:pt x="104" y="18"/>
                  </a:lnTo>
                  <a:lnTo>
                    <a:pt x="100" y="18"/>
                  </a:lnTo>
                  <a:lnTo>
                    <a:pt x="100" y="20"/>
                  </a:lnTo>
                  <a:lnTo>
                    <a:pt x="100" y="24"/>
                  </a:lnTo>
                  <a:lnTo>
                    <a:pt x="98" y="26"/>
                  </a:lnTo>
                  <a:lnTo>
                    <a:pt x="100" y="28"/>
                  </a:lnTo>
                  <a:lnTo>
                    <a:pt x="96" y="26"/>
                  </a:lnTo>
                  <a:lnTo>
                    <a:pt x="90" y="20"/>
                  </a:lnTo>
                  <a:lnTo>
                    <a:pt x="88" y="22"/>
                  </a:lnTo>
                  <a:lnTo>
                    <a:pt x="84" y="26"/>
                  </a:lnTo>
                  <a:lnTo>
                    <a:pt x="82" y="30"/>
                  </a:lnTo>
                  <a:lnTo>
                    <a:pt x="82" y="36"/>
                  </a:lnTo>
                  <a:lnTo>
                    <a:pt x="80" y="40"/>
                  </a:lnTo>
                  <a:lnTo>
                    <a:pt x="78" y="42"/>
                  </a:lnTo>
                  <a:lnTo>
                    <a:pt x="74" y="44"/>
                  </a:lnTo>
                  <a:lnTo>
                    <a:pt x="72" y="46"/>
                  </a:lnTo>
                  <a:lnTo>
                    <a:pt x="70" y="48"/>
                  </a:lnTo>
                  <a:lnTo>
                    <a:pt x="70" y="50"/>
                  </a:lnTo>
                  <a:lnTo>
                    <a:pt x="66" y="50"/>
                  </a:lnTo>
                  <a:lnTo>
                    <a:pt x="64" y="52"/>
                  </a:lnTo>
                  <a:lnTo>
                    <a:pt x="62" y="54"/>
                  </a:lnTo>
                  <a:lnTo>
                    <a:pt x="62" y="60"/>
                  </a:lnTo>
                  <a:lnTo>
                    <a:pt x="60" y="68"/>
                  </a:lnTo>
                  <a:lnTo>
                    <a:pt x="56" y="74"/>
                  </a:lnTo>
                  <a:lnTo>
                    <a:pt x="54" y="78"/>
                  </a:lnTo>
                  <a:lnTo>
                    <a:pt x="52" y="80"/>
                  </a:lnTo>
                  <a:lnTo>
                    <a:pt x="50" y="82"/>
                  </a:lnTo>
                  <a:lnTo>
                    <a:pt x="48" y="84"/>
                  </a:lnTo>
                  <a:lnTo>
                    <a:pt x="50" y="90"/>
                  </a:lnTo>
                  <a:lnTo>
                    <a:pt x="48" y="98"/>
                  </a:lnTo>
                  <a:lnTo>
                    <a:pt x="48" y="102"/>
                  </a:lnTo>
                  <a:lnTo>
                    <a:pt x="46" y="104"/>
                  </a:lnTo>
                  <a:lnTo>
                    <a:pt x="44" y="104"/>
                  </a:lnTo>
                  <a:lnTo>
                    <a:pt x="40" y="100"/>
                  </a:lnTo>
                  <a:lnTo>
                    <a:pt x="38" y="98"/>
                  </a:lnTo>
                  <a:lnTo>
                    <a:pt x="36" y="98"/>
                  </a:lnTo>
                  <a:lnTo>
                    <a:pt x="28" y="100"/>
                  </a:lnTo>
                  <a:lnTo>
                    <a:pt x="26" y="104"/>
                  </a:lnTo>
                  <a:lnTo>
                    <a:pt x="24" y="106"/>
                  </a:lnTo>
                  <a:lnTo>
                    <a:pt x="24" y="108"/>
                  </a:lnTo>
                  <a:lnTo>
                    <a:pt x="22" y="112"/>
                  </a:lnTo>
                  <a:lnTo>
                    <a:pt x="18" y="114"/>
                  </a:lnTo>
                  <a:lnTo>
                    <a:pt x="18" y="118"/>
                  </a:lnTo>
                  <a:lnTo>
                    <a:pt x="16" y="120"/>
                  </a:lnTo>
                  <a:lnTo>
                    <a:pt x="14" y="122"/>
                  </a:lnTo>
                  <a:lnTo>
                    <a:pt x="12" y="124"/>
                  </a:lnTo>
                  <a:lnTo>
                    <a:pt x="10" y="128"/>
                  </a:lnTo>
                  <a:lnTo>
                    <a:pt x="12" y="132"/>
                  </a:lnTo>
                  <a:lnTo>
                    <a:pt x="12" y="136"/>
                  </a:lnTo>
                  <a:lnTo>
                    <a:pt x="12" y="142"/>
                  </a:lnTo>
                  <a:lnTo>
                    <a:pt x="12" y="148"/>
                  </a:lnTo>
                  <a:lnTo>
                    <a:pt x="12" y="154"/>
                  </a:lnTo>
                  <a:lnTo>
                    <a:pt x="12" y="158"/>
                  </a:lnTo>
                  <a:lnTo>
                    <a:pt x="10" y="162"/>
                  </a:lnTo>
                  <a:lnTo>
                    <a:pt x="10" y="164"/>
                  </a:lnTo>
                  <a:lnTo>
                    <a:pt x="12" y="164"/>
                  </a:lnTo>
                  <a:lnTo>
                    <a:pt x="14" y="166"/>
                  </a:lnTo>
                  <a:lnTo>
                    <a:pt x="16" y="172"/>
                  </a:lnTo>
                  <a:lnTo>
                    <a:pt x="16" y="176"/>
                  </a:lnTo>
                  <a:lnTo>
                    <a:pt x="16" y="178"/>
                  </a:lnTo>
                  <a:lnTo>
                    <a:pt x="14" y="180"/>
                  </a:lnTo>
                  <a:lnTo>
                    <a:pt x="10" y="182"/>
                  </a:lnTo>
                  <a:lnTo>
                    <a:pt x="10" y="190"/>
                  </a:lnTo>
                  <a:lnTo>
                    <a:pt x="8" y="194"/>
                  </a:lnTo>
                  <a:lnTo>
                    <a:pt x="8" y="196"/>
                  </a:lnTo>
                  <a:lnTo>
                    <a:pt x="10" y="198"/>
                  </a:lnTo>
                  <a:lnTo>
                    <a:pt x="12" y="202"/>
                  </a:lnTo>
                  <a:lnTo>
                    <a:pt x="10" y="204"/>
                  </a:lnTo>
                  <a:lnTo>
                    <a:pt x="8" y="206"/>
                  </a:lnTo>
                  <a:lnTo>
                    <a:pt x="8" y="208"/>
                  </a:lnTo>
                  <a:lnTo>
                    <a:pt x="8" y="210"/>
                  </a:lnTo>
                  <a:lnTo>
                    <a:pt x="6" y="210"/>
                  </a:lnTo>
                  <a:lnTo>
                    <a:pt x="4" y="212"/>
                  </a:lnTo>
                  <a:lnTo>
                    <a:pt x="4" y="212"/>
                  </a:lnTo>
                  <a:lnTo>
                    <a:pt x="6" y="218"/>
                  </a:lnTo>
                  <a:lnTo>
                    <a:pt x="8" y="220"/>
                  </a:lnTo>
                  <a:lnTo>
                    <a:pt x="6" y="226"/>
                  </a:lnTo>
                  <a:lnTo>
                    <a:pt x="6" y="228"/>
                  </a:lnTo>
                  <a:lnTo>
                    <a:pt x="4" y="228"/>
                  </a:lnTo>
                  <a:lnTo>
                    <a:pt x="0" y="228"/>
                  </a:lnTo>
                  <a:lnTo>
                    <a:pt x="0" y="236"/>
                  </a:lnTo>
                  <a:lnTo>
                    <a:pt x="4" y="236"/>
                  </a:lnTo>
                  <a:lnTo>
                    <a:pt x="8" y="244"/>
                  </a:lnTo>
                  <a:lnTo>
                    <a:pt x="6" y="248"/>
                  </a:lnTo>
                  <a:lnTo>
                    <a:pt x="4" y="252"/>
                  </a:lnTo>
                  <a:lnTo>
                    <a:pt x="8" y="254"/>
                  </a:lnTo>
                  <a:lnTo>
                    <a:pt x="8" y="258"/>
                  </a:lnTo>
                  <a:lnTo>
                    <a:pt x="12" y="258"/>
                  </a:lnTo>
                  <a:lnTo>
                    <a:pt x="12" y="260"/>
                  </a:lnTo>
                  <a:lnTo>
                    <a:pt x="12" y="262"/>
                  </a:lnTo>
                  <a:lnTo>
                    <a:pt x="16" y="266"/>
                  </a:lnTo>
                  <a:lnTo>
                    <a:pt x="20" y="268"/>
                  </a:lnTo>
                  <a:lnTo>
                    <a:pt x="20" y="272"/>
                  </a:lnTo>
                  <a:lnTo>
                    <a:pt x="24" y="274"/>
                  </a:lnTo>
                  <a:lnTo>
                    <a:pt x="24" y="276"/>
                  </a:lnTo>
                  <a:lnTo>
                    <a:pt x="20" y="276"/>
                  </a:lnTo>
                  <a:lnTo>
                    <a:pt x="22" y="282"/>
                  </a:lnTo>
                  <a:lnTo>
                    <a:pt x="18" y="284"/>
                  </a:lnTo>
                  <a:lnTo>
                    <a:pt x="18" y="288"/>
                  </a:lnTo>
                  <a:lnTo>
                    <a:pt x="20" y="290"/>
                  </a:lnTo>
                  <a:lnTo>
                    <a:pt x="20" y="296"/>
                  </a:lnTo>
                  <a:lnTo>
                    <a:pt x="22" y="300"/>
                  </a:lnTo>
                  <a:lnTo>
                    <a:pt x="24" y="300"/>
                  </a:lnTo>
                  <a:lnTo>
                    <a:pt x="32" y="300"/>
                  </a:lnTo>
                  <a:lnTo>
                    <a:pt x="40" y="296"/>
                  </a:lnTo>
                  <a:lnTo>
                    <a:pt x="40" y="290"/>
                  </a:lnTo>
                  <a:lnTo>
                    <a:pt x="42" y="286"/>
                  </a:lnTo>
                  <a:lnTo>
                    <a:pt x="46" y="286"/>
                  </a:lnTo>
                  <a:lnTo>
                    <a:pt x="46" y="282"/>
                  </a:lnTo>
                  <a:lnTo>
                    <a:pt x="50" y="280"/>
                  </a:lnTo>
                  <a:lnTo>
                    <a:pt x="54" y="280"/>
                  </a:lnTo>
                  <a:lnTo>
                    <a:pt x="62" y="282"/>
                  </a:lnTo>
                  <a:lnTo>
                    <a:pt x="64" y="278"/>
                  </a:lnTo>
                  <a:lnTo>
                    <a:pt x="66" y="278"/>
                  </a:lnTo>
                  <a:lnTo>
                    <a:pt x="66" y="280"/>
                  </a:lnTo>
                  <a:lnTo>
                    <a:pt x="68" y="280"/>
                  </a:lnTo>
                  <a:lnTo>
                    <a:pt x="72" y="268"/>
                  </a:lnTo>
                  <a:lnTo>
                    <a:pt x="70" y="270"/>
                  </a:lnTo>
                  <a:lnTo>
                    <a:pt x="68" y="274"/>
                  </a:lnTo>
                  <a:lnTo>
                    <a:pt x="66" y="274"/>
                  </a:lnTo>
                  <a:lnTo>
                    <a:pt x="66" y="270"/>
                  </a:lnTo>
                  <a:lnTo>
                    <a:pt x="68" y="262"/>
                  </a:lnTo>
                  <a:lnTo>
                    <a:pt x="72" y="258"/>
                  </a:lnTo>
                  <a:lnTo>
                    <a:pt x="70" y="254"/>
                  </a:lnTo>
                  <a:lnTo>
                    <a:pt x="70" y="252"/>
                  </a:lnTo>
                  <a:lnTo>
                    <a:pt x="72" y="252"/>
                  </a:lnTo>
                  <a:lnTo>
                    <a:pt x="74" y="246"/>
                  </a:lnTo>
                  <a:lnTo>
                    <a:pt x="72" y="242"/>
                  </a:lnTo>
                  <a:lnTo>
                    <a:pt x="72" y="234"/>
                  </a:lnTo>
                  <a:lnTo>
                    <a:pt x="76" y="232"/>
                  </a:lnTo>
                  <a:lnTo>
                    <a:pt x="68" y="228"/>
                  </a:lnTo>
                  <a:lnTo>
                    <a:pt x="76" y="228"/>
                  </a:lnTo>
                  <a:lnTo>
                    <a:pt x="86" y="226"/>
                  </a:lnTo>
                  <a:lnTo>
                    <a:pt x="86" y="228"/>
                  </a:lnTo>
                  <a:lnTo>
                    <a:pt x="88" y="228"/>
                  </a:lnTo>
                  <a:lnTo>
                    <a:pt x="88" y="226"/>
                  </a:lnTo>
                  <a:lnTo>
                    <a:pt x="90" y="224"/>
                  </a:lnTo>
                  <a:lnTo>
                    <a:pt x="92" y="224"/>
                  </a:lnTo>
                  <a:lnTo>
                    <a:pt x="96" y="224"/>
                  </a:lnTo>
                  <a:lnTo>
                    <a:pt x="96" y="222"/>
                  </a:lnTo>
                  <a:lnTo>
                    <a:pt x="96" y="220"/>
                  </a:lnTo>
                  <a:lnTo>
                    <a:pt x="98" y="218"/>
                  </a:lnTo>
                  <a:lnTo>
                    <a:pt x="102" y="218"/>
                  </a:lnTo>
                  <a:lnTo>
                    <a:pt x="100" y="216"/>
                  </a:lnTo>
                  <a:lnTo>
                    <a:pt x="94" y="214"/>
                  </a:lnTo>
                  <a:lnTo>
                    <a:pt x="104" y="212"/>
                  </a:lnTo>
                  <a:lnTo>
                    <a:pt x="104" y="206"/>
                  </a:lnTo>
                  <a:lnTo>
                    <a:pt x="102" y="200"/>
                  </a:lnTo>
                  <a:lnTo>
                    <a:pt x="100" y="200"/>
                  </a:lnTo>
                  <a:lnTo>
                    <a:pt x="98" y="200"/>
                  </a:lnTo>
                  <a:lnTo>
                    <a:pt x="96" y="198"/>
                  </a:lnTo>
                  <a:lnTo>
                    <a:pt x="96" y="194"/>
                  </a:lnTo>
                  <a:lnTo>
                    <a:pt x="92" y="194"/>
                  </a:lnTo>
                  <a:lnTo>
                    <a:pt x="90" y="188"/>
                  </a:lnTo>
                  <a:lnTo>
                    <a:pt x="86" y="192"/>
                  </a:lnTo>
                  <a:lnTo>
                    <a:pt x="84" y="192"/>
                  </a:lnTo>
                  <a:lnTo>
                    <a:pt x="82" y="190"/>
                  </a:lnTo>
                  <a:lnTo>
                    <a:pt x="80" y="188"/>
                  </a:lnTo>
                  <a:lnTo>
                    <a:pt x="80" y="182"/>
                  </a:lnTo>
                  <a:lnTo>
                    <a:pt x="80" y="178"/>
                  </a:lnTo>
                  <a:lnTo>
                    <a:pt x="78" y="168"/>
                  </a:lnTo>
                  <a:lnTo>
                    <a:pt x="78" y="164"/>
                  </a:lnTo>
                  <a:lnTo>
                    <a:pt x="82" y="164"/>
                  </a:lnTo>
                  <a:lnTo>
                    <a:pt x="80" y="160"/>
                  </a:lnTo>
                  <a:lnTo>
                    <a:pt x="80" y="156"/>
                  </a:lnTo>
                  <a:lnTo>
                    <a:pt x="82" y="154"/>
                  </a:lnTo>
                  <a:lnTo>
                    <a:pt x="82" y="148"/>
                  </a:lnTo>
                  <a:lnTo>
                    <a:pt x="80" y="148"/>
                  </a:lnTo>
                  <a:lnTo>
                    <a:pt x="80" y="144"/>
                  </a:lnTo>
                  <a:lnTo>
                    <a:pt x="82" y="144"/>
                  </a:lnTo>
                  <a:lnTo>
                    <a:pt x="84" y="146"/>
                  </a:lnTo>
                  <a:lnTo>
                    <a:pt x="86" y="144"/>
                  </a:lnTo>
                  <a:lnTo>
                    <a:pt x="90" y="142"/>
                  </a:lnTo>
                  <a:lnTo>
                    <a:pt x="92" y="136"/>
                  </a:lnTo>
                  <a:lnTo>
                    <a:pt x="90" y="136"/>
                  </a:lnTo>
                  <a:lnTo>
                    <a:pt x="90" y="134"/>
                  </a:lnTo>
                  <a:lnTo>
                    <a:pt x="96" y="134"/>
                  </a:lnTo>
                  <a:lnTo>
                    <a:pt x="98" y="132"/>
                  </a:lnTo>
                  <a:lnTo>
                    <a:pt x="100" y="130"/>
                  </a:lnTo>
                  <a:lnTo>
                    <a:pt x="98" y="130"/>
                  </a:lnTo>
                  <a:lnTo>
                    <a:pt x="96" y="128"/>
                  </a:lnTo>
                  <a:lnTo>
                    <a:pt x="102" y="122"/>
                  </a:lnTo>
                  <a:lnTo>
                    <a:pt x="104" y="122"/>
                  </a:lnTo>
                  <a:lnTo>
                    <a:pt x="106" y="124"/>
                  </a:lnTo>
                  <a:lnTo>
                    <a:pt x="110" y="120"/>
                  </a:lnTo>
                  <a:lnTo>
                    <a:pt x="114" y="118"/>
                  </a:lnTo>
                  <a:lnTo>
                    <a:pt x="118" y="116"/>
                  </a:lnTo>
                  <a:lnTo>
                    <a:pt x="118" y="118"/>
                  </a:lnTo>
                  <a:lnTo>
                    <a:pt x="122" y="116"/>
                  </a:lnTo>
                  <a:lnTo>
                    <a:pt x="122" y="112"/>
                  </a:lnTo>
                  <a:lnTo>
                    <a:pt x="126" y="106"/>
                  </a:lnTo>
                  <a:lnTo>
                    <a:pt x="128" y="106"/>
                  </a:lnTo>
                  <a:lnTo>
                    <a:pt x="132" y="104"/>
                  </a:lnTo>
                  <a:lnTo>
                    <a:pt x="132" y="102"/>
                  </a:lnTo>
                  <a:lnTo>
                    <a:pt x="132" y="100"/>
                  </a:lnTo>
                  <a:lnTo>
                    <a:pt x="128" y="100"/>
                  </a:lnTo>
                  <a:lnTo>
                    <a:pt x="130" y="98"/>
                  </a:lnTo>
                  <a:lnTo>
                    <a:pt x="128" y="94"/>
                  </a:lnTo>
                  <a:lnTo>
                    <a:pt x="128" y="90"/>
                  </a:lnTo>
                  <a:lnTo>
                    <a:pt x="134" y="86"/>
                  </a:lnTo>
                  <a:lnTo>
                    <a:pt x="134" y="84"/>
                  </a:lnTo>
                  <a:lnTo>
                    <a:pt x="132" y="82"/>
                  </a:lnTo>
                  <a:lnTo>
                    <a:pt x="134" y="82"/>
                  </a:lnTo>
                  <a:lnTo>
                    <a:pt x="136" y="80"/>
                  </a:lnTo>
                  <a:lnTo>
                    <a:pt x="134" y="78"/>
                  </a:lnTo>
                  <a:lnTo>
                    <a:pt x="136" y="76"/>
                  </a:lnTo>
                  <a:lnTo>
                    <a:pt x="140" y="78"/>
                  </a:lnTo>
                  <a:lnTo>
                    <a:pt x="142" y="76"/>
                  </a:lnTo>
                  <a:lnTo>
                    <a:pt x="144" y="72"/>
                  </a:lnTo>
                  <a:lnTo>
                    <a:pt x="146" y="64"/>
                  </a:lnTo>
                  <a:lnTo>
                    <a:pt x="146" y="66"/>
                  </a:lnTo>
                  <a:lnTo>
                    <a:pt x="148" y="68"/>
                  </a:lnTo>
                  <a:lnTo>
                    <a:pt x="152" y="66"/>
                  </a:lnTo>
                  <a:lnTo>
                    <a:pt x="154" y="70"/>
                  </a:lnTo>
                  <a:lnTo>
                    <a:pt x="156" y="68"/>
                  </a:lnTo>
                  <a:lnTo>
                    <a:pt x="156" y="66"/>
                  </a:lnTo>
                  <a:lnTo>
                    <a:pt x="164" y="68"/>
                  </a:lnTo>
                  <a:lnTo>
                    <a:pt x="164"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3" name="Freeform 517">
              <a:extLst>
                <a:ext uri="{FF2B5EF4-FFF2-40B4-BE49-F238E27FC236}">
                  <a16:creationId xmlns:a16="http://schemas.microsoft.com/office/drawing/2014/main" id="{9C7632AB-59EC-4CF2-ACBC-A56A5013216D}"/>
                </a:ext>
              </a:extLst>
            </p:cNvPr>
            <p:cNvSpPr>
              <a:spLocks noEditPoints="1"/>
            </p:cNvSpPr>
            <p:nvPr/>
          </p:nvSpPr>
          <p:spPr bwMode="auto">
            <a:xfrm>
              <a:off x="2878758" y="3801889"/>
              <a:ext cx="246013" cy="173504"/>
            </a:xfrm>
            <a:custGeom>
              <a:avLst/>
              <a:gdLst/>
              <a:ahLst/>
              <a:cxnLst>
                <a:cxn ang="0">
                  <a:pos x="166" y="32"/>
                </a:cxn>
                <a:cxn ang="0">
                  <a:pos x="152" y="40"/>
                </a:cxn>
                <a:cxn ang="0">
                  <a:pos x="140" y="50"/>
                </a:cxn>
                <a:cxn ang="0">
                  <a:pos x="132" y="60"/>
                </a:cxn>
                <a:cxn ang="0">
                  <a:pos x="124" y="70"/>
                </a:cxn>
                <a:cxn ang="0">
                  <a:pos x="120" y="78"/>
                </a:cxn>
                <a:cxn ang="0">
                  <a:pos x="124" y="86"/>
                </a:cxn>
                <a:cxn ang="0">
                  <a:pos x="110" y="104"/>
                </a:cxn>
                <a:cxn ang="0">
                  <a:pos x="106" y="110"/>
                </a:cxn>
                <a:cxn ang="0">
                  <a:pos x="92" y="124"/>
                </a:cxn>
                <a:cxn ang="0">
                  <a:pos x="82" y="126"/>
                </a:cxn>
                <a:cxn ang="0">
                  <a:pos x="62" y="128"/>
                </a:cxn>
                <a:cxn ang="0">
                  <a:pos x="50" y="134"/>
                </a:cxn>
                <a:cxn ang="0">
                  <a:pos x="34" y="120"/>
                </a:cxn>
                <a:cxn ang="0">
                  <a:pos x="30" y="110"/>
                </a:cxn>
                <a:cxn ang="0">
                  <a:pos x="28" y="108"/>
                </a:cxn>
                <a:cxn ang="0">
                  <a:pos x="26" y="100"/>
                </a:cxn>
                <a:cxn ang="0">
                  <a:pos x="28" y="90"/>
                </a:cxn>
                <a:cxn ang="0">
                  <a:pos x="30" y="80"/>
                </a:cxn>
                <a:cxn ang="0">
                  <a:pos x="28" y="68"/>
                </a:cxn>
                <a:cxn ang="0">
                  <a:pos x="34" y="58"/>
                </a:cxn>
                <a:cxn ang="0">
                  <a:pos x="30" y="46"/>
                </a:cxn>
                <a:cxn ang="0">
                  <a:pos x="32" y="36"/>
                </a:cxn>
                <a:cxn ang="0">
                  <a:pos x="18" y="34"/>
                </a:cxn>
                <a:cxn ang="0">
                  <a:pos x="14" y="30"/>
                </a:cxn>
                <a:cxn ang="0">
                  <a:pos x="6" y="32"/>
                </a:cxn>
                <a:cxn ang="0">
                  <a:pos x="10" y="26"/>
                </a:cxn>
                <a:cxn ang="0">
                  <a:pos x="4" y="20"/>
                </a:cxn>
                <a:cxn ang="0">
                  <a:pos x="0" y="16"/>
                </a:cxn>
                <a:cxn ang="0">
                  <a:pos x="8" y="6"/>
                </a:cxn>
                <a:cxn ang="0">
                  <a:pos x="16" y="4"/>
                </a:cxn>
                <a:cxn ang="0">
                  <a:pos x="30" y="0"/>
                </a:cxn>
                <a:cxn ang="0">
                  <a:pos x="46" y="2"/>
                </a:cxn>
                <a:cxn ang="0">
                  <a:pos x="80" y="4"/>
                </a:cxn>
                <a:cxn ang="0">
                  <a:pos x="96" y="10"/>
                </a:cxn>
                <a:cxn ang="0">
                  <a:pos x="104" y="16"/>
                </a:cxn>
                <a:cxn ang="0">
                  <a:pos x="112" y="20"/>
                </a:cxn>
                <a:cxn ang="0">
                  <a:pos x="124" y="22"/>
                </a:cxn>
                <a:cxn ang="0">
                  <a:pos x="132" y="22"/>
                </a:cxn>
                <a:cxn ang="0">
                  <a:pos x="148" y="26"/>
                </a:cxn>
                <a:cxn ang="0">
                  <a:pos x="158" y="24"/>
                </a:cxn>
                <a:cxn ang="0">
                  <a:pos x="164" y="22"/>
                </a:cxn>
                <a:cxn ang="0">
                  <a:pos x="140" y="82"/>
                </a:cxn>
                <a:cxn ang="0">
                  <a:pos x="144" y="80"/>
                </a:cxn>
                <a:cxn ang="0">
                  <a:pos x="142" y="78"/>
                </a:cxn>
                <a:cxn ang="0">
                  <a:pos x="188" y="72"/>
                </a:cxn>
                <a:cxn ang="0">
                  <a:pos x="190" y="68"/>
                </a:cxn>
                <a:cxn ang="0">
                  <a:pos x="166" y="68"/>
                </a:cxn>
                <a:cxn ang="0">
                  <a:pos x="164" y="72"/>
                </a:cxn>
                <a:cxn ang="0">
                  <a:pos x="164" y="82"/>
                </a:cxn>
                <a:cxn ang="0">
                  <a:pos x="172" y="74"/>
                </a:cxn>
                <a:cxn ang="0">
                  <a:pos x="166" y="68"/>
                </a:cxn>
              </a:cxnLst>
              <a:rect l="0" t="0" r="r" b="b"/>
              <a:pathLst>
                <a:path w="190" h="134">
                  <a:moveTo>
                    <a:pt x="164" y="22"/>
                  </a:moveTo>
                  <a:lnTo>
                    <a:pt x="164" y="22"/>
                  </a:lnTo>
                  <a:lnTo>
                    <a:pt x="166" y="32"/>
                  </a:lnTo>
                  <a:lnTo>
                    <a:pt x="158" y="40"/>
                  </a:lnTo>
                  <a:lnTo>
                    <a:pt x="154" y="40"/>
                  </a:lnTo>
                  <a:lnTo>
                    <a:pt x="152" y="40"/>
                  </a:lnTo>
                  <a:lnTo>
                    <a:pt x="152" y="44"/>
                  </a:lnTo>
                  <a:lnTo>
                    <a:pt x="146" y="46"/>
                  </a:lnTo>
                  <a:lnTo>
                    <a:pt x="140" y="50"/>
                  </a:lnTo>
                  <a:lnTo>
                    <a:pt x="138" y="54"/>
                  </a:lnTo>
                  <a:lnTo>
                    <a:pt x="132" y="56"/>
                  </a:lnTo>
                  <a:lnTo>
                    <a:pt x="132" y="60"/>
                  </a:lnTo>
                  <a:lnTo>
                    <a:pt x="128" y="62"/>
                  </a:lnTo>
                  <a:lnTo>
                    <a:pt x="126" y="66"/>
                  </a:lnTo>
                  <a:lnTo>
                    <a:pt x="124" y="70"/>
                  </a:lnTo>
                  <a:lnTo>
                    <a:pt x="120" y="72"/>
                  </a:lnTo>
                  <a:lnTo>
                    <a:pt x="118" y="76"/>
                  </a:lnTo>
                  <a:lnTo>
                    <a:pt x="120" y="78"/>
                  </a:lnTo>
                  <a:lnTo>
                    <a:pt x="120" y="82"/>
                  </a:lnTo>
                  <a:lnTo>
                    <a:pt x="124" y="84"/>
                  </a:lnTo>
                  <a:lnTo>
                    <a:pt x="124" y="86"/>
                  </a:lnTo>
                  <a:lnTo>
                    <a:pt x="116" y="96"/>
                  </a:lnTo>
                  <a:lnTo>
                    <a:pt x="112" y="100"/>
                  </a:lnTo>
                  <a:lnTo>
                    <a:pt x="110" y="104"/>
                  </a:lnTo>
                  <a:lnTo>
                    <a:pt x="110" y="108"/>
                  </a:lnTo>
                  <a:lnTo>
                    <a:pt x="108" y="110"/>
                  </a:lnTo>
                  <a:lnTo>
                    <a:pt x="106" y="110"/>
                  </a:lnTo>
                  <a:lnTo>
                    <a:pt x="94" y="120"/>
                  </a:lnTo>
                  <a:lnTo>
                    <a:pt x="92" y="124"/>
                  </a:lnTo>
                  <a:lnTo>
                    <a:pt x="92" y="124"/>
                  </a:lnTo>
                  <a:lnTo>
                    <a:pt x="90" y="126"/>
                  </a:lnTo>
                  <a:lnTo>
                    <a:pt x="86" y="126"/>
                  </a:lnTo>
                  <a:lnTo>
                    <a:pt x="82" y="126"/>
                  </a:lnTo>
                  <a:lnTo>
                    <a:pt x="80" y="128"/>
                  </a:lnTo>
                  <a:lnTo>
                    <a:pt x="64" y="124"/>
                  </a:lnTo>
                  <a:lnTo>
                    <a:pt x="62" y="128"/>
                  </a:lnTo>
                  <a:lnTo>
                    <a:pt x="60" y="130"/>
                  </a:lnTo>
                  <a:lnTo>
                    <a:pt x="56" y="130"/>
                  </a:lnTo>
                  <a:lnTo>
                    <a:pt x="50" y="134"/>
                  </a:lnTo>
                  <a:lnTo>
                    <a:pt x="44" y="134"/>
                  </a:lnTo>
                  <a:lnTo>
                    <a:pt x="40" y="124"/>
                  </a:lnTo>
                  <a:lnTo>
                    <a:pt x="34" y="120"/>
                  </a:lnTo>
                  <a:lnTo>
                    <a:pt x="28" y="118"/>
                  </a:lnTo>
                  <a:lnTo>
                    <a:pt x="28" y="116"/>
                  </a:lnTo>
                  <a:lnTo>
                    <a:pt x="30" y="110"/>
                  </a:lnTo>
                  <a:lnTo>
                    <a:pt x="32" y="108"/>
                  </a:lnTo>
                  <a:lnTo>
                    <a:pt x="30" y="108"/>
                  </a:lnTo>
                  <a:lnTo>
                    <a:pt x="28" y="108"/>
                  </a:lnTo>
                  <a:lnTo>
                    <a:pt x="26" y="106"/>
                  </a:lnTo>
                  <a:lnTo>
                    <a:pt x="26" y="102"/>
                  </a:lnTo>
                  <a:lnTo>
                    <a:pt x="26" y="100"/>
                  </a:lnTo>
                  <a:lnTo>
                    <a:pt x="28" y="96"/>
                  </a:lnTo>
                  <a:lnTo>
                    <a:pt x="30" y="92"/>
                  </a:lnTo>
                  <a:lnTo>
                    <a:pt x="28" y="90"/>
                  </a:lnTo>
                  <a:lnTo>
                    <a:pt x="26" y="86"/>
                  </a:lnTo>
                  <a:lnTo>
                    <a:pt x="26" y="84"/>
                  </a:lnTo>
                  <a:lnTo>
                    <a:pt x="30" y="80"/>
                  </a:lnTo>
                  <a:lnTo>
                    <a:pt x="30" y="76"/>
                  </a:lnTo>
                  <a:lnTo>
                    <a:pt x="30" y="72"/>
                  </a:lnTo>
                  <a:lnTo>
                    <a:pt x="28" y="68"/>
                  </a:lnTo>
                  <a:lnTo>
                    <a:pt x="32" y="64"/>
                  </a:lnTo>
                  <a:lnTo>
                    <a:pt x="34" y="62"/>
                  </a:lnTo>
                  <a:lnTo>
                    <a:pt x="34" y="58"/>
                  </a:lnTo>
                  <a:lnTo>
                    <a:pt x="30" y="50"/>
                  </a:lnTo>
                  <a:lnTo>
                    <a:pt x="28" y="48"/>
                  </a:lnTo>
                  <a:lnTo>
                    <a:pt x="30" y="46"/>
                  </a:lnTo>
                  <a:lnTo>
                    <a:pt x="34" y="42"/>
                  </a:lnTo>
                  <a:lnTo>
                    <a:pt x="36" y="36"/>
                  </a:lnTo>
                  <a:lnTo>
                    <a:pt x="32" y="36"/>
                  </a:lnTo>
                  <a:lnTo>
                    <a:pt x="32" y="34"/>
                  </a:lnTo>
                  <a:lnTo>
                    <a:pt x="28" y="34"/>
                  </a:lnTo>
                  <a:lnTo>
                    <a:pt x="18" y="34"/>
                  </a:lnTo>
                  <a:lnTo>
                    <a:pt x="16" y="34"/>
                  </a:lnTo>
                  <a:lnTo>
                    <a:pt x="16" y="32"/>
                  </a:lnTo>
                  <a:lnTo>
                    <a:pt x="14" y="30"/>
                  </a:lnTo>
                  <a:lnTo>
                    <a:pt x="10" y="32"/>
                  </a:lnTo>
                  <a:lnTo>
                    <a:pt x="8" y="34"/>
                  </a:lnTo>
                  <a:lnTo>
                    <a:pt x="6" y="32"/>
                  </a:lnTo>
                  <a:lnTo>
                    <a:pt x="4" y="32"/>
                  </a:lnTo>
                  <a:lnTo>
                    <a:pt x="6" y="30"/>
                  </a:lnTo>
                  <a:lnTo>
                    <a:pt x="10" y="26"/>
                  </a:lnTo>
                  <a:lnTo>
                    <a:pt x="6" y="24"/>
                  </a:lnTo>
                  <a:lnTo>
                    <a:pt x="6" y="22"/>
                  </a:lnTo>
                  <a:lnTo>
                    <a:pt x="4" y="20"/>
                  </a:lnTo>
                  <a:lnTo>
                    <a:pt x="4" y="20"/>
                  </a:lnTo>
                  <a:lnTo>
                    <a:pt x="4" y="18"/>
                  </a:lnTo>
                  <a:lnTo>
                    <a:pt x="0" y="16"/>
                  </a:lnTo>
                  <a:lnTo>
                    <a:pt x="0" y="14"/>
                  </a:lnTo>
                  <a:lnTo>
                    <a:pt x="2" y="10"/>
                  </a:lnTo>
                  <a:lnTo>
                    <a:pt x="8" y="6"/>
                  </a:lnTo>
                  <a:lnTo>
                    <a:pt x="12" y="8"/>
                  </a:lnTo>
                  <a:lnTo>
                    <a:pt x="16" y="6"/>
                  </a:lnTo>
                  <a:lnTo>
                    <a:pt x="16" y="4"/>
                  </a:lnTo>
                  <a:lnTo>
                    <a:pt x="22" y="2"/>
                  </a:lnTo>
                  <a:lnTo>
                    <a:pt x="26" y="0"/>
                  </a:lnTo>
                  <a:lnTo>
                    <a:pt x="30" y="0"/>
                  </a:lnTo>
                  <a:lnTo>
                    <a:pt x="32" y="2"/>
                  </a:lnTo>
                  <a:lnTo>
                    <a:pt x="36" y="4"/>
                  </a:lnTo>
                  <a:lnTo>
                    <a:pt x="46" y="2"/>
                  </a:lnTo>
                  <a:lnTo>
                    <a:pt x="56" y="4"/>
                  </a:lnTo>
                  <a:lnTo>
                    <a:pt x="64" y="6"/>
                  </a:lnTo>
                  <a:lnTo>
                    <a:pt x="80" y="4"/>
                  </a:lnTo>
                  <a:lnTo>
                    <a:pt x="88" y="6"/>
                  </a:lnTo>
                  <a:lnTo>
                    <a:pt x="90" y="10"/>
                  </a:lnTo>
                  <a:lnTo>
                    <a:pt x="96" y="10"/>
                  </a:lnTo>
                  <a:lnTo>
                    <a:pt x="100" y="10"/>
                  </a:lnTo>
                  <a:lnTo>
                    <a:pt x="102" y="12"/>
                  </a:lnTo>
                  <a:lnTo>
                    <a:pt x="104" y="16"/>
                  </a:lnTo>
                  <a:lnTo>
                    <a:pt x="106" y="18"/>
                  </a:lnTo>
                  <a:lnTo>
                    <a:pt x="108" y="18"/>
                  </a:lnTo>
                  <a:lnTo>
                    <a:pt x="112" y="20"/>
                  </a:lnTo>
                  <a:lnTo>
                    <a:pt x="116" y="20"/>
                  </a:lnTo>
                  <a:lnTo>
                    <a:pt x="120" y="20"/>
                  </a:lnTo>
                  <a:lnTo>
                    <a:pt x="124" y="22"/>
                  </a:lnTo>
                  <a:lnTo>
                    <a:pt x="128" y="20"/>
                  </a:lnTo>
                  <a:lnTo>
                    <a:pt x="130" y="20"/>
                  </a:lnTo>
                  <a:lnTo>
                    <a:pt x="132" y="22"/>
                  </a:lnTo>
                  <a:lnTo>
                    <a:pt x="142" y="24"/>
                  </a:lnTo>
                  <a:lnTo>
                    <a:pt x="144" y="28"/>
                  </a:lnTo>
                  <a:lnTo>
                    <a:pt x="148" y="26"/>
                  </a:lnTo>
                  <a:lnTo>
                    <a:pt x="152" y="26"/>
                  </a:lnTo>
                  <a:lnTo>
                    <a:pt x="156" y="26"/>
                  </a:lnTo>
                  <a:lnTo>
                    <a:pt x="158" y="24"/>
                  </a:lnTo>
                  <a:lnTo>
                    <a:pt x="160" y="22"/>
                  </a:lnTo>
                  <a:lnTo>
                    <a:pt x="164" y="22"/>
                  </a:lnTo>
                  <a:lnTo>
                    <a:pt x="164" y="22"/>
                  </a:lnTo>
                  <a:close/>
                  <a:moveTo>
                    <a:pt x="142" y="78"/>
                  </a:moveTo>
                  <a:lnTo>
                    <a:pt x="142" y="78"/>
                  </a:lnTo>
                  <a:lnTo>
                    <a:pt x="140" y="82"/>
                  </a:lnTo>
                  <a:lnTo>
                    <a:pt x="138" y="84"/>
                  </a:lnTo>
                  <a:lnTo>
                    <a:pt x="140" y="84"/>
                  </a:lnTo>
                  <a:lnTo>
                    <a:pt x="144" y="80"/>
                  </a:lnTo>
                  <a:lnTo>
                    <a:pt x="144" y="78"/>
                  </a:lnTo>
                  <a:lnTo>
                    <a:pt x="142" y="78"/>
                  </a:lnTo>
                  <a:lnTo>
                    <a:pt x="142" y="78"/>
                  </a:lnTo>
                  <a:close/>
                  <a:moveTo>
                    <a:pt x="184" y="68"/>
                  </a:moveTo>
                  <a:lnTo>
                    <a:pt x="184" y="72"/>
                  </a:lnTo>
                  <a:lnTo>
                    <a:pt x="188" y="72"/>
                  </a:lnTo>
                  <a:lnTo>
                    <a:pt x="190" y="72"/>
                  </a:lnTo>
                  <a:lnTo>
                    <a:pt x="190" y="70"/>
                  </a:lnTo>
                  <a:lnTo>
                    <a:pt x="190" y="68"/>
                  </a:lnTo>
                  <a:lnTo>
                    <a:pt x="184" y="68"/>
                  </a:lnTo>
                  <a:lnTo>
                    <a:pt x="184" y="68"/>
                  </a:lnTo>
                  <a:close/>
                  <a:moveTo>
                    <a:pt x="166" y="68"/>
                  </a:moveTo>
                  <a:lnTo>
                    <a:pt x="166" y="68"/>
                  </a:lnTo>
                  <a:lnTo>
                    <a:pt x="162" y="70"/>
                  </a:lnTo>
                  <a:lnTo>
                    <a:pt x="164" y="72"/>
                  </a:lnTo>
                  <a:lnTo>
                    <a:pt x="164" y="74"/>
                  </a:lnTo>
                  <a:lnTo>
                    <a:pt x="164" y="78"/>
                  </a:lnTo>
                  <a:lnTo>
                    <a:pt x="164" y="82"/>
                  </a:lnTo>
                  <a:lnTo>
                    <a:pt x="166" y="82"/>
                  </a:lnTo>
                  <a:lnTo>
                    <a:pt x="170" y="78"/>
                  </a:lnTo>
                  <a:lnTo>
                    <a:pt x="172" y="74"/>
                  </a:lnTo>
                  <a:lnTo>
                    <a:pt x="172" y="72"/>
                  </a:lnTo>
                  <a:lnTo>
                    <a:pt x="166" y="68"/>
                  </a:lnTo>
                  <a:lnTo>
                    <a:pt x="166" y="6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4" name="Freeform 518">
              <a:extLst>
                <a:ext uri="{FF2B5EF4-FFF2-40B4-BE49-F238E27FC236}">
                  <a16:creationId xmlns:a16="http://schemas.microsoft.com/office/drawing/2014/main" id="{09E366DB-6D78-4DF2-9BDB-E2D387E3170B}"/>
                </a:ext>
              </a:extLst>
            </p:cNvPr>
            <p:cNvSpPr>
              <a:spLocks/>
            </p:cNvSpPr>
            <p:nvPr/>
          </p:nvSpPr>
          <p:spPr bwMode="auto">
            <a:xfrm>
              <a:off x="3256841" y="3716432"/>
              <a:ext cx="56971" cy="54382"/>
            </a:xfrm>
            <a:custGeom>
              <a:avLst/>
              <a:gdLst/>
              <a:ahLst/>
              <a:cxnLst>
                <a:cxn ang="0">
                  <a:pos x="6" y="32"/>
                </a:cxn>
                <a:cxn ang="0">
                  <a:pos x="6" y="32"/>
                </a:cxn>
                <a:cxn ang="0">
                  <a:pos x="6" y="34"/>
                </a:cxn>
                <a:cxn ang="0">
                  <a:pos x="6" y="36"/>
                </a:cxn>
                <a:cxn ang="0">
                  <a:pos x="4" y="36"/>
                </a:cxn>
                <a:cxn ang="0">
                  <a:pos x="4" y="40"/>
                </a:cxn>
                <a:cxn ang="0">
                  <a:pos x="2" y="40"/>
                </a:cxn>
                <a:cxn ang="0">
                  <a:pos x="4" y="42"/>
                </a:cxn>
                <a:cxn ang="0">
                  <a:pos x="12" y="40"/>
                </a:cxn>
                <a:cxn ang="0">
                  <a:pos x="16" y="38"/>
                </a:cxn>
                <a:cxn ang="0">
                  <a:pos x="20" y="36"/>
                </a:cxn>
                <a:cxn ang="0">
                  <a:pos x="22" y="32"/>
                </a:cxn>
                <a:cxn ang="0">
                  <a:pos x="20" y="28"/>
                </a:cxn>
                <a:cxn ang="0">
                  <a:pos x="22" y="28"/>
                </a:cxn>
                <a:cxn ang="0">
                  <a:pos x="22" y="28"/>
                </a:cxn>
                <a:cxn ang="0">
                  <a:pos x="24" y="30"/>
                </a:cxn>
                <a:cxn ang="0">
                  <a:pos x="26" y="30"/>
                </a:cxn>
                <a:cxn ang="0">
                  <a:pos x="28" y="30"/>
                </a:cxn>
                <a:cxn ang="0">
                  <a:pos x="30" y="28"/>
                </a:cxn>
                <a:cxn ang="0">
                  <a:pos x="32" y="20"/>
                </a:cxn>
                <a:cxn ang="0">
                  <a:pos x="34" y="18"/>
                </a:cxn>
                <a:cxn ang="0">
                  <a:pos x="36" y="18"/>
                </a:cxn>
                <a:cxn ang="0">
                  <a:pos x="38" y="18"/>
                </a:cxn>
                <a:cxn ang="0">
                  <a:pos x="40" y="14"/>
                </a:cxn>
                <a:cxn ang="0">
                  <a:pos x="42" y="12"/>
                </a:cxn>
                <a:cxn ang="0">
                  <a:pos x="44" y="10"/>
                </a:cxn>
                <a:cxn ang="0">
                  <a:pos x="44" y="6"/>
                </a:cxn>
                <a:cxn ang="0">
                  <a:pos x="42" y="2"/>
                </a:cxn>
                <a:cxn ang="0">
                  <a:pos x="42" y="0"/>
                </a:cxn>
                <a:cxn ang="0">
                  <a:pos x="36" y="4"/>
                </a:cxn>
                <a:cxn ang="0">
                  <a:pos x="34" y="4"/>
                </a:cxn>
                <a:cxn ang="0">
                  <a:pos x="30" y="2"/>
                </a:cxn>
                <a:cxn ang="0">
                  <a:pos x="26" y="4"/>
                </a:cxn>
                <a:cxn ang="0">
                  <a:pos x="22" y="6"/>
                </a:cxn>
                <a:cxn ang="0">
                  <a:pos x="20" y="10"/>
                </a:cxn>
                <a:cxn ang="0">
                  <a:pos x="14" y="8"/>
                </a:cxn>
                <a:cxn ang="0">
                  <a:pos x="8" y="8"/>
                </a:cxn>
                <a:cxn ang="0">
                  <a:pos x="8" y="10"/>
                </a:cxn>
                <a:cxn ang="0">
                  <a:pos x="6" y="12"/>
                </a:cxn>
                <a:cxn ang="0">
                  <a:pos x="2" y="12"/>
                </a:cxn>
                <a:cxn ang="0">
                  <a:pos x="0" y="16"/>
                </a:cxn>
                <a:cxn ang="0">
                  <a:pos x="0" y="20"/>
                </a:cxn>
                <a:cxn ang="0">
                  <a:pos x="2" y="22"/>
                </a:cxn>
                <a:cxn ang="0">
                  <a:pos x="4" y="22"/>
                </a:cxn>
                <a:cxn ang="0">
                  <a:pos x="6" y="26"/>
                </a:cxn>
                <a:cxn ang="0">
                  <a:pos x="4" y="28"/>
                </a:cxn>
                <a:cxn ang="0">
                  <a:pos x="4" y="30"/>
                </a:cxn>
                <a:cxn ang="0">
                  <a:pos x="6" y="30"/>
                </a:cxn>
                <a:cxn ang="0">
                  <a:pos x="6" y="32"/>
                </a:cxn>
                <a:cxn ang="0">
                  <a:pos x="6" y="32"/>
                </a:cxn>
              </a:cxnLst>
              <a:rect l="0" t="0" r="r" b="b"/>
              <a:pathLst>
                <a:path w="44" h="42">
                  <a:moveTo>
                    <a:pt x="6" y="32"/>
                  </a:moveTo>
                  <a:lnTo>
                    <a:pt x="6" y="32"/>
                  </a:lnTo>
                  <a:lnTo>
                    <a:pt x="6" y="34"/>
                  </a:lnTo>
                  <a:lnTo>
                    <a:pt x="6" y="36"/>
                  </a:lnTo>
                  <a:lnTo>
                    <a:pt x="4" y="36"/>
                  </a:lnTo>
                  <a:lnTo>
                    <a:pt x="4" y="40"/>
                  </a:lnTo>
                  <a:lnTo>
                    <a:pt x="2" y="40"/>
                  </a:lnTo>
                  <a:lnTo>
                    <a:pt x="4" y="42"/>
                  </a:lnTo>
                  <a:lnTo>
                    <a:pt x="12" y="40"/>
                  </a:lnTo>
                  <a:lnTo>
                    <a:pt x="16" y="38"/>
                  </a:lnTo>
                  <a:lnTo>
                    <a:pt x="20" y="36"/>
                  </a:lnTo>
                  <a:lnTo>
                    <a:pt x="22" y="32"/>
                  </a:lnTo>
                  <a:lnTo>
                    <a:pt x="20" y="28"/>
                  </a:lnTo>
                  <a:lnTo>
                    <a:pt x="22" y="28"/>
                  </a:lnTo>
                  <a:lnTo>
                    <a:pt x="22" y="28"/>
                  </a:lnTo>
                  <a:lnTo>
                    <a:pt x="24" y="30"/>
                  </a:lnTo>
                  <a:lnTo>
                    <a:pt x="26" y="30"/>
                  </a:lnTo>
                  <a:lnTo>
                    <a:pt x="28" y="30"/>
                  </a:lnTo>
                  <a:lnTo>
                    <a:pt x="30" y="28"/>
                  </a:lnTo>
                  <a:lnTo>
                    <a:pt x="32" y="20"/>
                  </a:lnTo>
                  <a:lnTo>
                    <a:pt x="34" y="18"/>
                  </a:lnTo>
                  <a:lnTo>
                    <a:pt x="36" y="18"/>
                  </a:lnTo>
                  <a:lnTo>
                    <a:pt x="38" y="18"/>
                  </a:lnTo>
                  <a:lnTo>
                    <a:pt x="40" y="14"/>
                  </a:lnTo>
                  <a:lnTo>
                    <a:pt x="42" y="12"/>
                  </a:lnTo>
                  <a:lnTo>
                    <a:pt x="44" y="10"/>
                  </a:lnTo>
                  <a:lnTo>
                    <a:pt x="44" y="6"/>
                  </a:lnTo>
                  <a:lnTo>
                    <a:pt x="42" y="2"/>
                  </a:lnTo>
                  <a:lnTo>
                    <a:pt x="42" y="0"/>
                  </a:lnTo>
                  <a:lnTo>
                    <a:pt x="36" y="4"/>
                  </a:lnTo>
                  <a:lnTo>
                    <a:pt x="34" y="4"/>
                  </a:lnTo>
                  <a:lnTo>
                    <a:pt x="30" y="2"/>
                  </a:lnTo>
                  <a:lnTo>
                    <a:pt x="26" y="4"/>
                  </a:lnTo>
                  <a:lnTo>
                    <a:pt x="22" y="6"/>
                  </a:lnTo>
                  <a:lnTo>
                    <a:pt x="20" y="10"/>
                  </a:lnTo>
                  <a:lnTo>
                    <a:pt x="14" y="8"/>
                  </a:lnTo>
                  <a:lnTo>
                    <a:pt x="8" y="8"/>
                  </a:lnTo>
                  <a:lnTo>
                    <a:pt x="8" y="10"/>
                  </a:lnTo>
                  <a:lnTo>
                    <a:pt x="6" y="12"/>
                  </a:lnTo>
                  <a:lnTo>
                    <a:pt x="2" y="12"/>
                  </a:lnTo>
                  <a:lnTo>
                    <a:pt x="0" y="16"/>
                  </a:lnTo>
                  <a:lnTo>
                    <a:pt x="0" y="20"/>
                  </a:lnTo>
                  <a:lnTo>
                    <a:pt x="2" y="22"/>
                  </a:lnTo>
                  <a:lnTo>
                    <a:pt x="4" y="22"/>
                  </a:lnTo>
                  <a:lnTo>
                    <a:pt x="6" y="26"/>
                  </a:lnTo>
                  <a:lnTo>
                    <a:pt x="4" y="28"/>
                  </a:lnTo>
                  <a:lnTo>
                    <a:pt x="4" y="30"/>
                  </a:lnTo>
                  <a:lnTo>
                    <a:pt x="6" y="30"/>
                  </a:lnTo>
                  <a:lnTo>
                    <a:pt x="6" y="32"/>
                  </a:lnTo>
                  <a:lnTo>
                    <a:pt x="6" y="3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5" name="Freeform 519">
              <a:extLst>
                <a:ext uri="{FF2B5EF4-FFF2-40B4-BE49-F238E27FC236}">
                  <a16:creationId xmlns:a16="http://schemas.microsoft.com/office/drawing/2014/main" id="{75C224F6-3CEC-4069-AF0D-A3BFA995E2A0}"/>
                </a:ext>
              </a:extLst>
            </p:cNvPr>
            <p:cNvSpPr>
              <a:spLocks/>
            </p:cNvSpPr>
            <p:nvPr/>
          </p:nvSpPr>
          <p:spPr bwMode="auto">
            <a:xfrm>
              <a:off x="3316402" y="3651691"/>
              <a:ext cx="121712" cy="49203"/>
            </a:xfrm>
            <a:custGeom>
              <a:avLst/>
              <a:gdLst/>
              <a:ahLst/>
              <a:cxnLst>
                <a:cxn ang="0">
                  <a:pos x="94" y="24"/>
                </a:cxn>
                <a:cxn ang="0">
                  <a:pos x="90" y="24"/>
                </a:cxn>
                <a:cxn ang="0">
                  <a:pos x="88" y="30"/>
                </a:cxn>
                <a:cxn ang="0">
                  <a:pos x="86" y="30"/>
                </a:cxn>
                <a:cxn ang="0">
                  <a:pos x="82" y="28"/>
                </a:cxn>
                <a:cxn ang="0">
                  <a:pos x="80" y="26"/>
                </a:cxn>
                <a:cxn ang="0">
                  <a:pos x="78" y="26"/>
                </a:cxn>
                <a:cxn ang="0">
                  <a:pos x="72" y="28"/>
                </a:cxn>
                <a:cxn ang="0">
                  <a:pos x="66" y="28"/>
                </a:cxn>
                <a:cxn ang="0">
                  <a:pos x="60" y="28"/>
                </a:cxn>
                <a:cxn ang="0">
                  <a:pos x="56" y="32"/>
                </a:cxn>
                <a:cxn ang="0">
                  <a:pos x="56" y="32"/>
                </a:cxn>
                <a:cxn ang="0">
                  <a:pos x="54" y="34"/>
                </a:cxn>
                <a:cxn ang="0">
                  <a:pos x="52" y="32"/>
                </a:cxn>
                <a:cxn ang="0">
                  <a:pos x="50" y="32"/>
                </a:cxn>
                <a:cxn ang="0">
                  <a:pos x="50" y="30"/>
                </a:cxn>
                <a:cxn ang="0">
                  <a:pos x="48" y="30"/>
                </a:cxn>
                <a:cxn ang="0">
                  <a:pos x="40" y="32"/>
                </a:cxn>
                <a:cxn ang="0">
                  <a:pos x="34" y="34"/>
                </a:cxn>
                <a:cxn ang="0">
                  <a:pos x="34" y="38"/>
                </a:cxn>
                <a:cxn ang="0">
                  <a:pos x="28" y="38"/>
                </a:cxn>
                <a:cxn ang="0">
                  <a:pos x="20" y="36"/>
                </a:cxn>
                <a:cxn ang="0">
                  <a:pos x="16" y="36"/>
                </a:cxn>
                <a:cxn ang="0">
                  <a:pos x="10" y="34"/>
                </a:cxn>
                <a:cxn ang="0">
                  <a:pos x="6" y="32"/>
                </a:cxn>
                <a:cxn ang="0">
                  <a:pos x="4" y="26"/>
                </a:cxn>
                <a:cxn ang="0">
                  <a:pos x="0" y="24"/>
                </a:cxn>
                <a:cxn ang="0">
                  <a:pos x="0" y="24"/>
                </a:cxn>
                <a:cxn ang="0">
                  <a:pos x="4" y="20"/>
                </a:cxn>
                <a:cxn ang="0">
                  <a:pos x="4" y="18"/>
                </a:cxn>
                <a:cxn ang="0">
                  <a:pos x="6" y="16"/>
                </a:cxn>
                <a:cxn ang="0">
                  <a:pos x="10" y="14"/>
                </a:cxn>
                <a:cxn ang="0">
                  <a:pos x="12" y="12"/>
                </a:cxn>
                <a:cxn ang="0">
                  <a:pos x="12" y="10"/>
                </a:cxn>
                <a:cxn ang="0">
                  <a:pos x="12" y="8"/>
                </a:cxn>
                <a:cxn ang="0">
                  <a:pos x="20" y="6"/>
                </a:cxn>
                <a:cxn ang="0">
                  <a:pos x="26" y="6"/>
                </a:cxn>
                <a:cxn ang="0">
                  <a:pos x="30" y="4"/>
                </a:cxn>
                <a:cxn ang="0">
                  <a:pos x="34" y="6"/>
                </a:cxn>
                <a:cxn ang="0">
                  <a:pos x="40" y="10"/>
                </a:cxn>
                <a:cxn ang="0">
                  <a:pos x="46" y="12"/>
                </a:cxn>
                <a:cxn ang="0">
                  <a:pos x="48" y="12"/>
                </a:cxn>
                <a:cxn ang="0">
                  <a:pos x="50" y="10"/>
                </a:cxn>
                <a:cxn ang="0">
                  <a:pos x="52" y="8"/>
                </a:cxn>
                <a:cxn ang="0">
                  <a:pos x="54" y="8"/>
                </a:cxn>
                <a:cxn ang="0">
                  <a:pos x="56" y="6"/>
                </a:cxn>
                <a:cxn ang="0">
                  <a:pos x="60" y="4"/>
                </a:cxn>
                <a:cxn ang="0">
                  <a:pos x="64" y="2"/>
                </a:cxn>
                <a:cxn ang="0">
                  <a:pos x="66" y="0"/>
                </a:cxn>
                <a:cxn ang="0">
                  <a:pos x="70" y="0"/>
                </a:cxn>
                <a:cxn ang="0">
                  <a:pos x="74" y="4"/>
                </a:cxn>
                <a:cxn ang="0">
                  <a:pos x="78" y="6"/>
                </a:cxn>
                <a:cxn ang="0">
                  <a:pos x="80" y="6"/>
                </a:cxn>
                <a:cxn ang="0">
                  <a:pos x="82" y="8"/>
                </a:cxn>
                <a:cxn ang="0">
                  <a:pos x="86" y="12"/>
                </a:cxn>
                <a:cxn ang="0">
                  <a:pos x="88" y="14"/>
                </a:cxn>
                <a:cxn ang="0">
                  <a:pos x="88" y="18"/>
                </a:cxn>
                <a:cxn ang="0">
                  <a:pos x="92" y="22"/>
                </a:cxn>
                <a:cxn ang="0">
                  <a:pos x="94" y="24"/>
                </a:cxn>
                <a:cxn ang="0">
                  <a:pos x="94" y="24"/>
                </a:cxn>
              </a:cxnLst>
              <a:rect l="0" t="0" r="r" b="b"/>
              <a:pathLst>
                <a:path w="94" h="38">
                  <a:moveTo>
                    <a:pt x="94" y="24"/>
                  </a:moveTo>
                  <a:lnTo>
                    <a:pt x="90" y="24"/>
                  </a:lnTo>
                  <a:lnTo>
                    <a:pt x="88" y="30"/>
                  </a:lnTo>
                  <a:lnTo>
                    <a:pt x="86" y="30"/>
                  </a:lnTo>
                  <a:lnTo>
                    <a:pt x="82" y="28"/>
                  </a:lnTo>
                  <a:lnTo>
                    <a:pt x="80" y="26"/>
                  </a:lnTo>
                  <a:lnTo>
                    <a:pt x="78" y="26"/>
                  </a:lnTo>
                  <a:lnTo>
                    <a:pt x="72" y="28"/>
                  </a:lnTo>
                  <a:lnTo>
                    <a:pt x="66" y="28"/>
                  </a:lnTo>
                  <a:lnTo>
                    <a:pt x="60" y="28"/>
                  </a:lnTo>
                  <a:lnTo>
                    <a:pt x="56" y="32"/>
                  </a:lnTo>
                  <a:lnTo>
                    <a:pt x="56" y="32"/>
                  </a:lnTo>
                  <a:lnTo>
                    <a:pt x="54" y="34"/>
                  </a:lnTo>
                  <a:lnTo>
                    <a:pt x="52" y="32"/>
                  </a:lnTo>
                  <a:lnTo>
                    <a:pt x="50" y="32"/>
                  </a:lnTo>
                  <a:lnTo>
                    <a:pt x="50" y="30"/>
                  </a:lnTo>
                  <a:lnTo>
                    <a:pt x="48" y="30"/>
                  </a:lnTo>
                  <a:lnTo>
                    <a:pt x="40" y="32"/>
                  </a:lnTo>
                  <a:lnTo>
                    <a:pt x="34" y="34"/>
                  </a:lnTo>
                  <a:lnTo>
                    <a:pt x="34" y="38"/>
                  </a:lnTo>
                  <a:lnTo>
                    <a:pt x="28" y="38"/>
                  </a:lnTo>
                  <a:lnTo>
                    <a:pt x="20" y="36"/>
                  </a:lnTo>
                  <a:lnTo>
                    <a:pt x="16" y="36"/>
                  </a:lnTo>
                  <a:lnTo>
                    <a:pt x="10" y="34"/>
                  </a:lnTo>
                  <a:lnTo>
                    <a:pt x="6" y="32"/>
                  </a:lnTo>
                  <a:lnTo>
                    <a:pt x="4" y="26"/>
                  </a:lnTo>
                  <a:lnTo>
                    <a:pt x="0" y="24"/>
                  </a:lnTo>
                  <a:lnTo>
                    <a:pt x="0" y="24"/>
                  </a:lnTo>
                  <a:lnTo>
                    <a:pt x="4" y="20"/>
                  </a:lnTo>
                  <a:lnTo>
                    <a:pt x="4" y="18"/>
                  </a:lnTo>
                  <a:lnTo>
                    <a:pt x="6" y="16"/>
                  </a:lnTo>
                  <a:lnTo>
                    <a:pt x="10" y="14"/>
                  </a:lnTo>
                  <a:lnTo>
                    <a:pt x="12" y="12"/>
                  </a:lnTo>
                  <a:lnTo>
                    <a:pt x="12" y="10"/>
                  </a:lnTo>
                  <a:lnTo>
                    <a:pt x="12" y="8"/>
                  </a:lnTo>
                  <a:lnTo>
                    <a:pt x="20" y="6"/>
                  </a:lnTo>
                  <a:lnTo>
                    <a:pt x="26" y="6"/>
                  </a:lnTo>
                  <a:lnTo>
                    <a:pt x="30" y="4"/>
                  </a:lnTo>
                  <a:lnTo>
                    <a:pt x="34" y="6"/>
                  </a:lnTo>
                  <a:lnTo>
                    <a:pt x="40" y="10"/>
                  </a:lnTo>
                  <a:lnTo>
                    <a:pt x="46" y="12"/>
                  </a:lnTo>
                  <a:lnTo>
                    <a:pt x="48" y="12"/>
                  </a:lnTo>
                  <a:lnTo>
                    <a:pt x="50" y="10"/>
                  </a:lnTo>
                  <a:lnTo>
                    <a:pt x="52" y="8"/>
                  </a:lnTo>
                  <a:lnTo>
                    <a:pt x="54" y="8"/>
                  </a:lnTo>
                  <a:lnTo>
                    <a:pt x="56" y="6"/>
                  </a:lnTo>
                  <a:lnTo>
                    <a:pt x="60" y="4"/>
                  </a:lnTo>
                  <a:lnTo>
                    <a:pt x="64" y="2"/>
                  </a:lnTo>
                  <a:lnTo>
                    <a:pt x="66" y="0"/>
                  </a:lnTo>
                  <a:lnTo>
                    <a:pt x="70" y="0"/>
                  </a:lnTo>
                  <a:lnTo>
                    <a:pt x="74" y="4"/>
                  </a:lnTo>
                  <a:lnTo>
                    <a:pt x="78" y="6"/>
                  </a:lnTo>
                  <a:lnTo>
                    <a:pt x="80" y="6"/>
                  </a:lnTo>
                  <a:lnTo>
                    <a:pt x="82" y="8"/>
                  </a:lnTo>
                  <a:lnTo>
                    <a:pt x="86" y="12"/>
                  </a:lnTo>
                  <a:lnTo>
                    <a:pt x="88" y="14"/>
                  </a:lnTo>
                  <a:lnTo>
                    <a:pt x="88" y="18"/>
                  </a:lnTo>
                  <a:lnTo>
                    <a:pt x="92" y="22"/>
                  </a:lnTo>
                  <a:lnTo>
                    <a:pt x="94" y="24"/>
                  </a:lnTo>
                  <a:lnTo>
                    <a:pt x="94" y="2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6" name="Freeform 520">
              <a:extLst>
                <a:ext uri="{FF2B5EF4-FFF2-40B4-BE49-F238E27FC236}">
                  <a16:creationId xmlns:a16="http://schemas.microsoft.com/office/drawing/2014/main" id="{665CA864-E98E-48D7-961D-B4807B1ED831}"/>
                </a:ext>
              </a:extLst>
            </p:cNvPr>
            <p:cNvSpPr>
              <a:spLocks/>
            </p:cNvSpPr>
            <p:nvPr/>
          </p:nvSpPr>
          <p:spPr bwMode="auto">
            <a:xfrm>
              <a:off x="2876168" y="3840733"/>
              <a:ext cx="49203" cy="119122"/>
            </a:xfrm>
            <a:custGeom>
              <a:avLst/>
              <a:gdLst/>
              <a:ahLst/>
              <a:cxnLst>
                <a:cxn ang="0">
                  <a:pos x="30" y="88"/>
                </a:cxn>
                <a:cxn ang="0">
                  <a:pos x="32" y="80"/>
                </a:cxn>
                <a:cxn ang="0">
                  <a:pos x="32" y="78"/>
                </a:cxn>
                <a:cxn ang="0">
                  <a:pos x="28" y="76"/>
                </a:cxn>
                <a:cxn ang="0">
                  <a:pos x="28" y="70"/>
                </a:cxn>
                <a:cxn ang="0">
                  <a:pos x="32" y="62"/>
                </a:cxn>
                <a:cxn ang="0">
                  <a:pos x="28" y="56"/>
                </a:cxn>
                <a:cxn ang="0">
                  <a:pos x="32" y="50"/>
                </a:cxn>
                <a:cxn ang="0">
                  <a:pos x="32" y="42"/>
                </a:cxn>
                <a:cxn ang="0">
                  <a:pos x="34" y="34"/>
                </a:cxn>
                <a:cxn ang="0">
                  <a:pos x="36" y="28"/>
                </a:cxn>
                <a:cxn ang="0">
                  <a:pos x="30" y="18"/>
                </a:cxn>
                <a:cxn ang="0">
                  <a:pos x="36" y="12"/>
                </a:cxn>
                <a:cxn ang="0">
                  <a:pos x="34" y="6"/>
                </a:cxn>
                <a:cxn ang="0">
                  <a:pos x="30" y="4"/>
                </a:cxn>
                <a:cxn ang="0">
                  <a:pos x="18" y="4"/>
                </a:cxn>
                <a:cxn ang="0">
                  <a:pos x="16" y="0"/>
                </a:cxn>
                <a:cxn ang="0">
                  <a:pos x="10" y="4"/>
                </a:cxn>
                <a:cxn ang="0">
                  <a:pos x="12" y="24"/>
                </a:cxn>
                <a:cxn ang="0">
                  <a:pos x="8" y="34"/>
                </a:cxn>
                <a:cxn ang="0">
                  <a:pos x="8" y="38"/>
                </a:cxn>
                <a:cxn ang="0">
                  <a:pos x="6" y="46"/>
                </a:cxn>
                <a:cxn ang="0">
                  <a:pos x="2" y="50"/>
                </a:cxn>
                <a:cxn ang="0">
                  <a:pos x="0" y="54"/>
                </a:cxn>
                <a:cxn ang="0">
                  <a:pos x="4" y="60"/>
                </a:cxn>
                <a:cxn ang="0">
                  <a:pos x="6" y="56"/>
                </a:cxn>
                <a:cxn ang="0">
                  <a:pos x="4" y="62"/>
                </a:cxn>
                <a:cxn ang="0">
                  <a:pos x="6" y="64"/>
                </a:cxn>
                <a:cxn ang="0">
                  <a:pos x="8" y="72"/>
                </a:cxn>
                <a:cxn ang="0">
                  <a:pos x="8" y="76"/>
                </a:cxn>
                <a:cxn ang="0">
                  <a:pos x="10" y="88"/>
                </a:cxn>
                <a:cxn ang="0">
                  <a:pos x="18" y="92"/>
                </a:cxn>
                <a:cxn ang="0">
                  <a:pos x="26" y="90"/>
                </a:cxn>
                <a:cxn ang="0">
                  <a:pos x="30" y="88"/>
                </a:cxn>
              </a:cxnLst>
              <a:rect l="0" t="0" r="r" b="b"/>
              <a:pathLst>
                <a:path w="38" h="92">
                  <a:moveTo>
                    <a:pt x="30" y="88"/>
                  </a:moveTo>
                  <a:lnTo>
                    <a:pt x="30" y="88"/>
                  </a:lnTo>
                  <a:lnTo>
                    <a:pt x="30" y="86"/>
                  </a:lnTo>
                  <a:lnTo>
                    <a:pt x="32" y="80"/>
                  </a:lnTo>
                  <a:lnTo>
                    <a:pt x="34" y="78"/>
                  </a:lnTo>
                  <a:lnTo>
                    <a:pt x="32" y="78"/>
                  </a:lnTo>
                  <a:lnTo>
                    <a:pt x="30" y="78"/>
                  </a:lnTo>
                  <a:lnTo>
                    <a:pt x="28" y="76"/>
                  </a:lnTo>
                  <a:lnTo>
                    <a:pt x="28" y="72"/>
                  </a:lnTo>
                  <a:lnTo>
                    <a:pt x="28" y="70"/>
                  </a:lnTo>
                  <a:lnTo>
                    <a:pt x="30" y="66"/>
                  </a:lnTo>
                  <a:lnTo>
                    <a:pt x="32" y="62"/>
                  </a:lnTo>
                  <a:lnTo>
                    <a:pt x="30" y="60"/>
                  </a:lnTo>
                  <a:lnTo>
                    <a:pt x="28" y="56"/>
                  </a:lnTo>
                  <a:lnTo>
                    <a:pt x="28" y="54"/>
                  </a:lnTo>
                  <a:lnTo>
                    <a:pt x="32" y="50"/>
                  </a:lnTo>
                  <a:lnTo>
                    <a:pt x="32" y="46"/>
                  </a:lnTo>
                  <a:lnTo>
                    <a:pt x="32" y="42"/>
                  </a:lnTo>
                  <a:lnTo>
                    <a:pt x="30" y="38"/>
                  </a:lnTo>
                  <a:lnTo>
                    <a:pt x="34" y="34"/>
                  </a:lnTo>
                  <a:lnTo>
                    <a:pt x="36" y="32"/>
                  </a:lnTo>
                  <a:lnTo>
                    <a:pt x="36" y="28"/>
                  </a:lnTo>
                  <a:lnTo>
                    <a:pt x="32" y="20"/>
                  </a:lnTo>
                  <a:lnTo>
                    <a:pt x="30" y="18"/>
                  </a:lnTo>
                  <a:lnTo>
                    <a:pt x="32" y="16"/>
                  </a:lnTo>
                  <a:lnTo>
                    <a:pt x="36" y="12"/>
                  </a:lnTo>
                  <a:lnTo>
                    <a:pt x="38" y="6"/>
                  </a:lnTo>
                  <a:lnTo>
                    <a:pt x="34" y="6"/>
                  </a:lnTo>
                  <a:lnTo>
                    <a:pt x="34" y="4"/>
                  </a:lnTo>
                  <a:lnTo>
                    <a:pt x="30" y="4"/>
                  </a:lnTo>
                  <a:lnTo>
                    <a:pt x="20" y="4"/>
                  </a:lnTo>
                  <a:lnTo>
                    <a:pt x="18" y="4"/>
                  </a:lnTo>
                  <a:lnTo>
                    <a:pt x="18" y="2"/>
                  </a:lnTo>
                  <a:lnTo>
                    <a:pt x="16" y="0"/>
                  </a:lnTo>
                  <a:lnTo>
                    <a:pt x="12" y="2"/>
                  </a:lnTo>
                  <a:lnTo>
                    <a:pt x="10" y="4"/>
                  </a:lnTo>
                  <a:lnTo>
                    <a:pt x="12" y="16"/>
                  </a:lnTo>
                  <a:lnTo>
                    <a:pt x="12" y="24"/>
                  </a:lnTo>
                  <a:lnTo>
                    <a:pt x="12" y="30"/>
                  </a:lnTo>
                  <a:lnTo>
                    <a:pt x="8" y="34"/>
                  </a:lnTo>
                  <a:lnTo>
                    <a:pt x="8" y="36"/>
                  </a:lnTo>
                  <a:lnTo>
                    <a:pt x="8" y="38"/>
                  </a:lnTo>
                  <a:lnTo>
                    <a:pt x="6" y="42"/>
                  </a:lnTo>
                  <a:lnTo>
                    <a:pt x="6" y="46"/>
                  </a:lnTo>
                  <a:lnTo>
                    <a:pt x="2" y="46"/>
                  </a:lnTo>
                  <a:lnTo>
                    <a:pt x="2" y="50"/>
                  </a:lnTo>
                  <a:lnTo>
                    <a:pt x="2" y="52"/>
                  </a:lnTo>
                  <a:lnTo>
                    <a:pt x="0" y="54"/>
                  </a:lnTo>
                  <a:lnTo>
                    <a:pt x="2" y="56"/>
                  </a:lnTo>
                  <a:lnTo>
                    <a:pt x="4" y="60"/>
                  </a:lnTo>
                  <a:lnTo>
                    <a:pt x="4" y="58"/>
                  </a:lnTo>
                  <a:lnTo>
                    <a:pt x="6" y="56"/>
                  </a:lnTo>
                  <a:lnTo>
                    <a:pt x="6" y="60"/>
                  </a:lnTo>
                  <a:lnTo>
                    <a:pt x="4" y="62"/>
                  </a:lnTo>
                  <a:lnTo>
                    <a:pt x="4" y="64"/>
                  </a:lnTo>
                  <a:lnTo>
                    <a:pt x="6" y="64"/>
                  </a:lnTo>
                  <a:lnTo>
                    <a:pt x="6" y="70"/>
                  </a:lnTo>
                  <a:lnTo>
                    <a:pt x="8" y="72"/>
                  </a:lnTo>
                  <a:lnTo>
                    <a:pt x="8" y="74"/>
                  </a:lnTo>
                  <a:lnTo>
                    <a:pt x="8" y="76"/>
                  </a:lnTo>
                  <a:lnTo>
                    <a:pt x="6" y="90"/>
                  </a:lnTo>
                  <a:lnTo>
                    <a:pt x="10" y="88"/>
                  </a:lnTo>
                  <a:lnTo>
                    <a:pt x="18" y="90"/>
                  </a:lnTo>
                  <a:lnTo>
                    <a:pt x="18" y="92"/>
                  </a:lnTo>
                  <a:lnTo>
                    <a:pt x="22" y="92"/>
                  </a:lnTo>
                  <a:lnTo>
                    <a:pt x="26" y="90"/>
                  </a:lnTo>
                  <a:lnTo>
                    <a:pt x="30" y="88"/>
                  </a:lnTo>
                  <a:lnTo>
                    <a:pt x="30" y="8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7" name="Freeform 521">
              <a:extLst>
                <a:ext uri="{FF2B5EF4-FFF2-40B4-BE49-F238E27FC236}">
                  <a16:creationId xmlns:a16="http://schemas.microsoft.com/office/drawing/2014/main" id="{2DEFBB0A-8FE9-4926-AD01-BF188A37A198}"/>
                </a:ext>
              </a:extLst>
            </p:cNvPr>
            <p:cNvSpPr>
              <a:spLocks/>
            </p:cNvSpPr>
            <p:nvPr/>
          </p:nvSpPr>
          <p:spPr bwMode="auto">
            <a:xfrm>
              <a:off x="3274968" y="3527390"/>
              <a:ext cx="178683" cy="152787"/>
            </a:xfrm>
            <a:custGeom>
              <a:avLst/>
              <a:gdLst/>
              <a:ahLst/>
              <a:cxnLst>
                <a:cxn ang="0">
                  <a:pos x="72" y="10"/>
                </a:cxn>
                <a:cxn ang="0">
                  <a:pos x="70" y="6"/>
                </a:cxn>
                <a:cxn ang="0">
                  <a:pos x="64" y="8"/>
                </a:cxn>
                <a:cxn ang="0">
                  <a:pos x="58" y="8"/>
                </a:cxn>
                <a:cxn ang="0">
                  <a:pos x="56" y="4"/>
                </a:cxn>
                <a:cxn ang="0">
                  <a:pos x="60" y="4"/>
                </a:cxn>
                <a:cxn ang="0">
                  <a:pos x="58" y="2"/>
                </a:cxn>
                <a:cxn ang="0">
                  <a:pos x="42" y="4"/>
                </a:cxn>
                <a:cxn ang="0">
                  <a:pos x="32" y="8"/>
                </a:cxn>
                <a:cxn ang="0">
                  <a:pos x="26" y="12"/>
                </a:cxn>
                <a:cxn ang="0">
                  <a:pos x="24" y="12"/>
                </a:cxn>
                <a:cxn ang="0">
                  <a:pos x="8" y="16"/>
                </a:cxn>
                <a:cxn ang="0">
                  <a:pos x="2" y="22"/>
                </a:cxn>
                <a:cxn ang="0">
                  <a:pos x="0" y="34"/>
                </a:cxn>
                <a:cxn ang="0">
                  <a:pos x="4" y="40"/>
                </a:cxn>
                <a:cxn ang="0">
                  <a:pos x="4" y="52"/>
                </a:cxn>
                <a:cxn ang="0">
                  <a:pos x="6" y="74"/>
                </a:cxn>
                <a:cxn ang="0">
                  <a:pos x="18" y="76"/>
                </a:cxn>
                <a:cxn ang="0">
                  <a:pos x="20" y="80"/>
                </a:cxn>
                <a:cxn ang="0">
                  <a:pos x="24" y="80"/>
                </a:cxn>
                <a:cxn ang="0">
                  <a:pos x="26" y="82"/>
                </a:cxn>
                <a:cxn ang="0">
                  <a:pos x="36" y="88"/>
                </a:cxn>
                <a:cxn ang="0">
                  <a:pos x="42" y="88"/>
                </a:cxn>
                <a:cxn ang="0">
                  <a:pos x="46" y="92"/>
                </a:cxn>
                <a:cxn ang="0">
                  <a:pos x="48" y="94"/>
                </a:cxn>
                <a:cxn ang="0">
                  <a:pos x="52" y="102"/>
                </a:cxn>
                <a:cxn ang="0">
                  <a:pos x="62" y="100"/>
                </a:cxn>
                <a:cxn ang="0">
                  <a:pos x="72" y="106"/>
                </a:cxn>
                <a:cxn ang="0">
                  <a:pos x="80" y="108"/>
                </a:cxn>
                <a:cxn ang="0">
                  <a:pos x="82" y="104"/>
                </a:cxn>
                <a:cxn ang="0">
                  <a:pos x="88" y="102"/>
                </a:cxn>
                <a:cxn ang="0">
                  <a:pos x="96" y="98"/>
                </a:cxn>
                <a:cxn ang="0">
                  <a:pos x="102" y="96"/>
                </a:cxn>
                <a:cxn ang="0">
                  <a:pos x="110" y="102"/>
                </a:cxn>
                <a:cxn ang="0">
                  <a:pos x="114" y="104"/>
                </a:cxn>
                <a:cxn ang="0">
                  <a:pos x="120" y="110"/>
                </a:cxn>
                <a:cxn ang="0">
                  <a:pos x="124" y="116"/>
                </a:cxn>
                <a:cxn ang="0">
                  <a:pos x="130" y="116"/>
                </a:cxn>
                <a:cxn ang="0">
                  <a:pos x="134" y="114"/>
                </a:cxn>
                <a:cxn ang="0">
                  <a:pos x="132" y="106"/>
                </a:cxn>
                <a:cxn ang="0">
                  <a:pos x="134" y="96"/>
                </a:cxn>
                <a:cxn ang="0">
                  <a:pos x="136" y="84"/>
                </a:cxn>
                <a:cxn ang="0">
                  <a:pos x="134" y="78"/>
                </a:cxn>
                <a:cxn ang="0">
                  <a:pos x="136" y="68"/>
                </a:cxn>
                <a:cxn ang="0">
                  <a:pos x="136" y="64"/>
                </a:cxn>
                <a:cxn ang="0">
                  <a:pos x="134" y="56"/>
                </a:cxn>
                <a:cxn ang="0">
                  <a:pos x="134" y="46"/>
                </a:cxn>
                <a:cxn ang="0">
                  <a:pos x="138" y="36"/>
                </a:cxn>
                <a:cxn ang="0">
                  <a:pos x="136" y="30"/>
                </a:cxn>
                <a:cxn ang="0">
                  <a:pos x="134" y="22"/>
                </a:cxn>
                <a:cxn ang="0">
                  <a:pos x="134" y="18"/>
                </a:cxn>
                <a:cxn ang="0">
                  <a:pos x="116" y="16"/>
                </a:cxn>
                <a:cxn ang="0">
                  <a:pos x="102" y="18"/>
                </a:cxn>
                <a:cxn ang="0">
                  <a:pos x="84" y="16"/>
                </a:cxn>
                <a:cxn ang="0">
                  <a:pos x="72" y="8"/>
                </a:cxn>
                <a:cxn ang="0">
                  <a:pos x="72" y="10"/>
                </a:cxn>
              </a:cxnLst>
              <a:rect l="0" t="0" r="r" b="b"/>
              <a:pathLst>
                <a:path w="138" h="118">
                  <a:moveTo>
                    <a:pt x="72" y="10"/>
                  </a:moveTo>
                  <a:lnTo>
                    <a:pt x="72" y="10"/>
                  </a:lnTo>
                  <a:lnTo>
                    <a:pt x="70" y="8"/>
                  </a:lnTo>
                  <a:lnTo>
                    <a:pt x="70" y="6"/>
                  </a:lnTo>
                  <a:lnTo>
                    <a:pt x="68" y="6"/>
                  </a:lnTo>
                  <a:lnTo>
                    <a:pt x="64" y="8"/>
                  </a:lnTo>
                  <a:lnTo>
                    <a:pt x="60" y="10"/>
                  </a:lnTo>
                  <a:lnTo>
                    <a:pt x="58" y="8"/>
                  </a:lnTo>
                  <a:lnTo>
                    <a:pt x="56" y="8"/>
                  </a:lnTo>
                  <a:lnTo>
                    <a:pt x="56" y="4"/>
                  </a:lnTo>
                  <a:lnTo>
                    <a:pt x="58" y="6"/>
                  </a:lnTo>
                  <a:lnTo>
                    <a:pt x="60" y="4"/>
                  </a:lnTo>
                  <a:lnTo>
                    <a:pt x="60" y="2"/>
                  </a:lnTo>
                  <a:lnTo>
                    <a:pt x="58" y="2"/>
                  </a:lnTo>
                  <a:lnTo>
                    <a:pt x="56" y="0"/>
                  </a:lnTo>
                  <a:lnTo>
                    <a:pt x="42" y="4"/>
                  </a:lnTo>
                  <a:lnTo>
                    <a:pt x="38" y="8"/>
                  </a:lnTo>
                  <a:lnTo>
                    <a:pt x="32" y="8"/>
                  </a:lnTo>
                  <a:lnTo>
                    <a:pt x="30" y="10"/>
                  </a:lnTo>
                  <a:lnTo>
                    <a:pt x="26" y="12"/>
                  </a:lnTo>
                  <a:lnTo>
                    <a:pt x="26" y="12"/>
                  </a:lnTo>
                  <a:lnTo>
                    <a:pt x="24" y="12"/>
                  </a:lnTo>
                  <a:lnTo>
                    <a:pt x="22" y="14"/>
                  </a:lnTo>
                  <a:lnTo>
                    <a:pt x="8" y="16"/>
                  </a:lnTo>
                  <a:lnTo>
                    <a:pt x="2" y="16"/>
                  </a:lnTo>
                  <a:lnTo>
                    <a:pt x="2" y="22"/>
                  </a:lnTo>
                  <a:lnTo>
                    <a:pt x="0" y="32"/>
                  </a:lnTo>
                  <a:lnTo>
                    <a:pt x="0" y="34"/>
                  </a:lnTo>
                  <a:lnTo>
                    <a:pt x="2" y="38"/>
                  </a:lnTo>
                  <a:lnTo>
                    <a:pt x="4" y="40"/>
                  </a:lnTo>
                  <a:lnTo>
                    <a:pt x="2" y="50"/>
                  </a:lnTo>
                  <a:lnTo>
                    <a:pt x="4" y="52"/>
                  </a:lnTo>
                  <a:lnTo>
                    <a:pt x="4" y="56"/>
                  </a:lnTo>
                  <a:lnTo>
                    <a:pt x="6" y="74"/>
                  </a:lnTo>
                  <a:lnTo>
                    <a:pt x="10" y="76"/>
                  </a:lnTo>
                  <a:lnTo>
                    <a:pt x="18" y="76"/>
                  </a:lnTo>
                  <a:lnTo>
                    <a:pt x="20" y="78"/>
                  </a:lnTo>
                  <a:lnTo>
                    <a:pt x="20" y="80"/>
                  </a:lnTo>
                  <a:lnTo>
                    <a:pt x="22" y="80"/>
                  </a:lnTo>
                  <a:lnTo>
                    <a:pt x="24" y="80"/>
                  </a:lnTo>
                  <a:lnTo>
                    <a:pt x="26" y="80"/>
                  </a:lnTo>
                  <a:lnTo>
                    <a:pt x="26" y="82"/>
                  </a:lnTo>
                  <a:lnTo>
                    <a:pt x="30" y="86"/>
                  </a:lnTo>
                  <a:lnTo>
                    <a:pt x="36" y="88"/>
                  </a:lnTo>
                  <a:lnTo>
                    <a:pt x="40" y="88"/>
                  </a:lnTo>
                  <a:lnTo>
                    <a:pt x="42" y="88"/>
                  </a:lnTo>
                  <a:lnTo>
                    <a:pt x="44" y="90"/>
                  </a:lnTo>
                  <a:lnTo>
                    <a:pt x="46" y="92"/>
                  </a:lnTo>
                  <a:lnTo>
                    <a:pt x="46" y="94"/>
                  </a:lnTo>
                  <a:lnTo>
                    <a:pt x="48" y="94"/>
                  </a:lnTo>
                  <a:lnTo>
                    <a:pt x="50" y="96"/>
                  </a:lnTo>
                  <a:lnTo>
                    <a:pt x="52" y="102"/>
                  </a:lnTo>
                  <a:lnTo>
                    <a:pt x="58" y="102"/>
                  </a:lnTo>
                  <a:lnTo>
                    <a:pt x="62" y="100"/>
                  </a:lnTo>
                  <a:lnTo>
                    <a:pt x="66" y="102"/>
                  </a:lnTo>
                  <a:lnTo>
                    <a:pt x="72" y="106"/>
                  </a:lnTo>
                  <a:lnTo>
                    <a:pt x="78" y="108"/>
                  </a:lnTo>
                  <a:lnTo>
                    <a:pt x="80" y="108"/>
                  </a:lnTo>
                  <a:lnTo>
                    <a:pt x="80" y="106"/>
                  </a:lnTo>
                  <a:lnTo>
                    <a:pt x="82" y="104"/>
                  </a:lnTo>
                  <a:lnTo>
                    <a:pt x="84" y="104"/>
                  </a:lnTo>
                  <a:lnTo>
                    <a:pt x="88" y="102"/>
                  </a:lnTo>
                  <a:lnTo>
                    <a:pt x="92" y="100"/>
                  </a:lnTo>
                  <a:lnTo>
                    <a:pt x="96" y="98"/>
                  </a:lnTo>
                  <a:lnTo>
                    <a:pt x="98" y="96"/>
                  </a:lnTo>
                  <a:lnTo>
                    <a:pt x="102" y="96"/>
                  </a:lnTo>
                  <a:lnTo>
                    <a:pt x="106" y="100"/>
                  </a:lnTo>
                  <a:lnTo>
                    <a:pt x="110" y="102"/>
                  </a:lnTo>
                  <a:lnTo>
                    <a:pt x="112" y="102"/>
                  </a:lnTo>
                  <a:lnTo>
                    <a:pt x="114" y="104"/>
                  </a:lnTo>
                  <a:lnTo>
                    <a:pt x="118" y="108"/>
                  </a:lnTo>
                  <a:lnTo>
                    <a:pt x="120" y="110"/>
                  </a:lnTo>
                  <a:lnTo>
                    <a:pt x="120" y="114"/>
                  </a:lnTo>
                  <a:lnTo>
                    <a:pt x="124" y="116"/>
                  </a:lnTo>
                  <a:lnTo>
                    <a:pt x="126" y="118"/>
                  </a:lnTo>
                  <a:lnTo>
                    <a:pt x="130" y="116"/>
                  </a:lnTo>
                  <a:lnTo>
                    <a:pt x="134" y="114"/>
                  </a:lnTo>
                  <a:lnTo>
                    <a:pt x="134" y="114"/>
                  </a:lnTo>
                  <a:lnTo>
                    <a:pt x="132" y="110"/>
                  </a:lnTo>
                  <a:lnTo>
                    <a:pt x="132" y="106"/>
                  </a:lnTo>
                  <a:lnTo>
                    <a:pt x="132" y="104"/>
                  </a:lnTo>
                  <a:lnTo>
                    <a:pt x="134" y="96"/>
                  </a:lnTo>
                  <a:lnTo>
                    <a:pt x="138" y="88"/>
                  </a:lnTo>
                  <a:lnTo>
                    <a:pt x="136" y="84"/>
                  </a:lnTo>
                  <a:lnTo>
                    <a:pt x="134" y="80"/>
                  </a:lnTo>
                  <a:lnTo>
                    <a:pt x="134" y="78"/>
                  </a:lnTo>
                  <a:lnTo>
                    <a:pt x="134" y="74"/>
                  </a:lnTo>
                  <a:lnTo>
                    <a:pt x="136" y="68"/>
                  </a:lnTo>
                  <a:lnTo>
                    <a:pt x="136" y="66"/>
                  </a:lnTo>
                  <a:lnTo>
                    <a:pt x="136" y="64"/>
                  </a:lnTo>
                  <a:lnTo>
                    <a:pt x="134" y="58"/>
                  </a:lnTo>
                  <a:lnTo>
                    <a:pt x="134" y="56"/>
                  </a:lnTo>
                  <a:lnTo>
                    <a:pt x="136" y="54"/>
                  </a:lnTo>
                  <a:lnTo>
                    <a:pt x="134" y="46"/>
                  </a:lnTo>
                  <a:lnTo>
                    <a:pt x="138" y="40"/>
                  </a:lnTo>
                  <a:lnTo>
                    <a:pt x="138" y="36"/>
                  </a:lnTo>
                  <a:lnTo>
                    <a:pt x="138" y="34"/>
                  </a:lnTo>
                  <a:lnTo>
                    <a:pt x="136" y="30"/>
                  </a:lnTo>
                  <a:lnTo>
                    <a:pt x="134" y="26"/>
                  </a:lnTo>
                  <a:lnTo>
                    <a:pt x="134" y="22"/>
                  </a:lnTo>
                  <a:lnTo>
                    <a:pt x="134" y="20"/>
                  </a:lnTo>
                  <a:lnTo>
                    <a:pt x="134" y="18"/>
                  </a:lnTo>
                  <a:lnTo>
                    <a:pt x="124" y="16"/>
                  </a:lnTo>
                  <a:lnTo>
                    <a:pt x="116" y="16"/>
                  </a:lnTo>
                  <a:lnTo>
                    <a:pt x="110" y="18"/>
                  </a:lnTo>
                  <a:lnTo>
                    <a:pt x="102" y="18"/>
                  </a:lnTo>
                  <a:lnTo>
                    <a:pt x="96" y="18"/>
                  </a:lnTo>
                  <a:lnTo>
                    <a:pt x="84" y="16"/>
                  </a:lnTo>
                  <a:lnTo>
                    <a:pt x="76" y="12"/>
                  </a:lnTo>
                  <a:lnTo>
                    <a:pt x="72" y="8"/>
                  </a:lnTo>
                  <a:lnTo>
                    <a:pt x="72" y="10"/>
                  </a:lnTo>
                  <a:lnTo>
                    <a:pt x="72"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8" name="Freeform 522">
              <a:extLst>
                <a:ext uri="{FF2B5EF4-FFF2-40B4-BE49-F238E27FC236}">
                  <a16:creationId xmlns:a16="http://schemas.microsoft.com/office/drawing/2014/main" id="{EC43EF4D-BDAB-41CD-A353-524462529569}"/>
                </a:ext>
              </a:extLst>
            </p:cNvPr>
            <p:cNvSpPr>
              <a:spLocks/>
            </p:cNvSpPr>
            <p:nvPr/>
          </p:nvSpPr>
          <p:spPr bwMode="auto">
            <a:xfrm>
              <a:off x="3122181" y="3040543"/>
              <a:ext cx="440234" cy="401390"/>
            </a:xfrm>
            <a:custGeom>
              <a:avLst/>
              <a:gdLst/>
              <a:ahLst/>
              <a:cxnLst>
                <a:cxn ang="0">
                  <a:pos x="86" y="274"/>
                </a:cxn>
                <a:cxn ang="0">
                  <a:pos x="90" y="256"/>
                </a:cxn>
                <a:cxn ang="0">
                  <a:pos x="92" y="226"/>
                </a:cxn>
                <a:cxn ang="0">
                  <a:pos x="94" y="186"/>
                </a:cxn>
                <a:cxn ang="0">
                  <a:pos x="110" y="162"/>
                </a:cxn>
                <a:cxn ang="0">
                  <a:pos x="130" y="146"/>
                </a:cxn>
                <a:cxn ang="0">
                  <a:pos x="148" y="112"/>
                </a:cxn>
                <a:cxn ang="0">
                  <a:pos x="166" y="88"/>
                </a:cxn>
                <a:cxn ang="0">
                  <a:pos x="186" y="80"/>
                </a:cxn>
                <a:cxn ang="0">
                  <a:pos x="210" y="58"/>
                </a:cxn>
                <a:cxn ang="0">
                  <a:pos x="248" y="68"/>
                </a:cxn>
                <a:cxn ang="0">
                  <a:pos x="272" y="62"/>
                </a:cxn>
                <a:cxn ang="0">
                  <a:pos x="284" y="38"/>
                </a:cxn>
                <a:cxn ang="0">
                  <a:pos x="322" y="56"/>
                </a:cxn>
                <a:cxn ang="0">
                  <a:pos x="332" y="38"/>
                </a:cxn>
                <a:cxn ang="0">
                  <a:pos x="322" y="40"/>
                </a:cxn>
                <a:cxn ang="0">
                  <a:pos x="336" y="20"/>
                </a:cxn>
                <a:cxn ang="0">
                  <a:pos x="314" y="20"/>
                </a:cxn>
                <a:cxn ang="0">
                  <a:pos x="304" y="12"/>
                </a:cxn>
                <a:cxn ang="0">
                  <a:pos x="300" y="6"/>
                </a:cxn>
                <a:cxn ang="0">
                  <a:pos x="286" y="28"/>
                </a:cxn>
                <a:cxn ang="0">
                  <a:pos x="288" y="12"/>
                </a:cxn>
                <a:cxn ang="0">
                  <a:pos x="274" y="26"/>
                </a:cxn>
                <a:cxn ang="0">
                  <a:pos x="274" y="16"/>
                </a:cxn>
                <a:cxn ang="0">
                  <a:pos x="258" y="18"/>
                </a:cxn>
                <a:cxn ang="0">
                  <a:pos x="248" y="22"/>
                </a:cxn>
                <a:cxn ang="0">
                  <a:pos x="222" y="22"/>
                </a:cxn>
                <a:cxn ang="0">
                  <a:pos x="222" y="34"/>
                </a:cxn>
                <a:cxn ang="0">
                  <a:pos x="212" y="36"/>
                </a:cxn>
                <a:cxn ang="0">
                  <a:pos x="202" y="40"/>
                </a:cxn>
                <a:cxn ang="0">
                  <a:pos x="188" y="36"/>
                </a:cxn>
                <a:cxn ang="0">
                  <a:pos x="184" y="46"/>
                </a:cxn>
                <a:cxn ang="0">
                  <a:pos x="170" y="58"/>
                </a:cxn>
                <a:cxn ang="0">
                  <a:pos x="152" y="80"/>
                </a:cxn>
                <a:cxn ang="0">
                  <a:pos x="156" y="88"/>
                </a:cxn>
                <a:cxn ang="0">
                  <a:pos x="146" y="92"/>
                </a:cxn>
                <a:cxn ang="0">
                  <a:pos x="144" y="108"/>
                </a:cxn>
                <a:cxn ang="0">
                  <a:pos x="120" y="124"/>
                </a:cxn>
                <a:cxn ang="0">
                  <a:pos x="110" y="146"/>
                </a:cxn>
                <a:cxn ang="0">
                  <a:pos x="92" y="156"/>
                </a:cxn>
                <a:cxn ang="0">
                  <a:pos x="74" y="174"/>
                </a:cxn>
                <a:cxn ang="0">
                  <a:pos x="76" y="190"/>
                </a:cxn>
                <a:cxn ang="0">
                  <a:pos x="50" y="192"/>
                </a:cxn>
                <a:cxn ang="0">
                  <a:pos x="30" y="198"/>
                </a:cxn>
                <a:cxn ang="0">
                  <a:pos x="22" y="210"/>
                </a:cxn>
                <a:cxn ang="0">
                  <a:pos x="20" y="220"/>
                </a:cxn>
                <a:cxn ang="0">
                  <a:pos x="18" y="228"/>
                </a:cxn>
                <a:cxn ang="0">
                  <a:pos x="16" y="238"/>
                </a:cxn>
                <a:cxn ang="0">
                  <a:pos x="30" y="242"/>
                </a:cxn>
                <a:cxn ang="0">
                  <a:pos x="6" y="248"/>
                </a:cxn>
                <a:cxn ang="0">
                  <a:pos x="8" y="258"/>
                </a:cxn>
                <a:cxn ang="0">
                  <a:pos x="22" y="256"/>
                </a:cxn>
                <a:cxn ang="0">
                  <a:pos x="16" y="274"/>
                </a:cxn>
                <a:cxn ang="0">
                  <a:pos x="18" y="280"/>
                </a:cxn>
                <a:cxn ang="0">
                  <a:pos x="10" y="294"/>
                </a:cxn>
                <a:cxn ang="0">
                  <a:pos x="32" y="310"/>
                </a:cxn>
                <a:cxn ang="0">
                  <a:pos x="80" y="284"/>
                </a:cxn>
              </a:cxnLst>
              <a:rect l="0" t="0" r="r" b="b"/>
              <a:pathLst>
                <a:path w="340" h="310">
                  <a:moveTo>
                    <a:pt x="82" y="290"/>
                  </a:moveTo>
                  <a:lnTo>
                    <a:pt x="82" y="290"/>
                  </a:lnTo>
                  <a:lnTo>
                    <a:pt x="86" y="290"/>
                  </a:lnTo>
                  <a:lnTo>
                    <a:pt x="88" y="290"/>
                  </a:lnTo>
                  <a:lnTo>
                    <a:pt x="88" y="288"/>
                  </a:lnTo>
                  <a:lnTo>
                    <a:pt x="90" y="282"/>
                  </a:lnTo>
                  <a:lnTo>
                    <a:pt x="88" y="280"/>
                  </a:lnTo>
                  <a:lnTo>
                    <a:pt x="86" y="276"/>
                  </a:lnTo>
                  <a:lnTo>
                    <a:pt x="86" y="274"/>
                  </a:lnTo>
                  <a:lnTo>
                    <a:pt x="88" y="272"/>
                  </a:lnTo>
                  <a:lnTo>
                    <a:pt x="90" y="272"/>
                  </a:lnTo>
                  <a:lnTo>
                    <a:pt x="90" y="270"/>
                  </a:lnTo>
                  <a:lnTo>
                    <a:pt x="90" y="268"/>
                  </a:lnTo>
                  <a:lnTo>
                    <a:pt x="92" y="266"/>
                  </a:lnTo>
                  <a:lnTo>
                    <a:pt x="94" y="264"/>
                  </a:lnTo>
                  <a:lnTo>
                    <a:pt x="92" y="260"/>
                  </a:lnTo>
                  <a:lnTo>
                    <a:pt x="90" y="258"/>
                  </a:lnTo>
                  <a:lnTo>
                    <a:pt x="90" y="256"/>
                  </a:lnTo>
                  <a:lnTo>
                    <a:pt x="92" y="252"/>
                  </a:lnTo>
                  <a:lnTo>
                    <a:pt x="92" y="244"/>
                  </a:lnTo>
                  <a:lnTo>
                    <a:pt x="96" y="242"/>
                  </a:lnTo>
                  <a:lnTo>
                    <a:pt x="98" y="240"/>
                  </a:lnTo>
                  <a:lnTo>
                    <a:pt x="98" y="238"/>
                  </a:lnTo>
                  <a:lnTo>
                    <a:pt x="98" y="234"/>
                  </a:lnTo>
                  <a:lnTo>
                    <a:pt x="96" y="228"/>
                  </a:lnTo>
                  <a:lnTo>
                    <a:pt x="94" y="226"/>
                  </a:lnTo>
                  <a:lnTo>
                    <a:pt x="92" y="226"/>
                  </a:lnTo>
                  <a:lnTo>
                    <a:pt x="92" y="224"/>
                  </a:lnTo>
                  <a:lnTo>
                    <a:pt x="94" y="220"/>
                  </a:lnTo>
                  <a:lnTo>
                    <a:pt x="94" y="214"/>
                  </a:lnTo>
                  <a:lnTo>
                    <a:pt x="94" y="210"/>
                  </a:lnTo>
                  <a:lnTo>
                    <a:pt x="94" y="204"/>
                  </a:lnTo>
                  <a:lnTo>
                    <a:pt x="94" y="198"/>
                  </a:lnTo>
                  <a:lnTo>
                    <a:pt x="94" y="194"/>
                  </a:lnTo>
                  <a:lnTo>
                    <a:pt x="92" y="190"/>
                  </a:lnTo>
                  <a:lnTo>
                    <a:pt x="94" y="186"/>
                  </a:lnTo>
                  <a:lnTo>
                    <a:pt x="96" y="184"/>
                  </a:lnTo>
                  <a:lnTo>
                    <a:pt x="98" y="182"/>
                  </a:lnTo>
                  <a:lnTo>
                    <a:pt x="100" y="180"/>
                  </a:lnTo>
                  <a:lnTo>
                    <a:pt x="100" y="176"/>
                  </a:lnTo>
                  <a:lnTo>
                    <a:pt x="104" y="174"/>
                  </a:lnTo>
                  <a:lnTo>
                    <a:pt x="106" y="170"/>
                  </a:lnTo>
                  <a:lnTo>
                    <a:pt x="106" y="168"/>
                  </a:lnTo>
                  <a:lnTo>
                    <a:pt x="108" y="166"/>
                  </a:lnTo>
                  <a:lnTo>
                    <a:pt x="110" y="162"/>
                  </a:lnTo>
                  <a:lnTo>
                    <a:pt x="118" y="160"/>
                  </a:lnTo>
                  <a:lnTo>
                    <a:pt x="120" y="160"/>
                  </a:lnTo>
                  <a:lnTo>
                    <a:pt x="122" y="162"/>
                  </a:lnTo>
                  <a:lnTo>
                    <a:pt x="126" y="166"/>
                  </a:lnTo>
                  <a:lnTo>
                    <a:pt x="128" y="166"/>
                  </a:lnTo>
                  <a:lnTo>
                    <a:pt x="130" y="164"/>
                  </a:lnTo>
                  <a:lnTo>
                    <a:pt x="130" y="158"/>
                  </a:lnTo>
                  <a:lnTo>
                    <a:pt x="130" y="152"/>
                  </a:lnTo>
                  <a:lnTo>
                    <a:pt x="130" y="146"/>
                  </a:lnTo>
                  <a:lnTo>
                    <a:pt x="130" y="144"/>
                  </a:lnTo>
                  <a:lnTo>
                    <a:pt x="132" y="142"/>
                  </a:lnTo>
                  <a:lnTo>
                    <a:pt x="136" y="140"/>
                  </a:lnTo>
                  <a:lnTo>
                    <a:pt x="138" y="136"/>
                  </a:lnTo>
                  <a:lnTo>
                    <a:pt x="142" y="130"/>
                  </a:lnTo>
                  <a:lnTo>
                    <a:pt x="144" y="122"/>
                  </a:lnTo>
                  <a:lnTo>
                    <a:pt x="144" y="116"/>
                  </a:lnTo>
                  <a:lnTo>
                    <a:pt x="146" y="114"/>
                  </a:lnTo>
                  <a:lnTo>
                    <a:pt x="148" y="112"/>
                  </a:lnTo>
                  <a:lnTo>
                    <a:pt x="152" y="112"/>
                  </a:lnTo>
                  <a:lnTo>
                    <a:pt x="152" y="110"/>
                  </a:lnTo>
                  <a:lnTo>
                    <a:pt x="154" y="108"/>
                  </a:lnTo>
                  <a:lnTo>
                    <a:pt x="156" y="106"/>
                  </a:lnTo>
                  <a:lnTo>
                    <a:pt x="160" y="102"/>
                  </a:lnTo>
                  <a:lnTo>
                    <a:pt x="162" y="100"/>
                  </a:lnTo>
                  <a:lnTo>
                    <a:pt x="164" y="96"/>
                  </a:lnTo>
                  <a:lnTo>
                    <a:pt x="164" y="92"/>
                  </a:lnTo>
                  <a:lnTo>
                    <a:pt x="166" y="88"/>
                  </a:lnTo>
                  <a:lnTo>
                    <a:pt x="170" y="84"/>
                  </a:lnTo>
                  <a:lnTo>
                    <a:pt x="172" y="82"/>
                  </a:lnTo>
                  <a:lnTo>
                    <a:pt x="178" y="88"/>
                  </a:lnTo>
                  <a:lnTo>
                    <a:pt x="182" y="90"/>
                  </a:lnTo>
                  <a:lnTo>
                    <a:pt x="180" y="88"/>
                  </a:lnTo>
                  <a:lnTo>
                    <a:pt x="182" y="86"/>
                  </a:lnTo>
                  <a:lnTo>
                    <a:pt x="182" y="82"/>
                  </a:lnTo>
                  <a:lnTo>
                    <a:pt x="182" y="80"/>
                  </a:lnTo>
                  <a:lnTo>
                    <a:pt x="186" y="80"/>
                  </a:lnTo>
                  <a:lnTo>
                    <a:pt x="190" y="80"/>
                  </a:lnTo>
                  <a:lnTo>
                    <a:pt x="194" y="82"/>
                  </a:lnTo>
                  <a:lnTo>
                    <a:pt x="196" y="80"/>
                  </a:lnTo>
                  <a:lnTo>
                    <a:pt x="196" y="78"/>
                  </a:lnTo>
                  <a:lnTo>
                    <a:pt x="198" y="74"/>
                  </a:lnTo>
                  <a:lnTo>
                    <a:pt x="200" y="66"/>
                  </a:lnTo>
                  <a:lnTo>
                    <a:pt x="198" y="62"/>
                  </a:lnTo>
                  <a:lnTo>
                    <a:pt x="204" y="62"/>
                  </a:lnTo>
                  <a:lnTo>
                    <a:pt x="210" y="58"/>
                  </a:lnTo>
                  <a:lnTo>
                    <a:pt x="212" y="56"/>
                  </a:lnTo>
                  <a:lnTo>
                    <a:pt x="212" y="54"/>
                  </a:lnTo>
                  <a:lnTo>
                    <a:pt x="214" y="54"/>
                  </a:lnTo>
                  <a:lnTo>
                    <a:pt x="218" y="54"/>
                  </a:lnTo>
                  <a:lnTo>
                    <a:pt x="232" y="70"/>
                  </a:lnTo>
                  <a:lnTo>
                    <a:pt x="238" y="68"/>
                  </a:lnTo>
                  <a:lnTo>
                    <a:pt x="246" y="68"/>
                  </a:lnTo>
                  <a:lnTo>
                    <a:pt x="248" y="70"/>
                  </a:lnTo>
                  <a:lnTo>
                    <a:pt x="248" y="68"/>
                  </a:lnTo>
                  <a:lnTo>
                    <a:pt x="250" y="68"/>
                  </a:lnTo>
                  <a:lnTo>
                    <a:pt x="254" y="68"/>
                  </a:lnTo>
                  <a:lnTo>
                    <a:pt x="254" y="70"/>
                  </a:lnTo>
                  <a:lnTo>
                    <a:pt x="262" y="76"/>
                  </a:lnTo>
                  <a:lnTo>
                    <a:pt x="262" y="74"/>
                  </a:lnTo>
                  <a:lnTo>
                    <a:pt x="262" y="72"/>
                  </a:lnTo>
                  <a:lnTo>
                    <a:pt x="264" y="70"/>
                  </a:lnTo>
                  <a:lnTo>
                    <a:pt x="270" y="66"/>
                  </a:lnTo>
                  <a:lnTo>
                    <a:pt x="272" y="62"/>
                  </a:lnTo>
                  <a:lnTo>
                    <a:pt x="272" y="56"/>
                  </a:lnTo>
                  <a:lnTo>
                    <a:pt x="270" y="54"/>
                  </a:lnTo>
                  <a:lnTo>
                    <a:pt x="272" y="52"/>
                  </a:lnTo>
                  <a:lnTo>
                    <a:pt x="272" y="48"/>
                  </a:lnTo>
                  <a:lnTo>
                    <a:pt x="274" y="46"/>
                  </a:lnTo>
                  <a:lnTo>
                    <a:pt x="278" y="44"/>
                  </a:lnTo>
                  <a:lnTo>
                    <a:pt x="280" y="42"/>
                  </a:lnTo>
                  <a:lnTo>
                    <a:pt x="282" y="40"/>
                  </a:lnTo>
                  <a:lnTo>
                    <a:pt x="284" y="38"/>
                  </a:lnTo>
                  <a:lnTo>
                    <a:pt x="292" y="40"/>
                  </a:lnTo>
                  <a:lnTo>
                    <a:pt x="294" y="40"/>
                  </a:lnTo>
                  <a:lnTo>
                    <a:pt x="298" y="36"/>
                  </a:lnTo>
                  <a:lnTo>
                    <a:pt x="302" y="36"/>
                  </a:lnTo>
                  <a:lnTo>
                    <a:pt x="304" y="38"/>
                  </a:lnTo>
                  <a:lnTo>
                    <a:pt x="308" y="46"/>
                  </a:lnTo>
                  <a:lnTo>
                    <a:pt x="316" y="52"/>
                  </a:lnTo>
                  <a:lnTo>
                    <a:pt x="322" y="52"/>
                  </a:lnTo>
                  <a:lnTo>
                    <a:pt x="322" y="56"/>
                  </a:lnTo>
                  <a:lnTo>
                    <a:pt x="324" y="58"/>
                  </a:lnTo>
                  <a:lnTo>
                    <a:pt x="326" y="58"/>
                  </a:lnTo>
                  <a:lnTo>
                    <a:pt x="328" y="52"/>
                  </a:lnTo>
                  <a:lnTo>
                    <a:pt x="328" y="48"/>
                  </a:lnTo>
                  <a:lnTo>
                    <a:pt x="328" y="42"/>
                  </a:lnTo>
                  <a:lnTo>
                    <a:pt x="326" y="40"/>
                  </a:lnTo>
                  <a:lnTo>
                    <a:pt x="328" y="40"/>
                  </a:lnTo>
                  <a:lnTo>
                    <a:pt x="330" y="40"/>
                  </a:lnTo>
                  <a:lnTo>
                    <a:pt x="332" y="38"/>
                  </a:lnTo>
                  <a:lnTo>
                    <a:pt x="336" y="36"/>
                  </a:lnTo>
                  <a:lnTo>
                    <a:pt x="340" y="36"/>
                  </a:lnTo>
                  <a:lnTo>
                    <a:pt x="336" y="36"/>
                  </a:lnTo>
                  <a:lnTo>
                    <a:pt x="334" y="34"/>
                  </a:lnTo>
                  <a:lnTo>
                    <a:pt x="330" y="38"/>
                  </a:lnTo>
                  <a:lnTo>
                    <a:pt x="328" y="36"/>
                  </a:lnTo>
                  <a:lnTo>
                    <a:pt x="328" y="36"/>
                  </a:lnTo>
                  <a:lnTo>
                    <a:pt x="326" y="38"/>
                  </a:lnTo>
                  <a:lnTo>
                    <a:pt x="322" y="40"/>
                  </a:lnTo>
                  <a:lnTo>
                    <a:pt x="322" y="36"/>
                  </a:lnTo>
                  <a:lnTo>
                    <a:pt x="318" y="32"/>
                  </a:lnTo>
                  <a:lnTo>
                    <a:pt x="324" y="34"/>
                  </a:lnTo>
                  <a:lnTo>
                    <a:pt x="330" y="32"/>
                  </a:lnTo>
                  <a:lnTo>
                    <a:pt x="330" y="30"/>
                  </a:lnTo>
                  <a:lnTo>
                    <a:pt x="332" y="28"/>
                  </a:lnTo>
                  <a:lnTo>
                    <a:pt x="336" y="28"/>
                  </a:lnTo>
                  <a:lnTo>
                    <a:pt x="340" y="28"/>
                  </a:lnTo>
                  <a:lnTo>
                    <a:pt x="336" y="20"/>
                  </a:lnTo>
                  <a:lnTo>
                    <a:pt x="334" y="20"/>
                  </a:lnTo>
                  <a:lnTo>
                    <a:pt x="328" y="20"/>
                  </a:lnTo>
                  <a:lnTo>
                    <a:pt x="330" y="16"/>
                  </a:lnTo>
                  <a:lnTo>
                    <a:pt x="330" y="14"/>
                  </a:lnTo>
                  <a:lnTo>
                    <a:pt x="324" y="18"/>
                  </a:lnTo>
                  <a:lnTo>
                    <a:pt x="320" y="8"/>
                  </a:lnTo>
                  <a:lnTo>
                    <a:pt x="316" y="8"/>
                  </a:lnTo>
                  <a:lnTo>
                    <a:pt x="312" y="14"/>
                  </a:lnTo>
                  <a:lnTo>
                    <a:pt x="314" y="20"/>
                  </a:lnTo>
                  <a:lnTo>
                    <a:pt x="310" y="22"/>
                  </a:lnTo>
                  <a:lnTo>
                    <a:pt x="308" y="20"/>
                  </a:lnTo>
                  <a:lnTo>
                    <a:pt x="310" y="16"/>
                  </a:lnTo>
                  <a:lnTo>
                    <a:pt x="310" y="12"/>
                  </a:lnTo>
                  <a:lnTo>
                    <a:pt x="308" y="12"/>
                  </a:lnTo>
                  <a:lnTo>
                    <a:pt x="306" y="14"/>
                  </a:lnTo>
                  <a:lnTo>
                    <a:pt x="306" y="16"/>
                  </a:lnTo>
                  <a:lnTo>
                    <a:pt x="304" y="16"/>
                  </a:lnTo>
                  <a:lnTo>
                    <a:pt x="304" y="12"/>
                  </a:lnTo>
                  <a:lnTo>
                    <a:pt x="304" y="10"/>
                  </a:lnTo>
                  <a:lnTo>
                    <a:pt x="308" y="8"/>
                  </a:lnTo>
                  <a:lnTo>
                    <a:pt x="310" y="8"/>
                  </a:lnTo>
                  <a:lnTo>
                    <a:pt x="308" y="6"/>
                  </a:lnTo>
                  <a:lnTo>
                    <a:pt x="308" y="2"/>
                  </a:lnTo>
                  <a:lnTo>
                    <a:pt x="304" y="2"/>
                  </a:lnTo>
                  <a:lnTo>
                    <a:pt x="304" y="0"/>
                  </a:lnTo>
                  <a:lnTo>
                    <a:pt x="300" y="0"/>
                  </a:lnTo>
                  <a:lnTo>
                    <a:pt x="300" y="6"/>
                  </a:lnTo>
                  <a:lnTo>
                    <a:pt x="298" y="6"/>
                  </a:lnTo>
                  <a:lnTo>
                    <a:pt x="296" y="6"/>
                  </a:lnTo>
                  <a:lnTo>
                    <a:pt x="296" y="10"/>
                  </a:lnTo>
                  <a:lnTo>
                    <a:pt x="298" y="12"/>
                  </a:lnTo>
                  <a:lnTo>
                    <a:pt x="294" y="14"/>
                  </a:lnTo>
                  <a:lnTo>
                    <a:pt x="292" y="18"/>
                  </a:lnTo>
                  <a:lnTo>
                    <a:pt x="292" y="20"/>
                  </a:lnTo>
                  <a:lnTo>
                    <a:pt x="286" y="24"/>
                  </a:lnTo>
                  <a:lnTo>
                    <a:pt x="286" y="28"/>
                  </a:lnTo>
                  <a:lnTo>
                    <a:pt x="284" y="26"/>
                  </a:lnTo>
                  <a:lnTo>
                    <a:pt x="284" y="24"/>
                  </a:lnTo>
                  <a:lnTo>
                    <a:pt x="284" y="20"/>
                  </a:lnTo>
                  <a:lnTo>
                    <a:pt x="284" y="22"/>
                  </a:lnTo>
                  <a:lnTo>
                    <a:pt x="286" y="22"/>
                  </a:lnTo>
                  <a:lnTo>
                    <a:pt x="286" y="20"/>
                  </a:lnTo>
                  <a:lnTo>
                    <a:pt x="286" y="18"/>
                  </a:lnTo>
                  <a:lnTo>
                    <a:pt x="286" y="16"/>
                  </a:lnTo>
                  <a:lnTo>
                    <a:pt x="288" y="12"/>
                  </a:lnTo>
                  <a:lnTo>
                    <a:pt x="288" y="10"/>
                  </a:lnTo>
                  <a:lnTo>
                    <a:pt x="288" y="8"/>
                  </a:lnTo>
                  <a:lnTo>
                    <a:pt x="286" y="8"/>
                  </a:lnTo>
                  <a:lnTo>
                    <a:pt x="286" y="12"/>
                  </a:lnTo>
                  <a:lnTo>
                    <a:pt x="284" y="12"/>
                  </a:lnTo>
                  <a:lnTo>
                    <a:pt x="282" y="16"/>
                  </a:lnTo>
                  <a:lnTo>
                    <a:pt x="280" y="16"/>
                  </a:lnTo>
                  <a:lnTo>
                    <a:pt x="276" y="24"/>
                  </a:lnTo>
                  <a:lnTo>
                    <a:pt x="274" y="26"/>
                  </a:lnTo>
                  <a:lnTo>
                    <a:pt x="270" y="28"/>
                  </a:lnTo>
                  <a:lnTo>
                    <a:pt x="270" y="30"/>
                  </a:lnTo>
                  <a:lnTo>
                    <a:pt x="270" y="34"/>
                  </a:lnTo>
                  <a:lnTo>
                    <a:pt x="266" y="36"/>
                  </a:lnTo>
                  <a:lnTo>
                    <a:pt x="264" y="36"/>
                  </a:lnTo>
                  <a:lnTo>
                    <a:pt x="266" y="24"/>
                  </a:lnTo>
                  <a:lnTo>
                    <a:pt x="270" y="24"/>
                  </a:lnTo>
                  <a:lnTo>
                    <a:pt x="272" y="22"/>
                  </a:lnTo>
                  <a:lnTo>
                    <a:pt x="274" y="16"/>
                  </a:lnTo>
                  <a:lnTo>
                    <a:pt x="268" y="16"/>
                  </a:lnTo>
                  <a:lnTo>
                    <a:pt x="268" y="12"/>
                  </a:lnTo>
                  <a:lnTo>
                    <a:pt x="266" y="12"/>
                  </a:lnTo>
                  <a:lnTo>
                    <a:pt x="266" y="14"/>
                  </a:lnTo>
                  <a:lnTo>
                    <a:pt x="264" y="14"/>
                  </a:lnTo>
                  <a:lnTo>
                    <a:pt x="262" y="12"/>
                  </a:lnTo>
                  <a:lnTo>
                    <a:pt x="258" y="10"/>
                  </a:lnTo>
                  <a:lnTo>
                    <a:pt x="256" y="10"/>
                  </a:lnTo>
                  <a:lnTo>
                    <a:pt x="258" y="18"/>
                  </a:lnTo>
                  <a:lnTo>
                    <a:pt x="256" y="18"/>
                  </a:lnTo>
                  <a:lnTo>
                    <a:pt x="256" y="20"/>
                  </a:lnTo>
                  <a:lnTo>
                    <a:pt x="258" y="20"/>
                  </a:lnTo>
                  <a:lnTo>
                    <a:pt x="254" y="22"/>
                  </a:lnTo>
                  <a:lnTo>
                    <a:pt x="252" y="16"/>
                  </a:lnTo>
                  <a:lnTo>
                    <a:pt x="248" y="16"/>
                  </a:lnTo>
                  <a:lnTo>
                    <a:pt x="248" y="18"/>
                  </a:lnTo>
                  <a:lnTo>
                    <a:pt x="250" y="18"/>
                  </a:lnTo>
                  <a:lnTo>
                    <a:pt x="248" y="22"/>
                  </a:lnTo>
                  <a:lnTo>
                    <a:pt x="242" y="26"/>
                  </a:lnTo>
                  <a:lnTo>
                    <a:pt x="240" y="26"/>
                  </a:lnTo>
                  <a:lnTo>
                    <a:pt x="238" y="32"/>
                  </a:lnTo>
                  <a:lnTo>
                    <a:pt x="232" y="30"/>
                  </a:lnTo>
                  <a:lnTo>
                    <a:pt x="228" y="26"/>
                  </a:lnTo>
                  <a:lnTo>
                    <a:pt x="228" y="24"/>
                  </a:lnTo>
                  <a:lnTo>
                    <a:pt x="226" y="24"/>
                  </a:lnTo>
                  <a:lnTo>
                    <a:pt x="224" y="24"/>
                  </a:lnTo>
                  <a:lnTo>
                    <a:pt x="222" y="22"/>
                  </a:lnTo>
                  <a:lnTo>
                    <a:pt x="220" y="20"/>
                  </a:lnTo>
                  <a:lnTo>
                    <a:pt x="218" y="20"/>
                  </a:lnTo>
                  <a:lnTo>
                    <a:pt x="218" y="24"/>
                  </a:lnTo>
                  <a:lnTo>
                    <a:pt x="212" y="24"/>
                  </a:lnTo>
                  <a:lnTo>
                    <a:pt x="212" y="26"/>
                  </a:lnTo>
                  <a:lnTo>
                    <a:pt x="214" y="28"/>
                  </a:lnTo>
                  <a:lnTo>
                    <a:pt x="218" y="28"/>
                  </a:lnTo>
                  <a:lnTo>
                    <a:pt x="220" y="30"/>
                  </a:lnTo>
                  <a:lnTo>
                    <a:pt x="222" y="34"/>
                  </a:lnTo>
                  <a:lnTo>
                    <a:pt x="222" y="36"/>
                  </a:lnTo>
                  <a:lnTo>
                    <a:pt x="220" y="36"/>
                  </a:lnTo>
                  <a:lnTo>
                    <a:pt x="218" y="34"/>
                  </a:lnTo>
                  <a:lnTo>
                    <a:pt x="216" y="32"/>
                  </a:lnTo>
                  <a:lnTo>
                    <a:pt x="210" y="30"/>
                  </a:lnTo>
                  <a:lnTo>
                    <a:pt x="210" y="32"/>
                  </a:lnTo>
                  <a:lnTo>
                    <a:pt x="212" y="34"/>
                  </a:lnTo>
                  <a:lnTo>
                    <a:pt x="214" y="36"/>
                  </a:lnTo>
                  <a:lnTo>
                    <a:pt x="212" y="36"/>
                  </a:lnTo>
                  <a:lnTo>
                    <a:pt x="210" y="38"/>
                  </a:lnTo>
                  <a:lnTo>
                    <a:pt x="208" y="38"/>
                  </a:lnTo>
                  <a:lnTo>
                    <a:pt x="208" y="36"/>
                  </a:lnTo>
                  <a:lnTo>
                    <a:pt x="206" y="32"/>
                  </a:lnTo>
                  <a:lnTo>
                    <a:pt x="206" y="34"/>
                  </a:lnTo>
                  <a:lnTo>
                    <a:pt x="204" y="34"/>
                  </a:lnTo>
                  <a:lnTo>
                    <a:pt x="204" y="36"/>
                  </a:lnTo>
                  <a:lnTo>
                    <a:pt x="202" y="38"/>
                  </a:lnTo>
                  <a:lnTo>
                    <a:pt x="202" y="40"/>
                  </a:lnTo>
                  <a:lnTo>
                    <a:pt x="200" y="40"/>
                  </a:lnTo>
                  <a:lnTo>
                    <a:pt x="202" y="36"/>
                  </a:lnTo>
                  <a:lnTo>
                    <a:pt x="202" y="34"/>
                  </a:lnTo>
                  <a:lnTo>
                    <a:pt x="198" y="32"/>
                  </a:lnTo>
                  <a:lnTo>
                    <a:pt x="194" y="36"/>
                  </a:lnTo>
                  <a:lnTo>
                    <a:pt x="190" y="42"/>
                  </a:lnTo>
                  <a:lnTo>
                    <a:pt x="190" y="42"/>
                  </a:lnTo>
                  <a:lnTo>
                    <a:pt x="190" y="36"/>
                  </a:lnTo>
                  <a:lnTo>
                    <a:pt x="188" y="36"/>
                  </a:lnTo>
                  <a:lnTo>
                    <a:pt x="186" y="36"/>
                  </a:lnTo>
                  <a:lnTo>
                    <a:pt x="184" y="40"/>
                  </a:lnTo>
                  <a:lnTo>
                    <a:pt x="184" y="44"/>
                  </a:lnTo>
                  <a:lnTo>
                    <a:pt x="188" y="44"/>
                  </a:lnTo>
                  <a:lnTo>
                    <a:pt x="188" y="50"/>
                  </a:lnTo>
                  <a:lnTo>
                    <a:pt x="188" y="52"/>
                  </a:lnTo>
                  <a:lnTo>
                    <a:pt x="186" y="52"/>
                  </a:lnTo>
                  <a:lnTo>
                    <a:pt x="184" y="48"/>
                  </a:lnTo>
                  <a:lnTo>
                    <a:pt x="184" y="46"/>
                  </a:lnTo>
                  <a:lnTo>
                    <a:pt x="180" y="46"/>
                  </a:lnTo>
                  <a:lnTo>
                    <a:pt x="182" y="50"/>
                  </a:lnTo>
                  <a:lnTo>
                    <a:pt x="182" y="52"/>
                  </a:lnTo>
                  <a:lnTo>
                    <a:pt x="180" y="52"/>
                  </a:lnTo>
                  <a:lnTo>
                    <a:pt x="176" y="52"/>
                  </a:lnTo>
                  <a:lnTo>
                    <a:pt x="176" y="50"/>
                  </a:lnTo>
                  <a:lnTo>
                    <a:pt x="174" y="48"/>
                  </a:lnTo>
                  <a:lnTo>
                    <a:pt x="174" y="56"/>
                  </a:lnTo>
                  <a:lnTo>
                    <a:pt x="170" y="58"/>
                  </a:lnTo>
                  <a:lnTo>
                    <a:pt x="168" y="64"/>
                  </a:lnTo>
                  <a:lnTo>
                    <a:pt x="166" y="66"/>
                  </a:lnTo>
                  <a:lnTo>
                    <a:pt x="168" y="70"/>
                  </a:lnTo>
                  <a:lnTo>
                    <a:pt x="166" y="74"/>
                  </a:lnTo>
                  <a:lnTo>
                    <a:pt x="164" y="74"/>
                  </a:lnTo>
                  <a:lnTo>
                    <a:pt x="162" y="76"/>
                  </a:lnTo>
                  <a:lnTo>
                    <a:pt x="160" y="76"/>
                  </a:lnTo>
                  <a:lnTo>
                    <a:pt x="156" y="76"/>
                  </a:lnTo>
                  <a:lnTo>
                    <a:pt x="152" y="80"/>
                  </a:lnTo>
                  <a:lnTo>
                    <a:pt x="152" y="82"/>
                  </a:lnTo>
                  <a:lnTo>
                    <a:pt x="160" y="82"/>
                  </a:lnTo>
                  <a:lnTo>
                    <a:pt x="162" y="80"/>
                  </a:lnTo>
                  <a:lnTo>
                    <a:pt x="164" y="80"/>
                  </a:lnTo>
                  <a:lnTo>
                    <a:pt x="166" y="80"/>
                  </a:lnTo>
                  <a:lnTo>
                    <a:pt x="166" y="82"/>
                  </a:lnTo>
                  <a:lnTo>
                    <a:pt x="160" y="84"/>
                  </a:lnTo>
                  <a:lnTo>
                    <a:pt x="158" y="84"/>
                  </a:lnTo>
                  <a:lnTo>
                    <a:pt x="156" y="88"/>
                  </a:lnTo>
                  <a:lnTo>
                    <a:pt x="158" y="94"/>
                  </a:lnTo>
                  <a:lnTo>
                    <a:pt x="154" y="90"/>
                  </a:lnTo>
                  <a:lnTo>
                    <a:pt x="152" y="88"/>
                  </a:lnTo>
                  <a:lnTo>
                    <a:pt x="144" y="88"/>
                  </a:lnTo>
                  <a:lnTo>
                    <a:pt x="144" y="90"/>
                  </a:lnTo>
                  <a:lnTo>
                    <a:pt x="146" y="90"/>
                  </a:lnTo>
                  <a:lnTo>
                    <a:pt x="150" y="90"/>
                  </a:lnTo>
                  <a:lnTo>
                    <a:pt x="150" y="92"/>
                  </a:lnTo>
                  <a:lnTo>
                    <a:pt x="146" y="92"/>
                  </a:lnTo>
                  <a:lnTo>
                    <a:pt x="146" y="94"/>
                  </a:lnTo>
                  <a:lnTo>
                    <a:pt x="152" y="94"/>
                  </a:lnTo>
                  <a:lnTo>
                    <a:pt x="150" y="96"/>
                  </a:lnTo>
                  <a:lnTo>
                    <a:pt x="150" y="98"/>
                  </a:lnTo>
                  <a:lnTo>
                    <a:pt x="152" y="98"/>
                  </a:lnTo>
                  <a:lnTo>
                    <a:pt x="152" y="100"/>
                  </a:lnTo>
                  <a:lnTo>
                    <a:pt x="142" y="100"/>
                  </a:lnTo>
                  <a:lnTo>
                    <a:pt x="142" y="106"/>
                  </a:lnTo>
                  <a:lnTo>
                    <a:pt x="144" y="108"/>
                  </a:lnTo>
                  <a:lnTo>
                    <a:pt x="142" y="110"/>
                  </a:lnTo>
                  <a:lnTo>
                    <a:pt x="138" y="110"/>
                  </a:lnTo>
                  <a:lnTo>
                    <a:pt x="138" y="112"/>
                  </a:lnTo>
                  <a:lnTo>
                    <a:pt x="136" y="116"/>
                  </a:lnTo>
                  <a:lnTo>
                    <a:pt x="132" y="114"/>
                  </a:lnTo>
                  <a:lnTo>
                    <a:pt x="130" y="116"/>
                  </a:lnTo>
                  <a:lnTo>
                    <a:pt x="130" y="118"/>
                  </a:lnTo>
                  <a:lnTo>
                    <a:pt x="130" y="120"/>
                  </a:lnTo>
                  <a:lnTo>
                    <a:pt x="120" y="124"/>
                  </a:lnTo>
                  <a:lnTo>
                    <a:pt x="120" y="126"/>
                  </a:lnTo>
                  <a:lnTo>
                    <a:pt x="122" y="128"/>
                  </a:lnTo>
                  <a:lnTo>
                    <a:pt x="124" y="128"/>
                  </a:lnTo>
                  <a:lnTo>
                    <a:pt x="122" y="128"/>
                  </a:lnTo>
                  <a:lnTo>
                    <a:pt x="120" y="128"/>
                  </a:lnTo>
                  <a:lnTo>
                    <a:pt x="122" y="136"/>
                  </a:lnTo>
                  <a:lnTo>
                    <a:pt x="114" y="142"/>
                  </a:lnTo>
                  <a:lnTo>
                    <a:pt x="110" y="142"/>
                  </a:lnTo>
                  <a:lnTo>
                    <a:pt x="110" y="146"/>
                  </a:lnTo>
                  <a:lnTo>
                    <a:pt x="104" y="146"/>
                  </a:lnTo>
                  <a:lnTo>
                    <a:pt x="100" y="148"/>
                  </a:lnTo>
                  <a:lnTo>
                    <a:pt x="104" y="154"/>
                  </a:lnTo>
                  <a:lnTo>
                    <a:pt x="104" y="154"/>
                  </a:lnTo>
                  <a:lnTo>
                    <a:pt x="102" y="156"/>
                  </a:lnTo>
                  <a:lnTo>
                    <a:pt x="98" y="154"/>
                  </a:lnTo>
                  <a:lnTo>
                    <a:pt x="94" y="154"/>
                  </a:lnTo>
                  <a:lnTo>
                    <a:pt x="92" y="154"/>
                  </a:lnTo>
                  <a:lnTo>
                    <a:pt x="92" y="156"/>
                  </a:lnTo>
                  <a:lnTo>
                    <a:pt x="92" y="158"/>
                  </a:lnTo>
                  <a:lnTo>
                    <a:pt x="88" y="160"/>
                  </a:lnTo>
                  <a:lnTo>
                    <a:pt x="88" y="162"/>
                  </a:lnTo>
                  <a:lnTo>
                    <a:pt x="86" y="162"/>
                  </a:lnTo>
                  <a:lnTo>
                    <a:pt x="84" y="162"/>
                  </a:lnTo>
                  <a:lnTo>
                    <a:pt x="82" y="164"/>
                  </a:lnTo>
                  <a:lnTo>
                    <a:pt x="82" y="166"/>
                  </a:lnTo>
                  <a:lnTo>
                    <a:pt x="76" y="172"/>
                  </a:lnTo>
                  <a:lnTo>
                    <a:pt x="74" y="174"/>
                  </a:lnTo>
                  <a:lnTo>
                    <a:pt x="72" y="178"/>
                  </a:lnTo>
                  <a:lnTo>
                    <a:pt x="68" y="178"/>
                  </a:lnTo>
                  <a:lnTo>
                    <a:pt x="70" y="184"/>
                  </a:lnTo>
                  <a:lnTo>
                    <a:pt x="78" y="180"/>
                  </a:lnTo>
                  <a:lnTo>
                    <a:pt x="88" y="174"/>
                  </a:lnTo>
                  <a:lnTo>
                    <a:pt x="86" y="178"/>
                  </a:lnTo>
                  <a:lnTo>
                    <a:pt x="80" y="182"/>
                  </a:lnTo>
                  <a:lnTo>
                    <a:pt x="76" y="184"/>
                  </a:lnTo>
                  <a:lnTo>
                    <a:pt x="76" y="190"/>
                  </a:lnTo>
                  <a:lnTo>
                    <a:pt x="66" y="188"/>
                  </a:lnTo>
                  <a:lnTo>
                    <a:pt x="66" y="184"/>
                  </a:lnTo>
                  <a:lnTo>
                    <a:pt x="64" y="182"/>
                  </a:lnTo>
                  <a:lnTo>
                    <a:pt x="58" y="184"/>
                  </a:lnTo>
                  <a:lnTo>
                    <a:pt x="52" y="184"/>
                  </a:lnTo>
                  <a:lnTo>
                    <a:pt x="52" y="190"/>
                  </a:lnTo>
                  <a:lnTo>
                    <a:pt x="54" y="190"/>
                  </a:lnTo>
                  <a:lnTo>
                    <a:pt x="52" y="192"/>
                  </a:lnTo>
                  <a:lnTo>
                    <a:pt x="50" y="192"/>
                  </a:lnTo>
                  <a:lnTo>
                    <a:pt x="48" y="192"/>
                  </a:lnTo>
                  <a:lnTo>
                    <a:pt x="46" y="194"/>
                  </a:lnTo>
                  <a:lnTo>
                    <a:pt x="46" y="196"/>
                  </a:lnTo>
                  <a:lnTo>
                    <a:pt x="46" y="198"/>
                  </a:lnTo>
                  <a:lnTo>
                    <a:pt x="46" y="196"/>
                  </a:lnTo>
                  <a:lnTo>
                    <a:pt x="44" y="196"/>
                  </a:lnTo>
                  <a:lnTo>
                    <a:pt x="44" y="200"/>
                  </a:lnTo>
                  <a:lnTo>
                    <a:pt x="42" y="198"/>
                  </a:lnTo>
                  <a:lnTo>
                    <a:pt x="30" y="198"/>
                  </a:lnTo>
                  <a:lnTo>
                    <a:pt x="32" y="202"/>
                  </a:lnTo>
                  <a:lnTo>
                    <a:pt x="34" y="202"/>
                  </a:lnTo>
                  <a:lnTo>
                    <a:pt x="36" y="204"/>
                  </a:lnTo>
                  <a:lnTo>
                    <a:pt x="36" y="206"/>
                  </a:lnTo>
                  <a:lnTo>
                    <a:pt x="32" y="210"/>
                  </a:lnTo>
                  <a:lnTo>
                    <a:pt x="32" y="212"/>
                  </a:lnTo>
                  <a:lnTo>
                    <a:pt x="30" y="210"/>
                  </a:lnTo>
                  <a:lnTo>
                    <a:pt x="26" y="210"/>
                  </a:lnTo>
                  <a:lnTo>
                    <a:pt x="22" y="210"/>
                  </a:lnTo>
                  <a:lnTo>
                    <a:pt x="22" y="212"/>
                  </a:lnTo>
                  <a:lnTo>
                    <a:pt x="20" y="214"/>
                  </a:lnTo>
                  <a:lnTo>
                    <a:pt x="28" y="214"/>
                  </a:lnTo>
                  <a:lnTo>
                    <a:pt x="30" y="216"/>
                  </a:lnTo>
                  <a:lnTo>
                    <a:pt x="24" y="218"/>
                  </a:lnTo>
                  <a:lnTo>
                    <a:pt x="24" y="220"/>
                  </a:lnTo>
                  <a:lnTo>
                    <a:pt x="22" y="218"/>
                  </a:lnTo>
                  <a:lnTo>
                    <a:pt x="20" y="216"/>
                  </a:lnTo>
                  <a:lnTo>
                    <a:pt x="20" y="220"/>
                  </a:lnTo>
                  <a:lnTo>
                    <a:pt x="14" y="220"/>
                  </a:lnTo>
                  <a:lnTo>
                    <a:pt x="8" y="220"/>
                  </a:lnTo>
                  <a:lnTo>
                    <a:pt x="8" y="222"/>
                  </a:lnTo>
                  <a:lnTo>
                    <a:pt x="6" y="220"/>
                  </a:lnTo>
                  <a:lnTo>
                    <a:pt x="4" y="220"/>
                  </a:lnTo>
                  <a:lnTo>
                    <a:pt x="4" y="224"/>
                  </a:lnTo>
                  <a:lnTo>
                    <a:pt x="16" y="226"/>
                  </a:lnTo>
                  <a:lnTo>
                    <a:pt x="18" y="226"/>
                  </a:lnTo>
                  <a:lnTo>
                    <a:pt x="18" y="228"/>
                  </a:lnTo>
                  <a:lnTo>
                    <a:pt x="0" y="228"/>
                  </a:lnTo>
                  <a:lnTo>
                    <a:pt x="0" y="234"/>
                  </a:lnTo>
                  <a:lnTo>
                    <a:pt x="0" y="240"/>
                  </a:lnTo>
                  <a:lnTo>
                    <a:pt x="4" y="240"/>
                  </a:lnTo>
                  <a:lnTo>
                    <a:pt x="6" y="238"/>
                  </a:lnTo>
                  <a:lnTo>
                    <a:pt x="8" y="238"/>
                  </a:lnTo>
                  <a:lnTo>
                    <a:pt x="12" y="242"/>
                  </a:lnTo>
                  <a:lnTo>
                    <a:pt x="16" y="242"/>
                  </a:lnTo>
                  <a:lnTo>
                    <a:pt x="16" y="238"/>
                  </a:lnTo>
                  <a:lnTo>
                    <a:pt x="18" y="236"/>
                  </a:lnTo>
                  <a:lnTo>
                    <a:pt x="20" y="240"/>
                  </a:lnTo>
                  <a:lnTo>
                    <a:pt x="22" y="238"/>
                  </a:lnTo>
                  <a:lnTo>
                    <a:pt x="24" y="238"/>
                  </a:lnTo>
                  <a:lnTo>
                    <a:pt x="26" y="240"/>
                  </a:lnTo>
                  <a:lnTo>
                    <a:pt x="26" y="242"/>
                  </a:lnTo>
                  <a:lnTo>
                    <a:pt x="28" y="240"/>
                  </a:lnTo>
                  <a:lnTo>
                    <a:pt x="30" y="238"/>
                  </a:lnTo>
                  <a:lnTo>
                    <a:pt x="30" y="242"/>
                  </a:lnTo>
                  <a:lnTo>
                    <a:pt x="24" y="242"/>
                  </a:lnTo>
                  <a:lnTo>
                    <a:pt x="24" y="244"/>
                  </a:lnTo>
                  <a:lnTo>
                    <a:pt x="22" y="244"/>
                  </a:lnTo>
                  <a:lnTo>
                    <a:pt x="20" y="242"/>
                  </a:lnTo>
                  <a:lnTo>
                    <a:pt x="4" y="242"/>
                  </a:lnTo>
                  <a:lnTo>
                    <a:pt x="2" y="244"/>
                  </a:lnTo>
                  <a:lnTo>
                    <a:pt x="0" y="244"/>
                  </a:lnTo>
                  <a:lnTo>
                    <a:pt x="0" y="246"/>
                  </a:lnTo>
                  <a:lnTo>
                    <a:pt x="6" y="248"/>
                  </a:lnTo>
                  <a:lnTo>
                    <a:pt x="6" y="252"/>
                  </a:lnTo>
                  <a:lnTo>
                    <a:pt x="2" y="252"/>
                  </a:lnTo>
                  <a:lnTo>
                    <a:pt x="2" y="254"/>
                  </a:lnTo>
                  <a:lnTo>
                    <a:pt x="0" y="256"/>
                  </a:lnTo>
                  <a:lnTo>
                    <a:pt x="6" y="258"/>
                  </a:lnTo>
                  <a:lnTo>
                    <a:pt x="6" y="256"/>
                  </a:lnTo>
                  <a:lnTo>
                    <a:pt x="8" y="256"/>
                  </a:lnTo>
                  <a:lnTo>
                    <a:pt x="10" y="258"/>
                  </a:lnTo>
                  <a:lnTo>
                    <a:pt x="8" y="258"/>
                  </a:lnTo>
                  <a:lnTo>
                    <a:pt x="6" y="258"/>
                  </a:lnTo>
                  <a:lnTo>
                    <a:pt x="6" y="262"/>
                  </a:lnTo>
                  <a:lnTo>
                    <a:pt x="12" y="260"/>
                  </a:lnTo>
                  <a:lnTo>
                    <a:pt x="12" y="264"/>
                  </a:lnTo>
                  <a:lnTo>
                    <a:pt x="14" y="264"/>
                  </a:lnTo>
                  <a:lnTo>
                    <a:pt x="16" y="264"/>
                  </a:lnTo>
                  <a:lnTo>
                    <a:pt x="18" y="262"/>
                  </a:lnTo>
                  <a:lnTo>
                    <a:pt x="20" y="258"/>
                  </a:lnTo>
                  <a:lnTo>
                    <a:pt x="22" y="256"/>
                  </a:lnTo>
                  <a:lnTo>
                    <a:pt x="28" y="256"/>
                  </a:lnTo>
                  <a:lnTo>
                    <a:pt x="26" y="260"/>
                  </a:lnTo>
                  <a:lnTo>
                    <a:pt x="22" y="260"/>
                  </a:lnTo>
                  <a:lnTo>
                    <a:pt x="20" y="262"/>
                  </a:lnTo>
                  <a:lnTo>
                    <a:pt x="20" y="264"/>
                  </a:lnTo>
                  <a:lnTo>
                    <a:pt x="18" y="266"/>
                  </a:lnTo>
                  <a:lnTo>
                    <a:pt x="16" y="268"/>
                  </a:lnTo>
                  <a:lnTo>
                    <a:pt x="16" y="272"/>
                  </a:lnTo>
                  <a:lnTo>
                    <a:pt x="16" y="274"/>
                  </a:lnTo>
                  <a:lnTo>
                    <a:pt x="14" y="274"/>
                  </a:lnTo>
                  <a:lnTo>
                    <a:pt x="12" y="276"/>
                  </a:lnTo>
                  <a:lnTo>
                    <a:pt x="6" y="276"/>
                  </a:lnTo>
                  <a:lnTo>
                    <a:pt x="4" y="276"/>
                  </a:lnTo>
                  <a:lnTo>
                    <a:pt x="4" y="280"/>
                  </a:lnTo>
                  <a:lnTo>
                    <a:pt x="8" y="280"/>
                  </a:lnTo>
                  <a:lnTo>
                    <a:pt x="10" y="282"/>
                  </a:lnTo>
                  <a:lnTo>
                    <a:pt x="10" y="280"/>
                  </a:lnTo>
                  <a:lnTo>
                    <a:pt x="18" y="280"/>
                  </a:lnTo>
                  <a:lnTo>
                    <a:pt x="18" y="278"/>
                  </a:lnTo>
                  <a:lnTo>
                    <a:pt x="18" y="276"/>
                  </a:lnTo>
                  <a:lnTo>
                    <a:pt x="18" y="278"/>
                  </a:lnTo>
                  <a:lnTo>
                    <a:pt x="18" y="280"/>
                  </a:lnTo>
                  <a:lnTo>
                    <a:pt x="18" y="282"/>
                  </a:lnTo>
                  <a:lnTo>
                    <a:pt x="18" y="286"/>
                  </a:lnTo>
                  <a:lnTo>
                    <a:pt x="16" y="292"/>
                  </a:lnTo>
                  <a:lnTo>
                    <a:pt x="14" y="294"/>
                  </a:lnTo>
                  <a:lnTo>
                    <a:pt x="10" y="294"/>
                  </a:lnTo>
                  <a:lnTo>
                    <a:pt x="10" y="300"/>
                  </a:lnTo>
                  <a:lnTo>
                    <a:pt x="16" y="306"/>
                  </a:lnTo>
                  <a:lnTo>
                    <a:pt x="20" y="308"/>
                  </a:lnTo>
                  <a:lnTo>
                    <a:pt x="26" y="308"/>
                  </a:lnTo>
                  <a:lnTo>
                    <a:pt x="26" y="306"/>
                  </a:lnTo>
                  <a:lnTo>
                    <a:pt x="26" y="304"/>
                  </a:lnTo>
                  <a:lnTo>
                    <a:pt x="28" y="306"/>
                  </a:lnTo>
                  <a:lnTo>
                    <a:pt x="26" y="310"/>
                  </a:lnTo>
                  <a:lnTo>
                    <a:pt x="32" y="310"/>
                  </a:lnTo>
                  <a:lnTo>
                    <a:pt x="36" y="310"/>
                  </a:lnTo>
                  <a:lnTo>
                    <a:pt x="40" y="306"/>
                  </a:lnTo>
                  <a:lnTo>
                    <a:pt x="44" y="306"/>
                  </a:lnTo>
                  <a:lnTo>
                    <a:pt x="48" y="302"/>
                  </a:lnTo>
                  <a:lnTo>
                    <a:pt x="54" y="300"/>
                  </a:lnTo>
                  <a:lnTo>
                    <a:pt x="60" y="294"/>
                  </a:lnTo>
                  <a:lnTo>
                    <a:pt x="66" y="294"/>
                  </a:lnTo>
                  <a:lnTo>
                    <a:pt x="74" y="290"/>
                  </a:lnTo>
                  <a:lnTo>
                    <a:pt x="80" y="284"/>
                  </a:lnTo>
                  <a:lnTo>
                    <a:pt x="84" y="284"/>
                  </a:lnTo>
                  <a:lnTo>
                    <a:pt x="82" y="290"/>
                  </a:lnTo>
                  <a:lnTo>
                    <a:pt x="82" y="29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59" name="Freeform 523">
              <a:extLst>
                <a:ext uri="{FF2B5EF4-FFF2-40B4-BE49-F238E27FC236}">
                  <a16:creationId xmlns:a16="http://schemas.microsoft.com/office/drawing/2014/main" id="{22F058C8-A9AC-4349-B091-BAA7D0CFE626}"/>
                </a:ext>
              </a:extLst>
            </p:cNvPr>
            <p:cNvSpPr>
              <a:spLocks/>
            </p:cNvSpPr>
            <p:nvPr/>
          </p:nvSpPr>
          <p:spPr bwMode="auto">
            <a:xfrm>
              <a:off x="3093696" y="3568824"/>
              <a:ext cx="72509" cy="56971"/>
            </a:xfrm>
            <a:custGeom>
              <a:avLst/>
              <a:gdLst/>
              <a:ahLst/>
              <a:cxnLst>
                <a:cxn ang="0">
                  <a:pos x="56" y="8"/>
                </a:cxn>
                <a:cxn ang="0">
                  <a:pos x="56" y="8"/>
                </a:cxn>
                <a:cxn ang="0">
                  <a:pos x="52" y="6"/>
                </a:cxn>
                <a:cxn ang="0">
                  <a:pos x="52" y="2"/>
                </a:cxn>
                <a:cxn ang="0">
                  <a:pos x="48" y="0"/>
                </a:cxn>
                <a:cxn ang="0">
                  <a:pos x="44" y="0"/>
                </a:cxn>
                <a:cxn ang="0">
                  <a:pos x="42" y="2"/>
                </a:cxn>
                <a:cxn ang="0">
                  <a:pos x="40" y="0"/>
                </a:cxn>
                <a:cxn ang="0">
                  <a:pos x="36" y="0"/>
                </a:cxn>
                <a:cxn ang="0">
                  <a:pos x="34" y="0"/>
                </a:cxn>
                <a:cxn ang="0">
                  <a:pos x="30" y="2"/>
                </a:cxn>
                <a:cxn ang="0">
                  <a:pos x="30" y="4"/>
                </a:cxn>
                <a:cxn ang="0">
                  <a:pos x="28" y="6"/>
                </a:cxn>
                <a:cxn ang="0">
                  <a:pos x="24" y="8"/>
                </a:cxn>
                <a:cxn ang="0">
                  <a:pos x="20" y="8"/>
                </a:cxn>
                <a:cxn ang="0">
                  <a:pos x="16" y="14"/>
                </a:cxn>
                <a:cxn ang="0">
                  <a:pos x="16" y="18"/>
                </a:cxn>
                <a:cxn ang="0">
                  <a:pos x="14" y="22"/>
                </a:cxn>
                <a:cxn ang="0">
                  <a:pos x="14" y="24"/>
                </a:cxn>
                <a:cxn ang="0">
                  <a:pos x="16" y="26"/>
                </a:cxn>
                <a:cxn ang="0">
                  <a:pos x="12" y="28"/>
                </a:cxn>
                <a:cxn ang="0">
                  <a:pos x="12" y="32"/>
                </a:cxn>
                <a:cxn ang="0">
                  <a:pos x="10" y="34"/>
                </a:cxn>
                <a:cxn ang="0">
                  <a:pos x="6" y="34"/>
                </a:cxn>
                <a:cxn ang="0">
                  <a:pos x="4" y="34"/>
                </a:cxn>
                <a:cxn ang="0">
                  <a:pos x="0" y="32"/>
                </a:cxn>
                <a:cxn ang="0">
                  <a:pos x="2" y="36"/>
                </a:cxn>
                <a:cxn ang="0">
                  <a:pos x="6" y="40"/>
                </a:cxn>
                <a:cxn ang="0">
                  <a:pos x="8" y="42"/>
                </a:cxn>
                <a:cxn ang="0">
                  <a:pos x="10" y="42"/>
                </a:cxn>
                <a:cxn ang="0">
                  <a:pos x="12" y="40"/>
                </a:cxn>
                <a:cxn ang="0">
                  <a:pos x="16" y="38"/>
                </a:cxn>
                <a:cxn ang="0">
                  <a:pos x="20" y="38"/>
                </a:cxn>
                <a:cxn ang="0">
                  <a:pos x="22" y="38"/>
                </a:cxn>
                <a:cxn ang="0">
                  <a:pos x="22" y="40"/>
                </a:cxn>
                <a:cxn ang="0">
                  <a:pos x="24" y="42"/>
                </a:cxn>
                <a:cxn ang="0">
                  <a:pos x="26" y="44"/>
                </a:cxn>
                <a:cxn ang="0">
                  <a:pos x="28" y="44"/>
                </a:cxn>
                <a:cxn ang="0">
                  <a:pos x="32" y="30"/>
                </a:cxn>
                <a:cxn ang="0">
                  <a:pos x="34" y="28"/>
                </a:cxn>
                <a:cxn ang="0">
                  <a:pos x="36" y="28"/>
                </a:cxn>
                <a:cxn ang="0">
                  <a:pos x="40" y="28"/>
                </a:cxn>
                <a:cxn ang="0">
                  <a:pos x="44" y="28"/>
                </a:cxn>
                <a:cxn ang="0">
                  <a:pos x="46" y="28"/>
                </a:cxn>
                <a:cxn ang="0">
                  <a:pos x="46" y="26"/>
                </a:cxn>
                <a:cxn ang="0">
                  <a:pos x="50" y="24"/>
                </a:cxn>
                <a:cxn ang="0">
                  <a:pos x="52" y="24"/>
                </a:cxn>
                <a:cxn ang="0">
                  <a:pos x="52" y="22"/>
                </a:cxn>
                <a:cxn ang="0">
                  <a:pos x="50" y="18"/>
                </a:cxn>
                <a:cxn ang="0">
                  <a:pos x="52" y="18"/>
                </a:cxn>
                <a:cxn ang="0">
                  <a:pos x="54" y="16"/>
                </a:cxn>
                <a:cxn ang="0">
                  <a:pos x="56" y="14"/>
                </a:cxn>
                <a:cxn ang="0">
                  <a:pos x="56" y="8"/>
                </a:cxn>
                <a:cxn ang="0">
                  <a:pos x="56" y="8"/>
                </a:cxn>
              </a:cxnLst>
              <a:rect l="0" t="0" r="r" b="b"/>
              <a:pathLst>
                <a:path w="56" h="44">
                  <a:moveTo>
                    <a:pt x="56" y="8"/>
                  </a:moveTo>
                  <a:lnTo>
                    <a:pt x="56" y="8"/>
                  </a:lnTo>
                  <a:lnTo>
                    <a:pt x="52" y="6"/>
                  </a:lnTo>
                  <a:lnTo>
                    <a:pt x="52" y="2"/>
                  </a:lnTo>
                  <a:lnTo>
                    <a:pt x="48" y="0"/>
                  </a:lnTo>
                  <a:lnTo>
                    <a:pt x="44" y="0"/>
                  </a:lnTo>
                  <a:lnTo>
                    <a:pt x="42" y="2"/>
                  </a:lnTo>
                  <a:lnTo>
                    <a:pt x="40" y="0"/>
                  </a:lnTo>
                  <a:lnTo>
                    <a:pt x="36" y="0"/>
                  </a:lnTo>
                  <a:lnTo>
                    <a:pt x="34" y="0"/>
                  </a:lnTo>
                  <a:lnTo>
                    <a:pt x="30" y="2"/>
                  </a:lnTo>
                  <a:lnTo>
                    <a:pt x="30" y="4"/>
                  </a:lnTo>
                  <a:lnTo>
                    <a:pt x="28" y="6"/>
                  </a:lnTo>
                  <a:lnTo>
                    <a:pt x="24" y="8"/>
                  </a:lnTo>
                  <a:lnTo>
                    <a:pt x="20" y="8"/>
                  </a:lnTo>
                  <a:lnTo>
                    <a:pt x="16" y="14"/>
                  </a:lnTo>
                  <a:lnTo>
                    <a:pt x="16" y="18"/>
                  </a:lnTo>
                  <a:lnTo>
                    <a:pt x="14" y="22"/>
                  </a:lnTo>
                  <a:lnTo>
                    <a:pt x="14" y="24"/>
                  </a:lnTo>
                  <a:lnTo>
                    <a:pt x="16" y="26"/>
                  </a:lnTo>
                  <a:lnTo>
                    <a:pt x="12" y="28"/>
                  </a:lnTo>
                  <a:lnTo>
                    <a:pt x="12" y="32"/>
                  </a:lnTo>
                  <a:lnTo>
                    <a:pt x="10" y="34"/>
                  </a:lnTo>
                  <a:lnTo>
                    <a:pt x="6" y="34"/>
                  </a:lnTo>
                  <a:lnTo>
                    <a:pt x="4" y="34"/>
                  </a:lnTo>
                  <a:lnTo>
                    <a:pt x="0" y="32"/>
                  </a:lnTo>
                  <a:lnTo>
                    <a:pt x="2" y="36"/>
                  </a:lnTo>
                  <a:lnTo>
                    <a:pt x="6" y="40"/>
                  </a:lnTo>
                  <a:lnTo>
                    <a:pt x="8" y="42"/>
                  </a:lnTo>
                  <a:lnTo>
                    <a:pt x="10" y="42"/>
                  </a:lnTo>
                  <a:lnTo>
                    <a:pt x="12" y="40"/>
                  </a:lnTo>
                  <a:lnTo>
                    <a:pt x="16" y="38"/>
                  </a:lnTo>
                  <a:lnTo>
                    <a:pt x="20" y="38"/>
                  </a:lnTo>
                  <a:lnTo>
                    <a:pt x="22" y="38"/>
                  </a:lnTo>
                  <a:lnTo>
                    <a:pt x="22" y="40"/>
                  </a:lnTo>
                  <a:lnTo>
                    <a:pt x="24" y="42"/>
                  </a:lnTo>
                  <a:lnTo>
                    <a:pt x="26" y="44"/>
                  </a:lnTo>
                  <a:lnTo>
                    <a:pt x="28" y="44"/>
                  </a:lnTo>
                  <a:lnTo>
                    <a:pt x="32" y="30"/>
                  </a:lnTo>
                  <a:lnTo>
                    <a:pt x="34" y="28"/>
                  </a:lnTo>
                  <a:lnTo>
                    <a:pt x="36" y="28"/>
                  </a:lnTo>
                  <a:lnTo>
                    <a:pt x="40" y="28"/>
                  </a:lnTo>
                  <a:lnTo>
                    <a:pt x="44" y="28"/>
                  </a:lnTo>
                  <a:lnTo>
                    <a:pt x="46" y="28"/>
                  </a:lnTo>
                  <a:lnTo>
                    <a:pt x="46" y="26"/>
                  </a:lnTo>
                  <a:lnTo>
                    <a:pt x="50" y="24"/>
                  </a:lnTo>
                  <a:lnTo>
                    <a:pt x="52" y="24"/>
                  </a:lnTo>
                  <a:lnTo>
                    <a:pt x="52" y="22"/>
                  </a:lnTo>
                  <a:lnTo>
                    <a:pt x="50" y="18"/>
                  </a:lnTo>
                  <a:lnTo>
                    <a:pt x="52" y="18"/>
                  </a:lnTo>
                  <a:lnTo>
                    <a:pt x="54" y="16"/>
                  </a:lnTo>
                  <a:lnTo>
                    <a:pt x="56" y="14"/>
                  </a:lnTo>
                  <a:lnTo>
                    <a:pt x="56" y="8"/>
                  </a:lnTo>
                  <a:lnTo>
                    <a:pt x="56" y="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0" name="Freeform 524">
              <a:extLst>
                <a:ext uri="{FF2B5EF4-FFF2-40B4-BE49-F238E27FC236}">
                  <a16:creationId xmlns:a16="http://schemas.microsoft.com/office/drawing/2014/main" id="{CF6371F3-0B10-4EF5-A6A5-BD039A9A25B7}"/>
                </a:ext>
              </a:extLst>
            </p:cNvPr>
            <p:cNvSpPr>
              <a:spLocks/>
            </p:cNvSpPr>
            <p:nvPr/>
          </p:nvSpPr>
          <p:spPr bwMode="auto">
            <a:xfrm>
              <a:off x="3383732" y="3835554"/>
              <a:ext cx="51792" cy="44023"/>
            </a:xfrm>
            <a:custGeom>
              <a:avLst/>
              <a:gdLst/>
              <a:ahLst/>
              <a:cxnLst>
                <a:cxn ang="0">
                  <a:pos x="4" y="12"/>
                </a:cxn>
                <a:cxn ang="0">
                  <a:pos x="8" y="8"/>
                </a:cxn>
                <a:cxn ang="0">
                  <a:pos x="12" y="6"/>
                </a:cxn>
                <a:cxn ang="0">
                  <a:pos x="14" y="10"/>
                </a:cxn>
                <a:cxn ang="0">
                  <a:pos x="16" y="4"/>
                </a:cxn>
                <a:cxn ang="0">
                  <a:pos x="20" y="4"/>
                </a:cxn>
                <a:cxn ang="0">
                  <a:pos x="24" y="4"/>
                </a:cxn>
                <a:cxn ang="0">
                  <a:pos x="30" y="2"/>
                </a:cxn>
                <a:cxn ang="0">
                  <a:pos x="32" y="0"/>
                </a:cxn>
                <a:cxn ang="0">
                  <a:pos x="36" y="4"/>
                </a:cxn>
                <a:cxn ang="0">
                  <a:pos x="36" y="6"/>
                </a:cxn>
                <a:cxn ang="0">
                  <a:pos x="36" y="8"/>
                </a:cxn>
                <a:cxn ang="0">
                  <a:pos x="36" y="10"/>
                </a:cxn>
                <a:cxn ang="0">
                  <a:pos x="40" y="14"/>
                </a:cxn>
                <a:cxn ang="0">
                  <a:pos x="38" y="14"/>
                </a:cxn>
                <a:cxn ang="0">
                  <a:pos x="38" y="20"/>
                </a:cxn>
                <a:cxn ang="0">
                  <a:pos x="36" y="24"/>
                </a:cxn>
                <a:cxn ang="0">
                  <a:pos x="36" y="26"/>
                </a:cxn>
                <a:cxn ang="0">
                  <a:pos x="34" y="26"/>
                </a:cxn>
                <a:cxn ang="0">
                  <a:pos x="30" y="26"/>
                </a:cxn>
                <a:cxn ang="0">
                  <a:pos x="28" y="28"/>
                </a:cxn>
                <a:cxn ang="0">
                  <a:pos x="26" y="28"/>
                </a:cxn>
                <a:cxn ang="0">
                  <a:pos x="26" y="30"/>
                </a:cxn>
                <a:cxn ang="0">
                  <a:pos x="24" y="30"/>
                </a:cxn>
                <a:cxn ang="0">
                  <a:pos x="22" y="32"/>
                </a:cxn>
                <a:cxn ang="0">
                  <a:pos x="20" y="34"/>
                </a:cxn>
                <a:cxn ang="0">
                  <a:pos x="18" y="34"/>
                </a:cxn>
                <a:cxn ang="0">
                  <a:pos x="6" y="34"/>
                </a:cxn>
                <a:cxn ang="0">
                  <a:pos x="4" y="32"/>
                </a:cxn>
                <a:cxn ang="0">
                  <a:pos x="2" y="28"/>
                </a:cxn>
                <a:cxn ang="0">
                  <a:pos x="0" y="24"/>
                </a:cxn>
                <a:cxn ang="0">
                  <a:pos x="2" y="22"/>
                </a:cxn>
                <a:cxn ang="0">
                  <a:pos x="2" y="16"/>
                </a:cxn>
                <a:cxn ang="0">
                  <a:pos x="2" y="14"/>
                </a:cxn>
                <a:cxn ang="0">
                  <a:pos x="4" y="12"/>
                </a:cxn>
                <a:cxn ang="0">
                  <a:pos x="4" y="12"/>
                </a:cxn>
              </a:cxnLst>
              <a:rect l="0" t="0" r="r" b="b"/>
              <a:pathLst>
                <a:path w="40" h="34">
                  <a:moveTo>
                    <a:pt x="4" y="12"/>
                  </a:moveTo>
                  <a:lnTo>
                    <a:pt x="8" y="8"/>
                  </a:lnTo>
                  <a:lnTo>
                    <a:pt x="12" y="6"/>
                  </a:lnTo>
                  <a:lnTo>
                    <a:pt x="14" y="10"/>
                  </a:lnTo>
                  <a:lnTo>
                    <a:pt x="16" y="4"/>
                  </a:lnTo>
                  <a:lnTo>
                    <a:pt x="20" y="4"/>
                  </a:lnTo>
                  <a:lnTo>
                    <a:pt x="24" y="4"/>
                  </a:lnTo>
                  <a:lnTo>
                    <a:pt x="30" y="2"/>
                  </a:lnTo>
                  <a:lnTo>
                    <a:pt x="32" y="0"/>
                  </a:lnTo>
                  <a:lnTo>
                    <a:pt x="36" y="4"/>
                  </a:lnTo>
                  <a:lnTo>
                    <a:pt x="36" y="6"/>
                  </a:lnTo>
                  <a:lnTo>
                    <a:pt x="36" y="8"/>
                  </a:lnTo>
                  <a:lnTo>
                    <a:pt x="36" y="10"/>
                  </a:lnTo>
                  <a:lnTo>
                    <a:pt x="40" y="14"/>
                  </a:lnTo>
                  <a:lnTo>
                    <a:pt x="38" y="14"/>
                  </a:lnTo>
                  <a:lnTo>
                    <a:pt x="38" y="20"/>
                  </a:lnTo>
                  <a:lnTo>
                    <a:pt x="36" y="24"/>
                  </a:lnTo>
                  <a:lnTo>
                    <a:pt x="36" y="26"/>
                  </a:lnTo>
                  <a:lnTo>
                    <a:pt x="34" y="26"/>
                  </a:lnTo>
                  <a:lnTo>
                    <a:pt x="30" y="26"/>
                  </a:lnTo>
                  <a:lnTo>
                    <a:pt x="28" y="28"/>
                  </a:lnTo>
                  <a:lnTo>
                    <a:pt x="26" y="28"/>
                  </a:lnTo>
                  <a:lnTo>
                    <a:pt x="26" y="30"/>
                  </a:lnTo>
                  <a:lnTo>
                    <a:pt x="24" y="30"/>
                  </a:lnTo>
                  <a:lnTo>
                    <a:pt x="22" y="32"/>
                  </a:lnTo>
                  <a:lnTo>
                    <a:pt x="20" y="34"/>
                  </a:lnTo>
                  <a:lnTo>
                    <a:pt x="18" y="34"/>
                  </a:lnTo>
                  <a:lnTo>
                    <a:pt x="6" y="34"/>
                  </a:lnTo>
                  <a:lnTo>
                    <a:pt x="4" y="32"/>
                  </a:lnTo>
                  <a:lnTo>
                    <a:pt x="2" y="28"/>
                  </a:lnTo>
                  <a:lnTo>
                    <a:pt x="0" y="24"/>
                  </a:lnTo>
                  <a:lnTo>
                    <a:pt x="2" y="22"/>
                  </a:lnTo>
                  <a:lnTo>
                    <a:pt x="2" y="16"/>
                  </a:lnTo>
                  <a:lnTo>
                    <a:pt x="2" y="14"/>
                  </a:lnTo>
                  <a:lnTo>
                    <a:pt x="4" y="12"/>
                  </a:lnTo>
                  <a:lnTo>
                    <a:pt x="4"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1" name="Freeform 525">
              <a:extLst>
                <a:ext uri="{FF2B5EF4-FFF2-40B4-BE49-F238E27FC236}">
                  <a16:creationId xmlns:a16="http://schemas.microsoft.com/office/drawing/2014/main" id="{A05D54BB-6752-4C47-B986-45D5DE222F38}"/>
                </a:ext>
              </a:extLst>
            </p:cNvPr>
            <p:cNvSpPr>
              <a:spLocks noEditPoints="1"/>
            </p:cNvSpPr>
            <p:nvPr/>
          </p:nvSpPr>
          <p:spPr bwMode="auto">
            <a:xfrm>
              <a:off x="3383732" y="3480777"/>
              <a:ext cx="103584" cy="75099"/>
            </a:xfrm>
            <a:custGeom>
              <a:avLst/>
              <a:gdLst/>
              <a:ahLst/>
              <a:cxnLst>
                <a:cxn ang="0">
                  <a:pos x="4" y="6"/>
                </a:cxn>
                <a:cxn ang="0">
                  <a:pos x="4" y="6"/>
                </a:cxn>
                <a:cxn ang="0">
                  <a:pos x="6" y="24"/>
                </a:cxn>
                <a:cxn ang="0">
                  <a:pos x="2" y="28"/>
                </a:cxn>
                <a:cxn ang="0">
                  <a:pos x="12" y="36"/>
                </a:cxn>
                <a:cxn ang="0">
                  <a:pos x="16" y="38"/>
                </a:cxn>
                <a:cxn ang="0">
                  <a:pos x="22" y="40"/>
                </a:cxn>
                <a:cxn ang="0">
                  <a:pos x="30" y="40"/>
                </a:cxn>
                <a:cxn ang="0">
                  <a:pos x="32" y="52"/>
                </a:cxn>
                <a:cxn ang="0">
                  <a:pos x="40" y="52"/>
                </a:cxn>
                <a:cxn ang="0">
                  <a:pos x="50" y="54"/>
                </a:cxn>
                <a:cxn ang="0">
                  <a:pos x="50" y="56"/>
                </a:cxn>
                <a:cxn ang="0">
                  <a:pos x="50" y="58"/>
                </a:cxn>
                <a:cxn ang="0">
                  <a:pos x="56" y="56"/>
                </a:cxn>
                <a:cxn ang="0">
                  <a:pos x="64" y="56"/>
                </a:cxn>
                <a:cxn ang="0">
                  <a:pos x="66" y="54"/>
                </a:cxn>
                <a:cxn ang="0">
                  <a:pos x="66" y="52"/>
                </a:cxn>
                <a:cxn ang="0">
                  <a:pos x="72" y="50"/>
                </a:cxn>
                <a:cxn ang="0">
                  <a:pos x="72" y="42"/>
                </a:cxn>
                <a:cxn ang="0">
                  <a:pos x="72" y="36"/>
                </a:cxn>
                <a:cxn ang="0">
                  <a:pos x="76" y="32"/>
                </a:cxn>
                <a:cxn ang="0">
                  <a:pos x="78" y="30"/>
                </a:cxn>
                <a:cxn ang="0">
                  <a:pos x="80" y="28"/>
                </a:cxn>
                <a:cxn ang="0">
                  <a:pos x="78" y="24"/>
                </a:cxn>
                <a:cxn ang="0">
                  <a:pos x="72" y="22"/>
                </a:cxn>
                <a:cxn ang="0">
                  <a:pos x="66" y="18"/>
                </a:cxn>
                <a:cxn ang="0">
                  <a:pos x="62" y="16"/>
                </a:cxn>
                <a:cxn ang="0">
                  <a:pos x="58" y="16"/>
                </a:cxn>
                <a:cxn ang="0">
                  <a:pos x="56" y="12"/>
                </a:cxn>
                <a:cxn ang="0">
                  <a:pos x="54" y="10"/>
                </a:cxn>
                <a:cxn ang="0">
                  <a:pos x="50" y="10"/>
                </a:cxn>
                <a:cxn ang="0">
                  <a:pos x="46" y="10"/>
                </a:cxn>
                <a:cxn ang="0">
                  <a:pos x="42" y="8"/>
                </a:cxn>
                <a:cxn ang="0">
                  <a:pos x="30" y="4"/>
                </a:cxn>
                <a:cxn ang="0">
                  <a:pos x="22" y="2"/>
                </a:cxn>
                <a:cxn ang="0">
                  <a:pos x="16" y="0"/>
                </a:cxn>
                <a:cxn ang="0">
                  <a:pos x="10" y="4"/>
                </a:cxn>
                <a:cxn ang="0">
                  <a:pos x="4" y="6"/>
                </a:cxn>
                <a:cxn ang="0">
                  <a:pos x="4" y="6"/>
                </a:cxn>
                <a:cxn ang="0">
                  <a:pos x="0" y="20"/>
                </a:cxn>
                <a:cxn ang="0">
                  <a:pos x="0" y="22"/>
                </a:cxn>
                <a:cxn ang="0">
                  <a:pos x="2" y="22"/>
                </a:cxn>
                <a:cxn ang="0">
                  <a:pos x="2" y="20"/>
                </a:cxn>
                <a:cxn ang="0">
                  <a:pos x="0" y="20"/>
                </a:cxn>
                <a:cxn ang="0">
                  <a:pos x="0" y="20"/>
                </a:cxn>
              </a:cxnLst>
              <a:rect l="0" t="0" r="r" b="b"/>
              <a:pathLst>
                <a:path w="80" h="58">
                  <a:moveTo>
                    <a:pt x="4" y="6"/>
                  </a:moveTo>
                  <a:lnTo>
                    <a:pt x="4" y="6"/>
                  </a:lnTo>
                  <a:lnTo>
                    <a:pt x="6" y="24"/>
                  </a:lnTo>
                  <a:lnTo>
                    <a:pt x="2" y="28"/>
                  </a:lnTo>
                  <a:lnTo>
                    <a:pt x="12" y="36"/>
                  </a:lnTo>
                  <a:lnTo>
                    <a:pt x="16" y="38"/>
                  </a:lnTo>
                  <a:lnTo>
                    <a:pt x="22" y="40"/>
                  </a:lnTo>
                  <a:lnTo>
                    <a:pt x="30" y="40"/>
                  </a:lnTo>
                  <a:lnTo>
                    <a:pt x="32" y="52"/>
                  </a:lnTo>
                  <a:lnTo>
                    <a:pt x="40" y="52"/>
                  </a:lnTo>
                  <a:lnTo>
                    <a:pt x="50" y="54"/>
                  </a:lnTo>
                  <a:lnTo>
                    <a:pt x="50" y="56"/>
                  </a:lnTo>
                  <a:lnTo>
                    <a:pt x="50" y="58"/>
                  </a:lnTo>
                  <a:lnTo>
                    <a:pt x="56" y="56"/>
                  </a:lnTo>
                  <a:lnTo>
                    <a:pt x="64" y="56"/>
                  </a:lnTo>
                  <a:lnTo>
                    <a:pt x="66" y="54"/>
                  </a:lnTo>
                  <a:lnTo>
                    <a:pt x="66" y="52"/>
                  </a:lnTo>
                  <a:lnTo>
                    <a:pt x="72" y="50"/>
                  </a:lnTo>
                  <a:lnTo>
                    <a:pt x="72" y="42"/>
                  </a:lnTo>
                  <a:lnTo>
                    <a:pt x="72" y="36"/>
                  </a:lnTo>
                  <a:lnTo>
                    <a:pt x="76" y="32"/>
                  </a:lnTo>
                  <a:lnTo>
                    <a:pt x="78" y="30"/>
                  </a:lnTo>
                  <a:lnTo>
                    <a:pt x="80" y="28"/>
                  </a:lnTo>
                  <a:lnTo>
                    <a:pt x="78" y="24"/>
                  </a:lnTo>
                  <a:lnTo>
                    <a:pt x="72" y="22"/>
                  </a:lnTo>
                  <a:lnTo>
                    <a:pt x="66" y="18"/>
                  </a:lnTo>
                  <a:lnTo>
                    <a:pt x="62" y="16"/>
                  </a:lnTo>
                  <a:lnTo>
                    <a:pt x="58" y="16"/>
                  </a:lnTo>
                  <a:lnTo>
                    <a:pt x="56" y="12"/>
                  </a:lnTo>
                  <a:lnTo>
                    <a:pt x="54" y="10"/>
                  </a:lnTo>
                  <a:lnTo>
                    <a:pt x="50" y="10"/>
                  </a:lnTo>
                  <a:lnTo>
                    <a:pt x="46" y="10"/>
                  </a:lnTo>
                  <a:lnTo>
                    <a:pt x="42" y="8"/>
                  </a:lnTo>
                  <a:lnTo>
                    <a:pt x="30" y="4"/>
                  </a:lnTo>
                  <a:lnTo>
                    <a:pt x="22" y="2"/>
                  </a:lnTo>
                  <a:lnTo>
                    <a:pt x="16" y="0"/>
                  </a:lnTo>
                  <a:lnTo>
                    <a:pt x="10" y="4"/>
                  </a:lnTo>
                  <a:lnTo>
                    <a:pt x="4" y="6"/>
                  </a:lnTo>
                  <a:lnTo>
                    <a:pt x="4" y="6"/>
                  </a:lnTo>
                  <a:close/>
                  <a:moveTo>
                    <a:pt x="0" y="20"/>
                  </a:moveTo>
                  <a:lnTo>
                    <a:pt x="0" y="22"/>
                  </a:lnTo>
                  <a:lnTo>
                    <a:pt x="2" y="22"/>
                  </a:lnTo>
                  <a:lnTo>
                    <a:pt x="2" y="20"/>
                  </a:lnTo>
                  <a:lnTo>
                    <a:pt x="0" y="20"/>
                  </a:lnTo>
                  <a:lnTo>
                    <a:pt x="0" y="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2" name="Freeform 526">
              <a:extLst>
                <a:ext uri="{FF2B5EF4-FFF2-40B4-BE49-F238E27FC236}">
                  <a16:creationId xmlns:a16="http://schemas.microsoft.com/office/drawing/2014/main" id="{9D229957-7A73-45DE-88E3-5DF602AF8583}"/>
                </a:ext>
              </a:extLst>
            </p:cNvPr>
            <p:cNvSpPr>
              <a:spLocks/>
            </p:cNvSpPr>
            <p:nvPr/>
          </p:nvSpPr>
          <p:spPr bwMode="auto">
            <a:xfrm>
              <a:off x="3826555" y="3519621"/>
              <a:ext cx="686247" cy="349597"/>
            </a:xfrm>
            <a:custGeom>
              <a:avLst/>
              <a:gdLst/>
              <a:ahLst/>
              <a:cxnLst>
                <a:cxn ang="0">
                  <a:pos x="492" y="140"/>
                </a:cxn>
                <a:cxn ang="0">
                  <a:pos x="456" y="168"/>
                </a:cxn>
                <a:cxn ang="0">
                  <a:pos x="436" y="200"/>
                </a:cxn>
                <a:cxn ang="0">
                  <a:pos x="428" y="234"/>
                </a:cxn>
                <a:cxn ang="0">
                  <a:pos x="406" y="232"/>
                </a:cxn>
                <a:cxn ang="0">
                  <a:pos x="364" y="238"/>
                </a:cxn>
                <a:cxn ang="0">
                  <a:pos x="352" y="232"/>
                </a:cxn>
                <a:cxn ang="0">
                  <a:pos x="336" y="244"/>
                </a:cxn>
                <a:cxn ang="0">
                  <a:pos x="310" y="238"/>
                </a:cxn>
                <a:cxn ang="0">
                  <a:pos x="288" y="248"/>
                </a:cxn>
                <a:cxn ang="0">
                  <a:pos x="276" y="258"/>
                </a:cxn>
                <a:cxn ang="0">
                  <a:pos x="264" y="264"/>
                </a:cxn>
                <a:cxn ang="0">
                  <a:pos x="240" y="256"/>
                </a:cxn>
                <a:cxn ang="0">
                  <a:pos x="234" y="246"/>
                </a:cxn>
                <a:cxn ang="0">
                  <a:pos x="196" y="238"/>
                </a:cxn>
                <a:cxn ang="0">
                  <a:pos x="188" y="212"/>
                </a:cxn>
                <a:cxn ang="0">
                  <a:pos x="184" y="196"/>
                </a:cxn>
                <a:cxn ang="0">
                  <a:pos x="188" y="166"/>
                </a:cxn>
                <a:cxn ang="0">
                  <a:pos x="174" y="172"/>
                </a:cxn>
                <a:cxn ang="0">
                  <a:pos x="158" y="184"/>
                </a:cxn>
                <a:cxn ang="0">
                  <a:pos x="150" y="182"/>
                </a:cxn>
                <a:cxn ang="0">
                  <a:pos x="132" y="188"/>
                </a:cxn>
                <a:cxn ang="0">
                  <a:pos x="98" y="248"/>
                </a:cxn>
                <a:cxn ang="0">
                  <a:pos x="74" y="250"/>
                </a:cxn>
                <a:cxn ang="0">
                  <a:pos x="62" y="234"/>
                </a:cxn>
                <a:cxn ang="0">
                  <a:pos x="54" y="226"/>
                </a:cxn>
                <a:cxn ang="0">
                  <a:pos x="60" y="206"/>
                </a:cxn>
                <a:cxn ang="0">
                  <a:pos x="58" y="198"/>
                </a:cxn>
                <a:cxn ang="0">
                  <a:pos x="74" y="194"/>
                </a:cxn>
                <a:cxn ang="0">
                  <a:pos x="92" y="198"/>
                </a:cxn>
                <a:cxn ang="0">
                  <a:pos x="88" y="172"/>
                </a:cxn>
                <a:cxn ang="0">
                  <a:pos x="70" y="160"/>
                </a:cxn>
                <a:cxn ang="0">
                  <a:pos x="50" y="152"/>
                </a:cxn>
                <a:cxn ang="0">
                  <a:pos x="34" y="164"/>
                </a:cxn>
                <a:cxn ang="0">
                  <a:pos x="20" y="162"/>
                </a:cxn>
                <a:cxn ang="0">
                  <a:pos x="10" y="144"/>
                </a:cxn>
                <a:cxn ang="0">
                  <a:pos x="0" y="126"/>
                </a:cxn>
                <a:cxn ang="0">
                  <a:pos x="8" y="110"/>
                </a:cxn>
                <a:cxn ang="0">
                  <a:pos x="14" y="94"/>
                </a:cxn>
                <a:cxn ang="0">
                  <a:pos x="30" y="90"/>
                </a:cxn>
                <a:cxn ang="0">
                  <a:pos x="34" y="74"/>
                </a:cxn>
                <a:cxn ang="0">
                  <a:pos x="58" y="62"/>
                </a:cxn>
                <a:cxn ang="0">
                  <a:pos x="74" y="58"/>
                </a:cxn>
                <a:cxn ang="0">
                  <a:pos x="86" y="66"/>
                </a:cxn>
                <a:cxn ang="0">
                  <a:pos x="106" y="76"/>
                </a:cxn>
                <a:cxn ang="0">
                  <a:pos x="114" y="88"/>
                </a:cxn>
                <a:cxn ang="0">
                  <a:pos x="122" y="78"/>
                </a:cxn>
                <a:cxn ang="0">
                  <a:pos x="146" y="74"/>
                </a:cxn>
                <a:cxn ang="0">
                  <a:pos x="156" y="76"/>
                </a:cxn>
                <a:cxn ang="0">
                  <a:pos x="182" y="86"/>
                </a:cxn>
                <a:cxn ang="0">
                  <a:pos x="172" y="60"/>
                </a:cxn>
                <a:cxn ang="0">
                  <a:pos x="176" y="18"/>
                </a:cxn>
                <a:cxn ang="0">
                  <a:pos x="212" y="16"/>
                </a:cxn>
                <a:cxn ang="0">
                  <a:pos x="272" y="2"/>
                </a:cxn>
                <a:cxn ang="0">
                  <a:pos x="288" y="16"/>
                </a:cxn>
                <a:cxn ang="0">
                  <a:pos x="322" y="18"/>
                </a:cxn>
                <a:cxn ang="0">
                  <a:pos x="346" y="22"/>
                </a:cxn>
                <a:cxn ang="0">
                  <a:pos x="390" y="34"/>
                </a:cxn>
                <a:cxn ang="0">
                  <a:pos x="424" y="78"/>
                </a:cxn>
                <a:cxn ang="0">
                  <a:pos x="456" y="96"/>
                </a:cxn>
                <a:cxn ang="0">
                  <a:pos x="504" y="102"/>
                </a:cxn>
                <a:cxn ang="0">
                  <a:pos x="530" y="120"/>
                </a:cxn>
              </a:cxnLst>
              <a:rect l="0" t="0" r="r" b="b"/>
              <a:pathLst>
                <a:path w="530" h="270">
                  <a:moveTo>
                    <a:pt x="530" y="120"/>
                  </a:moveTo>
                  <a:lnTo>
                    <a:pt x="510" y="124"/>
                  </a:lnTo>
                  <a:lnTo>
                    <a:pt x="506" y="128"/>
                  </a:lnTo>
                  <a:lnTo>
                    <a:pt x="502" y="134"/>
                  </a:lnTo>
                  <a:lnTo>
                    <a:pt x="494" y="136"/>
                  </a:lnTo>
                  <a:lnTo>
                    <a:pt x="492" y="140"/>
                  </a:lnTo>
                  <a:lnTo>
                    <a:pt x="490" y="148"/>
                  </a:lnTo>
                  <a:lnTo>
                    <a:pt x="480" y="152"/>
                  </a:lnTo>
                  <a:lnTo>
                    <a:pt x="472" y="152"/>
                  </a:lnTo>
                  <a:lnTo>
                    <a:pt x="466" y="156"/>
                  </a:lnTo>
                  <a:lnTo>
                    <a:pt x="462" y="164"/>
                  </a:lnTo>
                  <a:lnTo>
                    <a:pt x="456" y="168"/>
                  </a:lnTo>
                  <a:lnTo>
                    <a:pt x="454" y="178"/>
                  </a:lnTo>
                  <a:lnTo>
                    <a:pt x="456" y="186"/>
                  </a:lnTo>
                  <a:lnTo>
                    <a:pt x="460" y="190"/>
                  </a:lnTo>
                  <a:lnTo>
                    <a:pt x="458" y="194"/>
                  </a:lnTo>
                  <a:lnTo>
                    <a:pt x="446" y="194"/>
                  </a:lnTo>
                  <a:lnTo>
                    <a:pt x="436" y="200"/>
                  </a:lnTo>
                  <a:lnTo>
                    <a:pt x="426" y="202"/>
                  </a:lnTo>
                  <a:lnTo>
                    <a:pt x="422" y="204"/>
                  </a:lnTo>
                  <a:lnTo>
                    <a:pt x="424" y="210"/>
                  </a:lnTo>
                  <a:lnTo>
                    <a:pt x="432" y="216"/>
                  </a:lnTo>
                  <a:lnTo>
                    <a:pt x="434" y="222"/>
                  </a:lnTo>
                  <a:lnTo>
                    <a:pt x="428" y="234"/>
                  </a:lnTo>
                  <a:lnTo>
                    <a:pt x="428" y="242"/>
                  </a:lnTo>
                  <a:lnTo>
                    <a:pt x="422" y="238"/>
                  </a:lnTo>
                  <a:lnTo>
                    <a:pt x="418" y="238"/>
                  </a:lnTo>
                  <a:lnTo>
                    <a:pt x="414" y="238"/>
                  </a:lnTo>
                  <a:lnTo>
                    <a:pt x="412" y="234"/>
                  </a:lnTo>
                  <a:lnTo>
                    <a:pt x="406" y="232"/>
                  </a:lnTo>
                  <a:lnTo>
                    <a:pt x="400" y="232"/>
                  </a:lnTo>
                  <a:lnTo>
                    <a:pt x="394" y="232"/>
                  </a:lnTo>
                  <a:lnTo>
                    <a:pt x="380" y="232"/>
                  </a:lnTo>
                  <a:lnTo>
                    <a:pt x="374" y="236"/>
                  </a:lnTo>
                  <a:lnTo>
                    <a:pt x="366" y="238"/>
                  </a:lnTo>
                  <a:lnTo>
                    <a:pt x="364" y="238"/>
                  </a:lnTo>
                  <a:lnTo>
                    <a:pt x="362" y="238"/>
                  </a:lnTo>
                  <a:lnTo>
                    <a:pt x="360" y="236"/>
                  </a:lnTo>
                  <a:lnTo>
                    <a:pt x="356" y="236"/>
                  </a:lnTo>
                  <a:lnTo>
                    <a:pt x="356" y="234"/>
                  </a:lnTo>
                  <a:lnTo>
                    <a:pt x="354" y="232"/>
                  </a:lnTo>
                  <a:lnTo>
                    <a:pt x="352" y="232"/>
                  </a:lnTo>
                  <a:lnTo>
                    <a:pt x="348" y="236"/>
                  </a:lnTo>
                  <a:lnTo>
                    <a:pt x="346" y="236"/>
                  </a:lnTo>
                  <a:lnTo>
                    <a:pt x="342" y="238"/>
                  </a:lnTo>
                  <a:lnTo>
                    <a:pt x="340" y="238"/>
                  </a:lnTo>
                  <a:lnTo>
                    <a:pt x="338" y="240"/>
                  </a:lnTo>
                  <a:lnTo>
                    <a:pt x="336" y="244"/>
                  </a:lnTo>
                  <a:lnTo>
                    <a:pt x="334" y="244"/>
                  </a:lnTo>
                  <a:lnTo>
                    <a:pt x="332" y="240"/>
                  </a:lnTo>
                  <a:lnTo>
                    <a:pt x="328" y="238"/>
                  </a:lnTo>
                  <a:lnTo>
                    <a:pt x="324" y="238"/>
                  </a:lnTo>
                  <a:lnTo>
                    <a:pt x="314" y="238"/>
                  </a:lnTo>
                  <a:lnTo>
                    <a:pt x="310" y="238"/>
                  </a:lnTo>
                  <a:lnTo>
                    <a:pt x="308" y="240"/>
                  </a:lnTo>
                  <a:lnTo>
                    <a:pt x="304" y="244"/>
                  </a:lnTo>
                  <a:lnTo>
                    <a:pt x="300" y="246"/>
                  </a:lnTo>
                  <a:lnTo>
                    <a:pt x="296" y="246"/>
                  </a:lnTo>
                  <a:lnTo>
                    <a:pt x="290" y="248"/>
                  </a:lnTo>
                  <a:lnTo>
                    <a:pt x="288" y="248"/>
                  </a:lnTo>
                  <a:lnTo>
                    <a:pt x="288" y="250"/>
                  </a:lnTo>
                  <a:lnTo>
                    <a:pt x="286" y="252"/>
                  </a:lnTo>
                  <a:lnTo>
                    <a:pt x="284" y="252"/>
                  </a:lnTo>
                  <a:lnTo>
                    <a:pt x="280" y="254"/>
                  </a:lnTo>
                  <a:lnTo>
                    <a:pt x="278" y="256"/>
                  </a:lnTo>
                  <a:lnTo>
                    <a:pt x="276" y="258"/>
                  </a:lnTo>
                  <a:lnTo>
                    <a:pt x="276" y="262"/>
                  </a:lnTo>
                  <a:lnTo>
                    <a:pt x="268" y="264"/>
                  </a:lnTo>
                  <a:lnTo>
                    <a:pt x="268" y="268"/>
                  </a:lnTo>
                  <a:lnTo>
                    <a:pt x="264" y="270"/>
                  </a:lnTo>
                  <a:lnTo>
                    <a:pt x="264" y="268"/>
                  </a:lnTo>
                  <a:lnTo>
                    <a:pt x="264" y="264"/>
                  </a:lnTo>
                  <a:lnTo>
                    <a:pt x="258" y="260"/>
                  </a:lnTo>
                  <a:lnTo>
                    <a:pt x="254" y="260"/>
                  </a:lnTo>
                  <a:lnTo>
                    <a:pt x="248" y="260"/>
                  </a:lnTo>
                  <a:lnTo>
                    <a:pt x="242" y="258"/>
                  </a:lnTo>
                  <a:lnTo>
                    <a:pt x="240" y="258"/>
                  </a:lnTo>
                  <a:lnTo>
                    <a:pt x="240" y="256"/>
                  </a:lnTo>
                  <a:lnTo>
                    <a:pt x="242" y="252"/>
                  </a:lnTo>
                  <a:lnTo>
                    <a:pt x="240" y="252"/>
                  </a:lnTo>
                  <a:lnTo>
                    <a:pt x="240" y="250"/>
                  </a:lnTo>
                  <a:lnTo>
                    <a:pt x="238" y="250"/>
                  </a:lnTo>
                  <a:lnTo>
                    <a:pt x="238" y="246"/>
                  </a:lnTo>
                  <a:lnTo>
                    <a:pt x="234" y="246"/>
                  </a:lnTo>
                  <a:lnTo>
                    <a:pt x="230" y="246"/>
                  </a:lnTo>
                  <a:lnTo>
                    <a:pt x="226" y="244"/>
                  </a:lnTo>
                  <a:lnTo>
                    <a:pt x="222" y="238"/>
                  </a:lnTo>
                  <a:lnTo>
                    <a:pt x="220" y="240"/>
                  </a:lnTo>
                  <a:lnTo>
                    <a:pt x="206" y="238"/>
                  </a:lnTo>
                  <a:lnTo>
                    <a:pt x="196" y="238"/>
                  </a:lnTo>
                  <a:lnTo>
                    <a:pt x="192" y="238"/>
                  </a:lnTo>
                  <a:lnTo>
                    <a:pt x="190" y="222"/>
                  </a:lnTo>
                  <a:lnTo>
                    <a:pt x="188" y="218"/>
                  </a:lnTo>
                  <a:lnTo>
                    <a:pt x="188" y="214"/>
                  </a:lnTo>
                  <a:lnTo>
                    <a:pt x="186" y="214"/>
                  </a:lnTo>
                  <a:lnTo>
                    <a:pt x="188" y="212"/>
                  </a:lnTo>
                  <a:lnTo>
                    <a:pt x="190" y="210"/>
                  </a:lnTo>
                  <a:lnTo>
                    <a:pt x="190" y="206"/>
                  </a:lnTo>
                  <a:lnTo>
                    <a:pt x="194" y="204"/>
                  </a:lnTo>
                  <a:lnTo>
                    <a:pt x="194" y="202"/>
                  </a:lnTo>
                  <a:lnTo>
                    <a:pt x="186" y="198"/>
                  </a:lnTo>
                  <a:lnTo>
                    <a:pt x="184" y="196"/>
                  </a:lnTo>
                  <a:lnTo>
                    <a:pt x="182" y="192"/>
                  </a:lnTo>
                  <a:lnTo>
                    <a:pt x="182" y="188"/>
                  </a:lnTo>
                  <a:lnTo>
                    <a:pt x="182" y="184"/>
                  </a:lnTo>
                  <a:lnTo>
                    <a:pt x="182" y="180"/>
                  </a:lnTo>
                  <a:lnTo>
                    <a:pt x="190" y="166"/>
                  </a:lnTo>
                  <a:lnTo>
                    <a:pt x="188" y="166"/>
                  </a:lnTo>
                  <a:lnTo>
                    <a:pt x="186" y="168"/>
                  </a:lnTo>
                  <a:lnTo>
                    <a:pt x="182" y="166"/>
                  </a:lnTo>
                  <a:lnTo>
                    <a:pt x="182" y="168"/>
                  </a:lnTo>
                  <a:lnTo>
                    <a:pt x="172" y="168"/>
                  </a:lnTo>
                  <a:lnTo>
                    <a:pt x="172" y="170"/>
                  </a:lnTo>
                  <a:lnTo>
                    <a:pt x="174" y="172"/>
                  </a:lnTo>
                  <a:lnTo>
                    <a:pt x="172" y="176"/>
                  </a:lnTo>
                  <a:lnTo>
                    <a:pt x="166" y="174"/>
                  </a:lnTo>
                  <a:lnTo>
                    <a:pt x="164" y="178"/>
                  </a:lnTo>
                  <a:lnTo>
                    <a:pt x="160" y="178"/>
                  </a:lnTo>
                  <a:lnTo>
                    <a:pt x="158" y="182"/>
                  </a:lnTo>
                  <a:lnTo>
                    <a:pt x="158" y="184"/>
                  </a:lnTo>
                  <a:lnTo>
                    <a:pt x="158" y="186"/>
                  </a:lnTo>
                  <a:lnTo>
                    <a:pt x="156" y="186"/>
                  </a:lnTo>
                  <a:lnTo>
                    <a:pt x="156" y="184"/>
                  </a:lnTo>
                  <a:lnTo>
                    <a:pt x="156" y="180"/>
                  </a:lnTo>
                  <a:lnTo>
                    <a:pt x="154" y="180"/>
                  </a:lnTo>
                  <a:lnTo>
                    <a:pt x="150" y="182"/>
                  </a:lnTo>
                  <a:lnTo>
                    <a:pt x="148" y="184"/>
                  </a:lnTo>
                  <a:lnTo>
                    <a:pt x="148" y="186"/>
                  </a:lnTo>
                  <a:lnTo>
                    <a:pt x="148" y="188"/>
                  </a:lnTo>
                  <a:lnTo>
                    <a:pt x="144" y="186"/>
                  </a:lnTo>
                  <a:lnTo>
                    <a:pt x="138" y="188"/>
                  </a:lnTo>
                  <a:lnTo>
                    <a:pt x="132" y="188"/>
                  </a:lnTo>
                  <a:lnTo>
                    <a:pt x="124" y="192"/>
                  </a:lnTo>
                  <a:lnTo>
                    <a:pt x="118" y="194"/>
                  </a:lnTo>
                  <a:lnTo>
                    <a:pt x="116" y="256"/>
                  </a:lnTo>
                  <a:lnTo>
                    <a:pt x="112" y="256"/>
                  </a:lnTo>
                  <a:lnTo>
                    <a:pt x="104" y="256"/>
                  </a:lnTo>
                  <a:lnTo>
                    <a:pt x="98" y="248"/>
                  </a:lnTo>
                  <a:lnTo>
                    <a:pt x="94" y="244"/>
                  </a:lnTo>
                  <a:lnTo>
                    <a:pt x="90" y="242"/>
                  </a:lnTo>
                  <a:lnTo>
                    <a:pt x="88" y="242"/>
                  </a:lnTo>
                  <a:lnTo>
                    <a:pt x="78" y="242"/>
                  </a:lnTo>
                  <a:lnTo>
                    <a:pt x="74" y="244"/>
                  </a:lnTo>
                  <a:lnTo>
                    <a:pt x="74" y="250"/>
                  </a:lnTo>
                  <a:lnTo>
                    <a:pt x="72" y="254"/>
                  </a:lnTo>
                  <a:lnTo>
                    <a:pt x="70" y="254"/>
                  </a:lnTo>
                  <a:lnTo>
                    <a:pt x="72" y="246"/>
                  </a:lnTo>
                  <a:lnTo>
                    <a:pt x="74" y="238"/>
                  </a:lnTo>
                  <a:lnTo>
                    <a:pt x="64" y="236"/>
                  </a:lnTo>
                  <a:lnTo>
                    <a:pt x="62" y="234"/>
                  </a:lnTo>
                  <a:lnTo>
                    <a:pt x="62" y="232"/>
                  </a:lnTo>
                  <a:lnTo>
                    <a:pt x="60" y="230"/>
                  </a:lnTo>
                  <a:lnTo>
                    <a:pt x="56" y="232"/>
                  </a:lnTo>
                  <a:lnTo>
                    <a:pt x="56" y="228"/>
                  </a:lnTo>
                  <a:lnTo>
                    <a:pt x="56" y="226"/>
                  </a:lnTo>
                  <a:lnTo>
                    <a:pt x="54" y="226"/>
                  </a:lnTo>
                  <a:lnTo>
                    <a:pt x="50" y="218"/>
                  </a:lnTo>
                  <a:lnTo>
                    <a:pt x="42" y="212"/>
                  </a:lnTo>
                  <a:lnTo>
                    <a:pt x="44" y="208"/>
                  </a:lnTo>
                  <a:lnTo>
                    <a:pt x="52" y="210"/>
                  </a:lnTo>
                  <a:lnTo>
                    <a:pt x="58" y="210"/>
                  </a:lnTo>
                  <a:lnTo>
                    <a:pt x="60" y="206"/>
                  </a:lnTo>
                  <a:lnTo>
                    <a:pt x="54" y="206"/>
                  </a:lnTo>
                  <a:lnTo>
                    <a:pt x="50" y="200"/>
                  </a:lnTo>
                  <a:lnTo>
                    <a:pt x="50" y="198"/>
                  </a:lnTo>
                  <a:lnTo>
                    <a:pt x="52" y="198"/>
                  </a:lnTo>
                  <a:lnTo>
                    <a:pt x="54" y="200"/>
                  </a:lnTo>
                  <a:lnTo>
                    <a:pt x="58" y="198"/>
                  </a:lnTo>
                  <a:lnTo>
                    <a:pt x="60" y="198"/>
                  </a:lnTo>
                  <a:lnTo>
                    <a:pt x="62" y="198"/>
                  </a:lnTo>
                  <a:lnTo>
                    <a:pt x="64" y="198"/>
                  </a:lnTo>
                  <a:lnTo>
                    <a:pt x="64" y="190"/>
                  </a:lnTo>
                  <a:lnTo>
                    <a:pt x="70" y="190"/>
                  </a:lnTo>
                  <a:lnTo>
                    <a:pt x="74" y="194"/>
                  </a:lnTo>
                  <a:lnTo>
                    <a:pt x="86" y="196"/>
                  </a:lnTo>
                  <a:lnTo>
                    <a:pt x="82" y="202"/>
                  </a:lnTo>
                  <a:lnTo>
                    <a:pt x="86" y="200"/>
                  </a:lnTo>
                  <a:lnTo>
                    <a:pt x="88" y="198"/>
                  </a:lnTo>
                  <a:lnTo>
                    <a:pt x="90" y="200"/>
                  </a:lnTo>
                  <a:lnTo>
                    <a:pt x="92" y="198"/>
                  </a:lnTo>
                  <a:lnTo>
                    <a:pt x="94" y="186"/>
                  </a:lnTo>
                  <a:lnTo>
                    <a:pt x="92" y="186"/>
                  </a:lnTo>
                  <a:lnTo>
                    <a:pt x="90" y="182"/>
                  </a:lnTo>
                  <a:lnTo>
                    <a:pt x="88" y="182"/>
                  </a:lnTo>
                  <a:lnTo>
                    <a:pt x="88" y="178"/>
                  </a:lnTo>
                  <a:lnTo>
                    <a:pt x="88" y="172"/>
                  </a:lnTo>
                  <a:lnTo>
                    <a:pt x="84" y="172"/>
                  </a:lnTo>
                  <a:lnTo>
                    <a:pt x="82" y="172"/>
                  </a:lnTo>
                  <a:lnTo>
                    <a:pt x="80" y="166"/>
                  </a:lnTo>
                  <a:lnTo>
                    <a:pt x="76" y="166"/>
                  </a:lnTo>
                  <a:lnTo>
                    <a:pt x="72" y="160"/>
                  </a:lnTo>
                  <a:lnTo>
                    <a:pt x="70" y="160"/>
                  </a:lnTo>
                  <a:lnTo>
                    <a:pt x="68" y="160"/>
                  </a:lnTo>
                  <a:lnTo>
                    <a:pt x="66" y="158"/>
                  </a:lnTo>
                  <a:lnTo>
                    <a:pt x="58" y="158"/>
                  </a:lnTo>
                  <a:lnTo>
                    <a:pt x="58" y="154"/>
                  </a:lnTo>
                  <a:lnTo>
                    <a:pt x="54" y="152"/>
                  </a:lnTo>
                  <a:lnTo>
                    <a:pt x="50" y="152"/>
                  </a:lnTo>
                  <a:lnTo>
                    <a:pt x="48" y="152"/>
                  </a:lnTo>
                  <a:lnTo>
                    <a:pt x="48" y="156"/>
                  </a:lnTo>
                  <a:lnTo>
                    <a:pt x="44" y="160"/>
                  </a:lnTo>
                  <a:lnTo>
                    <a:pt x="40" y="160"/>
                  </a:lnTo>
                  <a:lnTo>
                    <a:pt x="38" y="164"/>
                  </a:lnTo>
                  <a:lnTo>
                    <a:pt x="34" y="164"/>
                  </a:lnTo>
                  <a:lnTo>
                    <a:pt x="30" y="164"/>
                  </a:lnTo>
                  <a:lnTo>
                    <a:pt x="26" y="168"/>
                  </a:lnTo>
                  <a:lnTo>
                    <a:pt x="26" y="168"/>
                  </a:lnTo>
                  <a:lnTo>
                    <a:pt x="22" y="168"/>
                  </a:lnTo>
                  <a:lnTo>
                    <a:pt x="22" y="166"/>
                  </a:lnTo>
                  <a:lnTo>
                    <a:pt x="20" y="162"/>
                  </a:lnTo>
                  <a:lnTo>
                    <a:pt x="20" y="160"/>
                  </a:lnTo>
                  <a:lnTo>
                    <a:pt x="22" y="156"/>
                  </a:lnTo>
                  <a:lnTo>
                    <a:pt x="20" y="154"/>
                  </a:lnTo>
                  <a:lnTo>
                    <a:pt x="16" y="142"/>
                  </a:lnTo>
                  <a:lnTo>
                    <a:pt x="12" y="144"/>
                  </a:lnTo>
                  <a:lnTo>
                    <a:pt x="10" y="144"/>
                  </a:lnTo>
                  <a:lnTo>
                    <a:pt x="8" y="142"/>
                  </a:lnTo>
                  <a:lnTo>
                    <a:pt x="8" y="136"/>
                  </a:lnTo>
                  <a:lnTo>
                    <a:pt x="8" y="134"/>
                  </a:lnTo>
                  <a:lnTo>
                    <a:pt x="6" y="132"/>
                  </a:lnTo>
                  <a:lnTo>
                    <a:pt x="2" y="128"/>
                  </a:lnTo>
                  <a:lnTo>
                    <a:pt x="0" y="126"/>
                  </a:lnTo>
                  <a:lnTo>
                    <a:pt x="2" y="124"/>
                  </a:lnTo>
                  <a:lnTo>
                    <a:pt x="8" y="118"/>
                  </a:lnTo>
                  <a:lnTo>
                    <a:pt x="8" y="116"/>
                  </a:lnTo>
                  <a:lnTo>
                    <a:pt x="10" y="114"/>
                  </a:lnTo>
                  <a:lnTo>
                    <a:pt x="10" y="112"/>
                  </a:lnTo>
                  <a:lnTo>
                    <a:pt x="8" y="110"/>
                  </a:lnTo>
                  <a:lnTo>
                    <a:pt x="6" y="110"/>
                  </a:lnTo>
                  <a:lnTo>
                    <a:pt x="8" y="106"/>
                  </a:lnTo>
                  <a:lnTo>
                    <a:pt x="10" y="102"/>
                  </a:lnTo>
                  <a:lnTo>
                    <a:pt x="10" y="96"/>
                  </a:lnTo>
                  <a:lnTo>
                    <a:pt x="12" y="96"/>
                  </a:lnTo>
                  <a:lnTo>
                    <a:pt x="14" y="94"/>
                  </a:lnTo>
                  <a:lnTo>
                    <a:pt x="16" y="94"/>
                  </a:lnTo>
                  <a:lnTo>
                    <a:pt x="18" y="88"/>
                  </a:lnTo>
                  <a:lnTo>
                    <a:pt x="22" y="88"/>
                  </a:lnTo>
                  <a:lnTo>
                    <a:pt x="26" y="98"/>
                  </a:lnTo>
                  <a:lnTo>
                    <a:pt x="34" y="94"/>
                  </a:lnTo>
                  <a:lnTo>
                    <a:pt x="30" y="90"/>
                  </a:lnTo>
                  <a:lnTo>
                    <a:pt x="28" y="88"/>
                  </a:lnTo>
                  <a:lnTo>
                    <a:pt x="28" y="86"/>
                  </a:lnTo>
                  <a:lnTo>
                    <a:pt x="28" y="80"/>
                  </a:lnTo>
                  <a:lnTo>
                    <a:pt x="30" y="76"/>
                  </a:lnTo>
                  <a:lnTo>
                    <a:pt x="32" y="76"/>
                  </a:lnTo>
                  <a:lnTo>
                    <a:pt x="34" y="74"/>
                  </a:lnTo>
                  <a:lnTo>
                    <a:pt x="34" y="72"/>
                  </a:lnTo>
                  <a:lnTo>
                    <a:pt x="36" y="72"/>
                  </a:lnTo>
                  <a:lnTo>
                    <a:pt x="38" y="72"/>
                  </a:lnTo>
                  <a:lnTo>
                    <a:pt x="44" y="72"/>
                  </a:lnTo>
                  <a:lnTo>
                    <a:pt x="48" y="72"/>
                  </a:lnTo>
                  <a:lnTo>
                    <a:pt x="58" y="62"/>
                  </a:lnTo>
                  <a:lnTo>
                    <a:pt x="58" y="60"/>
                  </a:lnTo>
                  <a:lnTo>
                    <a:pt x="56" y="58"/>
                  </a:lnTo>
                  <a:lnTo>
                    <a:pt x="68" y="56"/>
                  </a:lnTo>
                  <a:lnTo>
                    <a:pt x="68" y="60"/>
                  </a:lnTo>
                  <a:lnTo>
                    <a:pt x="74" y="60"/>
                  </a:lnTo>
                  <a:lnTo>
                    <a:pt x="74" y="58"/>
                  </a:lnTo>
                  <a:lnTo>
                    <a:pt x="74" y="56"/>
                  </a:lnTo>
                  <a:lnTo>
                    <a:pt x="78" y="58"/>
                  </a:lnTo>
                  <a:lnTo>
                    <a:pt x="82" y="60"/>
                  </a:lnTo>
                  <a:lnTo>
                    <a:pt x="82" y="64"/>
                  </a:lnTo>
                  <a:lnTo>
                    <a:pt x="82" y="66"/>
                  </a:lnTo>
                  <a:lnTo>
                    <a:pt x="86" y="66"/>
                  </a:lnTo>
                  <a:lnTo>
                    <a:pt x="88" y="66"/>
                  </a:lnTo>
                  <a:lnTo>
                    <a:pt x="92" y="68"/>
                  </a:lnTo>
                  <a:lnTo>
                    <a:pt x="96" y="72"/>
                  </a:lnTo>
                  <a:lnTo>
                    <a:pt x="98" y="76"/>
                  </a:lnTo>
                  <a:lnTo>
                    <a:pt x="100" y="76"/>
                  </a:lnTo>
                  <a:lnTo>
                    <a:pt x="106" y="76"/>
                  </a:lnTo>
                  <a:lnTo>
                    <a:pt x="108" y="76"/>
                  </a:lnTo>
                  <a:lnTo>
                    <a:pt x="108" y="78"/>
                  </a:lnTo>
                  <a:lnTo>
                    <a:pt x="110" y="82"/>
                  </a:lnTo>
                  <a:lnTo>
                    <a:pt x="108" y="84"/>
                  </a:lnTo>
                  <a:lnTo>
                    <a:pt x="106" y="86"/>
                  </a:lnTo>
                  <a:lnTo>
                    <a:pt x="114" y="88"/>
                  </a:lnTo>
                  <a:lnTo>
                    <a:pt x="114" y="84"/>
                  </a:lnTo>
                  <a:lnTo>
                    <a:pt x="114" y="82"/>
                  </a:lnTo>
                  <a:lnTo>
                    <a:pt x="114" y="80"/>
                  </a:lnTo>
                  <a:lnTo>
                    <a:pt x="116" y="78"/>
                  </a:lnTo>
                  <a:lnTo>
                    <a:pt x="118" y="78"/>
                  </a:lnTo>
                  <a:lnTo>
                    <a:pt x="122" y="78"/>
                  </a:lnTo>
                  <a:lnTo>
                    <a:pt x="128" y="82"/>
                  </a:lnTo>
                  <a:lnTo>
                    <a:pt x="132" y="82"/>
                  </a:lnTo>
                  <a:lnTo>
                    <a:pt x="134" y="82"/>
                  </a:lnTo>
                  <a:lnTo>
                    <a:pt x="138" y="78"/>
                  </a:lnTo>
                  <a:lnTo>
                    <a:pt x="144" y="74"/>
                  </a:lnTo>
                  <a:lnTo>
                    <a:pt x="146" y="74"/>
                  </a:lnTo>
                  <a:lnTo>
                    <a:pt x="146" y="76"/>
                  </a:lnTo>
                  <a:lnTo>
                    <a:pt x="148" y="78"/>
                  </a:lnTo>
                  <a:lnTo>
                    <a:pt x="150" y="78"/>
                  </a:lnTo>
                  <a:lnTo>
                    <a:pt x="152" y="76"/>
                  </a:lnTo>
                  <a:lnTo>
                    <a:pt x="154" y="76"/>
                  </a:lnTo>
                  <a:lnTo>
                    <a:pt x="156" y="76"/>
                  </a:lnTo>
                  <a:lnTo>
                    <a:pt x="160" y="84"/>
                  </a:lnTo>
                  <a:lnTo>
                    <a:pt x="162" y="88"/>
                  </a:lnTo>
                  <a:lnTo>
                    <a:pt x="170" y="90"/>
                  </a:lnTo>
                  <a:lnTo>
                    <a:pt x="176" y="90"/>
                  </a:lnTo>
                  <a:lnTo>
                    <a:pt x="180" y="88"/>
                  </a:lnTo>
                  <a:lnTo>
                    <a:pt x="182" y="86"/>
                  </a:lnTo>
                  <a:lnTo>
                    <a:pt x="182" y="82"/>
                  </a:lnTo>
                  <a:lnTo>
                    <a:pt x="176" y="76"/>
                  </a:lnTo>
                  <a:lnTo>
                    <a:pt x="174" y="76"/>
                  </a:lnTo>
                  <a:lnTo>
                    <a:pt x="168" y="72"/>
                  </a:lnTo>
                  <a:lnTo>
                    <a:pt x="174" y="64"/>
                  </a:lnTo>
                  <a:lnTo>
                    <a:pt x="172" y="60"/>
                  </a:lnTo>
                  <a:lnTo>
                    <a:pt x="166" y="52"/>
                  </a:lnTo>
                  <a:lnTo>
                    <a:pt x="166" y="46"/>
                  </a:lnTo>
                  <a:lnTo>
                    <a:pt x="170" y="40"/>
                  </a:lnTo>
                  <a:lnTo>
                    <a:pt x="170" y="32"/>
                  </a:lnTo>
                  <a:lnTo>
                    <a:pt x="176" y="26"/>
                  </a:lnTo>
                  <a:lnTo>
                    <a:pt x="176" y="18"/>
                  </a:lnTo>
                  <a:lnTo>
                    <a:pt x="174" y="14"/>
                  </a:lnTo>
                  <a:lnTo>
                    <a:pt x="180" y="10"/>
                  </a:lnTo>
                  <a:lnTo>
                    <a:pt x="188" y="14"/>
                  </a:lnTo>
                  <a:lnTo>
                    <a:pt x="196" y="16"/>
                  </a:lnTo>
                  <a:lnTo>
                    <a:pt x="202" y="18"/>
                  </a:lnTo>
                  <a:lnTo>
                    <a:pt x="212" y="16"/>
                  </a:lnTo>
                  <a:lnTo>
                    <a:pt x="222" y="12"/>
                  </a:lnTo>
                  <a:lnTo>
                    <a:pt x="234" y="14"/>
                  </a:lnTo>
                  <a:lnTo>
                    <a:pt x="248" y="10"/>
                  </a:lnTo>
                  <a:lnTo>
                    <a:pt x="252" y="10"/>
                  </a:lnTo>
                  <a:lnTo>
                    <a:pt x="264" y="4"/>
                  </a:lnTo>
                  <a:lnTo>
                    <a:pt x="272" y="2"/>
                  </a:lnTo>
                  <a:lnTo>
                    <a:pt x="278" y="0"/>
                  </a:lnTo>
                  <a:lnTo>
                    <a:pt x="280" y="4"/>
                  </a:lnTo>
                  <a:lnTo>
                    <a:pt x="286" y="6"/>
                  </a:lnTo>
                  <a:lnTo>
                    <a:pt x="286" y="8"/>
                  </a:lnTo>
                  <a:lnTo>
                    <a:pt x="284" y="14"/>
                  </a:lnTo>
                  <a:lnTo>
                    <a:pt x="288" y="16"/>
                  </a:lnTo>
                  <a:lnTo>
                    <a:pt x="294" y="22"/>
                  </a:lnTo>
                  <a:lnTo>
                    <a:pt x="300" y="20"/>
                  </a:lnTo>
                  <a:lnTo>
                    <a:pt x="306" y="12"/>
                  </a:lnTo>
                  <a:lnTo>
                    <a:pt x="314" y="18"/>
                  </a:lnTo>
                  <a:lnTo>
                    <a:pt x="316" y="20"/>
                  </a:lnTo>
                  <a:lnTo>
                    <a:pt x="322" y="18"/>
                  </a:lnTo>
                  <a:lnTo>
                    <a:pt x="324" y="18"/>
                  </a:lnTo>
                  <a:lnTo>
                    <a:pt x="324" y="20"/>
                  </a:lnTo>
                  <a:lnTo>
                    <a:pt x="324" y="24"/>
                  </a:lnTo>
                  <a:lnTo>
                    <a:pt x="324" y="26"/>
                  </a:lnTo>
                  <a:lnTo>
                    <a:pt x="336" y="26"/>
                  </a:lnTo>
                  <a:lnTo>
                    <a:pt x="346" y="22"/>
                  </a:lnTo>
                  <a:lnTo>
                    <a:pt x="360" y="16"/>
                  </a:lnTo>
                  <a:lnTo>
                    <a:pt x="370" y="12"/>
                  </a:lnTo>
                  <a:lnTo>
                    <a:pt x="382" y="10"/>
                  </a:lnTo>
                  <a:lnTo>
                    <a:pt x="384" y="12"/>
                  </a:lnTo>
                  <a:lnTo>
                    <a:pt x="382" y="18"/>
                  </a:lnTo>
                  <a:lnTo>
                    <a:pt x="390" y="34"/>
                  </a:lnTo>
                  <a:lnTo>
                    <a:pt x="400" y="56"/>
                  </a:lnTo>
                  <a:lnTo>
                    <a:pt x="406" y="70"/>
                  </a:lnTo>
                  <a:lnTo>
                    <a:pt x="410" y="74"/>
                  </a:lnTo>
                  <a:lnTo>
                    <a:pt x="412" y="78"/>
                  </a:lnTo>
                  <a:lnTo>
                    <a:pt x="416" y="80"/>
                  </a:lnTo>
                  <a:lnTo>
                    <a:pt x="424" y="78"/>
                  </a:lnTo>
                  <a:lnTo>
                    <a:pt x="428" y="76"/>
                  </a:lnTo>
                  <a:lnTo>
                    <a:pt x="442" y="76"/>
                  </a:lnTo>
                  <a:lnTo>
                    <a:pt x="446" y="78"/>
                  </a:lnTo>
                  <a:lnTo>
                    <a:pt x="448" y="82"/>
                  </a:lnTo>
                  <a:lnTo>
                    <a:pt x="454" y="88"/>
                  </a:lnTo>
                  <a:lnTo>
                    <a:pt x="456" y="96"/>
                  </a:lnTo>
                  <a:lnTo>
                    <a:pt x="458" y="106"/>
                  </a:lnTo>
                  <a:lnTo>
                    <a:pt x="462" y="110"/>
                  </a:lnTo>
                  <a:lnTo>
                    <a:pt x="468" y="114"/>
                  </a:lnTo>
                  <a:lnTo>
                    <a:pt x="478" y="112"/>
                  </a:lnTo>
                  <a:lnTo>
                    <a:pt x="494" y="104"/>
                  </a:lnTo>
                  <a:lnTo>
                    <a:pt x="504" y="102"/>
                  </a:lnTo>
                  <a:lnTo>
                    <a:pt x="510" y="102"/>
                  </a:lnTo>
                  <a:lnTo>
                    <a:pt x="512" y="110"/>
                  </a:lnTo>
                  <a:lnTo>
                    <a:pt x="518" y="114"/>
                  </a:lnTo>
                  <a:lnTo>
                    <a:pt x="520" y="118"/>
                  </a:lnTo>
                  <a:lnTo>
                    <a:pt x="530" y="120"/>
                  </a:lnTo>
                  <a:lnTo>
                    <a:pt x="530" y="1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3" name="Freeform 527">
              <a:extLst>
                <a:ext uri="{FF2B5EF4-FFF2-40B4-BE49-F238E27FC236}">
                  <a16:creationId xmlns:a16="http://schemas.microsoft.com/office/drawing/2014/main" id="{09070CF9-4842-410E-887E-38F0EEAF4440}"/>
                </a:ext>
              </a:extLst>
            </p:cNvPr>
            <p:cNvSpPr>
              <a:spLocks noEditPoints="1"/>
            </p:cNvSpPr>
            <p:nvPr/>
          </p:nvSpPr>
          <p:spPr bwMode="auto">
            <a:xfrm>
              <a:off x="2865810" y="3509263"/>
              <a:ext cx="67330" cy="103584"/>
            </a:xfrm>
            <a:custGeom>
              <a:avLst/>
              <a:gdLst/>
              <a:ahLst/>
              <a:cxnLst>
                <a:cxn ang="0">
                  <a:pos x="44" y="6"/>
                </a:cxn>
                <a:cxn ang="0">
                  <a:pos x="42" y="2"/>
                </a:cxn>
                <a:cxn ang="0">
                  <a:pos x="40" y="4"/>
                </a:cxn>
                <a:cxn ang="0">
                  <a:pos x="36" y="6"/>
                </a:cxn>
                <a:cxn ang="0">
                  <a:pos x="32" y="4"/>
                </a:cxn>
                <a:cxn ang="0">
                  <a:pos x="28" y="10"/>
                </a:cxn>
                <a:cxn ang="0">
                  <a:pos x="28" y="12"/>
                </a:cxn>
                <a:cxn ang="0">
                  <a:pos x="26" y="16"/>
                </a:cxn>
                <a:cxn ang="0">
                  <a:pos x="22" y="20"/>
                </a:cxn>
                <a:cxn ang="0">
                  <a:pos x="20" y="24"/>
                </a:cxn>
                <a:cxn ang="0">
                  <a:pos x="12" y="24"/>
                </a:cxn>
                <a:cxn ang="0">
                  <a:pos x="8" y="20"/>
                </a:cxn>
                <a:cxn ang="0">
                  <a:pos x="6" y="24"/>
                </a:cxn>
                <a:cxn ang="0">
                  <a:pos x="10" y="30"/>
                </a:cxn>
                <a:cxn ang="0">
                  <a:pos x="6" y="32"/>
                </a:cxn>
                <a:cxn ang="0">
                  <a:pos x="4" y="36"/>
                </a:cxn>
                <a:cxn ang="0">
                  <a:pos x="2" y="42"/>
                </a:cxn>
                <a:cxn ang="0">
                  <a:pos x="16" y="44"/>
                </a:cxn>
                <a:cxn ang="0">
                  <a:pos x="16" y="42"/>
                </a:cxn>
                <a:cxn ang="0">
                  <a:pos x="12" y="48"/>
                </a:cxn>
                <a:cxn ang="0">
                  <a:pos x="10" y="54"/>
                </a:cxn>
                <a:cxn ang="0">
                  <a:pos x="6" y="58"/>
                </a:cxn>
                <a:cxn ang="0">
                  <a:pos x="4" y="62"/>
                </a:cxn>
                <a:cxn ang="0">
                  <a:pos x="2" y="66"/>
                </a:cxn>
                <a:cxn ang="0">
                  <a:pos x="0" y="70"/>
                </a:cxn>
                <a:cxn ang="0">
                  <a:pos x="2" y="74"/>
                </a:cxn>
                <a:cxn ang="0">
                  <a:pos x="2" y="76"/>
                </a:cxn>
                <a:cxn ang="0">
                  <a:pos x="6" y="76"/>
                </a:cxn>
                <a:cxn ang="0">
                  <a:pos x="4" y="80"/>
                </a:cxn>
                <a:cxn ang="0">
                  <a:pos x="14" y="76"/>
                </a:cxn>
                <a:cxn ang="0">
                  <a:pos x="18" y="80"/>
                </a:cxn>
                <a:cxn ang="0">
                  <a:pos x="24" y="76"/>
                </a:cxn>
                <a:cxn ang="0">
                  <a:pos x="26" y="74"/>
                </a:cxn>
                <a:cxn ang="0">
                  <a:pos x="30" y="72"/>
                </a:cxn>
                <a:cxn ang="0">
                  <a:pos x="34" y="70"/>
                </a:cxn>
                <a:cxn ang="0">
                  <a:pos x="36" y="66"/>
                </a:cxn>
                <a:cxn ang="0">
                  <a:pos x="42" y="64"/>
                </a:cxn>
                <a:cxn ang="0">
                  <a:pos x="44" y="62"/>
                </a:cxn>
                <a:cxn ang="0">
                  <a:pos x="46" y="62"/>
                </a:cxn>
                <a:cxn ang="0">
                  <a:pos x="46" y="58"/>
                </a:cxn>
                <a:cxn ang="0">
                  <a:pos x="50" y="46"/>
                </a:cxn>
                <a:cxn ang="0">
                  <a:pos x="48" y="42"/>
                </a:cxn>
                <a:cxn ang="0">
                  <a:pos x="48" y="34"/>
                </a:cxn>
                <a:cxn ang="0">
                  <a:pos x="48" y="28"/>
                </a:cxn>
                <a:cxn ang="0">
                  <a:pos x="50" y="26"/>
                </a:cxn>
                <a:cxn ang="0">
                  <a:pos x="42" y="24"/>
                </a:cxn>
                <a:cxn ang="0">
                  <a:pos x="36" y="26"/>
                </a:cxn>
                <a:cxn ang="0">
                  <a:pos x="36" y="24"/>
                </a:cxn>
                <a:cxn ang="0">
                  <a:pos x="32" y="22"/>
                </a:cxn>
                <a:cxn ang="0">
                  <a:pos x="32" y="18"/>
                </a:cxn>
                <a:cxn ang="0">
                  <a:pos x="36" y="16"/>
                </a:cxn>
                <a:cxn ang="0">
                  <a:pos x="38" y="10"/>
                </a:cxn>
                <a:cxn ang="0">
                  <a:pos x="44" y="6"/>
                </a:cxn>
                <a:cxn ang="0">
                  <a:pos x="16" y="54"/>
                </a:cxn>
                <a:cxn ang="0">
                  <a:pos x="16" y="56"/>
                </a:cxn>
                <a:cxn ang="0">
                  <a:pos x="12" y="58"/>
                </a:cxn>
                <a:cxn ang="0">
                  <a:pos x="16" y="54"/>
                </a:cxn>
              </a:cxnLst>
              <a:rect l="0" t="0" r="r" b="b"/>
              <a:pathLst>
                <a:path w="52" h="80">
                  <a:moveTo>
                    <a:pt x="44" y="6"/>
                  </a:moveTo>
                  <a:lnTo>
                    <a:pt x="44" y="6"/>
                  </a:lnTo>
                  <a:lnTo>
                    <a:pt x="44" y="4"/>
                  </a:lnTo>
                  <a:lnTo>
                    <a:pt x="42" y="2"/>
                  </a:lnTo>
                  <a:lnTo>
                    <a:pt x="40" y="0"/>
                  </a:lnTo>
                  <a:lnTo>
                    <a:pt x="40" y="4"/>
                  </a:lnTo>
                  <a:lnTo>
                    <a:pt x="38" y="6"/>
                  </a:lnTo>
                  <a:lnTo>
                    <a:pt x="36" y="6"/>
                  </a:lnTo>
                  <a:lnTo>
                    <a:pt x="36" y="4"/>
                  </a:lnTo>
                  <a:lnTo>
                    <a:pt x="32" y="4"/>
                  </a:lnTo>
                  <a:lnTo>
                    <a:pt x="28" y="4"/>
                  </a:lnTo>
                  <a:lnTo>
                    <a:pt x="28" y="10"/>
                  </a:lnTo>
                  <a:lnTo>
                    <a:pt x="24" y="10"/>
                  </a:lnTo>
                  <a:lnTo>
                    <a:pt x="28" y="12"/>
                  </a:lnTo>
                  <a:lnTo>
                    <a:pt x="28" y="16"/>
                  </a:lnTo>
                  <a:lnTo>
                    <a:pt x="26" y="16"/>
                  </a:lnTo>
                  <a:lnTo>
                    <a:pt x="22" y="18"/>
                  </a:lnTo>
                  <a:lnTo>
                    <a:pt x="22" y="20"/>
                  </a:lnTo>
                  <a:lnTo>
                    <a:pt x="22" y="24"/>
                  </a:lnTo>
                  <a:lnTo>
                    <a:pt x="20" y="24"/>
                  </a:lnTo>
                  <a:lnTo>
                    <a:pt x="14" y="22"/>
                  </a:lnTo>
                  <a:lnTo>
                    <a:pt x="12" y="24"/>
                  </a:lnTo>
                  <a:lnTo>
                    <a:pt x="10" y="24"/>
                  </a:lnTo>
                  <a:lnTo>
                    <a:pt x="8" y="20"/>
                  </a:lnTo>
                  <a:lnTo>
                    <a:pt x="6" y="20"/>
                  </a:lnTo>
                  <a:lnTo>
                    <a:pt x="6" y="24"/>
                  </a:lnTo>
                  <a:lnTo>
                    <a:pt x="12" y="28"/>
                  </a:lnTo>
                  <a:lnTo>
                    <a:pt x="10" y="30"/>
                  </a:lnTo>
                  <a:lnTo>
                    <a:pt x="10" y="32"/>
                  </a:lnTo>
                  <a:lnTo>
                    <a:pt x="6" y="32"/>
                  </a:lnTo>
                  <a:lnTo>
                    <a:pt x="2" y="32"/>
                  </a:lnTo>
                  <a:lnTo>
                    <a:pt x="4" y="36"/>
                  </a:lnTo>
                  <a:lnTo>
                    <a:pt x="2" y="36"/>
                  </a:lnTo>
                  <a:lnTo>
                    <a:pt x="2" y="42"/>
                  </a:lnTo>
                  <a:lnTo>
                    <a:pt x="8" y="42"/>
                  </a:lnTo>
                  <a:lnTo>
                    <a:pt x="16" y="44"/>
                  </a:lnTo>
                  <a:lnTo>
                    <a:pt x="16" y="40"/>
                  </a:lnTo>
                  <a:lnTo>
                    <a:pt x="16" y="42"/>
                  </a:lnTo>
                  <a:lnTo>
                    <a:pt x="16" y="44"/>
                  </a:lnTo>
                  <a:lnTo>
                    <a:pt x="12" y="48"/>
                  </a:lnTo>
                  <a:lnTo>
                    <a:pt x="12" y="52"/>
                  </a:lnTo>
                  <a:lnTo>
                    <a:pt x="10" y="54"/>
                  </a:lnTo>
                  <a:lnTo>
                    <a:pt x="6" y="56"/>
                  </a:lnTo>
                  <a:lnTo>
                    <a:pt x="6" y="58"/>
                  </a:lnTo>
                  <a:lnTo>
                    <a:pt x="10" y="60"/>
                  </a:lnTo>
                  <a:lnTo>
                    <a:pt x="4" y="62"/>
                  </a:lnTo>
                  <a:lnTo>
                    <a:pt x="6" y="66"/>
                  </a:lnTo>
                  <a:lnTo>
                    <a:pt x="2" y="66"/>
                  </a:lnTo>
                  <a:lnTo>
                    <a:pt x="0" y="66"/>
                  </a:lnTo>
                  <a:lnTo>
                    <a:pt x="0" y="70"/>
                  </a:lnTo>
                  <a:lnTo>
                    <a:pt x="2" y="70"/>
                  </a:lnTo>
                  <a:lnTo>
                    <a:pt x="2" y="74"/>
                  </a:lnTo>
                  <a:lnTo>
                    <a:pt x="0" y="76"/>
                  </a:lnTo>
                  <a:lnTo>
                    <a:pt x="2" y="76"/>
                  </a:lnTo>
                  <a:lnTo>
                    <a:pt x="8" y="76"/>
                  </a:lnTo>
                  <a:lnTo>
                    <a:pt x="6" y="76"/>
                  </a:lnTo>
                  <a:lnTo>
                    <a:pt x="4" y="78"/>
                  </a:lnTo>
                  <a:lnTo>
                    <a:pt x="4" y="80"/>
                  </a:lnTo>
                  <a:lnTo>
                    <a:pt x="6" y="80"/>
                  </a:lnTo>
                  <a:lnTo>
                    <a:pt x="14" y="76"/>
                  </a:lnTo>
                  <a:lnTo>
                    <a:pt x="14" y="78"/>
                  </a:lnTo>
                  <a:lnTo>
                    <a:pt x="18" y="80"/>
                  </a:lnTo>
                  <a:lnTo>
                    <a:pt x="22" y="76"/>
                  </a:lnTo>
                  <a:lnTo>
                    <a:pt x="24" y="76"/>
                  </a:lnTo>
                  <a:lnTo>
                    <a:pt x="26" y="76"/>
                  </a:lnTo>
                  <a:lnTo>
                    <a:pt x="26" y="74"/>
                  </a:lnTo>
                  <a:lnTo>
                    <a:pt x="26" y="72"/>
                  </a:lnTo>
                  <a:lnTo>
                    <a:pt x="30" y="72"/>
                  </a:lnTo>
                  <a:lnTo>
                    <a:pt x="32" y="74"/>
                  </a:lnTo>
                  <a:lnTo>
                    <a:pt x="34" y="70"/>
                  </a:lnTo>
                  <a:lnTo>
                    <a:pt x="36" y="70"/>
                  </a:lnTo>
                  <a:lnTo>
                    <a:pt x="36" y="66"/>
                  </a:lnTo>
                  <a:lnTo>
                    <a:pt x="42" y="66"/>
                  </a:lnTo>
                  <a:lnTo>
                    <a:pt x="42" y="64"/>
                  </a:lnTo>
                  <a:lnTo>
                    <a:pt x="42" y="62"/>
                  </a:lnTo>
                  <a:lnTo>
                    <a:pt x="44" y="62"/>
                  </a:lnTo>
                  <a:lnTo>
                    <a:pt x="48" y="64"/>
                  </a:lnTo>
                  <a:lnTo>
                    <a:pt x="46" y="62"/>
                  </a:lnTo>
                  <a:lnTo>
                    <a:pt x="46" y="60"/>
                  </a:lnTo>
                  <a:lnTo>
                    <a:pt x="46" y="58"/>
                  </a:lnTo>
                  <a:lnTo>
                    <a:pt x="50" y="58"/>
                  </a:lnTo>
                  <a:lnTo>
                    <a:pt x="50" y="46"/>
                  </a:lnTo>
                  <a:lnTo>
                    <a:pt x="48" y="46"/>
                  </a:lnTo>
                  <a:lnTo>
                    <a:pt x="48" y="42"/>
                  </a:lnTo>
                  <a:lnTo>
                    <a:pt x="46" y="42"/>
                  </a:lnTo>
                  <a:lnTo>
                    <a:pt x="48" y="34"/>
                  </a:lnTo>
                  <a:lnTo>
                    <a:pt x="48" y="32"/>
                  </a:lnTo>
                  <a:lnTo>
                    <a:pt x="48" y="28"/>
                  </a:lnTo>
                  <a:lnTo>
                    <a:pt x="52" y="26"/>
                  </a:lnTo>
                  <a:lnTo>
                    <a:pt x="50" y="26"/>
                  </a:lnTo>
                  <a:lnTo>
                    <a:pt x="46" y="26"/>
                  </a:lnTo>
                  <a:lnTo>
                    <a:pt x="42" y="24"/>
                  </a:lnTo>
                  <a:lnTo>
                    <a:pt x="38" y="26"/>
                  </a:lnTo>
                  <a:lnTo>
                    <a:pt x="36" y="26"/>
                  </a:lnTo>
                  <a:lnTo>
                    <a:pt x="36" y="24"/>
                  </a:lnTo>
                  <a:lnTo>
                    <a:pt x="36" y="24"/>
                  </a:lnTo>
                  <a:lnTo>
                    <a:pt x="34" y="22"/>
                  </a:lnTo>
                  <a:lnTo>
                    <a:pt x="32" y="22"/>
                  </a:lnTo>
                  <a:lnTo>
                    <a:pt x="32" y="20"/>
                  </a:lnTo>
                  <a:lnTo>
                    <a:pt x="32" y="18"/>
                  </a:lnTo>
                  <a:lnTo>
                    <a:pt x="34" y="18"/>
                  </a:lnTo>
                  <a:lnTo>
                    <a:pt x="36" y="16"/>
                  </a:lnTo>
                  <a:lnTo>
                    <a:pt x="36" y="14"/>
                  </a:lnTo>
                  <a:lnTo>
                    <a:pt x="38" y="10"/>
                  </a:lnTo>
                  <a:lnTo>
                    <a:pt x="40" y="8"/>
                  </a:lnTo>
                  <a:lnTo>
                    <a:pt x="44" y="6"/>
                  </a:lnTo>
                  <a:lnTo>
                    <a:pt x="44" y="6"/>
                  </a:lnTo>
                  <a:close/>
                  <a:moveTo>
                    <a:pt x="16" y="54"/>
                  </a:moveTo>
                  <a:lnTo>
                    <a:pt x="16" y="54"/>
                  </a:lnTo>
                  <a:lnTo>
                    <a:pt x="16" y="56"/>
                  </a:lnTo>
                  <a:lnTo>
                    <a:pt x="14" y="58"/>
                  </a:lnTo>
                  <a:lnTo>
                    <a:pt x="12" y="58"/>
                  </a:lnTo>
                  <a:lnTo>
                    <a:pt x="16" y="54"/>
                  </a:lnTo>
                  <a:lnTo>
                    <a:pt x="16" y="5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4" name="Freeform 528">
              <a:extLst>
                <a:ext uri="{FF2B5EF4-FFF2-40B4-BE49-F238E27FC236}">
                  <a16:creationId xmlns:a16="http://schemas.microsoft.com/office/drawing/2014/main" id="{828251B8-1D9F-47D3-89DB-354B9951AA1C}"/>
                </a:ext>
              </a:extLst>
            </p:cNvPr>
            <p:cNvSpPr>
              <a:spLocks/>
            </p:cNvSpPr>
            <p:nvPr/>
          </p:nvSpPr>
          <p:spPr bwMode="auto">
            <a:xfrm>
              <a:off x="3129950" y="3522211"/>
              <a:ext cx="152787" cy="194221"/>
            </a:xfrm>
            <a:custGeom>
              <a:avLst/>
              <a:gdLst/>
              <a:ahLst/>
              <a:cxnLst>
                <a:cxn ang="0">
                  <a:pos x="110" y="18"/>
                </a:cxn>
                <a:cxn ang="0">
                  <a:pos x="104" y="16"/>
                </a:cxn>
                <a:cxn ang="0">
                  <a:pos x="88" y="16"/>
                </a:cxn>
                <a:cxn ang="0">
                  <a:pos x="80" y="20"/>
                </a:cxn>
                <a:cxn ang="0">
                  <a:pos x="72" y="22"/>
                </a:cxn>
                <a:cxn ang="0">
                  <a:pos x="64" y="18"/>
                </a:cxn>
                <a:cxn ang="0">
                  <a:pos x="56" y="4"/>
                </a:cxn>
                <a:cxn ang="0">
                  <a:pos x="62" y="0"/>
                </a:cxn>
                <a:cxn ang="0">
                  <a:pos x="54" y="2"/>
                </a:cxn>
                <a:cxn ang="0">
                  <a:pos x="40" y="4"/>
                </a:cxn>
                <a:cxn ang="0">
                  <a:pos x="44" y="16"/>
                </a:cxn>
                <a:cxn ang="0">
                  <a:pos x="48" y="26"/>
                </a:cxn>
                <a:cxn ang="0">
                  <a:pos x="38" y="36"/>
                </a:cxn>
                <a:cxn ang="0">
                  <a:pos x="26" y="36"/>
                </a:cxn>
                <a:cxn ang="0">
                  <a:pos x="28" y="44"/>
                </a:cxn>
                <a:cxn ang="0">
                  <a:pos x="24" y="54"/>
                </a:cxn>
                <a:cxn ang="0">
                  <a:pos x="24" y="58"/>
                </a:cxn>
                <a:cxn ang="0">
                  <a:pos x="18" y="62"/>
                </a:cxn>
                <a:cxn ang="0">
                  <a:pos x="8" y="62"/>
                </a:cxn>
                <a:cxn ang="0">
                  <a:pos x="0" y="80"/>
                </a:cxn>
                <a:cxn ang="0">
                  <a:pos x="4" y="84"/>
                </a:cxn>
                <a:cxn ang="0">
                  <a:pos x="6" y="90"/>
                </a:cxn>
                <a:cxn ang="0">
                  <a:pos x="6" y="98"/>
                </a:cxn>
                <a:cxn ang="0">
                  <a:pos x="10" y="106"/>
                </a:cxn>
                <a:cxn ang="0">
                  <a:pos x="10" y="114"/>
                </a:cxn>
                <a:cxn ang="0">
                  <a:pos x="20" y="114"/>
                </a:cxn>
                <a:cxn ang="0">
                  <a:pos x="28" y="116"/>
                </a:cxn>
                <a:cxn ang="0">
                  <a:pos x="34" y="124"/>
                </a:cxn>
                <a:cxn ang="0">
                  <a:pos x="32" y="138"/>
                </a:cxn>
                <a:cxn ang="0">
                  <a:pos x="38" y="142"/>
                </a:cxn>
                <a:cxn ang="0">
                  <a:pos x="44" y="140"/>
                </a:cxn>
                <a:cxn ang="0">
                  <a:pos x="62" y="146"/>
                </a:cxn>
                <a:cxn ang="0">
                  <a:pos x="72" y="144"/>
                </a:cxn>
                <a:cxn ang="0">
                  <a:pos x="80" y="138"/>
                </a:cxn>
                <a:cxn ang="0">
                  <a:pos x="88" y="140"/>
                </a:cxn>
                <a:cxn ang="0">
                  <a:pos x="96" y="144"/>
                </a:cxn>
                <a:cxn ang="0">
                  <a:pos x="94" y="134"/>
                </a:cxn>
                <a:cxn ang="0">
                  <a:pos x="96" y="130"/>
                </a:cxn>
                <a:cxn ang="0">
                  <a:pos x="102" y="122"/>
                </a:cxn>
                <a:cxn ang="0">
                  <a:pos x="102" y="116"/>
                </a:cxn>
                <a:cxn ang="0">
                  <a:pos x="96" y="114"/>
                </a:cxn>
                <a:cxn ang="0">
                  <a:pos x="92" y="102"/>
                </a:cxn>
                <a:cxn ang="0">
                  <a:pos x="86" y="90"/>
                </a:cxn>
                <a:cxn ang="0">
                  <a:pos x="96" y="86"/>
                </a:cxn>
                <a:cxn ang="0">
                  <a:pos x="112" y="74"/>
                </a:cxn>
                <a:cxn ang="0">
                  <a:pos x="116" y="58"/>
                </a:cxn>
                <a:cxn ang="0">
                  <a:pos x="114" y="42"/>
                </a:cxn>
                <a:cxn ang="0">
                  <a:pos x="114" y="26"/>
                </a:cxn>
              </a:cxnLst>
              <a:rect l="0" t="0" r="r" b="b"/>
              <a:pathLst>
                <a:path w="118" h="150">
                  <a:moveTo>
                    <a:pt x="114" y="20"/>
                  </a:moveTo>
                  <a:lnTo>
                    <a:pt x="114" y="20"/>
                  </a:lnTo>
                  <a:lnTo>
                    <a:pt x="110" y="18"/>
                  </a:lnTo>
                  <a:lnTo>
                    <a:pt x="110" y="16"/>
                  </a:lnTo>
                  <a:lnTo>
                    <a:pt x="106" y="16"/>
                  </a:lnTo>
                  <a:lnTo>
                    <a:pt x="104" y="16"/>
                  </a:lnTo>
                  <a:lnTo>
                    <a:pt x="98" y="14"/>
                  </a:lnTo>
                  <a:lnTo>
                    <a:pt x="90" y="12"/>
                  </a:lnTo>
                  <a:lnTo>
                    <a:pt x="88" y="16"/>
                  </a:lnTo>
                  <a:lnTo>
                    <a:pt x="86" y="20"/>
                  </a:lnTo>
                  <a:lnTo>
                    <a:pt x="84" y="20"/>
                  </a:lnTo>
                  <a:lnTo>
                    <a:pt x="80" y="20"/>
                  </a:lnTo>
                  <a:lnTo>
                    <a:pt x="80" y="22"/>
                  </a:lnTo>
                  <a:lnTo>
                    <a:pt x="80" y="24"/>
                  </a:lnTo>
                  <a:lnTo>
                    <a:pt x="72" y="22"/>
                  </a:lnTo>
                  <a:lnTo>
                    <a:pt x="72" y="18"/>
                  </a:lnTo>
                  <a:lnTo>
                    <a:pt x="70" y="16"/>
                  </a:lnTo>
                  <a:lnTo>
                    <a:pt x="64" y="18"/>
                  </a:lnTo>
                  <a:lnTo>
                    <a:pt x="60" y="10"/>
                  </a:lnTo>
                  <a:lnTo>
                    <a:pt x="60" y="6"/>
                  </a:lnTo>
                  <a:lnTo>
                    <a:pt x="56" y="4"/>
                  </a:lnTo>
                  <a:lnTo>
                    <a:pt x="58" y="2"/>
                  </a:lnTo>
                  <a:lnTo>
                    <a:pt x="62" y="2"/>
                  </a:lnTo>
                  <a:lnTo>
                    <a:pt x="62" y="0"/>
                  </a:lnTo>
                  <a:lnTo>
                    <a:pt x="60" y="0"/>
                  </a:lnTo>
                  <a:lnTo>
                    <a:pt x="58" y="2"/>
                  </a:lnTo>
                  <a:lnTo>
                    <a:pt x="54" y="2"/>
                  </a:lnTo>
                  <a:lnTo>
                    <a:pt x="54" y="0"/>
                  </a:lnTo>
                  <a:lnTo>
                    <a:pt x="42" y="0"/>
                  </a:lnTo>
                  <a:lnTo>
                    <a:pt x="40" y="4"/>
                  </a:lnTo>
                  <a:lnTo>
                    <a:pt x="42" y="4"/>
                  </a:lnTo>
                  <a:lnTo>
                    <a:pt x="44" y="10"/>
                  </a:lnTo>
                  <a:lnTo>
                    <a:pt x="44" y="16"/>
                  </a:lnTo>
                  <a:lnTo>
                    <a:pt x="44" y="18"/>
                  </a:lnTo>
                  <a:lnTo>
                    <a:pt x="44" y="22"/>
                  </a:lnTo>
                  <a:lnTo>
                    <a:pt x="48" y="26"/>
                  </a:lnTo>
                  <a:lnTo>
                    <a:pt x="42" y="26"/>
                  </a:lnTo>
                  <a:lnTo>
                    <a:pt x="40" y="32"/>
                  </a:lnTo>
                  <a:lnTo>
                    <a:pt x="38" y="36"/>
                  </a:lnTo>
                  <a:lnTo>
                    <a:pt x="36" y="32"/>
                  </a:lnTo>
                  <a:lnTo>
                    <a:pt x="30" y="34"/>
                  </a:lnTo>
                  <a:lnTo>
                    <a:pt x="26" y="36"/>
                  </a:lnTo>
                  <a:lnTo>
                    <a:pt x="26" y="38"/>
                  </a:lnTo>
                  <a:lnTo>
                    <a:pt x="30" y="44"/>
                  </a:lnTo>
                  <a:lnTo>
                    <a:pt x="28" y="44"/>
                  </a:lnTo>
                  <a:lnTo>
                    <a:pt x="28" y="50"/>
                  </a:lnTo>
                  <a:lnTo>
                    <a:pt x="26" y="52"/>
                  </a:lnTo>
                  <a:lnTo>
                    <a:pt x="24" y="54"/>
                  </a:lnTo>
                  <a:lnTo>
                    <a:pt x="22" y="54"/>
                  </a:lnTo>
                  <a:lnTo>
                    <a:pt x="24" y="58"/>
                  </a:lnTo>
                  <a:lnTo>
                    <a:pt x="24" y="58"/>
                  </a:lnTo>
                  <a:lnTo>
                    <a:pt x="22" y="58"/>
                  </a:lnTo>
                  <a:lnTo>
                    <a:pt x="18" y="62"/>
                  </a:lnTo>
                  <a:lnTo>
                    <a:pt x="18" y="62"/>
                  </a:lnTo>
                  <a:lnTo>
                    <a:pt x="16" y="64"/>
                  </a:lnTo>
                  <a:lnTo>
                    <a:pt x="12" y="62"/>
                  </a:lnTo>
                  <a:lnTo>
                    <a:pt x="8" y="62"/>
                  </a:lnTo>
                  <a:lnTo>
                    <a:pt x="6" y="62"/>
                  </a:lnTo>
                  <a:lnTo>
                    <a:pt x="4" y="66"/>
                  </a:lnTo>
                  <a:lnTo>
                    <a:pt x="0" y="80"/>
                  </a:lnTo>
                  <a:lnTo>
                    <a:pt x="2" y="82"/>
                  </a:lnTo>
                  <a:lnTo>
                    <a:pt x="6" y="84"/>
                  </a:lnTo>
                  <a:lnTo>
                    <a:pt x="4" y="84"/>
                  </a:lnTo>
                  <a:lnTo>
                    <a:pt x="4" y="86"/>
                  </a:lnTo>
                  <a:lnTo>
                    <a:pt x="4" y="88"/>
                  </a:lnTo>
                  <a:lnTo>
                    <a:pt x="6" y="90"/>
                  </a:lnTo>
                  <a:lnTo>
                    <a:pt x="6" y="92"/>
                  </a:lnTo>
                  <a:lnTo>
                    <a:pt x="6" y="96"/>
                  </a:lnTo>
                  <a:lnTo>
                    <a:pt x="6" y="98"/>
                  </a:lnTo>
                  <a:lnTo>
                    <a:pt x="8" y="100"/>
                  </a:lnTo>
                  <a:lnTo>
                    <a:pt x="10" y="102"/>
                  </a:lnTo>
                  <a:lnTo>
                    <a:pt x="10" y="106"/>
                  </a:lnTo>
                  <a:lnTo>
                    <a:pt x="8" y="108"/>
                  </a:lnTo>
                  <a:lnTo>
                    <a:pt x="8" y="112"/>
                  </a:lnTo>
                  <a:lnTo>
                    <a:pt x="10" y="114"/>
                  </a:lnTo>
                  <a:lnTo>
                    <a:pt x="14" y="112"/>
                  </a:lnTo>
                  <a:lnTo>
                    <a:pt x="18" y="112"/>
                  </a:lnTo>
                  <a:lnTo>
                    <a:pt x="20" y="114"/>
                  </a:lnTo>
                  <a:lnTo>
                    <a:pt x="22" y="116"/>
                  </a:lnTo>
                  <a:lnTo>
                    <a:pt x="24" y="118"/>
                  </a:lnTo>
                  <a:lnTo>
                    <a:pt x="28" y="116"/>
                  </a:lnTo>
                  <a:lnTo>
                    <a:pt x="34" y="118"/>
                  </a:lnTo>
                  <a:lnTo>
                    <a:pt x="34" y="118"/>
                  </a:lnTo>
                  <a:lnTo>
                    <a:pt x="34" y="124"/>
                  </a:lnTo>
                  <a:lnTo>
                    <a:pt x="32" y="128"/>
                  </a:lnTo>
                  <a:lnTo>
                    <a:pt x="32" y="132"/>
                  </a:lnTo>
                  <a:lnTo>
                    <a:pt x="32" y="138"/>
                  </a:lnTo>
                  <a:lnTo>
                    <a:pt x="32" y="142"/>
                  </a:lnTo>
                  <a:lnTo>
                    <a:pt x="34" y="146"/>
                  </a:lnTo>
                  <a:lnTo>
                    <a:pt x="38" y="142"/>
                  </a:lnTo>
                  <a:lnTo>
                    <a:pt x="40" y="140"/>
                  </a:lnTo>
                  <a:lnTo>
                    <a:pt x="42" y="140"/>
                  </a:lnTo>
                  <a:lnTo>
                    <a:pt x="44" y="140"/>
                  </a:lnTo>
                  <a:lnTo>
                    <a:pt x="48" y="142"/>
                  </a:lnTo>
                  <a:lnTo>
                    <a:pt x="60" y="150"/>
                  </a:lnTo>
                  <a:lnTo>
                    <a:pt x="62" y="146"/>
                  </a:lnTo>
                  <a:lnTo>
                    <a:pt x="66" y="144"/>
                  </a:lnTo>
                  <a:lnTo>
                    <a:pt x="70" y="144"/>
                  </a:lnTo>
                  <a:lnTo>
                    <a:pt x="72" y="144"/>
                  </a:lnTo>
                  <a:lnTo>
                    <a:pt x="76" y="142"/>
                  </a:lnTo>
                  <a:lnTo>
                    <a:pt x="78" y="138"/>
                  </a:lnTo>
                  <a:lnTo>
                    <a:pt x="80" y="138"/>
                  </a:lnTo>
                  <a:lnTo>
                    <a:pt x="82" y="140"/>
                  </a:lnTo>
                  <a:lnTo>
                    <a:pt x="86" y="140"/>
                  </a:lnTo>
                  <a:lnTo>
                    <a:pt x="88" y="140"/>
                  </a:lnTo>
                  <a:lnTo>
                    <a:pt x="90" y="140"/>
                  </a:lnTo>
                  <a:lnTo>
                    <a:pt x="92" y="144"/>
                  </a:lnTo>
                  <a:lnTo>
                    <a:pt x="96" y="144"/>
                  </a:lnTo>
                  <a:lnTo>
                    <a:pt x="96" y="138"/>
                  </a:lnTo>
                  <a:lnTo>
                    <a:pt x="94" y="136"/>
                  </a:lnTo>
                  <a:lnTo>
                    <a:pt x="94" y="134"/>
                  </a:lnTo>
                  <a:lnTo>
                    <a:pt x="92" y="134"/>
                  </a:lnTo>
                  <a:lnTo>
                    <a:pt x="92" y="132"/>
                  </a:lnTo>
                  <a:lnTo>
                    <a:pt x="96" y="130"/>
                  </a:lnTo>
                  <a:lnTo>
                    <a:pt x="100" y="128"/>
                  </a:lnTo>
                  <a:lnTo>
                    <a:pt x="100" y="126"/>
                  </a:lnTo>
                  <a:lnTo>
                    <a:pt x="102" y="122"/>
                  </a:lnTo>
                  <a:lnTo>
                    <a:pt x="104" y="120"/>
                  </a:lnTo>
                  <a:lnTo>
                    <a:pt x="106" y="118"/>
                  </a:lnTo>
                  <a:lnTo>
                    <a:pt x="102" y="116"/>
                  </a:lnTo>
                  <a:lnTo>
                    <a:pt x="100" y="114"/>
                  </a:lnTo>
                  <a:lnTo>
                    <a:pt x="98" y="114"/>
                  </a:lnTo>
                  <a:lnTo>
                    <a:pt x="96" y="114"/>
                  </a:lnTo>
                  <a:lnTo>
                    <a:pt x="94" y="110"/>
                  </a:lnTo>
                  <a:lnTo>
                    <a:pt x="94" y="106"/>
                  </a:lnTo>
                  <a:lnTo>
                    <a:pt x="92" y="102"/>
                  </a:lnTo>
                  <a:lnTo>
                    <a:pt x="90" y="98"/>
                  </a:lnTo>
                  <a:lnTo>
                    <a:pt x="86" y="94"/>
                  </a:lnTo>
                  <a:lnTo>
                    <a:pt x="86" y="90"/>
                  </a:lnTo>
                  <a:lnTo>
                    <a:pt x="88" y="88"/>
                  </a:lnTo>
                  <a:lnTo>
                    <a:pt x="92" y="88"/>
                  </a:lnTo>
                  <a:lnTo>
                    <a:pt x="96" y="86"/>
                  </a:lnTo>
                  <a:lnTo>
                    <a:pt x="98" y="82"/>
                  </a:lnTo>
                  <a:lnTo>
                    <a:pt x="104" y="80"/>
                  </a:lnTo>
                  <a:lnTo>
                    <a:pt x="112" y="74"/>
                  </a:lnTo>
                  <a:lnTo>
                    <a:pt x="118" y="78"/>
                  </a:lnTo>
                  <a:lnTo>
                    <a:pt x="116" y="62"/>
                  </a:lnTo>
                  <a:lnTo>
                    <a:pt x="116" y="58"/>
                  </a:lnTo>
                  <a:lnTo>
                    <a:pt x="114" y="54"/>
                  </a:lnTo>
                  <a:lnTo>
                    <a:pt x="116" y="44"/>
                  </a:lnTo>
                  <a:lnTo>
                    <a:pt x="114" y="42"/>
                  </a:lnTo>
                  <a:lnTo>
                    <a:pt x="112" y="38"/>
                  </a:lnTo>
                  <a:lnTo>
                    <a:pt x="112" y="36"/>
                  </a:lnTo>
                  <a:lnTo>
                    <a:pt x="114" y="26"/>
                  </a:lnTo>
                  <a:lnTo>
                    <a:pt x="114" y="20"/>
                  </a:lnTo>
                  <a:lnTo>
                    <a:pt x="114" y="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5" name="Freeform 529">
              <a:extLst>
                <a:ext uri="{FF2B5EF4-FFF2-40B4-BE49-F238E27FC236}">
                  <a16:creationId xmlns:a16="http://schemas.microsoft.com/office/drawing/2014/main" id="{59AD1ED0-05B5-4008-9876-65525A9C1464}"/>
                </a:ext>
              </a:extLst>
            </p:cNvPr>
            <p:cNvSpPr>
              <a:spLocks/>
            </p:cNvSpPr>
            <p:nvPr/>
          </p:nvSpPr>
          <p:spPr bwMode="auto">
            <a:xfrm>
              <a:off x="3707433" y="3801889"/>
              <a:ext cx="121712" cy="59561"/>
            </a:xfrm>
            <a:custGeom>
              <a:avLst/>
              <a:gdLst/>
              <a:ahLst/>
              <a:cxnLst>
                <a:cxn ang="0">
                  <a:pos x="0" y="10"/>
                </a:cxn>
                <a:cxn ang="0">
                  <a:pos x="8" y="14"/>
                </a:cxn>
                <a:cxn ang="0">
                  <a:pos x="18" y="22"/>
                </a:cxn>
                <a:cxn ang="0">
                  <a:pos x="22" y="34"/>
                </a:cxn>
                <a:cxn ang="0">
                  <a:pos x="22" y="40"/>
                </a:cxn>
                <a:cxn ang="0">
                  <a:pos x="24" y="42"/>
                </a:cxn>
                <a:cxn ang="0">
                  <a:pos x="30" y="40"/>
                </a:cxn>
                <a:cxn ang="0">
                  <a:pos x="38" y="42"/>
                </a:cxn>
                <a:cxn ang="0">
                  <a:pos x="48" y="42"/>
                </a:cxn>
                <a:cxn ang="0">
                  <a:pos x="50" y="44"/>
                </a:cxn>
                <a:cxn ang="0">
                  <a:pos x="52" y="46"/>
                </a:cxn>
                <a:cxn ang="0">
                  <a:pos x="62" y="46"/>
                </a:cxn>
                <a:cxn ang="0">
                  <a:pos x="72" y="44"/>
                </a:cxn>
                <a:cxn ang="0">
                  <a:pos x="76" y="38"/>
                </a:cxn>
                <a:cxn ang="0">
                  <a:pos x="84" y="40"/>
                </a:cxn>
                <a:cxn ang="0">
                  <a:pos x="88" y="46"/>
                </a:cxn>
                <a:cxn ang="0">
                  <a:pos x="92" y="46"/>
                </a:cxn>
                <a:cxn ang="0">
                  <a:pos x="90" y="40"/>
                </a:cxn>
                <a:cxn ang="0">
                  <a:pos x="92" y="36"/>
                </a:cxn>
                <a:cxn ang="0">
                  <a:pos x="90" y="30"/>
                </a:cxn>
                <a:cxn ang="0">
                  <a:pos x="86" y="28"/>
                </a:cxn>
                <a:cxn ang="0">
                  <a:pos x="82" y="26"/>
                </a:cxn>
                <a:cxn ang="0">
                  <a:pos x="82" y="24"/>
                </a:cxn>
                <a:cxn ang="0">
                  <a:pos x="76" y="20"/>
                </a:cxn>
                <a:cxn ang="0">
                  <a:pos x="72" y="14"/>
                </a:cxn>
                <a:cxn ang="0">
                  <a:pos x="64" y="14"/>
                </a:cxn>
                <a:cxn ang="0">
                  <a:pos x="58" y="16"/>
                </a:cxn>
                <a:cxn ang="0">
                  <a:pos x="54" y="14"/>
                </a:cxn>
                <a:cxn ang="0">
                  <a:pos x="46" y="16"/>
                </a:cxn>
                <a:cxn ang="0">
                  <a:pos x="40" y="8"/>
                </a:cxn>
                <a:cxn ang="0">
                  <a:pos x="32" y="4"/>
                </a:cxn>
                <a:cxn ang="0">
                  <a:pos x="22" y="4"/>
                </a:cxn>
                <a:cxn ang="0">
                  <a:pos x="14" y="0"/>
                </a:cxn>
                <a:cxn ang="0">
                  <a:pos x="8" y="0"/>
                </a:cxn>
                <a:cxn ang="0">
                  <a:pos x="0" y="6"/>
                </a:cxn>
                <a:cxn ang="0">
                  <a:pos x="0" y="10"/>
                </a:cxn>
              </a:cxnLst>
              <a:rect l="0" t="0" r="r" b="b"/>
              <a:pathLst>
                <a:path w="94" h="46">
                  <a:moveTo>
                    <a:pt x="0" y="10"/>
                  </a:moveTo>
                  <a:lnTo>
                    <a:pt x="0" y="10"/>
                  </a:lnTo>
                  <a:lnTo>
                    <a:pt x="4" y="14"/>
                  </a:lnTo>
                  <a:lnTo>
                    <a:pt x="8" y="14"/>
                  </a:lnTo>
                  <a:lnTo>
                    <a:pt x="12" y="18"/>
                  </a:lnTo>
                  <a:lnTo>
                    <a:pt x="18" y="22"/>
                  </a:lnTo>
                  <a:lnTo>
                    <a:pt x="22" y="28"/>
                  </a:lnTo>
                  <a:lnTo>
                    <a:pt x="22" y="34"/>
                  </a:lnTo>
                  <a:lnTo>
                    <a:pt x="22" y="38"/>
                  </a:lnTo>
                  <a:lnTo>
                    <a:pt x="22" y="40"/>
                  </a:lnTo>
                  <a:lnTo>
                    <a:pt x="24" y="40"/>
                  </a:lnTo>
                  <a:lnTo>
                    <a:pt x="24" y="42"/>
                  </a:lnTo>
                  <a:lnTo>
                    <a:pt x="26" y="40"/>
                  </a:lnTo>
                  <a:lnTo>
                    <a:pt x="30" y="40"/>
                  </a:lnTo>
                  <a:lnTo>
                    <a:pt x="34" y="40"/>
                  </a:lnTo>
                  <a:lnTo>
                    <a:pt x="38" y="42"/>
                  </a:lnTo>
                  <a:lnTo>
                    <a:pt x="40" y="44"/>
                  </a:lnTo>
                  <a:lnTo>
                    <a:pt x="48" y="42"/>
                  </a:lnTo>
                  <a:lnTo>
                    <a:pt x="50" y="42"/>
                  </a:lnTo>
                  <a:lnTo>
                    <a:pt x="50" y="44"/>
                  </a:lnTo>
                  <a:lnTo>
                    <a:pt x="50" y="46"/>
                  </a:lnTo>
                  <a:lnTo>
                    <a:pt x="52" y="46"/>
                  </a:lnTo>
                  <a:lnTo>
                    <a:pt x="52" y="46"/>
                  </a:lnTo>
                  <a:lnTo>
                    <a:pt x="62" y="46"/>
                  </a:lnTo>
                  <a:lnTo>
                    <a:pt x="70" y="46"/>
                  </a:lnTo>
                  <a:lnTo>
                    <a:pt x="72" y="44"/>
                  </a:lnTo>
                  <a:lnTo>
                    <a:pt x="74" y="40"/>
                  </a:lnTo>
                  <a:lnTo>
                    <a:pt x="76" y="38"/>
                  </a:lnTo>
                  <a:lnTo>
                    <a:pt x="80" y="38"/>
                  </a:lnTo>
                  <a:lnTo>
                    <a:pt x="84" y="40"/>
                  </a:lnTo>
                  <a:lnTo>
                    <a:pt x="86" y="42"/>
                  </a:lnTo>
                  <a:lnTo>
                    <a:pt x="88" y="46"/>
                  </a:lnTo>
                  <a:lnTo>
                    <a:pt x="90" y="46"/>
                  </a:lnTo>
                  <a:lnTo>
                    <a:pt x="92" y="46"/>
                  </a:lnTo>
                  <a:lnTo>
                    <a:pt x="94" y="42"/>
                  </a:lnTo>
                  <a:lnTo>
                    <a:pt x="90" y="40"/>
                  </a:lnTo>
                  <a:lnTo>
                    <a:pt x="90" y="38"/>
                  </a:lnTo>
                  <a:lnTo>
                    <a:pt x="92" y="36"/>
                  </a:lnTo>
                  <a:lnTo>
                    <a:pt x="94" y="34"/>
                  </a:lnTo>
                  <a:lnTo>
                    <a:pt x="90" y="30"/>
                  </a:lnTo>
                  <a:lnTo>
                    <a:pt x="88" y="28"/>
                  </a:lnTo>
                  <a:lnTo>
                    <a:pt x="86" y="28"/>
                  </a:lnTo>
                  <a:lnTo>
                    <a:pt x="82" y="28"/>
                  </a:lnTo>
                  <a:lnTo>
                    <a:pt x="82" y="26"/>
                  </a:lnTo>
                  <a:lnTo>
                    <a:pt x="82" y="24"/>
                  </a:lnTo>
                  <a:lnTo>
                    <a:pt x="82" y="24"/>
                  </a:lnTo>
                  <a:lnTo>
                    <a:pt x="78" y="22"/>
                  </a:lnTo>
                  <a:lnTo>
                    <a:pt x="76" y="20"/>
                  </a:lnTo>
                  <a:lnTo>
                    <a:pt x="74" y="18"/>
                  </a:lnTo>
                  <a:lnTo>
                    <a:pt x="72" y="14"/>
                  </a:lnTo>
                  <a:lnTo>
                    <a:pt x="68" y="12"/>
                  </a:lnTo>
                  <a:lnTo>
                    <a:pt x="64" y="14"/>
                  </a:lnTo>
                  <a:lnTo>
                    <a:pt x="60" y="16"/>
                  </a:lnTo>
                  <a:lnTo>
                    <a:pt x="58" y="16"/>
                  </a:lnTo>
                  <a:lnTo>
                    <a:pt x="56" y="14"/>
                  </a:lnTo>
                  <a:lnTo>
                    <a:pt x="54" y="14"/>
                  </a:lnTo>
                  <a:lnTo>
                    <a:pt x="50" y="16"/>
                  </a:lnTo>
                  <a:lnTo>
                    <a:pt x="46" y="16"/>
                  </a:lnTo>
                  <a:lnTo>
                    <a:pt x="44" y="14"/>
                  </a:lnTo>
                  <a:lnTo>
                    <a:pt x="40" y="8"/>
                  </a:lnTo>
                  <a:lnTo>
                    <a:pt x="36" y="6"/>
                  </a:lnTo>
                  <a:lnTo>
                    <a:pt x="32" y="4"/>
                  </a:lnTo>
                  <a:lnTo>
                    <a:pt x="28" y="4"/>
                  </a:lnTo>
                  <a:lnTo>
                    <a:pt x="22" y="4"/>
                  </a:lnTo>
                  <a:lnTo>
                    <a:pt x="16" y="4"/>
                  </a:lnTo>
                  <a:lnTo>
                    <a:pt x="14" y="0"/>
                  </a:lnTo>
                  <a:lnTo>
                    <a:pt x="12" y="0"/>
                  </a:lnTo>
                  <a:lnTo>
                    <a:pt x="8" y="0"/>
                  </a:lnTo>
                  <a:lnTo>
                    <a:pt x="4" y="2"/>
                  </a:lnTo>
                  <a:lnTo>
                    <a:pt x="0" y="6"/>
                  </a:lnTo>
                  <a:lnTo>
                    <a:pt x="0" y="10"/>
                  </a:lnTo>
                  <a:lnTo>
                    <a:pt x="0"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6" name="Freeform 530">
              <a:extLst>
                <a:ext uri="{FF2B5EF4-FFF2-40B4-BE49-F238E27FC236}">
                  <a16:creationId xmlns:a16="http://schemas.microsoft.com/office/drawing/2014/main" id="{8DBDB788-9716-403A-9C45-CD7F3573B88A}"/>
                </a:ext>
              </a:extLst>
            </p:cNvPr>
            <p:cNvSpPr>
              <a:spLocks/>
            </p:cNvSpPr>
            <p:nvPr/>
          </p:nvSpPr>
          <p:spPr bwMode="auto">
            <a:xfrm>
              <a:off x="3386322" y="3084567"/>
              <a:ext cx="183862" cy="297805"/>
            </a:xfrm>
            <a:custGeom>
              <a:avLst/>
              <a:gdLst/>
              <a:ahLst/>
              <a:cxnLst>
                <a:cxn ang="0">
                  <a:pos x="52" y="96"/>
                </a:cxn>
                <a:cxn ang="0">
                  <a:pos x="56" y="98"/>
                </a:cxn>
                <a:cxn ang="0">
                  <a:pos x="56" y="104"/>
                </a:cxn>
                <a:cxn ang="0">
                  <a:pos x="58" y="114"/>
                </a:cxn>
                <a:cxn ang="0">
                  <a:pos x="56" y="118"/>
                </a:cxn>
                <a:cxn ang="0">
                  <a:pos x="48" y="124"/>
                </a:cxn>
                <a:cxn ang="0">
                  <a:pos x="40" y="138"/>
                </a:cxn>
                <a:cxn ang="0">
                  <a:pos x="32" y="146"/>
                </a:cxn>
                <a:cxn ang="0">
                  <a:pos x="26" y="152"/>
                </a:cxn>
                <a:cxn ang="0">
                  <a:pos x="20" y="156"/>
                </a:cxn>
                <a:cxn ang="0">
                  <a:pos x="12" y="166"/>
                </a:cxn>
                <a:cxn ang="0">
                  <a:pos x="16" y="176"/>
                </a:cxn>
                <a:cxn ang="0">
                  <a:pos x="20" y="186"/>
                </a:cxn>
                <a:cxn ang="0">
                  <a:pos x="16" y="200"/>
                </a:cxn>
                <a:cxn ang="0">
                  <a:pos x="20" y="204"/>
                </a:cxn>
                <a:cxn ang="0">
                  <a:pos x="26" y="214"/>
                </a:cxn>
                <a:cxn ang="0">
                  <a:pos x="26" y="210"/>
                </a:cxn>
                <a:cxn ang="0">
                  <a:pos x="36" y="216"/>
                </a:cxn>
                <a:cxn ang="0">
                  <a:pos x="28" y="220"/>
                </a:cxn>
                <a:cxn ang="0">
                  <a:pos x="36" y="220"/>
                </a:cxn>
                <a:cxn ang="0">
                  <a:pos x="38" y="228"/>
                </a:cxn>
                <a:cxn ang="0">
                  <a:pos x="54" y="228"/>
                </a:cxn>
                <a:cxn ang="0">
                  <a:pos x="68" y="218"/>
                </a:cxn>
                <a:cxn ang="0">
                  <a:pos x="72" y="216"/>
                </a:cxn>
                <a:cxn ang="0">
                  <a:pos x="78" y="214"/>
                </a:cxn>
                <a:cxn ang="0">
                  <a:pos x="84" y="212"/>
                </a:cxn>
                <a:cxn ang="0">
                  <a:pos x="86" y="212"/>
                </a:cxn>
                <a:cxn ang="0">
                  <a:pos x="122" y="190"/>
                </a:cxn>
                <a:cxn ang="0">
                  <a:pos x="142" y="172"/>
                </a:cxn>
                <a:cxn ang="0">
                  <a:pos x="138" y="164"/>
                </a:cxn>
                <a:cxn ang="0">
                  <a:pos x="130" y="158"/>
                </a:cxn>
                <a:cxn ang="0">
                  <a:pos x="134" y="144"/>
                </a:cxn>
                <a:cxn ang="0">
                  <a:pos x="132" y="134"/>
                </a:cxn>
                <a:cxn ang="0">
                  <a:pos x="124" y="124"/>
                </a:cxn>
                <a:cxn ang="0">
                  <a:pos x="122" y="110"/>
                </a:cxn>
                <a:cxn ang="0">
                  <a:pos x="122" y="102"/>
                </a:cxn>
                <a:cxn ang="0">
                  <a:pos x="122" y="90"/>
                </a:cxn>
                <a:cxn ang="0">
                  <a:pos x="118" y="58"/>
                </a:cxn>
                <a:cxn ang="0">
                  <a:pos x="122" y="46"/>
                </a:cxn>
                <a:cxn ang="0">
                  <a:pos x="116" y="42"/>
                </a:cxn>
                <a:cxn ang="0">
                  <a:pos x="116" y="24"/>
                </a:cxn>
                <a:cxn ang="0">
                  <a:pos x="114" y="18"/>
                </a:cxn>
                <a:cxn ang="0">
                  <a:pos x="98" y="0"/>
                </a:cxn>
                <a:cxn ang="0">
                  <a:pos x="88" y="6"/>
                </a:cxn>
                <a:cxn ang="0">
                  <a:pos x="76" y="8"/>
                </a:cxn>
                <a:cxn ang="0">
                  <a:pos x="68" y="14"/>
                </a:cxn>
                <a:cxn ang="0">
                  <a:pos x="68" y="22"/>
                </a:cxn>
                <a:cxn ang="0">
                  <a:pos x="60" y="36"/>
                </a:cxn>
                <a:cxn ang="0">
                  <a:pos x="58" y="42"/>
                </a:cxn>
                <a:cxn ang="0">
                  <a:pos x="48" y="34"/>
                </a:cxn>
                <a:cxn ang="0">
                  <a:pos x="42" y="34"/>
                </a:cxn>
                <a:cxn ang="0">
                  <a:pos x="14" y="20"/>
                </a:cxn>
                <a:cxn ang="0">
                  <a:pos x="8" y="22"/>
                </a:cxn>
                <a:cxn ang="0">
                  <a:pos x="4" y="28"/>
                </a:cxn>
                <a:cxn ang="0">
                  <a:pos x="12" y="38"/>
                </a:cxn>
                <a:cxn ang="0">
                  <a:pos x="24" y="42"/>
                </a:cxn>
                <a:cxn ang="0">
                  <a:pos x="34" y="50"/>
                </a:cxn>
                <a:cxn ang="0">
                  <a:pos x="36" y="58"/>
                </a:cxn>
                <a:cxn ang="0">
                  <a:pos x="36" y="64"/>
                </a:cxn>
                <a:cxn ang="0">
                  <a:pos x="38" y="78"/>
                </a:cxn>
                <a:cxn ang="0">
                  <a:pos x="40" y="96"/>
                </a:cxn>
              </a:cxnLst>
              <a:rect l="0" t="0" r="r" b="b"/>
              <a:pathLst>
                <a:path w="142" h="230">
                  <a:moveTo>
                    <a:pt x="40" y="96"/>
                  </a:moveTo>
                  <a:lnTo>
                    <a:pt x="40" y="96"/>
                  </a:lnTo>
                  <a:lnTo>
                    <a:pt x="52" y="96"/>
                  </a:lnTo>
                  <a:lnTo>
                    <a:pt x="54" y="100"/>
                  </a:lnTo>
                  <a:lnTo>
                    <a:pt x="56" y="100"/>
                  </a:lnTo>
                  <a:lnTo>
                    <a:pt x="56" y="98"/>
                  </a:lnTo>
                  <a:lnTo>
                    <a:pt x="56" y="98"/>
                  </a:lnTo>
                  <a:lnTo>
                    <a:pt x="56" y="102"/>
                  </a:lnTo>
                  <a:lnTo>
                    <a:pt x="56" y="104"/>
                  </a:lnTo>
                  <a:lnTo>
                    <a:pt x="56" y="110"/>
                  </a:lnTo>
                  <a:lnTo>
                    <a:pt x="58" y="112"/>
                  </a:lnTo>
                  <a:lnTo>
                    <a:pt x="58" y="114"/>
                  </a:lnTo>
                  <a:lnTo>
                    <a:pt x="56" y="114"/>
                  </a:lnTo>
                  <a:lnTo>
                    <a:pt x="56" y="116"/>
                  </a:lnTo>
                  <a:lnTo>
                    <a:pt x="56" y="118"/>
                  </a:lnTo>
                  <a:lnTo>
                    <a:pt x="54" y="118"/>
                  </a:lnTo>
                  <a:lnTo>
                    <a:pt x="52" y="120"/>
                  </a:lnTo>
                  <a:lnTo>
                    <a:pt x="48" y="124"/>
                  </a:lnTo>
                  <a:lnTo>
                    <a:pt x="48" y="130"/>
                  </a:lnTo>
                  <a:lnTo>
                    <a:pt x="46" y="130"/>
                  </a:lnTo>
                  <a:lnTo>
                    <a:pt x="40" y="138"/>
                  </a:lnTo>
                  <a:lnTo>
                    <a:pt x="40" y="142"/>
                  </a:lnTo>
                  <a:lnTo>
                    <a:pt x="38" y="144"/>
                  </a:lnTo>
                  <a:lnTo>
                    <a:pt x="32" y="146"/>
                  </a:lnTo>
                  <a:lnTo>
                    <a:pt x="30" y="148"/>
                  </a:lnTo>
                  <a:lnTo>
                    <a:pt x="28" y="152"/>
                  </a:lnTo>
                  <a:lnTo>
                    <a:pt x="26" y="152"/>
                  </a:lnTo>
                  <a:lnTo>
                    <a:pt x="26" y="156"/>
                  </a:lnTo>
                  <a:lnTo>
                    <a:pt x="22" y="156"/>
                  </a:lnTo>
                  <a:lnTo>
                    <a:pt x="20" y="156"/>
                  </a:lnTo>
                  <a:lnTo>
                    <a:pt x="20" y="158"/>
                  </a:lnTo>
                  <a:lnTo>
                    <a:pt x="18" y="162"/>
                  </a:lnTo>
                  <a:lnTo>
                    <a:pt x="12" y="166"/>
                  </a:lnTo>
                  <a:lnTo>
                    <a:pt x="12" y="172"/>
                  </a:lnTo>
                  <a:lnTo>
                    <a:pt x="16" y="174"/>
                  </a:lnTo>
                  <a:lnTo>
                    <a:pt x="16" y="176"/>
                  </a:lnTo>
                  <a:lnTo>
                    <a:pt x="16" y="176"/>
                  </a:lnTo>
                  <a:lnTo>
                    <a:pt x="20" y="184"/>
                  </a:lnTo>
                  <a:lnTo>
                    <a:pt x="20" y="186"/>
                  </a:lnTo>
                  <a:lnTo>
                    <a:pt x="16" y="190"/>
                  </a:lnTo>
                  <a:lnTo>
                    <a:pt x="16" y="192"/>
                  </a:lnTo>
                  <a:lnTo>
                    <a:pt x="16" y="200"/>
                  </a:lnTo>
                  <a:lnTo>
                    <a:pt x="18" y="206"/>
                  </a:lnTo>
                  <a:lnTo>
                    <a:pt x="18" y="204"/>
                  </a:lnTo>
                  <a:lnTo>
                    <a:pt x="20" y="204"/>
                  </a:lnTo>
                  <a:lnTo>
                    <a:pt x="22" y="204"/>
                  </a:lnTo>
                  <a:lnTo>
                    <a:pt x="22" y="214"/>
                  </a:lnTo>
                  <a:lnTo>
                    <a:pt x="26" y="214"/>
                  </a:lnTo>
                  <a:lnTo>
                    <a:pt x="24" y="210"/>
                  </a:lnTo>
                  <a:lnTo>
                    <a:pt x="24" y="208"/>
                  </a:lnTo>
                  <a:lnTo>
                    <a:pt x="26" y="210"/>
                  </a:lnTo>
                  <a:lnTo>
                    <a:pt x="32" y="212"/>
                  </a:lnTo>
                  <a:lnTo>
                    <a:pt x="32" y="216"/>
                  </a:lnTo>
                  <a:lnTo>
                    <a:pt x="36" y="216"/>
                  </a:lnTo>
                  <a:lnTo>
                    <a:pt x="38" y="214"/>
                  </a:lnTo>
                  <a:lnTo>
                    <a:pt x="38" y="218"/>
                  </a:lnTo>
                  <a:lnTo>
                    <a:pt x="28" y="220"/>
                  </a:lnTo>
                  <a:lnTo>
                    <a:pt x="28" y="228"/>
                  </a:lnTo>
                  <a:lnTo>
                    <a:pt x="34" y="226"/>
                  </a:lnTo>
                  <a:lnTo>
                    <a:pt x="36" y="220"/>
                  </a:lnTo>
                  <a:lnTo>
                    <a:pt x="40" y="224"/>
                  </a:lnTo>
                  <a:lnTo>
                    <a:pt x="40" y="226"/>
                  </a:lnTo>
                  <a:lnTo>
                    <a:pt x="38" y="228"/>
                  </a:lnTo>
                  <a:lnTo>
                    <a:pt x="42" y="228"/>
                  </a:lnTo>
                  <a:lnTo>
                    <a:pt x="42" y="230"/>
                  </a:lnTo>
                  <a:lnTo>
                    <a:pt x="54" y="228"/>
                  </a:lnTo>
                  <a:lnTo>
                    <a:pt x="54" y="226"/>
                  </a:lnTo>
                  <a:lnTo>
                    <a:pt x="58" y="222"/>
                  </a:lnTo>
                  <a:lnTo>
                    <a:pt x="68" y="218"/>
                  </a:lnTo>
                  <a:lnTo>
                    <a:pt x="68" y="214"/>
                  </a:lnTo>
                  <a:lnTo>
                    <a:pt x="70" y="214"/>
                  </a:lnTo>
                  <a:lnTo>
                    <a:pt x="72" y="216"/>
                  </a:lnTo>
                  <a:lnTo>
                    <a:pt x="74" y="214"/>
                  </a:lnTo>
                  <a:lnTo>
                    <a:pt x="76" y="214"/>
                  </a:lnTo>
                  <a:lnTo>
                    <a:pt x="78" y="214"/>
                  </a:lnTo>
                  <a:lnTo>
                    <a:pt x="82" y="216"/>
                  </a:lnTo>
                  <a:lnTo>
                    <a:pt x="82" y="212"/>
                  </a:lnTo>
                  <a:lnTo>
                    <a:pt x="84" y="212"/>
                  </a:lnTo>
                  <a:lnTo>
                    <a:pt x="84" y="210"/>
                  </a:lnTo>
                  <a:lnTo>
                    <a:pt x="86" y="210"/>
                  </a:lnTo>
                  <a:lnTo>
                    <a:pt x="86" y="212"/>
                  </a:lnTo>
                  <a:lnTo>
                    <a:pt x="90" y="212"/>
                  </a:lnTo>
                  <a:lnTo>
                    <a:pt x="98" y="206"/>
                  </a:lnTo>
                  <a:lnTo>
                    <a:pt x="122" y="190"/>
                  </a:lnTo>
                  <a:lnTo>
                    <a:pt x="136" y="180"/>
                  </a:lnTo>
                  <a:lnTo>
                    <a:pt x="142" y="176"/>
                  </a:lnTo>
                  <a:lnTo>
                    <a:pt x="142" y="172"/>
                  </a:lnTo>
                  <a:lnTo>
                    <a:pt x="140" y="166"/>
                  </a:lnTo>
                  <a:lnTo>
                    <a:pt x="140" y="164"/>
                  </a:lnTo>
                  <a:lnTo>
                    <a:pt x="138" y="164"/>
                  </a:lnTo>
                  <a:lnTo>
                    <a:pt x="132" y="162"/>
                  </a:lnTo>
                  <a:lnTo>
                    <a:pt x="130" y="160"/>
                  </a:lnTo>
                  <a:lnTo>
                    <a:pt x="130" y="158"/>
                  </a:lnTo>
                  <a:lnTo>
                    <a:pt x="130" y="152"/>
                  </a:lnTo>
                  <a:lnTo>
                    <a:pt x="130" y="148"/>
                  </a:lnTo>
                  <a:lnTo>
                    <a:pt x="134" y="144"/>
                  </a:lnTo>
                  <a:lnTo>
                    <a:pt x="134" y="142"/>
                  </a:lnTo>
                  <a:lnTo>
                    <a:pt x="134" y="140"/>
                  </a:lnTo>
                  <a:lnTo>
                    <a:pt x="132" y="134"/>
                  </a:lnTo>
                  <a:lnTo>
                    <a:pt x="130" y="130"/>
                  </a:lnTo>
                  <a:lnTo>
                    <a:pt x="128" y="128"/>
                  </a:lnTo>
                  <a:lnTo>
                    <a:pt x="124" y="124"/>
                  </a:lnTo>
                  <a:lnTo>
                    <a:pt x="124" y="120"/>
                  </a:lnTo>
                  <a:lnTo>
                    <a:pt x="122" y="114"/>
                  </a:lnTo>
                  <a:lnTo>
                    <a:pt x="122" y="110"/>
                  </a:lnTo>
                  <a:lnTo>
                    <a:pt x="122" y="106"/>
                  </a:lnTo>
                  <a:lnTo>
                    <a:pt x="124" y="104"/>
                  </a:lnTo>
                  <a:lnTo>
                    <a:pt x="122" y="102"/>
                  </a:lnTo>
                  <a:lnTo>
                    <a:pt x="122" y="98"/>
                  </a:lnTo>
                  <a:lnTo>
                    <a:pt x="122" y="94"/>
                  </a:lnTo>
                  <a:lnTo>
                    <a:pt x="122" y="90"/>
                  </a:lnTo>
                  <a:lnTo>
                    <a:pt x="116" y="64"/>
                  </a:lnTo>
                  <a:lnTo>
                    <a:pt x="116" y="62"/>
                  </a:lnTo>
                  <a:lnTo>
                    <a:pt x="118" y="58"/>
                  </a:lnTo>
                  <a:lnTo>
                    <a:pt x="122" y="52"/>
                  </a:lnTo>
                  <a:lnTo>
                    <a:pt x="122" y="48"/>
                  </a:lnTo>
                  <a:lnTo>
                    <a:pt x="122" y="46"/>
                  </a:lnTo>
                  <a:lnTo>
                    <a:pt x="120" y="42"/>
                  </a:lnTo>
                  <a:lnTo>
                    <a:pt x="118" y="44"/>
                  </a:lnTo>
                  <a:lnTo>
                    <a:pt x="116" y="42"/>
                  </a:lnTo>
                  <a:lnTo>
                    <a:pt x="114" y="38"/>
                  </a:lnTo>
                  <a:lnTo>
                    <a:pt x="114" y="32"/>
                  </a:lnTo>
                  <a:lnTo>
                    <a:pt x="116" y="24"/>
                  </a:lnTo>
                  <a:lnTo>
                    <a:pt x="120" y="20"/>
                  </a:lnTo>
                  <a:lnTo>
                    <a:pt x="120" y="18"/>
                  </a:lnTo>
                  <a:lnTo>
                    <a:pt x="114" y="18"/>
                  </a:lnTo>
                  <a:lnTo>
                    <a:pt x="106" y="12"/>
                  </a:lnTo>
                  <a:lnTo>
                    <a:pt x="102" y="4"/>
                  </a:lnTo>
                  <a:lnTo>
                    <a:pt x="98" y="0"/>
                  </a:lnTo>
                  <a:lnTo>
                    <a:pt x="94" y="2"/>
                  </a:lnTo>
                  <a:lnTo>
                    <a:pt x="90" y="6"/>
                  </a:lnTo>
                  <a:lnTo>
                    <a:pt x="88" y="6"/>
                  </a:lnTo>
                  <a:lnTo>
                    <a:pt x="80" y="4"/>
                  </a:lnTo>
                  <a:lnTo>
                    <a:pt x="78" y="6"/>
                  </a:lnTo>
                  <a:lnTo>
                    <a:pt x="76" y="8"/>
                  </a:lnTo>
                  <a:lnTo>
                    <a:pt x="74" y="10"/>
                  </a:lnTo>
                  <a:lnTo>
                    <a:pt x="70" y="12"/>
                  </a:lnTo>
                  <a:lnTo>
                    <a:pt x="68" y="14"/>
                  </a:lnTo>
                  <a:lnTo>
                    <a:pt x="68" y="18"/>
                  </a:lnTo>
                  <a:lnTo>
                    <a:pt x="66" y="20"/>
                  </a:lnTo>
                  <a:lnTo>
                    <a:pt x="68" y="22"/>
                  </a:lnTo>
                  <a:lnTo>
                    <a:pt x="68" y="28"/>
                  </a:lnTo>
                  <a:lnTo>
                    <a:pt x="66" y="32"/>
                  </a:lnTo>
                  <a:lnTo>
                    <a:pt x="60" y="36"/>
                  </a:lnTo>
                  <a:lnTo>
                    <a:pt x="58" y="38"/>
                  </a:lnTo>
                  <a:lnTo>
                    <a:pt x="58" y="40"/>
                  </a:lnTo>
                  <a:lnTo>
                    <a:pt x="58" y="42"/>
                  </a:lnTo>
                  <a:lnTo>
                    <a:pt x="52" y="36"/>
                  </a:lnTo>
                  <a:lnTo>
                    <a:pt x="52" y="34"/>
                  </a:lnTo>
                  <a:lnTo>
                    <a:pt x="48" y="34"/>
                  </a:lnTo>
                  <a:lnTo>
                    <a:pt x="46" y="34"/>
                  </a:lnTo>
                  <a:lnTo>
                    <a:pt x="46" y="36"/>
                  </a:lnTo>
                  <a:lnTo>
                    <a:pt x="42" y="34"/>
                  </a:lnTo>
                  <a:lnTo>
                    <a:pt x="34" y="34"/>
                  </a:lnTo>
                  <a:lnTo>
                    <a:pt x="28" y="36"/>
                  </a:lnTo>
                  <a:lnTo>
                    <a:pt x="14" y="20"/>
                  </a:lnTo>
                  <a:lnTo>
                    <a:pt x="10" y="20"/>
                  </a:lnTo>
                  <a:lnTo>
                    <a:pt x="8" y="20"/>
                  </a:lnTo>
                  <a:lnTo>
                    <a:pt x="8" y="22"/>
                  </a:lnTo>
                  <a:lnTo>
                    <a:pt x="6" y="24"/>
                  </a:lnTo>
                  <a:lnTo>
                    <a:pt x="0" y="28"/>
                  </a:lnTo>
                  <a:lnTo>
                    <a:pt x="4" y="28"/>
                  </a:lnTo>
                  <a:lnTo>
                    <a:pt x="8" y="30"/>
                  </a:lnTo>
                  <a:lnTo>
                    <a:pt x="8" y="32"/>
                  </a:lnTo>
                  <a:lnTo>
                    <a:pt x="12" y="38"/>
                  </a:lnTo>
                  <a:lnTo>
                    <a:pt x="14" y="40"/>
                  </a:lnTo>
                  <a:lnTo>
                    <a:pt x="18" y="40"/>
                  </a:lnTo>
                  <a:lnTo>
                    <a:pt x="24" y="42"/>
                  </a:lnTo>
                  <a:lnTo>
                    <a:pt x="26" y="42"/>
                  </a:lnTo>
                  <a:lnTo>
                    <a:pt x="28" y="44"/>
                  </a:lnTo>
                  <a:lnTo>
                    <a:pt x="34" y="50"/>
                  </a:lnTo>
                  <a:lnTo>
                    <a:pt x="36" y="52"/>
                  </a:lnTo>
                  <a:lnTo>
                    <a:pt x="36" y="56"/>
                  </a:lnTo>
                  <a:lnTo>
                    <a:pt x="36" y="58"/>
                  </a:lnTo>
                  <a:lnTo>
                    <a:pt x="36" y="60"/>
                  </a:lnTo>
                  <a:lnTo>
                    <a:pt x="36" y="62"/>
                  </a:lnTo>
                  <a:lnTo>
                    <a:pt x="36" y="64"/>
                  </a:lnTo>
                  <a:lnTo>
                    <a:pt x="38" y="68"/>
                  </a:lnTo>
                  <a:lnTo>
                    <a:pt x="38" y="72"/>
                  </a:lnTo>
                  <a:lnTo>
                    <a:pt x="38" y="78"/>
                  </a:lnTo>
                  <a:lnTo>
                    <a:pt x="36" y="82"/>
                  </a:lnTo>
                  <a:lnTo>
                    <a:pt x="38" y="86"/>
                  </a:lnTo>
                  <a:lnTo>
                    <a:pt x="40" y="96"/>
                  </a:lnTo>
                  <a:lnTo>
                    <a:pt x="40" y="9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7" name="Freeform 531">
              <a:extLst>
                <a:ext uri="{FF2B5EF4-FFF2-40B4-BE49-F238E27FC236}">
                  <a16:creationId xmlns:a16="http://schemas.microsoft.com/office/drawing/2014/main" id="{B3EA7F88-FC5C-43DB-B39D-604331DCD9C8}"/>
                </a:ext>
              </a:extLst>
            </p:cNvPr>
            <p:cNvSpPr>
              <a:spLocks noEditPoints="1"/>
            </p:cNvSpPr>
            <p:nvPr/>
          </p:nvSpPr>
          <p:spPr bwMode="auto">
            <a:xfrm>
              <a:off x="3171384" y="3441933"/>
              <a:ext cx="80278" cy="98405"/>
            </a:xfrm>
            <a:custGeom>
              <a:avLst/>
              <a:gdLst/>
              <a:ahLst/>
              <a:cxnLst>
                <a:cxn ang="0">
                  <a:pos x="22" y="62"/>
                </a:cxn>
                <a:cxn ang="0">
                  <a:pos x="30" y="58"/>
                </a:cxn>
                <a:cxn ang="0">
                  <a:pos x="32" y="62"/>
                </a:cxn>
                <a:cxn ang="0">
                  <a:pos x="36" y="62"/>
                </a:cxn>
                <a:cxn ang="0">
                  <a:pos x="26" y="52"/>
                </a:cxn>
                <a:cxn ang="0">
                  <a:pos x="32" y="34"/>
                </a:cxn>
                <a:cxn ang="0">
                  <a:pos x="40" y="32"/>
                </a:cxn>
                <a:cxn ang="0">
                  <a:pos x="34" y="30"/>
                </a:cxn>
                <a:cxn ang="0">
                  <a:pos x="32" y="18"/>
                </a:cxn>
                <a:cxn ang="0">
                  <a:pos x="32" y="16"/>
                </a:cxn>
                <a:cxn ang="0">
                  <a:pos x="36" y="12"/>
                </a:cxn>
                <a:cxn ang="0">
                  <a:pos x="36" y="2"/>
                </a:cxn>
                <a:cxn ang="0">
                  <a:pos x="30" y="2"/>
                </a:cxn>
                <a:cxn ang="0">
                  <a:pos x="24" y="8"/>
                </a:cxn>
                <a:cxn ang="0">
                  <a:pos x="22" y="12"/>
                </a:cxn>
                <a:cxn ang="0">
                  <a:pos x="14" y="14"/>
                </a:cxn>
                <a:cxn ang="0">
                  <a:pos x="8" y="16"/>
                </a:cxn>
                <a:cxn ang="0">
                  <a:pos x="2" y="22"/>
                </a:cxn>
                <a:cxn ang="0">
                  <a:pos x="8" y="20"/>
                </a:cxn>
                <a:cxn ang="0">
                  <a:pos x="12" y="18"/>
                </a:cxn>
                <a:cxn ang="0">
                  <a:pos x="22" y="26"/>
                </a:cxn>
                <a:cxn ang="0">
                  <a:pos x="16" y="22"/>
                </a:cxn>
                <a:cxn ang="0">
                  <a:pos x="0" y="28"/>
                </a:cxn>
                <a:cxn ang="0">
                  <a:pos x="2" y="40"/>
                </a:cxn>
                <a:cxn ang="0">
                  <a:pos x="6" y="44"/>
                </a:cxn>
                <a:cxn ang="0">
                  <a:pos x="2" y="50"/>
                </a:cxn>
                <a:cxn ang="0">
                  <a:pos x="10" y="60"/>
                </a:cxn>
                <a:cxn ang="0">
                  <a:pos x="22" y="62"/>
                </a:cxn>
                <a:cxn ang="0">
                  <a:pos x="60" y="64"/>
                </a:cxn>
                <a:cxn ang="0">
                  <a:pos x="54" y="66"/>
                </a:cxn>
                <a:cxn ang="0">
                  <a:pos x="48" y="68"/>
                </a:cxn>
                <a:cxn ang="0">
                  <a:pos x="42" y="66"/>
                </a:cxn>
                <a:cxn ang="0">
                  <a:pos x="42" y="70"/>
                </a:cxn>
                <a:cxn ang="0">
                  <a:pos x="46" y="76"/>
                </a:cxn>
                <a:cxn ang="0">
                  <a:pos x="50" y="74"/>
                </a:cxn>
                <a:cxn ang="0">
                  <a:pos x="54" y="74"/>
                </a:cxn>
                <a:cxn ang="0">
                  <a:pos x="60" y="66"/>
                </a:cxn>
                <a:cxn ang="0">
                  <a:pos x="60" y="64"/>
                </a:cxn>
                <a:cxn ang="0">
                  <a:pos x="38" y="64"/>
                </a:cxn>
                <a:cxn ang="0">
                  <a:pos x="36" y="70"/>
                </a:cxn>
                <a:cxn ang="0">
                  <a:pos x="38" y="66"/>
                </a:cxn>
                <a:cxn ang="0">
                  <a:pos x="38" y="62"/>
                </a:cxn>
                <a:cxn ang="0">
                  <a:pos x="38" y="64"/>
                </a:cxn>
                <a:cxn ang="0">
                  <a:pos x="54" y="36"/>
                </a:cxn>
                <a:cxn ang="0">
                  <a:pos x="52" y="44"/>
                </a:cxn>
                <a:cxn ang="0">
                  <a:pos x="50" y="48"/>
                </a:cxn>
                <a:cxn ang="0">
                  <a:pos x="48" y="44"/>
                </a:cxn>
                <a:cxn ang="0">
                  <a:pos x="42" y="44"/>
                </a:cxn>
                <a:cxn ang="0">
                  <a:pos x="38" y="48"/>
                </a:cxn>
                <a:cxn ang="0">
                  <a:pos x="40" y="52"/>
                </a:cxn>
                <a:cxn ang="0">
                  <a:pos x="42" y="60"/>
                </a:cxn>
                <a:cxn ang="0">
                  <a:pos x="46" y="58"/>
                </a:cxn>
                <a:cxn ang="0">
                  <a:pos x="50" y="58"/>
                </a:cxn>
                <a:cxn ang="0">
                  <a:pos x="54" y="64"/>
                </a:cxn>
                <a:cxn ang="0">
                  <a:pos x="58" y="58"/>
                </a:cxn>
                <a:cxn ang="0">
                  <a:pos x="60" y="52"/>
                </a:cxn>
                <a:cxn ang="0">
                  <a:pos x="60" y="48"/>
                </a:cxn>
                <a:cxn ang="0">
                  <a:pos x="58" y="36"/>
                </a:cxn>
                <a:cxn ang="0">
                  <a:pos x="54" y="36"/>
                </a:cxn>
                <a:cxn ang="0">
                  <a:pos x="12" y="20"/>
                </a:cxn>
                <a:cxn ang="0">
                  <a:pos x="10" y="24"/>
                </a:cxn>
                <a:cxn ang="0">
                  <a:pos x="14" y="22"/>
                </a:cxn>
                <a:cxn ang="0">
                  <a:pos x="12" y="20"/>
                </a:cxn>
              </a:cxnLst>
              <a:rect l="0" t="0" r="r" b="b"/>
              <a:pathLst>
                <a:path w="62" h="76">
                  <a:moveTo>
                    <a:pt x="22" y="62"/>
                  </a:moveTo>
                  <a:lnTo>
                    <a:pt x="22" y="62"/>
                  </a:lnTo>
                  <a:lnTo>
                    <a:pt x="24" y="52"/>
                  </a:lnTo>
                  <a:lnTo>
                    <a:pt x="30" y="58"/>
                  </a:lnTo>
                  <a:lnTo>
                    <a:pt x="30" y="62"/>
                  </a:lnTo>
                  <a:lnTo>
                    <a:pt x="32" y="62"/>
                  </a:lnTo>
                  <a:lnTo>
                    <a:pt x="34" y="62"/>
                  </a:lnTo>
                  <a:lnTo>
                    <a:pt x="36" y="62"/>
                  </a:lnTo>
                  <a:lnTo>
                    <a:pt x="36" y="52"/>
                  </a:lnTo>
                  <a:lnTo>
                    <a:pt x="26" y="52"/>
                  </a:lnTo>
                  <a:lnTo>
                    <a:pt x="30" y="44"/>
                  </a:lnTo>
                  <a:lnTo>
                    <a:pt x="32" y="34"/>
                  </a:lnTo>
                  <a:lnTo>
                    <a:pt x="36" y="36"/>
                  </a:lnTo>
                  <a:lnTo>
                    <a:pt x="40" y="32"/>
                  </a:lnTo>
                  <a:lnTo>
                    <a:pt x="38" y="30"/>
                  </a:lnTo>
                  <a:lnTo>
                    <a:pt x="34" y="30"/>
                  </a:lnTo>
                  <a:lnTo>
                    <a:pt x="32" y="24"/>
                  </a:lnTo>
                  <a:lnTo>
                    <a:pt x="32" y="18"/>
                  </a:lnTo>
                  <a:lnTo>
                    <a:pt x="26" y="16"/>
                  </a:lnTo>
                  <a:lnTo>
                    <a:pt x="32" y="16"/>
                  </a:lnTo>
                  <a:lnTo>
                    <a:pt x="34" y="12"/>
                  </a:lnTo>
                  <a:lnTo>
                    <a:pt x="36" y="12"/>
                  </a:lnTo>
                  <a:lnTo>
                    <a:pt x="34" y="6"/>
                  </a:lnTo>
                  <a:lnTo>
                    <a:pt x="36" y="2"/>
                  </a:lnTo>
                  <a:lnTo>
                    <a:pt x="36" y="0"/>
                  </a:lnTo>
                  <a:lnTo>
                    <a:pt x="30" y="2"/>
                  </a:lnTo>
                  <a:lnTo>
                    <a:pt x="26" y="4"/>
                  </a:lnTo>
                  <a:lnTo>
                    <a:pt x="24" y="8"/>
                  </a:lnTo>
                  <a:lnTo>
                    <a:pt x="22" y="10"/>
                  </a:lnTo>
                  <a:lnTo>
                    <a:pt x="22" y="12"/>
                  </a:lnTo>
                  <a:lnTo>
                    <a:pt x="16" y="14"/>
                  </a:lnTo>
                  <a:lnTo>
                    <a:pt x="14" y="14"/>
                  </a:lnTo>
                  <a:lnTo>
                    <a:pt x="12" y="14"/>
                  </a:lnTo>
                  <a:lnTo>
                    <a:pt x="8" y="16"/>
                  </a:lnTo>
                  <a:lnTo>
                    <a:pt x="2" y="22"/>
                  </a:lnTo>
                  <a:lnTo>
                    <a:pt x="2" y="22"/>
                  </a:lnTo>
                  <a:lnTo>
                    <a:pt x="6" y="22"/>
                  </a:lnTo>
                  <a:lnTo>
                    <a:pt x="8" y="20"/>
                  </a:lnTo>
                  <a:lnTo>
                    <a:pt x="10" y="18"/>
                  </a:lnTo>
                  <a:lnTo>
                    <a:pt x="12" y="18"/>
                  </a:lnTo>
                  <a:lnTo>
                    <a:pt x="20" y="18"/>
                  </a:lnTo>
                  <a:lnTo>
                    <a:pt x="22" y="26"/>
                  </a:lnTo>
                  <a:lnTo>
                    <a:pt x="18" y="22"/>
                  </a:lnTo>
                  <a:lnTo>
                    <a:pt x="16" y="22"/>
                  </a:lnTo>
                  <a:lnTo>
                    <a:pt x="12" y="30"/>
                  </a:lnTo>
                  <a:lnTo>
                    <a:pt x="0" y="28"/>
                  </a:lnTo>
                  <a:lnTo>
                    <a:pt x="2" y="38"/>
                  </a:lnTo>
                  <a:lnTo>
                    <a:pt x="2" y="40"/>
                  </a:lnTo>
                  <a:lnTo>
                    <a:pt x="6" y="42"/>
                  </a:lnTo>
                  <a:lnTo>
                    <a:pt x="6" y="44"/>
                  </a:lnTo>
                  <a:lnTo>
                    <a:pt x="2" y="46"/>
                  </a:lnTo>
                  <a:lnTo>
                    <a:pt x="2" y="50"/>
                  </a:lnTo>
                  <a:lnTo>
                    <a:pt x="4" y="54"/>
                  </a:lnTo>
                  <a:lnTo>
                    <a:pt x="10" y="60"/>
                  </a:lnTo>
                  <a:lnTo>
                    <a:pt x="10" y="62"/>
                  </a:lnTo>
                  <a:lnTo>
                    <a:pt x="22" y="62"/>
                  </a:lnTo>
                  <a:lnTo>
                    <a:pt x="22" y="62"/>
                  </a:lnTo>
                  <a:close/>
                  <a:moveTo>
                    <a:pt x="60" y="64"/>
                  </a:moveTo>
                  <a:lnTo>
                    <a:pt x="60" y="64"/>
                  </a:lnTo>
                  <a:lnTo>
                    <a:pt x="54" y="66"/>
                  </a:lnTo>
                  <a:lnTo>
                    <a:pt x="50" y="68"/>
                  </a:lnTo>
                  <a:lnTo>
                    <a:pt x="48" y="68"/>
                  </a:lnTo>
                  <a:lnTo>
                    <a:pt x="44" y="66"/>
                  </a:lnTo>
                  <a:lnTo>
                    <a:pt x="42" y="66"/>
                  </a:lnTo>
                  <a:lnTo>
                    <a:pt x="42" y="68"/>
                  </a:lnTo>
                  <a:lnTo>
                    <a:pt x="42" y="70"/>
                  </a:lnTo>
                  <a:lnTo>
                    <a:pt x="44" y="74"/>
                  </a:lnTo>
                  <a:lnTo>
                    <a:pt x="46" y="76"/>
                  </a:lnTo>
                  <a:lnTo>
                    <a:pt x="48" y="76"/>
                  </a:lnTo>
                  <a:lnTo>
                    <a:pt x="50" y="74"/>
                  </a:lnTo>
                  <a:lnTo>
                    <a:pt x="52" y="74"/>
                  </a:lnTo>
                  <a:lnTo>
                    <a:pt x="54" y="74"/>
                  </a:lnTo>
                  <a:lnTo>
                    <a:pt x="56" y="70"/>
                  </a:lnTo>
                  <a:lnTo>
                    <a:pt x="60" y="66"/>
                  </a:lnTo>
                  <a:lnTo>
                    <a:pt x="62" y="64"/>
                  </a:lnTo>
                  <a:lnTo>
                    <a:pt x="60" y="64"/>
                  </a:lnTo>
                  <a:lnTo>
                    <a:pt x="60" y="64"/>
                  </a:lnTo>
                  <a:close/>
                  <a:moveTo>
                    <a:pt x="38" y="64"/>
                  </a:moveTo>
                  <a:lnTo>
                    <a:pt x="38" y="64"/>
                  </a:lnTo>
                  <a:lnTo>
                    <a:pt x="36" y="70"/>
                  </a:lnTo>
                  <a:lnTo>
                    <a:pt x="36" y="72"/>
                  </a:lnTo>
                  <a:lnTo>
                    <a:pt x="38" y="66"/>
                  </a:lnTo>
                  <a:lnTo>
                    <a:pt x="40" y="64"/>
                  </a:lnTo>
                  <a:lnTo>
                    <a:pt x="38" y="62"/>
                  </a:lnTo>
                  <a:lnTo>
                    <a:pt x="38" y="64"/>
                  </a:lnTo>
                  <a:lnTo>
                    <a:pt x="38" y="64"/>
                  </a:lnTo>
                  <a:close/>
                  <a:moveTo>
                    <a:pt x="54" y="36"/>
                  </a:moveTo>
                  <a:lnTo>
                    <a:pt x="54" y="36"/>
                  </a:lnTo>
                  <a:lnTo>
                    <a:pt x="50" y="38"/>
                  </a:lnTo>
                  <a:lnTo>
                    <a:pt x="52" y="44"/>
                  </a:lnTo>
                  <a:lnTo>
                    <a:pt x="50" y="46"/>
                  </a:lnTo>
                  <a:lnTo>
                    <a:pt x="50" y="48"/>
                  </a:lnTo>
                  <a:lnTo>
                    <a:pt x="48" y="48"/>
                  </a:lnTo>
                  <a:lnTo>
                    <a:pt x="48" y="44"/>
                  </a:lnTo>
                  <a:lnTo>
                    <a:pt x="44" y="44"/>
                  </a:lnTo>
                  <a:lnTo>
                    <a:pt x="42" y="44"/>
                  </a:lnTo>
                  <a:lnTo>
                    <a:pt x="42" y="48"/>
                  </a:lnTo>
                  <a:lnTo>
                    <a:pt x="38" y="48"/>
                  </a:lnTo>
                  <a:lnTo>
                    <a:pt x="38" y="50"/>
                  </a:lnTo>
                  <a:lnTo>
                    <a:pt x="40" y="52"/>
                  </a:lnTo>
                  <a:lnTo>
                    <a:pt x="42" y="52"/>
                  </a:lnTo>
                  <a:lnTo>
                    <a:pt x="42" y="60"/>
                  </a:lnTo>
                  <a:lnTo>
                    <a:pt x="48" y="60"/>
                  </a:lnTo>
                  <a:lnTo>
                    <a:pt x="46" y="58"/>
                  </a:lnTo>
                  <a:lnTo>
                    <a:pt x="48" y="58"/>
                  </a:lnTo>
                  <a:lnTo>
                    <a:pt x="50" y="58"/>
                  </a:lnTo>
                  <a:lnTo>
                    <a:pt x="50" y="64"/>
                  </a:lnTo>
                  <a:lnTo>
                    <a:pt x="54" y="64"/>
                  </a:lnTo>
                  <a:lnTo>
                    <a:pt x="54" y="60"/>
                  </a:lnTo>
                  <a:lnTo>
                    <a:pt x="58" y="58"/>
                  </a:lnTo>
                  <a:lnTo>
                    <a:pt x="60" y="56"/>
                  </a:lnTo>
                  <a:lnTo>
                    <a:pt x="60" y="52"/>
                  </a:lnTo>
                  <a:lnTo>
                    <a:pt x="56" y="50"/>
                  </a:lnTo>
                  <a:lnTo>
                    <a:pt x="60" y="48"/>
                  </a:lnTo>
                  <a:lnTo>
                    <a:pt x="60" y="42"/>
                  </a:lnTo>
                  <a:lnTo>
                    <a:pt x="58" y="36"/>
                  </a:lnTo>
                  <a:lnTo>
                    <a:pt x="54" y="36"/>
                  </a:lnTo>
                  <a:lnTo>
                    <a:pt x="54" y="36"/>
                  </a:lnTo>
                  <a:close/>
                  <a:moveTo>
                    <a:pt x="12" y="20"/>
                  </a:moveTo>
                  <a:lnTo>
                    <a:pt x="12" y="20"/>
                  </a:lnTo>
                  <a:lnTo>
                    <a:pt x="10" y="22"/>
                  </a:lnTo>
                  <a:lnTo>
                    <a:pt x="10" y="24"/>
                  </a:lnTo>
                  <a:lnTo>
                    <a:pt x="12" y="22"/>
                  </a:lnTo>
                  <a:lnTo>
                    <a:pt x="14" y="22"/>
                  </a:lnTo>
                  <a:lnTo>
                    <a:pt x="14" y="20"/>
                  </a:lnTo>
                  <a:lnTo>
                    <a:pt x="12" y="20"/>
                  </a:lnTo>
                  <a:lnTo>
                    <a:pt x="12" y="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8" name="Freeform 532">
              <a:extLst>
                <a:ext uri="{FF2B5EF4-FFF2-40B4-BE49-F238E27FC236}">
                  <a16:creationId xmlns:a16="http://schemas.microsoft.com/office/drawing/2014/main" id="{E39A12DF-D028-4356-9E2C-0B060234C161}"/>
                </a:ext>
              </a:extLst>
            </p:cNvPr>
            <p:cNvSpPr>
              <a:spLocks/>
            </p:cNvSpPr>
            <p:nvPr/>
          </p:nvSpPr>
          <p:spPr bwMode="auto">
            <a:xfrm>
              <a:off x="3225766" y="3524800"/>
              <a:ext cx="25896" cy="15538"/>
            </a:xfrm>
            <a:custGeom>
              <a:avLst/>
              <a:gdLst/>
              <a:ahLst/>
              <a:cxnLst>
                <a:cxn ang="0">
                  <a:pos x="18" y="0"/>
                </a:cxn>
                <a:cxn ang="0">
                  <a:pos x="18" y="0"/>
                </a:cxn>
                <a:cxn ang="0">
                  <a:pos x="12" y="2"/>
                </a:cxn>
                <a:cxn ang="0">
                  <a:pos x="8" y="4"/>
                </a:cxn>
                <a:cxn ang="0">
                  <a:pos x="6" y="4"/>
                </a:cxn>
                <a:cxn ang="0">
                  <a:pos x="2" y="2"/>
                </a:cxn>
                <a:cxn ang="0">
                  <a:pos x="0" y="2"/>
                </a:cxn>
                <a:cxn ang="0">
                  <a:pos x="0" y="4"/>
                </a:cxn>
                <a:cxn ang="0">
                  <a:pos x="0" y="6"/>
                </a:cxn>
                <a:cxn ang="0">
                  <a:pos x="2" y="10"/>
                </a:cxn>
                <a:cxn ang="0">
                  <a:pos x="4" y="12"/>
                </a:cxn>
                <a:cxn ang="0">
                  <a:pos x="6" y="12"/>
                </a:cxn>
                <a:cxn ang="0">
                  <a:pos x="8" y="10"/>
                </a:cxn>
                <a:cxn ang="0">
                  <a:pos x="10" y="10"/>
                </a:cxn>
                <a:cxn ang="0">
                  <a:pos x="12" y="10"/>
                </a:cxn>
                <a:cxn ang="0">
                  <a:pos x="14" y="6"/>
                </a:cxn>
                <a:cxn ang="0">
                  <a:pos x="18" y="2"/>
                </a:cxn>
                <a:cxn ang="0">
                  <a:pos x="20" y="0"/>
                </a:cxn>
                <a:cxn ang="0">
                  <a:pos x="18" y="0"/>
                </a:cxn>
              </a:cxnLst>
              <a:rect l="0" t="0" r="r" b="b"/>
              <a:pathLst>
                <a:path w="20" h="12">
                  <a:moveTo>
                    <a:pt x="18" y="0"/>
                  </a:moveTo>
                  <a:lnTo>
                    <a:pt x="18" y="0"/>
                  </a:lnTo>
                  <a:lnTo>
                    <a:pt x="12" y="2"/>
                  </a:lnTo>
                  <a:lnTo>
                    <a:pt x="8" y="4"/>
                  </a:lnTo>
                  <a:lnTo>
                    <a:pt x="6" y="4"/>
                  </a:lnTo>
                  <a:lnTo>
                    <a:pt x="2" y="2"/>
                  </a:lnTo>
                  <a:lnTo>
                    <a:pt x="0" y="2"/>
                  </a:lnTo>
                  <a:lnTo>
                    <a:pt x="0" y="4"/>
                  </a:lnTo>
                  <a:lnTo>
                    <a:pt x="0" y="6"/>
                  </a:lnTo>
                  <a:lnTo>
                    <a:pt x="2" y="10"/>
                  </a:lnTo>
                  <a:lnTo>
                    <a:pt x="4" y="12"/>
                  </a:lnTo>
                  <a:lnTo>
                    <a:pt x="6" y="12"/>
                  </a:lnTo>
                  <a:lnTo>
                    <a:pt x="8" y="10"/>
                  </a:lnTo>
                  <a:lnTo>
                    <a:pt x="10" y="10"/>
                  </a:lnTo>
                  <a:lnTo>
                    <a:pt x="12" y="10"/>
                  </a:lnTo>
                  <a:lnTo>
                    <a:pt x="14" y="6"/>
                  </a:lnTo>
                  <a:lnTo>
                    <a:pt x="18" y="2"/>
                  </a:lnTo>
                  <a:lnTo>
                    <a:pt x="20" y="0"/>
                  </a:lnTo>
                  <a:lnTo>
                    <a:pt x="18"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69" name="Freeform 533">
              <a:extLst>
                <a:ext uri="{FF2B5EF4-FFF2-40B4-BE49-F238E27FC236}">
                  <a16:creationId xmlns:a16="http://schemas.microsoft.com/office/drawing/2014/main" id="{3328E953-06A0-40F7-9A67-B1C25FAEAB3E}"/>
                </a:ext>
              </a:extLst>
            </p:cNvPr>
            <p:cNvSpPr>
              <a:spLocks/>
            </p:cNvSpPr>
            <p:nvPr/>
          </p:nvSpPr>
          <p:spPr bwMode="auto">
            <a:xfrm>
              <a:off x="3225766" y="3524800"/>
              <a:ext cx="25896" cy="15538"/>
            </a:xfrm>
            <a:custGeom>
              <a:avLst/>
              <a:gdLst/>
              <a:ahLst/>
              <a:cxnLst>
                <a:cxn ang="0">
                  <a:pos x="18" y="0"/>
                </a:cxn>
                <a:cxn ang="0">
                  <a:pos x="18" y="0"/>
                </a:cxn>
                <a:cxn ang="0">
                  <a:pos x="12" y="2"/>
                </a:cxn>
                <a:cxn ang="0">
                  <a:pos x="8" y="4"/>
                </a:cxn>
                <a:cxn ang="0">
                  <a:pos x="6" y="4"/>
                </a:cxn>
                <a:cxn ang="0">
                  <a:pos x="2" y="2"/>
                </a:cxn>
                <a:cxn ang="0">
                  <a:pos x="0" y="2"/>
                </a:cxn>
                <a:cxn ang="0">
                  <a:pos x="0" y="4"/>
                </a:cxn>
                <a:cxn ang="0">
                  <a:pos x="0" y="6"/>
                </a:cxn>
                <a:cxn ang="0">
                  <a:pos x="2" y="10"/>
                </a:cxn>
                <a:cxn ang="0">
                  <a:pos x="4" y="12"/>
                </a:cxn>
                <a:cxn ang="0">
                  <a:pos x="6" y="12"/>
                </a:cxn>
                <a:cxn ang="0">
                  <a:pos x="8" y="10"/>
                </a:cxn>
                <a:cxn ang="0">
                  <a:pos x="10" y="10"/>
                </a:cxn>
                <a:cxn ang="0">
                  <a:pos x="12" y="10"/>
                </a:cxn>
                <a:cxn ang="0">
                  <a:pos x="14" y="6"/>
                </a:cxn>
                <a:cxn ang="0">
                  <a:pos x="18" y="2"/>
                </a:cxn>
                <a:cxn ang="0">
                  <a:pos x="20" y="0"/>
                </a:cxn>
                <a:cxn ang="0">
                  <a:pos x="18" y="0"/>
                </a:cxn>
              </a:cxnLst>
              <a:rect l="0" t="0" r="r" b="b"/>
              <a:pathLst>
                <a:path w="20" h="12">
                  <a:moveTo>
                    <a:pt x="18" y="0"/>
                  </a:moveTo>
                  <a:lnTo>
                    <a:pt x="18" y="0"/>
                  </a:lnTo>
                  <a:lnTo>
                    <a:pt x="12" y="2"/>
                  </a:lnTo>
                  <a:lnTo>
                    <a:pt x="8" y="4"/>
                  </a:lnTo>
                  <a:lnTo>
                    <a:pt x="6" y="4"/>
                  </a:lnTo>
                  <a:lnTo>
                    <a:pt x="2" y="2"/>
                  </a:lnTo>
                  <a:lnTo>
                    <a:pt x="0" y="2"/>
                  </a:lnTo>
                  <a:lnTo>
                    <a:pt x="0" y="4"/>
                  </a:lnTo>
                  <a:lnTo>
                    <a:pt x="0" y="6"/>
                  </a:lnTo>
                  <a:lnTo>
                    <a:pt x="2" y="10"/>
                  </a:lnTo>
                  <a:lnTo>
                    <a:pt x="4" y="12"/>
                  </a:lnTo>
                  <a:lnTo>
                    <a:pt x="6" y="12"/>
                  </a:lnTo>
                  <a:lnTo>
                    <a:pt x="8" y="10"/>
                  </a:lnTo>
                  <a:lnTo>
                    <a:pt x="10" y="10"/>
                  </a:lnTo>
                  <a:lnTo>
                    <a:pt x="12" y="10"/>
                  </a:lnTo>
                  <a:lnTo>
                    <a:pt x="14" y="6"/>
                  </a:lnTo>
                  <a:lnTo>
                    <a:pt x="18" y="2"/>
                  </a:lnTo>
                  <a:lnTo>
                    <a:pt x="20" y="0"/>
                  </a:lnTo>
                  <a:lnTo>
                    <a:pt x="18"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0" name="Freeform 534">
              <a:extLst>
                <a:ext uri="{FF2B5EF4-FFF2-40B4-BE49-F238E27FC236}">
                  <a16:creationId xmlns:a16="http://schemas.microsoft.com/office/drawing/2014/main" id="{619550E8-F859-4204-AB5E-1E6A8A95077B}"/>
                </a:ext>
              </a:extLst>
            </p:cNvPr>
            <p:cNvSpPr>
              <a:spLocks/>
            </p:cNvSpPr>
            <p:nvPr/>
          </p:nvSpPr>
          <p:spPr bwMode="auto">
            <a:xfrm>
              <a:off x="3217997" y="3522211"/>
              <a:ext cx="5179" cy="12948"/>
            </a:xfrm>
            <a:custGeom>
              <a:avLst/>
              <a:gdLst/>
              <a:ahLst/>
              <a:cxnLst>
                <a:cxn ang="0">
                  <a:pos x="2" y="2"/>
                </a:cxn>
                <a:cxn ang="0">
                  <a:pos x="2" y="2"/>
                </a:cxn>
                <a:cxn ang="0">
                  <a:pos x="0" y="8"/>
                </a:cxn>
                <a:cxn ang="0">
                  <a:pos x="0" y="10"/>
                </a:cxn>
                <a:cxn ang="0">
                  <a:pos x="2" y="4"/>
                </a:cxn>
                <a:cxn ang="0">
                  <a:pos x="4" y="2"/>
                </a:cxn>
                <a:cxn ang="0">
                  <a:pos x="2" y="0"/>
                </a:cxn>
                <a:cxn ang="0">
                  <a:pos x="2" y="2"/>
                </a:cxn>
              </a:cxnLst>
              <a:rect l="0" t="0" r="r" b="b"/>
              <a:pathLst>
                <a:path w="4" h="10">
                  <a:moveTo>
                    <a:pt x="2" y="2"/>
                  </a:moveTo>
                  <a:lnTo>
                    <a:pt x="2" y="2"/>
                  </a:lnTo>
                  <a:lnTo>
                    <a:pt x="0" y="8"/>
                  </a:lnTo>
                  <a:lnTo>
                    <a:pt x="0" y="10"/>
                  </a:lnTo>
                  <a:lnTo>
                    <a:pt x="2" y="4"/>
                  </a:lnTo>
                  <a:lnTo>
                    <a:pt x="4" y="2"/>
                  </a:lnTo>
                  <a:lnTo>
                    <a:pt x="2" y="0"/>
                  </a:lnTo>
                  <a:lnTo>
                    <a:pt x="2" y="2"/>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1" name="Freeform 535">
              <a:extLst>
                <a:ext uri="{FF2B5EF4-FFF2-40B4-BE49-F238E27FC236}">
                  <a16:creationId xmlns:a16="http://schemas.microsoft.com/office/drawing/2014/main" id="{4168F50E-EA8D-4EC5-BE81-1B866F995BDD}"/>
                </a:ext>
              </a:extLst>
            </p:cNvPr>
            <p:cNvSpPr>
              <a:spLocks/>
            </p:cNvSpPr>
            <p:nvPr/>
          </p:nvSpPr>
          <p:spPr bwMode="auto">
            <a:xfrm>
              <a:off x="3217997" y="3522211"/>
              <a:ext cx="5179" cy="12948"/>
            </a:xfrm>
            <a:custGeom>
              <a:avLst/>
              <a:gdLst/>
              <a:ahLst/>
              <a:cxnLst>
                <a:cxn ang="0">
                  <a:pos x="2" y="2"/>
                </a:cxn>
                <a:cxn ang="0">
                  <a:pos x="2" y="2"/>
                </a:cxn>
                <a:cxn ang="0">
                  <a:pos x="0" y="8"/>
                </a:cxn>
                <a:cxn ang="0">
                  <a:pos x="0" y="10"/>
                </a:cxn>
                <a:cxn ang="0">
                  <a:pos x="2" y="4"/>
                </a:cxn>
                <a:cxn ang="0">
                  <a:pos x="4" y="2"/>
                </a:cxn>
                <a:cxn ang="0">
                  <a:pos x="2" y="0"/>
                </a:cxn>
                <a:cxn ang="0">
                  <a:pos x="2" y="2"/>
                </a:cxn>
              </a:cxnLst>
              <a:rect l="0" t="0" r="r" b="b"/>
              <a:pathLst>
                <a:path w="4" h="10">
                  <a:moveTo>
                    <a:pt x="2" y="2"/>
                  </a:moveTo>
                  <a:lnTo>
                    <a:pt x="2" y="2"/>
                  </a:lnTo>
                  <a:lnTo>
                    <a:pt x="0" y="8"/>
                  </a:lnTo>
                  <a:lnTo>
                    <a:pt x="0" y="10"/>
                  </a:lnTo>
                  <a:lnTo>
                    <a:pt x="2" y="4"/>
                  </a:lnTo>
                  <a:lnTo>
                    <a:pt x="4" y="2"/>
                  </a:lnTo>
                  <a:lnTo>
                    <a:pt x="2" y="0"/>
                  </a:lnTo>
                  <a:lnTo>
                    <a:pt x="2" y="2"/>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2" name="Freeform 536">
              <a:extLst>
                <a:ext uri="{FF2B5EF4-FFF2-40B4-BE49-F238E27FC236}">
                  <a16:creationId xmlns:a16="http://schemas.microsoft.com/office/drawing/2014/main" id="{6F54440D-66D3-4309-B134-F734181F56D3}"/>
                </a:ext>
              </a:extLst>
            </p:cNvPr>
            <p:cNvSpPr>
              <a:spLocks/>
            </p:cNvSpPr>
            <p:nvPr/>
          </p:nvSpPr>
          <p:spPr bwMode="auto">
            <a:xfrm>
              <a:off x="3220587" y="3488546"/>
              <a:ext cx="28486" cy="36255"/>
            </a:xfrm>
            <a:custGeom>
              <a:avLst/>
              <a:gdLst/>
              <a:ahLst/>
              <a:cxnLst>
                <a:cxn ang="0">
                  <a:pos x="16" y="0"/>
                </a:cxn>
                <a:cxn ang="0">
                  <a:pos x="16" y="0"/>
                </a:cxn>
                <a:cxn ang="0">
                  <a:pos x="12" y="2"/>
                </a:cxn>
                <a:cxn ang="0">
                  <a:pos x="14" y="8"/>
                </a:cxn>
                <a:cxn ang="0">
                  <a:pos x="12" y="10"/>
                </a:cxn>
                <a:cxn ang="0">
                  <a:pos x="12" y="12"/>
                </a:cxn>
                <a:cxn ang="0">
                  <a:pos x="10" y="12"/>
                </a:cxn>
                <a:cxn ang="0">
                  <a:pos x="10" y="8"/>
                </a:cxn>
                <a:cxn ang="0">
                  <a:pos x="6" y="8"/>
                </a:cxn>
                <a:cxn ang="0">
                  <a:pos x="4" y="8"/>
                </a:cxn>
                <a:cxn ang="0">
                  <a:pos x="4" y="12"/>
                </a:cxn>
                <a:cxn ang="0">
                  <a:pos x="0" y="12"/>
                </a:cxn>
                <a:cxn ang="0">
                  <a:pos x="0" y="14"/>
                </a:cxn>
                <a:cxn ang="0">
                  <a:pos x="2" y="16"/>
                </a:cxn>
                <a:cxn ang="0">
                  <a:pos x="4" y="16"/>
                </a:cxn>
                <a:cxn ang="0">
                  <a:pos x="4" y="24"/>
                </a:cxn>
                <a:cxn ang="0">
                  <a:pos x="10" y="24"/>
                </a:cxn>
                <a:cxn ang="0">
                  <a:pos x="8" y="22"/>
                </a:cxn>
                <a:cxn ang="0">
                  <a:pos x="10" y="22"/>
                </a:cxn>
                <a:cxn ang="0">
                  <a:pos x="12" y="22"/>
                </a:cxn>
                <a:cxn ang="0">
                  <a:pos x="12" y="28"/>
                </a:cxn>
                <a:cxn ang="0">
                  <a:pos x="16" y="28"/>
                </a:cxn>
                <a:cxn ang="0">
                  <a:pos x="16" y="24"/>
                </a:cxn>
                <a:cxn ang="0">
                  <a:pos x="20" y="22"/>
                </a:cxn>
                <a:cxn ang="0">
                  <a:pos x="22" y="20"/>
                </a:cxn>
                <a:cxn ang="0">
                  <a:pos x="22" y="16"/>
                </a:cxn>
                <a:cxn ang="0">
                  <a:pos x="18" y="14"/>
                </a:cxn>
                <a:cxn ang="0">
                  <a:pos x="22" y="12"/>
                </a:cxn>
                <a:cxn ang="0">
                  <a:pos x="22" y="6"/>
                </a:cxn>
                <a:cxn ang="0">
                  <a:pos x="20" y="0"/>
                </a:cxn>
                <a:cxn ang="0">
                  <a:pos x="16" y="0"/>
                </a:cxn>
              </a:cxnLst>
              <a:rect l="0" t="0" r="r" b="b"/>
              <a:pathLst>
                <a:path w="22" h="28">
                  <a:moveTo>
                    <a:pt x="16" y="0"/>
                  </a:moveTo>
                  <a:lnTo>
                    <a:pt x="16" y="0"/>
                  </a:lnTo>
                  <a:lnTo>
                    <a:pt x="12" y="2"/>
                  </a:lnTo>
                  <a:lnTo>
                    <a:pt x="14" y="8"/>
                  </a:lnTo>
                  <a:lnTo>
                    <a:pt x="12" y="10"/>
                  </a:lnTo>
                  <a:lnTo>
                    <a:pt x="12" y="12"/>
                  </a:lnTo>
                  <a:lnTo>
                    <a:pt x="10" y="12"/>
                  </a:lnTo>
                  <a:lnTo>
                    <a:pt x="10" y="8"/>
                  </a:lnTo>
                  <a:lnTo>
                    <a:pt x="6" y="8"/>
                  </a:lnTo>
                  <a:lnTo>
                    <a:pt x="4" y="8"/>
                  </a:lnTo>
                  <a:lnTo>
                    <a:pt x="4" y="12"/>
                  </a:lnTo>
                  <a:lnTo>
                    <a:pt x="0" y="12"/>
                  </a:lnTo>
                  <a:lnTo>
                    <a:pt x="0" y="14"/>
                  </a:lnTo>
                  <a:lnTo>
                    <a:pt x="2" y="16"/>
                  </a:lnTo>
                  <a:lnTo>
                    <a:pt x="4" y="16"/>
                  </a:lnTo>
                  <a:lnTo>
                    <a:pt x="4" y="24"/>
                  </a:lnTo>
                  <a:lnTo>
                    <a:pt x="10" y="24"/>
                  </a:lnTo>
                  <a:lnTo>
                    <a:pt x="8" y="22"/>
                  </a:lnTo>
                  <a:lnTo>
                    <a:pt x="10" y="22"/>
                  </a:lnTo>
                  <a:lnTo>
                    <a:pt x="12" y="22"/>
                  </a:lnTo>
                  <a:lnTo>
                    <a:pt x="12" y="28"/>
                  </a:lnTo>
                  <a:lnTo>
                    <a:pt x="16" y="28"/>
                  </a:lnTo>
                  <a:lnTo>
                    <a:pt x="16" y="24"/>
                  </a:lnTo>
                  <a:lnTo>
                    <a:pt x="20" y="22"/>
                  </a:lnTo>
                  <a:lnTo>
                    <a:pt x="22" y="20"/>
                  </a:lnTo>
                  <a:lnTo>
                    <a:pt x="22" y="16"/>
                  </a:lnTo>
                  <a:lnTo>
                    <a:pt x="18" y="14"/>
                  </a:lnTo>
                  <a:lnTo>
                    <a:pt x="22" y="12"/>
                  </a:lnTo>
                  <a:lnTo>
                    <a:pt x="22" y="6"/>
                  </a:lnTo>
                  <a:lnTo>
                    <a:pt x="20" y="0"/>
                  </a:lnTo>
                  <a:lnTo>
                    <a:pt x="16"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3" name="Freeform 537">
              <a:extLst>
                <a:ext uri="{FF2B5EF4-FFF2-40B4-BE49-F238E27FC236}">
                  <a16:creationId xmlns:a16="http://schemas.microsoft.com/office/drawing/2014/main" id="{8DD6BC62-AFD9-4403-B126-454259CF31C9}"/>
                </a:ext>
              </a:extLst>
            </p:cNvPr>
            <p:cNvSpPr>
              <a:spLocks/>
            </p:cNvSpPr>
            <p:nvPr/>
          </p:nvSpPr>
          <p:spPr bwMode="auto">
            <a:xfrm>
              <a:off x="3220587" y="3488546"/>
              <a:ext cx="28486" cy="36255"/>
            </a:xfrm>
            <a:custGeom>
              <a:avLst/>
              <a:gdLst/>
              <a:ahLst/>
              <a:cxnLst>
                <a:cxn ang="0">
                  <a:pos x="16" y="0"/>
                </a:cxn>
                <a:cxn ang="0">
                  <a:pos x="16" y="0"/>
                </a:cxn>
                <a:cxn ang="0">
                  <a:pos x="12" y="2"/>
                </a:cxn>
                <a:cxn ang="0">
                  <a:pos x="14" y="8"/>
                </a:cxn>
                <a:cxn ang="0">
                  <a:pos x="12" y="10"/>
                </a:cxn>
                <a:cxn ang="0">
                  <a:pos x="12" y="12"/>
                </a:cxn>
                <a:cxn ang="0">
                  <a:pos x="10" y="12"/>
                </a:cxn>
                <a:cxn ang="0">
                  <a:pos x="10" y="8"/>
                </a:cxn>
                <a:cxn ang="0">
                  <a:pos x="6" y="8"/>
                </a:cxn>
                <a:cxn ang="0">
                  <a:pos x="4" y="8"/>
                </a:cxn>
                <a:cxn ang="0">
                  <a:pos x="4" y="12"/>
                </a:cxn>
                <a:cxn ang="0">
                  <a:pos x="0" y="12"/>
                </a:cxn>
                <a:cxn ang="0">
                  <a:pos x="0" y="14"/>
                </a:cxn>
                <a:cxn ang="0">
                  <a:pos x="2" y="16"/>
                </a:cxn>
                <a:cxn ang="0">
                  <a:pos x="4" y="16"/>
                </a:cxn>
                <a:cxn ang="0">
                  <a:pos x="4" y="24"/>
                </a:cxn>
                <a:cxn ang="0">
                  <a:pos x="10" y="24"/>
                </a:cxn>
                <a:cxn ang="0">
                  <a:pos x="8" y="22"/>
                </a:cxn>
                <a:cxn ang="0">
                  <a:pos x="10" y="22"/>
                </a:cxn>
                <a:cxn ang="0">
                  <a:pos x="12" y="22"/>
                </a:cxn>
                <a:cxn ang="0">
                  <a:pos x="12" y="28"/>
                </a:cxn>
                <a:cxn ang="0">
                  <a:pos x="16" y="28"/>
                </a:cxn>
                <a:cxn ang="0">
                  <a:pos x="16" y="24"/>
                </a:cxn>
                <a:cxn ang="0">
                  <a:pos x="20" y="22"/>
                </a:cxn>
                <a:cxn ang="0">
                  <a:pos x="22" y="20"/>
                </a:cxn>
                <a:cxn ang="0">
                  <a:pos x="22" y="16"/>
                </a:cxn>
                <a:cxn ang="0">
                  <a:pos x="18" y="14"/>
                </a:cxn>
                <a:cxn ang="0">
                  <a:pos x="22" y="12"/>
                </a:cxn>
                <a:cxn ang="0">
                  <a:pos x="22" y="6"/>
                </a:cxn>
                <a:cxn ang="0">
                  <a:pos x="20" y="0"/>
                </a:cxn>
                <a:cxn ang="0">
                  <a:pos x="16" y="0"/>
                </a:cxn>
              </a:cxnLst>
              <a:rect l="0" t="0" r="r" b="b"/>
              <a:pathLst>
                <a:path w="22" h="28">
                  <a:moveTo>
                    <a:pt x="16" y="0"/>
                  </a:moveTo>
                  <a:lnTo>
                    <a:pt x="16" y="0"/>
                  </a:lnTo>
                  <a:lnTo>
                    <a:pt x="12" y="2"/>
                  </a:lnTo>
                  <a:lnTo>
                    <a:pt x="14" y="8"/>
                  </a:lnTo>
                  <a:lnTo>
                    <a:pt x="12" y="10"/>
                  </a:lnTo>
                  <a:lnTo>
                    <a:pt x="12" y="12"/>
                  </a:lnTo>
                  <a:lnTo>
                    <a:pt x="10" y="12"/>
                  </a:lnTo>
                  <a:lnTo>
                    <a:pt x="10" y="8"/>
                  </a:lnTo>
                  <a:lnTo>
                    <a:pt x="6" y="8"/>
                  </a:lnTo>
                  <a:lnTo>
                    <a:pt x="4" y="8"/>
                  </a:lnTo>
                  <a:lnTo>
                    <a:pt x="4" y="12"/>
                  </a:lnTo>
                  <a:lnTo>
                    <a:pt x="0" y="12"/>
                  </a:lnTo>
                  <a:lnTo>
                    <a:pt x="0" y="14"/>
                  </a:lnTo>
                  <a:lnTo>
                    <a:pt x="2" y="16"/>
                  </a:lnTo>
                  <a:lnTo>
                    <a:pt x="4" y="16"/>
                  </a:lnTo>
                  <a:lnTo>
                    <a:pt x="4" y="24"/>
                  </a:lnTo>
                  <a:lnTo>
                    <a:pt x="10" y="24"/>
                  </a:lnTo>
                  <a:lnTo>
                    <a:pt x="8" y="22"/>
                  </a:lnTo>
                  <a:lnTo>
                    <a:pt x="10" y="22"/>
                  </a:lnTo>
                  <a:lnTo>
                    <a:pt x="12" y="22"/>
                  </a:lnTo>
                  <a:lnTo>
                    <a:pt x="12" y="28"/>
                  </a:lnTo>
                  <a:lnTo>
                    <a:pt x="16" y="28"/>
                  </a:lnTo>
                  <a:lnTo>
                    <a:pt x="16" y="24"/>
                  </a:lnTo>
                  <a:lnTo>
                    <a:pt x="20" y="22"/>
                  </a:lnTo>
                  <a:lnTo>
                    <a:pt x="22" y="20"/>
                  </a:lnTo>
                  <a:lnTo>
                    <a:pt x="22" y="16"/>
                  </a:lnTo>
                  <a:lnTo>
                    <a:pt x="18" y="14"/>
                  </a:lnTo>
                  <a:lnTo>
                    <a:pt x="22" y="12"/>
                  </a:lnTo>
                  <a:lnTo>
                    <a:pt x="22" y="6"/>
                  </a:lnTo>
                  <a:lnTo>
                    <a:pt x="20" y="0"/>
                  </a:lnTo>
                  <a:lnTo>
                    <a:pt x="16"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4" name="Freeform 538">
              <a:extLst>
                <a:ext uri="{FF2B5EF4-FFF2-40B4-BE49-F238E27FC236}">
                  <a16:creationId xmlns:a16="http://schemas.microsoft.com/office/drawing/2014/main" id="{AD63A281-4D2E-4939-9DAE-FB9D592EA385}"/>
                </a:ext>
              </a:extLst>
            </p:cNvPr>
            <p:cNvSpPr>
              <a:spLocks/>
            </p:cNvSpPr>
            <p:nvPr/>
          </p:nvSpPr>
          <p:spPr bwMode="auto">
            <a:xfrm>
              <a:off x="3184332" y="3467829"/>
              <a:ext cx="5179" cy="5179"/>
            </a:xfrm>
            <a:custGeom>
              <a:avLst/>
              <a:gdLst/>
              <a:ahLst/>
              <a:cxnLst>
                <a:cxn ang="0">
                  <a:pos x="2" y="0"/>
                </a:cxn>
                <a:cxn ang="0">
                  <a:pos x="2" y="0"/>
                </a:cxn>
                <a:cxn ang="0">
                  <a:pos x="0" y="2"/>
                </a:cxn>
                <a:cxn ang="0">
                  <a:pos x="0" y="4"/>
                </a:cxn>
                <a:cxn ang="0">
                  <a:pos x="2" y="2"/>
                </a:cxn>
                <a:cxn ang="0">
                  <a:pos x="4" y="2"/>
                </a:cxn>
                <a:cxn ang="0">
                  <a:pos x="4" y="0"/>
                </a:cxn>
                <a:cxn ang="0">
                  <a:pos x="2" y="0"/>
                </a:cxn>
              </a:cxnLst>
              <a:rect l="0" t="0" r="r" b="b"/>
              <a:pathLst>
                <a:path w="4" h="4">
                  <a:moveTo>
                    <a:pt x="2" y="0"/>
                  </a:moveTo>
                  <a:lnTo>
                    <a:pt x="2" y="0"/>
                  </a:lnTo>
                  <a:lnTo>
                    <a:pt x="0" y="2"/>
                  </a:lnTo>
                  <a:lnTo>
                    <a:pt x="0" y="4"/>
                  </a:lnTo>
                  <a:lnTo>
                    <a:pt x="2" y="2"/>
                  </a:lnTo>
                  <a:lnTo>
                    <a:pt x="4" y="2"/>
                  </a:lnTo>
                  <a:lnTo>
                    <a:pt x="4" y="0"/>
                  </a:lnTo>
                  <a:lnTo>
                    <a:pt x="2" y="0"/>
                  </a:lnTo>
                  <a:close/>
                </a:path>
              </a:pathLst>
            </a:custGeom>
            <a:grpFill/>
            <a:ln w="6350">
              <a:noFill/>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5" name="Freeform 539">
              <a:extLst>
                <a:ext uri="{FF2B5EF4-FFF2-40B4-BE49-F238E27FC236}">
                  <a16:creationId xmlns:a16="http://schemas.microsoft.com/office/drawing/2014/main" id="{3957380B-A0B5-41EF-97C0-B6A01CE23669}"/>
                </a:ext>
              </a:extLst>
            </p:cNvPr>
            <p:cNvSpPr>
              <a:spLocks/>
            </p:cNvSpPr>
            <p:nvPr/>
          </p:nvSpPr>
          <p:spPr bwMode="auto">
            <a:xfrm>
              <a:off x="3184332" y="3467829"/>
              <a:ext cx="5179" cy="5179"/>
            </a:xfrm>
            <a:custGeom>
              <a:avLst/>
              <a:gdLst/>
              <a:ahLst/>
              <a:cxnLst>
                <a:cxn ang="0">
                  <a:pos x="2" y="0"/>
                </a:cxn>
                <a:cxn ang="0">
                  <a:pos x="2" y="0"/>
                </a:cxn>
                <a:cxn ang="0">
                  <a:pos x="0" y="2"/>
                </a:cxn>
                <a:cxn ang="0">
                  <a:pos x="0" y="4"/>
                </a:cxn>
                <a:cxn ang="0">
                  <a:pos x="2" y="2"/>
                </a:cxn>
                <a:cxn ang="0">
                  <a:pos x="4" y="2"/>
                </a:cxn>
                <a:cxn ang="0">
                  <a:pos x="4" y="0"/>
                </a:cxn>
                <a:cxn ang="0">
                  <a:pos x="2" y="0"/>
                </a:cxn>
              </a:cxnLst>
              <a:rect l="0" t="0" r="r" b="b"/>
              <a:pathLst>
                <a:path w="4" h="4">
                  <a:moveTo>
                    <a:pt x="2" y="0"/>
                  </a:moveTo>
                  <a:lnTo>
                    <a:pt x="2" y="0"/>
                  </a:lnTo>
                  <a:lnTo>
                    <a:pt x="0" y="2"/>
                  </a:lnTo>
                  <a:lnTo>
                    <a:pt x="0" y="4"/>
                  </a:lnTo>
                  <a:lnTo>
                    <a:pt x="2" y="2"/>
                  </a:lnTo>
                  <a:lnTo>
                    <a:pt x="4" y="2"/>
                  </a:lnTo>
                  <a:lnTo>
                    <a:pt x="4" y="0"/>
                  </a:lnTo>
                  <a:lnTo>
                    <a:pt x="2" y="0"/>
                  </a:lnTo>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6" name="Freeform 540">
              <a:extLst>
                <a:ext uri="{FF2B5EF4-FFF2-40B4-BE49-F238E27FC236}">
                  <a16:creationId xmlns:a16="http://schemas.microsoft.com/office/drawing/2014/main" id="{9C902724-263B-4182-9FE4-2D1AA5A2540E}"/>
                </a:ext>
              </a:extLst>
            </p:cNvPr>
            <p:cNvSpPr>
              <a:spLocks/>
            </p:cNvSpPr>
            <p:nvPr/>
          </p:nvSpPr>
          <p:spPr bwMode="auto">
            <a:xfrm>
              <a:off x="3241303" y="3618026"/>
              <a:ext cx="100995" cy="64740"/>
            </a:xfrm>
            <a:custGeom>
              <a:avLst/>
              <a:gdLst/>
              <a:ahLst/>
              <a:cxnLst>
                <a:cxn ang="0">
                  <a:pos x="62" y="44"/>
                </a:cxn>
                <a:cxn ang="0">
                  <a:pos x="62" y="44"/>
                </a:cxn>
                <a:cxn ang="0">
                  <a:pos x="62" y="44"/>
                </a:cxn>
                <a:cxn ang="0">
                  <a:pos x="64" y="42"/>
                </a:cxn>
                <a:cxn ang="0">
                  <a:pos x="68" y="40"/>
                </a:cxn>
                <a:cxn ang="0">
                  <a:pos x="70" y="38"/>
                </a:cxn>
                <a:cxn ang="0">
                  <a:pos x="70" y="36"/>
                </a:cxn>
                <a:cxn ang="0">
                  <a:pos x="70" y="34"/>
                </a:cxn>
                <a:cxn ang="0">
                  <a:pos x="78" y="32"/>
                </a:cxn>
                <a:cxn ang="0">
                  <a:pos x="76" y="26"/>
                </a:cxn>
                <a:cxn ang="0">
                  <a:pos x="74" y="24"/>
                </a:cxn>
                <a:cxn ang="0">
                  <a:pos x="72" y="24"/>
                </a:cxn>
                <a:cxn ang="0">
                  <a:pos x="72" y="22"/>
                </a:cxn>
                <a:cxn ang="0">
                  <a:pos x="70" y="20"/>
                </a:cxn>
                <a:cxn ang="0">
                  <a:pos x="68" y="18"/>
                </a:cxn>
                <a:cxn ang="0">
                  <a:pos x="66" y="18"/>
                </a:cxn>
                <a:cxn ang="0">
                  <a:pos x="62" y="18"/>
                </a:cxn>
                <a:cxn ang="0">
                  <a:pos x="56" y="16"/>
                </a:cxn>
                <a:cxn ang="0">
                  <a:pos x="52" y="12"/>
                </a:cxn>
                <a:cxn ang="0">
                  <a:pos x="50" y="10"/>
                </a:cxn>
                <a:cxn ang="0">
                  <a:pos x="48" y="10"/>
                </a:cxn>
                <a:cxn ang="0">
                  <a:pos x="46" y="10"/>
                </a:cxn>
                <a:cxn ang="0">
                  <a:pos x="44" y="10"/>
                </a:cxn>
                <a:cxn ang="0">
                  <a:pos x="44" y="8"/>
                </a:cxn>
                <a:cxn ang="0">
                  <a:pos x="42" y="6"/>
                </a:cxn>
                <a:cxn ang="0">
                  <a:pos x="36" y="6"/>
                </a:cxn>
                <a:cxn ang="0">
                  <a:pos x="32" y="4"/>
                </a:cxn>
                <a:cxn ang="0">
                  <a:pos x="26" y="0"/>
                </a:cxn>
                <a:cxn ang="0">
                  <a:pos x="18" y="6"/>
                </a:cxn>
                <a:cxn ang="0">
                  <a:pos x="12" y="8"/>
                </a:cxn>
                <a:cxn ang="0">
                  <a:pos x="10" y="12"/>
                </a:cxn>
                <a:cxn ang="0">
                  <a:pos x="6" y="14"/>
                </a:cxn>
                <a:cxn ang="0">
                  <a:pos x="2" y="14"/>
                </a:cxn>
                <a:cxn ang="0">
                  <a:pos x="0" y="16"/>
                </a:cxn>
                <a:cxn ang="0">
                  <a:pos x="0" y="20"/>
                </a:cxn>
                <a:cxn ang="0">
                  <a:pos x="4" y="24"/>
                </a:cxn>
                <a:cxn ang="0">
                  <a:pos x="6" y="28"/>
                </a:cxn>
                <a:cxn ang="0">
                  <a:pos x="8" y="32"/>
                </a:cxn>
                <a:cxn ang="0">
                  <a:pos x="8" y="36"/>
                </a:cxn>
                <a:cxn ang="0">
                  <a:pos x="10" y="40"/>
                </a:cxn>
                <a:cxn ang="0">
                  <a:pos x="12" y="40"/>
                </a:cxn>
                <a:cxn ang="0">
                  <a:pos x="14" y="40"/>
                </a:cxn>
                <a:cxn ang="0">
                  <a:pos x="16" y="42"/>
                </a:cxn>
                <a:cxn ang="0">
                  <a:pos x="20" y="44"/>
                </a:cxn>
                <a:cxn ang="0">
                  <a:pos x="24" y="48"/>
                </a:cxn>
                <a:cxn ang="0">
                  <a:pos x="28" y="50"/>
                </a:cxn>
                <a:cxn ang="0">
                  <a:pos x="30" y="48"/>
                </a:cxn>
                <a:cxn ang="0">
                  <a:pos x="34" y="44"/>
                </a:cxn>
                <a:cxn ang="0">
                  <a:pos x="36" y="42"/>
                </a:cxn>
                <a:cxn ang="0">
                  <a:pos x="38" y="42"/>
                </a:cxn>
                <a:cxn ang="0">
                  <a:pos x="40" y="42"/>
                </a:cxn>
                <a:cxn ang="0">
                  <a:pos x="42" y="44"/>
                </a:cxn>
                <a:cxn ang="0">
                  <a:pos x="46" y="44"/>
                </a:cxn>
                <a:cxn ang="0">
                  <a:pos x="52" y="46"/>
                </a:cxn>
                <a:cxn ang="0">
                  <a:pos x="62" y="44"/>
                </a:cxn>
                <a:cxn ang="0">
                  <a:pos x="62" y="44"/>
                </a:cxn>
              </a:cxnLst>
              <a:rect l="0" t="0" r="r" b="b"/>
              <a:pathLst>
                <a:path w="78" h="50">
                  <a:moveTo>
                    <a:pt x="62" y="44"/>
                  </a:moveTo>
                  <a:lnTo>
                    <a:pt x="62" y="44"/>
                  </a:lnTo>
                  <a:lnTo>
                    <a:pt x="62" y="44"/>
                  </a:lnTo>
                  <a:lnTo>
                    <a:pt x="64" y="42"/>
                  </a:lnTo>
                  <a:lnTo>
                    <a:pt x="68" y="40"/>
                  </a:lnTo>
                  <a:lnTo>
                    <a:pt x="70" y="38"/>
                  </a:lnTo>
                  <a:lnTo>
                    <a:pt x="70" y="36"/>
                  </a:lnTo>
                  <a:lnTo>
                    <a:pt x="70" y="34"/>
                  </a:lnTo>
                  <a:lnTo>
                    <a:pt x="78" y="32"/>
                  </a:lnTo>
                  <a:lnTo>
                    <a:pt x="76" y="26"/>
                  </a:lnTo>
                  <a:lnTo>
                    <a:pt x="74" y="24"/>
                  </a:lnTo>
                  <a:lnTo>
                    <a:pt x="72" y="24"/>
                  </a:lnTo>
                  <a:lnTo>
                    <a:pt x="72" y="22"/>
                  </a:lnTo>
                  <a:lnTo>
                    <a:pt x="70" y="20"/>
                  </a:lnTo>
                  <a:lnTo>
                    <a:pt x="68" y="18"/>
                  </a:lnTo>
                  <a:lnTo>
                    <a:pt x="66" y="18"/>
                  </a:lnTo>
                  <a:lnTo>
                    <a:pt x="62" y="18"/>
                  </a:lnTo>
                  <a:lnTo>
                    <a:pt x="56" y="16"/>
                  </a:lnTo>
                  <a:lnTo>
                    <a:pt x="52" y="12"/>
                  </a:lnTo>
                  <a:lnTo>
                    <a:pt x="50" y="10"/>
                  </a:lnTo>
                  <a:lnTo>
                    <a:pt x="48" y="10"/>
                  </a:lnTo>
                  <a:lnTo>
                    <a:pt x="46" y="10"/>
                  </a:lnTo>
                  <a:lnTo>
                    <a:pt x="44" y="10"/>
                  </a:lnTo>
                  <a:lnTo>
                    <a:pt x="44" y="8"/>
                  </a:lnTo>
                  <a:lnTo>
                    <a:pt x="42" y="6"/>
                  </a:lnTo>
                  <a:lnTo>
                    <a:pt x="36" y="6"/>
                  </a:lnTo>
                  <a:lnTo>
                    <a:pt x="32" y="4"/>
                  </a:lnTo>
                  <a:lnTo>
                    <a:pt x="26" y="0"/>
                  </a:lnTo>
                  <a:lnTo>
                    <a:pt x="18" y="6"/>
                  </a:lnTo>
                  <a:lnTo>
                    <a:pt x="12" y="8"/>
                  </a:lnTo>
                  <a:lnTo>
                    <a:pt x="10" y="12"/>
                  </a:lnTo>
                  <a:lnTo>
                    <a:pt x="6" y="14"/>
                  </a:lnTo>
                  <a:lnTo>
                    <a:pt x="2" y="14"/>
                  </a:lnTo>
                  <a:lnTo>
                    <a:pt x="0" y="16"/>
                  </a:lnTo>
                  <a:lnTo>
                    <a:pt x="0" y="20"/>
                  </a:lnTo>
                  <a:lnTo>
                    <a:pt x="4" y="24"/>
                  </a:lnTo>
                  <a:lnTo>
                    <a:pt x="6" y="28"/>
                  </a:lnTo>
                  <a:lnTo>
                    <a:pt x="8" y="32"/>
                  </a:lnTo>
                  <a:lnTo>
                    <a:pt x="8" y="36"/>
                  </a:lnTo>
                  <a:lnTo>
                    <a:pt x="10" y="40"/>
                  </a:lnTo>
                  <a:lnTo>
                    <a:pt x="12" y="40"/>
                  </a:lnTo>
                  <a:lnTo>
                    <a:pt x="14" y="40"/>
                  </a:lnTo>
                  <a:lnTo>
                    <a:pt x="16" y="42"/>
                  </a:lnTo>
                  <a:lnTo>
                    <a:pt x="20" y="44"/>
                  </a:lnTo>
                  <a:lnTo>
                    <a:pt x="24" y="48"/>
                  </a:lnTo>
                  <a:lnTo>
                    <a:pt x="28" y="50"/>
                  </a:lnTo>
                  <a:lnTo>
                    <a:pt x="30" y="48"/>
                  </a:lnTo>
                  <a:lnTo>
                    <a:pt x="34" y="44"/>
                  </a:lnTo>
                  <a:lnTo>
                    <a:pt x="36" y="42"/>
                  </a:lnTo>
                  <a:lnTo>
                    <a:pt x="38" y="42"/>
                  </a:lnTo>
                  <a:lnTo>
                    <a:pt x="40" y="42"/>
                  </a:lnTo>
                  <a:lnTo>
                    <a:pt x="42" y="44"/>
                  </a:lnTo>
                  <a:lnTo>
                    <a:pt x="46" y="44"/>
                  </a:lnTo>
                  <a:lnTo>
                    <a:pt x="52" y="46"/>
                  </a:lnTo>
                  <a:lnTo>
                    <a:pt x="62" y="44"/>
                  </a:lnTo>
                  <a:lnTo>
                    <a:pt x="62" y="4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7" name="Freeform 541">
              <a:extLst>
                <a:ext uri="{FF2B5EF4-FFF2-40B4-BE49-F238E27FC236}">
                  <a16:creationId xmlns:a16="http://schemas.microsoft.com/office/drawing/2014/main" id="{282A07A3-79DD-40E0-A521-266471D81FD1}"/>
                </a:ext>
              </a:extLst>
            </p:cNvPr>
            <p:cNvSpPr>
              <a:spLocks/>
            </p:cNvSpPr>
            <p:nvPr/>
          </p:nvSpPr>
          <p:spPr bwMode="auto">
            <a:xfrm>
              <a:off x="3262020" y="3729380"/>
              <a:ext cx="100995" cy="108764"/>
            </a:xfrm>
            <a:custGeom>
              <a:avLst/>
              <a:gdLst/>
              <a:ahLst/>
              <a:cxnLst>
                <a:cxn ang="0">
                  <a:pos x="68" y="84"/>
                </a:cxn>
                <a:cxn ang="0">
                  <a:pos x="60" y="76"/>
                </a:cxn>
                <a:cxn ang="0">
                  <a:pos x="54" y="72"/>
                </a:cxn>
                <a:cxn ang="0">
                  <a:pos x="44" y="62"/>
                </a:cxn>
                <a:cxn ang="0">
                  <a:pos x="36" y="52"/>
                </a:cxn>
                <a:cxn ang="0">
                  <a:pos x="38" y="50"/>
                </a:cxn>
                <a:cxn ang="0">
                  <a:pos x="30" y="38"/>
                </a:cxn>
                <a:cxn ang="0">
                  <a:pos x="30" y="32"/>
                </a:cxn>
                <a:cxn ang="0">
                  <a:pos x="34" y="32"/>
                </a:cxn>
                <a:cxn ang="0">
                  <a:pos x="38" y="36"/>
                </a:cxn>
                <a:cxn ang="0">
                  <a:pos x="40" y="34"/>
                </a:cxn>
                <a:cxn ang="0">
                  <a:pos x="46" y="38"/>
                </a:cxn>
                <a:cxn ang="0">
                  <a:pos x="50" y="36"/>
                </a:cxn>
                <a:cxn ang="0">
                  <a:pos x="58" y="36"/>
                </a:cxn>
                <a:cxn ang="0">
                  <a:pos x="66" y="40"/>
                </a:cxn>
                <a:cxn ang="0">
                  <a:pos x="72" y="42"/>
                </a:cxn>
                <a:cxn ang="0">
                  <a:pos x="78" y="40"/>
                </a:cxn>
                <a:cxn ang="0">
                  <a:pos x="76" y="34"/>
                </a:cxn>
                <a:cxn ang="0">
                  <a:pos x="76" y="30"/>
                </a:cxn>
                <a:cxn ang="0">
                  <a:pos x="76" y="28"/>
                </a:cxn>
                <a:cxn ang="0">
                  <a:pos x="72" y="28"/>
                </a:cxn>
                <a:cxn ang="0">
                  <a:pos x="64" y="24"/>
                </a:cxn>
                <a:cxn ang="0">
                  <a:pos x="52" y="14"/>
                </a:cxn>
                <a:cxn ang="0">
                  <a:pos x="46" y="4"/>
                </a:cxn>
                <a:cxn ang="0">
                  <a:pos x="40" y="0"/>
                </a:cxn>
                <a:cxn ang="0">
                  <a:pos x="36" y="2"/>
                </a:cxn>
                <a:cxn ang="0">
                  <a:pos x="30" y="6"/>
                </a:cxn>
                <a:cxn ang="0">
                  <a:pos x="26" y="8"/>
                </a:cxn>
                <a:cxn ang="0">
                  <a:pos x="22" y="20"/>
                </a:cxn>
                <a:cxn ang="0">
                  <a:pos x="20" y="20"/>
                </a:cxn>
                <a:cxn ang="0">
                  <a:pos x="18" y="16"/>
                </a:cxn>
                <a:cxn ang="0">
                  <a:pos x="18" y="22"/>
                </a:cxn>
                <a:cxn ang="0">
                  <a:pos x="12" y="28"/>
                </a:cxn>
                <a:cxn ang="0">
                  <a:pos x="0" y="32"/>
                </a:cxn>
                <a:cxn ang="0">
                  <a:pos x="2" y="44"/>
                </a:cxn>
                <a:cxn ang="0">
                  <a:pos x="6" y="40"/>
                </a:cxn>
                <a:cxn ang="0">
                  <a:pos x="10" y="38"/>
                </a:cxn>
                <a:cxn ang="0">
                  <a:pos x="16" y="32"/>
                </a:cxn>
                <a:cxn ang="0">
                  <a:pos x="16" y="44"/>
                </a:cxn>
                <a:cxn ang="0">
                  <a:pos x="24" y="52"/>
                </a:cxn>
                <a:cxn ang="0">
                  <a:pos x="20" y="54"/>
                </a:cxn>
                <a:cxn ang="0">
                  <a:pos x="26" y="62"/>
                </a:cxn>
                <a:cxn ang="0">
                  <a:pos x="32" y="64"/>
                </a:cxn>
                <a:cxn ang="0">
                  <a:pos x="36" y="66"/>
                </a:cxn>
                <a:cxn ang="0">
                  <a:pos x="52" y="76"/>
                </a:cxn>
                <a:cxn ang="0">
                  <a:pos x="58" y="76"/>
                </a:cxn>
                <a:cxn ang="0">
                  <a:pos x="64" y="84"/>
                </a:cxn>
                <a:cxn ang="0">
                  <a:pos x="68" y="84"/>
                </a:cxn>
              </a:cxnLst>
              <a:rect l="0" t="0" r="r" b="b"/>
              <a:pathLst>
                <a:path w="78" h="84">
                  <a:moveTo>
                    <a:pt x="68" y="84"/>
                  </a:moveTo>
                  <a:lnTo>
                    <a:pt x="68" y="84"/>
                  </a:lnTo>
                  <a:lnTo>
                    <a:pt x="64" y="80"/>
                  </a:lnTo>
                  <a:lnTo>
                    <a:pt x="60" y="76"/>
                  </a:lnTo>
                  <a:lnTo>
                    <a:pt x="58" y="74"/>
                  </a:lnTo>
                  <a:lnTo>
                    <a:pt x="54" y="72"/>
                  </a:lnTo>
                  <a:lnTo>
                    <a:pt x="50" y="68"/>
                  </a:lnTo>
                  <a:lnTo>
                    <a:pt x="44" y="62"/>
                  </a:lnTo>
                  <a:lnTo>
                    <a:pt x="38" y="54"/>
                  </a:lnTo>
                  <a:lnTo>
                    <a:pt x="36" y="52"/>
                  </a:lnTo>
                  <a:lnTo>
                    <a:pt x="38" y="52"/>
                  </a:lnTo>
                  <a:lnTo>
                    <a:pt x="38" y="50"/>
                  </a:lnTo>
                  <a:lnTo>
                    <a:pt x="34" y="42"/>
                  </a:lnTo>
                  <a:lnTo>
                    <a:pt x="30" y="38"/>
                  </a:lnTo>
                  <a:lnTo>
                    <a:pt x="30" y="34"/>
                  </a:lnTo>
                  <a:lnTo>
                    <a:pt x="30" y="32"/>
                  </a:lnTo>
                  <a:lnTo>
                    <a:pt x="32" y="32"/>
                  </a:lnTo>
                  <a:lnTo>
                    <a:pt x="34" y="32"/>
                  </a:lnTo>
                  <a:lnTo>
                    <a:pt x="36" y="36"/>
                  </a:lnTo>
                  <a:lnTo>
                    <a:pt x="38" y="36"/>
                  </a:lnTo>
                  <a:lnTo>
                    <a:pt x="40" y="36"/>
                  </a:lnTo>
                  <a:lnTo>
                    <a:pt x="40" y="34"/>
                  </a:lnTo>
                  <a:lnTo>
                    <a:pt x="42" y="36"/>
                  </a:lnTo>
                  <a:lnTo>
                    <a:pt x="46" y="38"/>
                  </a:lnTo>
                  <a:lnTo>
                    <a:pt x="48" y="38"/>
                  </a:lnTo>
                  <a:lnTo>
                    <a:pt x="50" y="36"/>
                  </a:lnTo>
                  <a:lnTo>
                    <a:pt x="54" y="36"/>
                  </a:lnTo>
                  <a:lnTo>
                    <a:pt x="58" y="36"/>
                  </a:lnTo>
                  <a:lnTo>
                    <a:pt x="64" y="38"/>
                  </a:lnTo>
                  <a:lnTo>
                    <a:pt x="66" y="40"/>
                  </a:lnTo>
                  <a:lnTo>
                    <a:pt x="68" y="42"/>
                  </a:lnTo>
                  <a:lnTo>
                    <a:pt x="72" y="42"/>
                  </a:lnTo>
                  <a:lnTo>
                    <a:pt x="76" y="42"/>
                  </a:lnTo>
                  <a:lnTo>
                    <a:pt x="78" y="40"/>
                  </a:lnTo>
                  <a:lnTo>
                    <a:pt x="78" y="38"/>
                  </a:lnTo>
                  <a:lnTo>
                    <a:pt x="76" y="34"/>
                  </a:lnTo>
                  <a:lnTo>
                    <a:pt x="76" y="32"/>
                  </a:lnTo>
                  <a:lnTo>
                    <a:pt x="76" y="30"/>
                  </a:lnTo>
                  <a:lnTo>
                    <a:pt x="78" y="28"/>
                  </a:lnTo>
                  <a:lnTo>
                    <a:pt x="76" y="28"/>
                  </a:lnTo>
                  <a:lnTo>
                    <a:pt x="74" y="28"/>
                  </a:lnTo>
                  <a:lnTo>
                    <a:pt x="72" y="28"/>
                  </a:lnTo>
                  <a:lnTo>
                    <a:pt x="68" y="26"/>
                  </a:lnTo>
                  <a:lnTo>
                    <a:pt x="64" y="24"/>
                  </a:lnTo>
                  <a:lnTo>
                    <a:pt x="58" y="20"/>
                  </a:lnTo>
                  <a:lnTo>
                    <a:pt x="52" y="14"/>
                  </a:lnTo>
                  <a:lnTo>
                    <a:pt x="48" y="8"/>
                  </a:lnTo>
                  <a:lnTo>
                    <a:pt x="46" y="4"/>
                  </a:lnTo>
                  <a:lnTo>
                    <a:pt x="44" y="2"/>
                  </a:lnTo>
                  <a:lnTo>
                    <a:pt x="40" y="0"/>
                  </a:lnTo>
                  <a:lnTo>
                    <a:pt x="38" y="2"/>
                  </a:lnTo>
                  <a:lnTo>
                    <a:pt x="36" y="2"/>
                  </a:lnTo>
                  <a:lnTo>
                    <a:pt x="34" y="6"/>
                  </a:lnTo>
                  <a:lnTo>
                    <a:pt x="30" y="6"/>
                  </a:lnTo>
                  <a:lnTo>
                    <a:pt x="28" y="6"/>
                  </a:lnTo>
                  <a:lnTo>
                    <a:pt x="26" y="8"/>
                  </a:lnTo>
                  <a:lnTo>
                    <a:pt x="24" y="16"/>
                  </a:lnTo>
                  <a:lnTo>
                    <a:pt x="22" y="20"/>
                  </a:lnTo>
                  <a:lnTo>
                    <a:pt x="20" y="20"/>
                  </a:lnTo>
                  <a:lnTo>
                    <a:pt x="20" y="20"/>
                  </a:lnTo>
                  <a:lnTo>
                    <a:pt x="18" y="18"/>
                  </a:lnTo>
                  <a:lnTo>
                    <a:pt x="18" y="16"/>
                  </a:lnTo>
                  <a:lnTo>
                    <a:pt x="16" y="18"/>
                  </a:lnTo>
                  <a:lnTo>
                    <a:pt x="18" y="22"/>
                  </a:lnTo>
                  <a:lnTo>
                    <a:pt x="16" y="26"/>
                  </a:lnTo>
                  <a:lnTo>
                    <a:pt x="12" y="28"/>
                  </a:lnTo>
                  <a:lnTo>
                    <a:pt x="8" y="30"/>
                  </a:lnTo>
                  <a:lnTo>
                    <a:pt x="0" y="32"/>
                  </a:lnTo>
                  <a:lnTo>
                    <a:pt x="2" y="38"/>
                  </a:lnTo>
                  <a:lnTo>
                    <a:pt x="2" y="44"/>
                  </a:lnTo>
                  <a:lnTo>
                    <a:pt x="6" y="42"/>
                  </a:lnTo>
                  <a:lnTo>
                    <a:pt x="6" y="40"/>
                  </a:lnTo>
                  <a:lnTo>
                    <a:pt x="8" y="38"/>
                  </a:lnTo>
                  <a:lnTo>
                    <a:pt x="10" y="38"/>
                  </a:lnTo>
                  <a:lnTo>
                    <a:pt x="14" y="28"/>
                  </a:lnTo>
                  <a:lnTo>
                    <a:pt x="16" y="32"/>
                  </a:lnTo>
                  <a:lnTo>
                    <a:pt x="18" y="36"/>
                  </a:lnTo>
                  <a:lnTo>
                    <a:pt x="16" y="44"/>
                  </a:lnTo>
                  <a:lnTo>
                    <a:pt x="22" y="50"/>
                  </a:lnTo>
                  <a:lnTo>
                    <a:pt x="24" y="52"/>
                  </a:lnTo>
                  <a:lnTo>
                    <a:pt x="22" y="54"/>
                  </a:lnTo>
                  <a:lnTo>
                    <a:pt x="20" y="54"/>
                  </a:lnTo>
                  <a:lnTo>
                    <a:pt x="20" y="58"/>
                  </a:lnTo>
                  <a:lnTo>
                    <a:pt x="26" y="62"/>
                  </a:lnTo>
                  <a:lnTo>
                    <a:pt x="30" y="62"/>
                  </a:lnTo>
                  <a:lnTo>
                    <a:pt x="32" y="64"/>
                  </a:lnTo>
                  <a:lnTo>
                    <a:pt x="32" y="66"/>
                  </a:lnTo>
                  <a:lnTo>
                    <a:pt x="36" y="66"/>
                  </a:lnTo>
                  <a:lnTo>
                    <a:pt x="40" y="64"/>
                  </a:lnTo>
                  <a:lnTo>
                    <a:pt x="52" y="76"/>
                  </a:lnTo>
                  <a:lnTo>
                    <a:pt x="56" y="76"/>
                  </a:lnTo>
                  <a:lnTo>
                    <a:pt x="58" y="76"/>
                  </a:lnTo>
                  <a:lnTo>
                    <a:pt x="60" y="80"/>
                  </a:lnTo>
                  <a:lnTo>
                    <a:pt x="64" y="84"/>
                  </a:lnTo>
                  <a:lnTo>
                    <a:pt x="68" y="84"/>
                  </a:lnTo>
                  <a:lnTo>
                    <a:pt x="68" y="8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8" name="Freeform 542">
              <a:extLst>
                <a:ext uri="{FF2B5EF4-FFF2-40B4-BE49-F238E27FC236}">
                  <a16:creationId xmlns:a16="http://schemas.microsoft.com/office/drawing/2014/main" id="{BE6BFDBB-44ED-428F-ADFB-F2CAA3A57783}"/>
                </a:ext>
              </a:extLst>
            </p:cNvPr>
            <p:cNvSpPr>
              <a:spLocks/>
            </p:cNvSpPr>
            <p:nvPr/>
          </p:nvSpPr>
          <p:spPr bwMode="auto">
            <a:xfrm>
              <a:off x="3417397" y="3791530"/>
              <a:ext cx="103584" cy="72509"/>
            </a:xfrm>
            <a:custGeom>
              <a:avLst/>
              <a:gdLst/>
              <a:ahLst/>
              <a:cxnLst>
                <a:cxn ang="0">
                  <a:pos x="80" y="4"/>
                </a:cxn>
                <a:cxn ang="0">
                  <a:pos x="70" y="0"/>
                </a:cxn>
                <a:cxn ang="0">
                  <a:pos x="62" y="4"/>
                </a:cxn>
                <a:cxn ang="0">
                  <a:pos x="56" y="0"/>
                </a:cxn>
                <a:cxn ang="0">
                  <a:pos x="48" y="4"/>
                </a:cxn>
                <a:cxn ang="0">
                  <a:pos x="40" y="8"/>
                </a:cxn>
                <a:cxn ang="0">
                  <a:pos x="28" y="8"/>
                </a:cxn>
                <a:cxn ang="0">
                  <a:pos x="24" y="8"/>
                </a:cxn>
                <a:cxn ang="0">
                  <a:pos x="16" y="8"/>
                </a:cxn>
                <a:cxn ang="0">
                  <a:pos x="14" y="6"/>
                </a:cxn>
                <a:cxn ang="0">
                  <a:pos x="16" y="2"/>
                </a:cxn>
                <a:cxn ang="0">
                  <a:pos x="10" y="0"/>
                </a:cxn>
                <a:cxn ang="0">
                  <a:pos x="6" y="8"/>
                </a:cxn>
                <a:cxn ang="0">
                  <a:pos x="2" y="12"/>
                </a:cxn>
                <a:cxn ang="0">
                  <a:pos x="2" y="20"/>
                </a:cxn>
                <a:cxn ang="0">
                  <a:pos x="10" y="22"/>
                </a:cxn>
                <a:cxn ang="0">
                  <a:pos x="6" y="30"/>
                </a:cxn>
                <a:cxn ang="0">
                  <a:pos x="8" y="38"/>
                </a:cxn>
                <a:cxn ang="0">
                  <a:pos x="8" y="42"/>
                </a:cxn>
                <a:cxn ang="0">
                  <a:pos x="12" y="48"/>
                </a:cxn>
                <a:cxn ang="0">
                  <a:pos x="10" y="54"/>
                </a:cxn>
                <a:cxn ang="0">
                  <a:pos x="20" y="56"/>
                </a:cxn>
                <a:cxn ang="0">
                  <a:pos x="26" y="52"/>
                </a:cxn>
                <a:cxn ang="0">
                  <a:pos x="30" y="48"/>
                </a:cxn>
                <a:cxn ang="0">
                  <a:pos x="38" y="50"/>
                </a:cxn>
                <a:cxn ang="0">
                  <a:pos x="40" y="54"/>
                </a:cxn>
                <a:cxn ang="0">
                  <a:pos x="50" y="54"/>
                </a:cxn>
                <a:cxn ang="0">
                  <a:pos x="50" y="52"/>
                </a:cxn>
                <a:cxn ang="0">
                  <a:pos x="52" y="48"/>
                </a:cxn>
                <a:cxn ang="0">
                  <a:pos x="56" y="46"/>
                </a:cxn>
                <a:cxn ang="0">
                  <a:pos x="64" y="46"/>
                </a:cxn>
                <a:cxn ang="0">
                  <a:pos x="72" y="46"/>
                </a:cxn>
                <a:cxn ang="0">
                  <a:pos x="66" y="38"/>
                </a:cxn>
                <a:cxn ang="0">
                  <a:pos x="70" y="26"/>
                </a:cxn>
                <a:cxn ang="0">
                  <a:pos x="80" y="16"/>
                </a:cxn>
                <a:cxn ang="0">
                  <a:pos x="80" y="4"/>
                </a:cxn>
              </a:cxnLst>
              <a:rect l="0" t="0" r="r" b="b"/>
              <a:pathLst>
                <a:path w="80" h="56">
                  <a:moveTo>
                    <a:pt x="80" y="4"/>
                  </a:moveTo>
                  <a:lnTo>
                    <a:pt x="80" y="4"/>
                  </a:lnTo>
                  <a:lnTo>
                    <a:pt x="74" y="0"/>
                  </a:lnTo>
                  <a:lnTo>
                    <a:pt x="70" y="0"/>
                  </a:lnTo>
                  <a:lnTo>
                    <a:pt x="66" y="2"/>
                  </a:lnTo>
                  <a:lnTo>
                    <a:pt x="62" y="4"/>
                  </a:lnTo>
                  <a:lnTo>
                    <a:pt x="60" y="2"/>
                  </a:lnTo>
                  <a:lnTo>
                    <a:pt x="56" y="0"/>
                  </a:lnTo>
                  <a:lnTo>
                    <a:pt x="52" y="0"/>
                  </a:lnTo>
                  <a:lnTo>
                    <a:pt x="48" y="4"/>
                  </a:lnTo>
                  <a:lnTo>
                    <a:pt x="44" y="6"/>
                  </a:lnTo>
                  <a:lnTo>
                    <a:pt x="40" y="8"/>
                  </a:lnTo>
                  <a:lnTo>
                    <a:pt x="34" y="8"/>
                  </a:lnTo>
                  <a:lnTo>
                    <a:pt x="28" y="8"/>
                  </a:lnTo>
                  <a:lnTo>
                    <a:pt x="26" y="6"/>
                  </a:lnTo>
                  <a:lnTo>
                    <a:pt x="24" y="8"/>
                  </a:lnTo>
                  <a:lnTo>
                    <a:pt x="20" y="8"/>
                  </a:lnTo>
                  <a:lnTo>
                    <a:pt x="16" y="8"/>
                  </a:lnTo>
                  <a:lnTo>
                    <a:pt x="14" y="8"/>
                  </a:lnTo>
                  <a:lnTo>
                    <a:pt x="14" y="6"/>
                  </a:lnTo>
                  <a:lnTo>
                    <a:pt x="16" y="4"/>
                  </a:lnTo>
                  <a:lnTo>
                    <a:pt x="16" y="2"/>
                  </a:lnTo>
                  <a:lnTo>
                    <a:pt x="14" y="2"/>
                  </a:lnTo>
                  <a:lnTo>
                    <a:pt x="10" y="0"/>
                  </a:lnTo>
                  <a:lnTo>
                    <a:pt x="10" y="4"/>
                  </a:lnTo>
                  <a:lnTo>
                    <a:pt x="6" y="8"/>
                  </a:lnTo>
                  <a:lnTo>
                    <a:pt x="2" y="10"/>
                  </a:lnTo>
                  <a:lnTo>
                    <a:pt x="2" y="12"/>
                  </a:lnTo>
                  <a:lnTo>
                    <a:pt x="0" y="16"/>
                  </a:lnTo>
                  <a:lnTo>
                    <a:pt x="2" y="20"/>
                  </a:lnTo>
                  <a:lnTo>
                    <a:pt x="4" y="20"/>
                  </a:lnTo>
                  <a:lnTo>
                    <a:pt x="10" y="22"/>
                  </a:lnTo>
                  <a:lnTo>
                    <a:pt x="10" y="24"/>
                  </a:lnTo>
                  <a:lnTo>
                    <a:pt x="6" y="30"/>
                  </a:lnTo>
                  <a:lnTo>
                    <a:pt x="4" y="34"/>
                  </a:lnTo>
                  <a:lnTo>
                    <a:pt x="8" y="38"/>
                  </a:lnTo>
                  <a:lnTo>
                    <a:pt x="8" y="40"/>
                  </a:lnTo>
                  <a:lnTo>
                    <a:pt x="8" y="42"/>
                  </a:lnTo>
                  <a:lnTo>
                    <a:pt x="8" y="44"/>
                  </a:lnTo>
                  <a:lnTo>
                    <a:pt x="12" y="48"/>
                  </a:lnTo>
                  <a:lnTo>
                    <a:pt x="10" y="48"/>
                  </a:lnTo>
                  <a:lnTo>
                    <a:pt x="10" y="54"/>
                  </a:lnTo>
                  <a:lnTo>
                    <a:pt x="14" y="54"/>
                  </a:lnTo>
                  <a:lnTo>
                    <a:pt x="20" y="56"/>
                  </a:lnTo>
                  <a:lnTo>
                    <a:pt x="24" y="56"/>
                  </a:lnTo>
                  <a:lnTo>
                    <a:pt x="26" y="52"/>
                  </a:lnTo>
                  <a:lnTo>
                    <a:pt x="28" y="50"/>
                  </a:lnTo>
                  <a:lnTo>
                    <a:pt x="30" y="48"/>
                  </a:lnTo>
                  <a:lnTo>
                    <a:pt x="36" y="50"/>
                  </a:lnTo>
                  <a:lnTo>
                    <a:pt x="38" y="50"/>
                  </a:lnTo>
                  <a:lnTo>
                    <a:pt x="40" y="52"/>
                  </a:lnTo>
                  <a:lnTo>
                    <a:pt x="40" y="54"/>
                  </a:lnTo>
                  <a:lnTo>
                    <a:pt x="46" y="54"/>
                  </a:lnTo>
                  <a:lnTo>
                    <a:pt x="50" y="54"/>
                  </a:lnTo>
                  <a:lnTo>
                    <a:pt x="52" y="54"/>
                  </a:lnTo>
                  <a:lnTo>
                    <a:pt x="50" y="52"/>
                  </a:lnTo>
                  <a:lnTo>
                    <a:pt x="50" y="50"/>
                  </a:lnTo>
                  <a:lnTo>
                    <a:pt x="52" y="48"/>
                  </a:lnTo>
                  <a:lnTo>
                    <a:pt x="56" y="48"/>
                  </a:lnTo>
                  <a:lnTo>
                    <a:pt x="56" y="46"/>
                  </a:lnTo>
                  <a:lnTo>
                    <a:pt x="60" y="44"/>
                  </a:lnTo>
                  <a:lnTo>
                    <a:pt x="64" y="46"/>
                  </a:lnTo>
                  <a:lnTo>
                    <a:pt x="68" y="46"/>
                  </a:lnTo>
                  <a:lnTo>
                    <a:pt x="72" y="46"/>
                  </a:lnTo>
                  <a:lnTo>
                    <a:pt x="70" y="40"/>
                  </a:lnTo>
                  <a:lnTo>
                    <a:pt x="66" y="38"/>
                  </a:lnTo>
                  <a:lnTo>
                    <a:pt x="70" y="32"/>
                  </a:lnTo>
                  <a:lnTo>
                    <a:pt x="70" y="26"/>
                  </a:lnTo>
                  <a:lnTo>
                    <a:pt x="80" y="20"/>
                  </a:lnTo>
                  <a:lnTo>
                    <a:pt x="80" y="16"/>
                  </a:lnTo>
                  <a:lnTo>
                    <a:pt x="80" y="12"/>
                  </a:lnTo>
                  <a:lnTo>
                    <a:pt x="80" y="4"/>
                  </a:lnTo>
                  <a:lnTo>
                    <a:pt x="80" y="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79" name="Freeform 543">
              <a:extLst>
                <a:ext uri="{FF2B5EF4-FFF2-40B4-BE49-F238E27FC236}">
                  <a16:creationId xmlns:a16="http://schemas.microsoft.com/office/drawing/2014/main" id="{DCB99986-B631-4A9E-B1CF-F4C175B80A26}"/>
                </a:ext>
              </a:extLst>
            </p:cNvPr>
            <p:cNvSpPr>
              <a:spLocks/>
            </p:cNvSpPr>
            <p:nvPr/>
          </p:nvSpPr>
          <p:spPr bwMode="auto">
            <a:xfrm>
              <a:off x="3300865" y="3770813"/>
              <a:ext cx="64740" cy="67330"/>
            </a:xfrm>
            <a:custGeom>
              <a:avLst/>
              <a:gdLst/>
              <a:ahLst/>
              <a:cxnLst>
                <a:cxn ang="0">
                  <a:pos x="46" y="10"/>
                </a:cxn>
                <a:cxn ang="0">
                  <a:pos x="46" y="10"/>
                </a:cxn>
                <a:cxn ang="0">
                  <a:pos x="42" y="10"/>
                </a:cxn>
                <a:cxn ang="0">
                  <a:pos x="38" y="10"/>
                </a:cxn>
                <a:cxn ang="0">
                  <a:pos x="36" y="8"/>
                </a:cxn>
                <a:cxn ang="0">
                  <a:pos x="34" y="6"/>
                </a:cxn>
                <a:cxn ang="0">
                  <a:pos x="28" y="4"/>
                </a:cxn>
                <a:cxn ang="0">
                  <a:pos x="24" y="4"/>
                </a:cxn>
                <a:cxn ang="0">
                  <a:pos x="20" y="4"/>
                </a:cxn>
                <a:cxn ang="0">
                  <a:pos x="18" y="6"/>
                </a:cxn>
                <a:cxn ang="0">
                  <a:pos x="16" y="6"/>
                </a:cxn>
                <a:cxn ang="0">
                  <a:pos x="12" y="4"/>
                </a:cxn>
                <a:cxn ang="0">
                  <a:pos x="10" y="2"/>
                </a:cxn>
                <a:cxn ang="0">
                  <a:pos x="10" y="4"/>
                </a:cxn>
                <a:cxn ang="0">
                  <a:pos x="8" y="4"/>
                </a:cxn>
                <a:cxn ang="0">
                  <a:pos x="6" y="4"/>
                </a:cxn>
                <a:cxn ang="0">
                  <a:pos x="4" y="0"/>
                </a:cxn>
                <a:cxn ang="0">
                  <a:pos x="2" y="0"/>
                </a:cxn>
                <a:cxn ang="0">
                  <a:pos x="0" y="0"/>
                </a:cxn>
                <a:cxn ang="0">
                  <a:pos x="0" y="2"/>
                </a:cxn>
                <a:cxn ang="0">
                  <a:pos x="0" y="6"/>
                </a:cxn>
                <a:cxn ang="0">
                  <a:pos x="4" y="10"/>
                </a:cxn>
                <a:cxn ang="0">
                  <a:pos x="8" y="18"/>
                </a:cxn>
                <a:cxn ang="0">
                  <a:pos x="8" y="20"/>
                </a:cxn>
                <a:cxn ang="0">
                  <a:pos x="6" y="20"/>
                </a:cxn>
                <a:cxn ang="0">
                  <a:pos x="8" y="22"/>
                </a:cxn>
                <a:cxn ang="0">
                  <a:pos x="14" y="30"/>
                </a:cxn>
                <a:cxn ang="0">
                  <a:pos x="20" y="36"/>
                </a:cxn>
                <a:cxn ang="0">
                  <a:pos x="24" y="42"/>
                </a:cxn>
                <a:cxn ang="0">
                  <a:pos x="28" y="42"/>
                </a:cxn>
                <a:cxn ang="0">
                  <a:pos x="30" y="44"/>
                </a:cxn>
                <a:cxn ang="0">
                  <a:pos x="34" y="48"/>
                </a:cxn>
                <a:cxn ang="0">
                  <a:pos x="38" y="52"/>
                </a:cxn>
                <a:cxn ang="0">
                  <a:pos x="36" y="48"/>
                </a:cxn>
                <a:cxn ang="0">
                  <a:pos x="36" y="44"/>
                </a:cxn>
                <a:cxn ang="0">
                  <a:pos x="36" y="42"/>
                </a:cxn>
                <a:cxn ang="0">
                  <a:pos x="38" y="38"/>
                </a:cxn>
                <a:cxn ang="0">
                  <a:pos x="44" y="36"/>
                </a:cxn>
                <a:cxn ang="0">
                  <a:pos x="44" y="32"/>
                </a:cxn>
                <a:cxn ang="0">
                  <a:pos x="48" y="30"/>
                </a:cxn>
                <a:cxn ang="0">
                  <a:pos x="50" y="28"/>
                </a:cxn>
                <a:cxn ang="0">
                  <a:pos x="50" y="26"/>
                </a:cxn>
                <a:cxn ang="0">
                  <a:pos x="48" y="26"/>
                </a:cxn>
                <a:cxn ang="0">
                  <a:pos x="46" y="24"/>
                </a:cxn>
                <a:cxn ang="0">
                  <a:pos x="44" y="22"/>
                </a:cxn>
                <a:cxn ang="0">
                  <a:pos x="48" y="22"/>
                </a:cxn>
                <a:cxn ang="0">
                  <a:pos x="50" y="20"/>
                </a:cxn>
                <a:cxn ang="0">
                  <a:pos x="50" y="18"/>
                </a:cxn>
                <a:cxn ang="0">
                  <a:pos x="48" y="18"/>
                </a:cxn>
                <a:cxn ang="0">
                  <a:pos x="46" y="14"/>
                </a:cxn>
                <a:cxn ang="0">
                  <a:pos x="46" y="10"/>
                </a:cxn>
                <a:cxn ang="0">
                  <a:pos x="46" y="10"/>
                </a:cxn>
              </a:cxnLst>
              <a:rect l="0" t="0" r="r" b="b"/>
              <a:pathLst>
                <a:path w="50" h="52">
                  <a:moveTo>
                    <a:pt x="46" y="10"/>
                  </a:moveTo>
                  <a:lnTo>
                    <a:pt x="46" y="10"/>
                  </a:lnTo>
                  <a:lnTo>
                    <a:pt x="42" y="10"/>
                  </a:lnTo>
                  <a:lnTo>
                    <a:pt x="38" y="10"/>
                  </a:lnTo>
                  <a:lnTo>
                    <a:pt x="36" y="8"/>
                  </a:lnTo>
                  <a:lnTo>
                    <a:pt x="34" y="6"/>
                  </a:lnTo>
                  <a:lnTo>
                    <a:pt x="28" y="4"/>
                  </a:lnTo>
                  <a:lnTo>
                    <a:pt x="24" y="4"/>
                  </a:lnTo>
                  <a:lnTo>
                    <a:pt x="20" y="4"/>
                  </a:lnTo>
                  <a:lnTo>
                    <a:pt x="18" y="6"/>
                  </a:lnTo>
                  <a:lnTo>
                    <a:pt x="16" y="6"/>
                  </a:lnTo>
                  <a:lnTo>
                    <a:pt x="12" y="4"/>
                  </a:lnTo>
                  <a:lnTo>
                    <a:pt x="10" y="2"/>
                  </a:lnTo>
                  <a:lnTo>
                    <a:pt x="10" y="4"/>
                  </a:lnTo>
                  <a:lnTo>
                    <a:pt x="8" y="4"/>
                  </a:lnTo>
                  <a:lnTo>
                    <a:pt x="6" y="4"/>
                  </a:lnTo>
                  <a:lnTo>
                    <a:pt x="4" y="0"/>
                  </a:lnTo>
                  <a:lnTo>
                    <a:pt x="2" y="0"/>
                  </a:lnTo>
                  <a:lnTo>
                    <a:pt x="0" y="0"/>
                  </a:lnTo>
                  <a:lnTo>
                    <a:pt x="0" y="2"/>
                  </a:lnTo>
                  <a:lnTo>
                    <a:pt x="0" y="6"/>
                  </a:lnTo>
                  <a:lnTo>
                    <a:pt x="4" y="10"/>
                  </a:lnTo>
                  <a:lnTo>
                    <a:pt x="8" y="18"/>
                  </a:lnTo>
                  <a:lnTo>
                    <a:pt x="8" y="20"/>
                  </a:lnTo>
                  <a:lnTo>
                    <a:pt x="6" y="20"/>
                  </a:lnTo>
                  <a:lnTo>
                    <a:pt x="8" y="22"/>
                  </a:lnTo>
                  <a:lnTo>
                    <a:pt x="14" y="30"/>
                  </a:lnTo>
                  <a:lnTo>
                    <a:pt x="20" y="36"/>
                  </a:lnTo>
                  <a:lnTo>
                    <a:pt x="24" y="42"/>
                  </a:lnTo>
                  <a:lnTo>
                    <a:pt x="28" y="42"/>
                  </a:lnTo>
                  <a:lnTo>
                    <a:pt x="30" y="44"/>
                  </a:lnTo>
                  <a:lnTo>
                    <a:pt x="34" y="48"/>
                  </a:lnTo>
                  <a:lnTo>
                    <a:pt x="38" y="52"/>
                  </a:lnTo>
                  <a:lnTo>
                    <a:pt x="36" y="48"/>
                  </a:lnTo>
                  <a:lnTo>
                    <a:pt x="36" y="44"/>
                  </a:lnTo>
                  <a:lnTo>
                    <a:pt x="36" y="42"/>
                  </a:lnTo>
                  <a:lnTo>
                    <a:pt x="38" y="38"/>
                  </a:lnTo>
                  <a:lnTo>
                    <a:pt x="44" y="36"/>
                  </a:lnTo>
                  <a:lnTo>
                    <a:pt x="44" y="32"/>
                  </a:lnTo>
                  <a:lnTo>
                    <a:pt x="48" y="30"/>
                  </a:lnTo>
                  <a:lnTo>
                    <a:pt x="50" y="28"/>
                  </a:lnTo>
                  <a:lnTo>
                    <a:pt x="50" y="26"/>
                  </a:lnTo>
                  <a:lnTo>
                    <a:pt x="48" y="26"/>
                  </a:lnTo>
                  <a:lnTo>
                    <a:pt x="46" y="24"/>
                  </a:lnTo>
                  <a:lnTo>
                    <a:pt x="44" y="22"/>
                  </a:lnTo>
                  <a:lnTo>
                    <a:pt x="48" y="22"/>
                  </a:lnTo>
                  <a:lnTo>
                    <a:pt x="50" y="20"/>
                  </a:lnTo>
                  <a:lnTo>
                    <a:pt x="50" y="18"/>
                  </a:lnTo>
                  <a:lnTo>
                    <a:pt x="48" y="18"/>
                  </a:lnTo>
                  <a:lnTo>
                    <a:pt x="46" y="14"/>
                  </a:lnTo>
                  <a:lnTo>
                    <a:pt x="46" y="10"/>
                  </a:lnTo>
                  <a:lnTo>
                    <a:pt x="46"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0" name="Freeform 544">
              <a:extLst>
                <a:ext uri="{FF2B5EF4-FFF2-40B4-BE49-F238E27FC236}">
                  <a16:creationId xmlns:a16="http://schemas.microsoft.com/office/drawing/2014/main" id="{3A5235C5-E0AB-4941-8724-34B51F6DD6D8}"/>
                </a:ext>
              </a:extLst>
            </p:cNvPr>
            <p:cNvSpPr>
              <a:spLocks/>
            </p:cNvSpPr>
            <p:nvPr/>
          </p:nvSpPr>
          <p:spPr bwMode="auto">
            <a:xfrm>
              <a:off x="3448472" y="3488546"/>
              <a:ext cx="126891" cy="116532"/>
            </a:xfrm>
            <a:custGeom>
              <a:avLst/>
              <a:gdLst/>
              <a:ahLst/>
              <a:cxnLst>
                <a:cxn ang="0">
                  <a:pos x="28" y="18"/>
                </a:cxn>
                <a:cxn ang="0">
                  <a:pos x="34" y="12"/>
                </a:cxn>
                <a:cxn ang="0">
                  <a:pos x="42" y="14"/>
                </a:cxn>
                <a:cxn ang="0">
                  <a:pos x="44" y="2"/>
                </a:cxn>
                <a:cxn ang="0">
                  <a:pos x="50" y="2"/>
                </a:cxn>
                <a:cxn ang="0">
                  <a:pos x="56" y="0"/>
                </a:cxn>
                <a:cxn ang="0">
                  <a:pos x="56" y="4"/>
                </a:cxn>
                <a:cxn ang="0">
                  <a:pos x="62" y="2"/>
                </a:cxn>
                <a:cxn ang="0">
                  <a:pos x="70" y="4"/>
                </a:cxn>
                <a:cxn ang="0">
                  <a:pos x="76" y="6"/>
                </a:cxn>
                <a:cxn ang="0">
                  <a:pos x="78" y="10"/>
                </a:cxn>
                <a:cxn ang="0">
                  <a:pos x="82" y="12"/>
                </a:cxn>
                <a:cxn ang="0">
                  <a:pos x="84" y="20"/>
                </a:cxn>
                <a:cxn ang="0">
                  <a:pos x="86" y="32"/>
                </a:cxn>
                <a:cxn ang="0">
                  <a:pos x="88" y="36"/>
                </a:cxn>
                <a:cxn ang="0">
                  <a:pos x="96" y="44"/>
                </a:cxn>
                <a:cxn ang="0">
                  <a:pos x="98" y="52"/>
                </a:cxn>
                <a:cxn ang="0">
                  <a:pos x="94" y="54"/>
                </a:cxn>
                <a:cxn ang="0">
                  <a:pos x="88" y="52"/>
                </a:cxn>
                <a:cxn ang="0">
                  <a:pos x="86" y="58"/>
                </a:cxn>
                <a:cxn ang="0">
                  <a:pos x="90" y="60"/>
                </a:cxn>
                <a:cxn ang="0">
                  <a:pos x="92" y="78"/>
                </a:cxn>
                <a:cxn ang="0">
                  <a:pos x="84" y="80"/>
                </a:cxn>
                <a:cxn ang="0">
                  <a:pos x="82" y="88"/>
                </a:cxn>
                <a:cxn ang="0">
                  <a:pos x="74" y="88"/>
                </a:cxn>
                <a:cxn ang="0">
                  <a:pos x="64" y="86"/>
                </a:cxn>
                <a:cxn ang="0">
                  <a:pos x="60" y="88"/>
                </a:cxn>
                <a:cxn ang="0">
                  <a:pos x="56" y="86"/>
                </a:cxn>
                <a:cxn ang="0">
                  <a:pos x="52" y="86"/>
                </a:cxn>
                <a:cxn ang="0">
                  <a:pos x="44" y="88"/>
                </a:cxn>
                <a:cxn ang="0">
                  <a:pos x="24" y="84"/>
                </a:cxn>
                <a:cxn ang="0">
                  <a:pos x="12" y="88"/>
                </a:cxn>
                <a:cxn ang="0">
                  <a:pos x="8" y="88"/>
                </a:cxn>
                <a:cxn ang="0">
                  <a:pos x="4" y="84"/>
                </a:cxn>
                <a:cxn ang="0">
                  <a:pos x="0" y="76"/>
                </a:cxn>
                <a:cxn ang="0">
                  <a:pos x="4" y="66"/>
                </a:cxn>
                <a:cxn ang="0">
                  <a:pos x="2" y="60"/>
                </a:cxn>
                <a:cxn ang="0">
                  <a:pos x="0" y="52"/>
                </a:cxn>
                <a:cxn ang="0">
                  <a:pos x="14" y="50"/>
                </a:cxn>
                <a:cxn ang="0">
                  <a:pos x="16" y="46"/>
                </a:cxn>
                <a:cxn ang="0">
                  <a:pos x="22" y="36"/>
                </a:cxn>
                <a:cxn ang="0">
                  <a:pos x="26" y="26"/>
                </a:cxn>
                <a:cxn ang="0">
                  <a:pos x="30" y="22"/>
                </a:cxn>
                <a:cxn ang="0">
                  <a:pos x="28" y="18"/>
                </a:cxn>
              </a:cxnLst>
              <a:rect l="0" t="0" r="r" b="b"/>
              <a:pathLst>
                <a:path w="98" h="90">
                  <a:moveTo>
                    <a:pt x="28" y="18"/>
                  </a:moveTo>
                  <a:lnTo>
                    <a:pt x="28" y="18"/>
                  </a:lnTo>
                  <a:lnTo>
                    <a:pt x="32" y="14"/>
                  </a:lnTo>
                  <a:lnTo>
                    <a:pt x="34" y="12"/>
                  </a:lnTo>
                  <a:lnTo>
                    <a:pt x="38" y="12"/>
                  </a:lnTo>
                  <a:lnTo>
                    <a:pt x="42" y="14"/>
                  </a:lnTo>
                  <a:lnTo>
                    <a:pt x="44" y="8"/>
                  </a:lnTo>
                  <a:lnTo>
                    <a:pt x="44" y="2"/>
                  </a:lnTo>
                  <a:lnTo>
                    <a:pt x="46" y="0"/>
                  </a:lnTo>
                  <a:lnTo>
                    <a:pt x="50" y="2"/>
                  </a:lnTo>
                  <a:lnTo>
                    <a:pt x="52" y="2"/>
                  </a:lnTo>
                  <a:lnTo>
                    <a:pt x="56" y="0"/>
                  </a:lnTo>
                  <a:lnTo>
                    <a:pt x="56" y="2"/>
                  </a:lnTo>
                  <a:lnTo>
                    <a:pt x="56" y="4"/>
                  </a:lnTo>
                  <a:lnTo>
                    <a:pt x="58" y="4"/>
                  </a:lnTo>
                  <a:lnTo>
                    <a:pt x="62" y="2"/>
                  </a:lnTo>
                  <a:lnTo>
                    <a:pt x="64" y="2"/>
                  </a:lnTo>
                  <a:lnTo>
                    <a:pt x="70" y="4"/>
                  </a:lnTo>
                  <a:lnTo>
                    <a:pt x="74" y="6"/>
                  </a:lnTo>
                  <a:lnTo>
                    <a:pt x="76" y="6"/>
                  </a:lnTo>
                  <a:lnTo>
                    <a:pt x="78" y="8"/>
                  </a:lnTo>
                  <a:lnTo>
                    <a:pt x="78" y="10"/>
                  </a:lnTo>
                  <a:lnTo>
                    <a:pt x="80" y="12"/>
                  </a:lnTo>
                  <a:lnTo>
                    <a:pt x="82" y="12"/>
                  </a:lnTo>
                  <a:lnTo>
                    <a:pt x="82" y="16"/>
                  </a:lnTo>
                  <a:lnTo>
                    <a:pt x="84" y="20"/>
                  </a:lnTo>
                  <a:lnTo>
                    <a:pt x="86" y="26"/>
                  </a:lnTo>
                  <a:lnTo>
                    <a:pt x="86" y="32"/>
                  </a:lnTo>
                  <a:lnTo>
                    <a:pt x="86" y="36"/>
                  </a:lnTo>
                  <a:lnTo>
                    <a:pt x="88" y="36"/>
                  </a:lnTo>
                  <a:lnTo>
                    <a:pt x="92" y="40"/>
                  </a:lnTo>
                  <a:lnTo>
                    <a:pt x="96" y="44"/>
                  </a:lnTo>
                  <a:lnTo>
                    <a:pt x="98" y="50"/>
                  </a:lnTo>
                  <a:lnTo>
                    <a:pt x="98" y="52"/>
                  </a:lnTo>
                  <a:lnTo>
                    <a:pt x="96" y="54"/>
                  </a:lnTo>
                  <a:lnTo>
                    <a:pt x="94" y="54"/>
                  </a:lnTo>
                  <a:lnTo>
                    <a:pt x="90" y="52"/>
                  </a:lnTo>
                  <a:lnTo>
                    <a:pt x="88" y="52"/>
                  </a:lnTo>
                  <a:lnTo>
                    <a:pt x="86" y="54"/>
                  </a:lnTo>
                  <a:lnTo>
                    <a:pt x="86" y="58"/>
                  </a:lnTo>
                  <a:lnTo>
                    <a:pt x="88" y="58"/>
                  </a:lnTo>
                  <a:lnTo>
                    <a:pt x="90" y="60"/>
                  </a:lnTo>
                  <a:lnTo>
                    <a:pt x="92" y="62"/>
                  </a:lnTo>
                  <a:lnTo>
                    <a:pt x="92" y="78"/>
                  </a:lnTo>
                  <a:lnTo>
                    <a:pt x="86" y="78"/>
                  </a:lnTo>
                  <a:lnTo>
                    <a:pt x="84" y="80"/>
                  </a:lnTo>
                  <a:lnTo>
                    <a:pt x="84" y="84"/>
                  </a:lnTo>
                  <a:lnTo>
                    <a:pt x="82" y="88"/>
                  </a:lnTo>
                  <a:lnTo>
                    <a:pt x="80" y="88"/>
                  </a:lnTo>
                  <a:lnTo>
                    <a:pt x="74" y="88"/>
                  </a:lnTo>
                  <a:lnTo>
                    <a:pt x="68" y="88"/>
                  </a:lnTo>
                  <a:lnTo>
                    <a:pt x="64" y="86"/>
                  </a:lnTo>
                  <a:lnTo>
                    <a:pt x="62" y="88"/>
                  </a:lnTo>
                  <a:lnTo>
                    <a:pt x="60" y="88"/>
                  </a:lnTo>
                  <a:lnTo>
                    <a:pt x="58" y="88"/>
                  </a:lnTo>
                  <a:lnTo>
                    <a:pt x="56" y="86"/>
                  </a:lnTo>
                  <a:lnTo>
                    <a:pt x="56" y="90"/>
                  </a:lnTo>
                  <a:lnTo>
                    <a:pt x="52" y="86"/>
                  </a:lnTo>
                  <a:lnTo>
                    <a:pt x="50" y="86"/>
                  </a:lnTo>
                  <a:lnTo>
                    <a:pt x="44" y="88"/>
                  </a:lnTo>
                  <a:lnTo>
                    <a:pt x="38" y="86"/>
                  </a:lnTo>
                  <a:lnTo>
                    <a:pt x="24" y="84"/>
                  </a:lnTo>
                  <a:lnTo>
                    <a:pt x="14" y="84"/>
                  </a:lnTo>
                  <a:lnTo>
                    <a:pt x="12" y="88"/>
                  </a:lnTo>
                  <a:lnTo>
                    <a:pt x="10" y="90"/>
                  </a:lnTo>
                  <a:lnTo>
                    <a:pt x="8" y="88"/>
                  </a:lnTo>
                  <a:lnTo>
                    <a:pt x="6" y="84"/>
                  </a:lnTo>
                  <a:lnTo>
                    <a:pt x="4" y="84"/>
                  </a:lnTo>
                  <a:lnTo>
                    <a:pt x="2" y="86"/>
                  </a:lnTo>
                  <a:lnTo>
                    <a:pt x="0" y="76"/>
                  </a:lnTo>
                  <a:lnTo>
                    <a:pt x="4" y="70"/>
                  </a:lnTo>
                  <a:lnTo>
                    <a:pt x="4" y="66"/>
                  </a:lnTo>
                  <a:lnTo>
                    <a:pt x="4" y="64"/>
                  </a:lnTo>
                  <a:lnTo>
                    <a:pt x="2" y="60"/>
                  </a:lnTo>
                  <a:lnTo>
                    <a:pt x="0" y="56"/>
                  </a:lnTo>
                  <a:lnTo>
                    <a:pt x="0" y="52"/>
                  </a:lnTo>
                  <a:lnTo>
                    <a:pt x="6" y="50"/>
                  </a:lnTo>
                  <a:lnTo>
                    <a:pt x="14" y="50"/>
                  </a:lnTo>
                  <a:lnTo>
                    <a:pt x="16" y="48"/>
                  </a:lnTo>
                  <a:lnTo>
                    <a:pt x="16" y="46"/>
                  </a:lnTo>
                  <a:lnTo>
                    <a:pt x="22" y="44"/>
                  </a:lnTo>
                  <a:lnTo>
                    <a:pt x="22" y="36"/>
                  </a:lnTo>
                  <a:lnTo>
                    <a:pt x="22" y="32"/>
                  </a:lnTo>
                  <a:lnTo>
                    <a:pt x="26" y="26"/>
                  </a:lnTo>
                  <a:lnTo>
                    <a:pt x="28" y="24"/>
                  </a:lnTo>
                  <a:lnTo>
                    <a:pt x="30" y="22"/>
                  </a:lnTo>
                  <a:lnTo>
                    <a:pt x="28" y="18"/>
                  </a:lnTo>
                  <a:lnTo>
                    <a:pt x="28" y="1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1" name="Freeform 545">
              <a:extLst>
                <a:ext uri="{FF2B5EF4-FFF2-40B4-BE49-F238E27FC236}">
                  <a16:creationId xmlns:a16="http://schemas.microsoft.com/office/drawing/2014/main" id="{BADFBC38-9727-404D-94BB-87C3F6D1C4E5}"/>
                </a:ext>
              </a:extLst>
            </p:cNvPr>
            <p:cNvSpPr>
              <a:spLocks/>
            </p:cNvSpPr>
            <p:nvPr/>
          </p:nvSpPr>
          <p:spPr bwMode="auto">
            <a:xfrm>
              <a:off x="3205049" y="3672408"/>
              <a:ext cx="119122" cy="62151"/>
            </a:xfrm>
            <a:custGeom>
              <a:avLst/>
              <a:gdLst/>
              <a:ahLst/>
              <a:cxnLst>
                <a:cxn ang="0">
                  <a:pos x="0" y="34"/>
                </a:cxn>
                <a:cxn ang="0">
                  <a:pos x="4" y="36"/>
                </a:cxn>
                <a:cxn ang="0">
                  <a:pos x="8" y="44"/>
                </a:cxn>
                <a:cxn ang="0">
                  <a:pos x="12" y="42"/>
                </a:cxn>
                <a:cxn ang="0">
                  <a:pos x="18" y="44"/>
                </a:cxn>
                <a:cxn ang="0">
                  <a:pos x="24" y="44"/>
                </a:cxn>
                <a:cxn ang="0">
                  <a:pos x="28" y="48"/>
                </a:cxn>
                <a:cxn ang="0">
                  <a:pos x="34" y="46"/>
                </a:cxn>
                <a:cxn ang="0">
                  <a:pos x="46" y="46"/>
                </a:cxn>
                <a:cxn ang="0">
                  <a:pos x="48" y="42"/>
                </a:cxn>
                <a:cxn ang="0">
                  <a:pos x="60" y="44"/>
                </a:cxn>
                <a:cxn ang="0">
                  <a:pos x="64" y="38"/>
                </a:cxn>
                <a:cxn ang="0">
                  <a:pos x="72" y="38"/>
                </a:cxn>
                <a:cxn ang="0">
                  <a:pos x="82" y="34"/>
                </a:cxn>
                <a:cxn ang="0">
                  <a:pos x="84" y="30"/>
                </a:cxn>
                <a:cxn ang="0">
                  <a:pos x="88" y="30"/>
                </a:cxn>
                <a:cxn ang="0">
                  <a:pos x="90" y="22"/>
                </a:cxn>
                <a:cxn ang="0">
                  <a:pos x="90" y="16"/>
                </a:cxn>
                <a:cxn ang="0">
                  <a:pos x="90" y="10"/>
                </a:cxn>
                <a:cxn ang="0">
                  <a:pos x="86" y="8"/>
                </a:cxn>
                <a:cxn ang="0">
                  <a:pos x="80" y="6"/>
                </a:cxn>
                <a:cxn ang="0">
                  <a:pos x="70" y="2"/>
                </a:cxn>
                <a:cxn ang="0">
                  <a:pos x="64" y="0"/>
                </a:cxn>
                <a:cxn ang="0">
                  <a:pos x="62" y="2"/>
                </a:cxn>
                <a:cxn ang="0">
                  <a:pos x="56" y="10"/>
                </a:cxn>
                <a:cxn ang="0">
                  <a:pos x="48" y="4"/>
                </a:cxn>
                <a:cxn ang="0">
                  <a:pos x="44" y="8"/>
                </a:cxn>
                <a:cxn ang="0">
                  <a:pos x="42" y="12"/>
                </a:cxn>
                <a:cxn ang="0">
                  <a:pos x="34" y="16"/>
                </a:cxn>
                <a:cxn ang="0">
                  <a:pos x="36" y="18"/>
                </a:cxn>
                <a:cxn ang="0">
                  <a:pos x="38" y="22"/>
                </a:cxn>
                <a:cxn ang="0">
                  <a:pos x="34" y="28"/>
                </a:cxn>
                <a:cxn ang="0">
                  <a:pos x="30" y="24"/>
                </a:cxn>
                <a:cxn ang="0">
                  <a:pos x="24" y="24"/>
                </a:cxn>
                <a:cxn ang="0">
                  <a:pos x="20" y="22"/>
                </a:cxn>
                <a:cxn ang="0">
                  <a:pos x="14" y="28"/>
                </a:cxn>
                <a:cxn ang="0">
                  <a:pos x="8" y="28"/>
                </a:cxn>
                <a:cxn ang="0">
                  <a:pos x="0" y="34"/>
                </a:cxn>
              </a:cxnLst>
              <a:rect l="0" t="0" r="r" b="b"/>
              <a:pathLst>
                <a:path w="92" h="48">
                  <a:moveTo>
                    <a:pt x="0" y="34"/>
                  </a:moveTo>
                  <a:lnTo>
                    <a:pt x="0" y="34"/>
                  </a:lnTo>
                  <a:lnTo>
                    <a:pt x="4" y="34"/>
                  </a:lnTo>
                  <a:lnTo>
                    <a:pt x="4" y="36"/>
                  </a:lnTo>
                  <a:lnTo>
                    <a:pt x="4" y="42"/>
                  </a:lnTo>
                  <a:lnTo>
                    <a:pt x="8" y="44"/>
                  </a:lnTo>
                  <a:lnTo>
                    <a:pt x="12" y="44"/>
                  </a:lnTo>
                  <a:lnTo>
                    <a:pt x="12" y="42"/>
                  </a:lnTo>
                  <a:lnTo>
                    <a:pt x="16" y="42"/>
                  </a:lnTo>
                  <a:lnTo>
                    <a:pt x="18" y="44"/>
                  </a:lnTo>
                  <a:lnTo>
                    <a:pt x="22" y="44"/>
                  </a:lnTo>
                  <a:lnTo>
                    <a:pt x="24" y="44"/>
                  </a:lnTo>
                  <a:lnTo>
                    <a:pt x="26" y="46"/>
                  </a:lnTo>
                  <a:lnTo>
                    <a:pt x="28" y="48"/>
                  </a:lnTo>
                  <a:lnTo>
                    <a:pt x="30" y="48"/>
                  </a:lnTo>
                  <a:lnTo>
                    <a:pt x="34" y="46"/>
                  </a:lnTo>
                  <a:lnTo>
                    <a:pt x="42" y="46"/>
                  </a:lnTo>
                  <a:lnTo>
                    <a:pt x="46" y="46"/>
                  </a:lnTo>
                  <a:lnTo>
                    <a:pt x="48" y="44"/>
                  </a:lnTo>
                  <a:lnTo>
                    <a:pt x="48" y="42"/>
                  </a:lnTo>
                  <a:lnTo>
                    <a:pt x="54" y="42"/>
                  </a:lnTo>
                  <a:lnTo>
                    <a:pt x="60" y="44"/>
                  </a:lnTo>
                  <a:lnTo>
                    <a:pt x="62" y="40"/>
                  </a:lnTo>
                  <a:lnTo>
                    <a:pt x="64" y="38"/>
                  </a:lnTo>
                  <a:lnTo>
                    <a:pt x="68" y="36"/>
                  </a:lnTo>
                  <a:lnTo>
                    <a:pt x="72" y="38"/>
                  </a:lnTo>
                  <a:lnTo>
                    <a:pt x="76" y="38"/>
                  </a:lnTo>
                  <a:lnTo>
                    <a:pt x="82" y="34"/>
                  </a:lnTo>
                  <a:lnTo>
                    <a:pt x="82" y="32"/>
                  </a:lnTo>
                  <a:lnTo>
                    <a:pt x="84" y="30"/>
                  </a:lnTo>
                  <a:lnTo>
                    <a:pt x="86" y="30"/>
                  </a:lnTo>
                  <a:lnTo>
                    <a:pt x="88" y="30"/>
                  </a:lnTo>
                  <a:lnTo>
                    <a:pt x="88" y="26"/>
                  </a:lnTo>
                  <a:lnTo>
                    <a:pt x="90" y="22"/>
                  </a:lnTo>
                  <a:lnTo>
                    <a:pt x="88" y="18"/>
                  </a:lnTo>
                  <a:lnTo>
                    <a:pt x="90" y="16"/>
                  </a:lnTo>
                  <a:lnTo>
                    <a:pt x="92" y="16"/>
                  </a:lnTo>
                  <a:lnTo>
                    <a:pt x="90" y="10"/>
                  </a:lnTo>
                  <a:lnTo>
                    <a:pt x="86" y="10"/>
                  </a:lnTo>
                  <a:lnTo>
                    <a:pt x="86" y="8"/>
                  </a:lnTo>
                  <a:lnTo>
                    <a:pt x="90" y="4"/>
                  </a:lnTo>
                  <a:lnTo>
                    <a:pt x="80" y="6"/>
                  </a:lnTo>
                  <a:lnTo>
                    <a:pt x="74" y="4"/>
                  </a:lnTo>
                  <a:lnTo>
                    <a:pt x="70" y="2"/>
                  </a:lnTo>
                  <a:lnTo>
                    <a:pt x="68" y="0"/>
                  </a:lnTo>
                  <a:lnTo>
                    <a:pt x="64" y="0"/>
                  </a:lnTo>
                  <a:lnTo>
                    <a:pt x="64" y="0"/>
                  </a:lnTo>
                  <a:lnTo>
                    <a:pt x="62" y="2"/>
                  </a:lnTo>
                  <a:lnTo>
                    <a:pt x="58" y="8"/>
                  </a:lnTo>
                  <a:lnTo>
                    <a:pt x="56" y="10"/>
                  </a:lnTo>
                  <a:lnTo>
                    <a:pt x="52" y="8"/>
                  </a:lnTo>
                  <a:lnTo>
                    <a:pt x="48" y="4"/>
                  </a:lnTo>
                  <a:lnTo>
                    <a:pt x="46" y="6"/>
                  </a:lnTo>
                  <a:lnTo>
                    <a:pt x="44" y="8"/>
                  </a:lnTo>
                  <a:lnTo>
                    <a:pt x="42" y="10"/>
                  </a:lnTo>
                  <a:lnTo>
                    <a:pt x="42" y="12"/>
                  </a:lnTo>
                  <a:lnTo>
                    <a:pt x="38" y="14"/>
                  </a:lnTo>
                  <a:lnTo>
                    <a:pt x="34" y="16"/>
                  </a:lnTo>
                  <a:lnTo>
                    <a:pt x="34" y="18"/>
                  </a:lnTo>
                  <a:lnTo>
                    <a:pt x="36" y="18"/>
                  </a:lnTo>
                  <a:lnTo>
                    <a:pt x="36" y="20"/>
                  </a:lnTo>
                  <a:lnTo>
                    <a:pt x="38" y="22"/>
                  </a:lnTo>
                  <a:lnTo>
                    <a:pt x="38" y="28"/>
                  </a:lnTo>
                  <a:lnTo>
                    <a:pt x="34" y="28"/>
                  </a:lnTo>
                  <a:lnTo>
                    <a:pt x="32" y="24"/>
                  </a:lnTo>
                  <a:lnTo>
                    <a:pt x="30" y="24"/>
                  </a:lnTo>
                  <a:lnTo>
                    <a:pt x="28" y="24"/>
                  </a:lnTo>
                  <a:lnTo>
                    <a:pt x="24" y="24"/>
                  </a:lnTo>
                  <a:lnTo>
                    <a:pt x="22" y="22"/>
                  </a:lnTo>
                  <a:lnTo>
                    <a:pt x="20" y="22"/>
                  </a:lnTo>
                  <a:lnTo>
                    <a:pt x="18" y="26"/>
                  </a:lnTo>
                  <a:lnTo>
                    <a:pt x="14" y="28"/>
                  </a:lnTo>
                  <a:lnTo>
                    <a:pt x="10" y="28"/>
                  </a:lnTo>
                  <a:lnTo>
                    <a:pt x="8" y="28"/>
                  </a:lnTo>
                  <a:lnTo>
                    <a:pt x="4" y="32"/>
                  </a:lnTo>
                  <a:lnTo>
                    <a:pt x="0" y="34"/>
                  </a:lnTo>
                  <a:lnTo>
                    <a:pt x="0" y="3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2" name="Freeform 546">
              <a:extLst>
                <a:ext uri="{FF2B5EF4-FFF2-40B4-BE49-F238E27FC236}">
                  <a16:creationId xmlns:a16="http://schemas.microsoft.com/office/drawing/2014/main" id="{C7D30E47-8171-4C6E-BACF-58A4F6A9ACA1}"/>
                </a:ext>
              </a:extLst>
            </p:cNvPr>
            <p:cNvSpPr>
              <a:spLocks/>
            </p:cNvSpPr>
            <p:nvPr/>
          </p:nvSpPr>
          <p:spPr bwMode="auto">
            <a:xfrm>
              <a:off x="3357836" y="3832964"/>
              <a:ext cx="33665" cy="67330"/>
            </a:xfrm>
            <a:custGeom>
              <a:avLst/>
              <a:gdLst/>
              <a:ahLst/>
              <a:cxnLst>
                <a:cxn ang="0">
                  <a:pos x="0" y="10"/>
                </a:cxn>
                <a:cxn ang="0">
                  <a:pos x="0" y="10"/>
                </a:cxn>
                <a:cxn ang="0">
                  <a:pos x="2" y="12"/>
                </a:cxn>
                <a:cxn ang="0">
                  <a:pos x="6" y="12"/>
                </a:cxn>
                <a:cxn ang="0">
                  <a:pos x="4" y="20"/>
                </a:cxn>
                <a:cxn ang="0">
                  <a:pos x="6" y="22"/>
                </a:cxn>
                <a:cxn ang="0">
                  <a:pos x="6" y="24"/>
                </a:cxn>
                <a:cxn ang="0">
                  <a:pos x="4" y="30"/>
                </a:cxn>
                <a:cxn ang="0">
                  <a:pos x="4" y="38"/>
                </a:cxn>
                <a:cxn ang="0">
                  <a:pos x="4" y="42"/>
                </a:cxn>
                <a:cxn ang="0">
                  <a:pos x="8" y="44"/>
                </a:cxn>
                <a:cxn ang="0">
                  <a:pos x="14" y="48"/>
                </a:cxn>
                <a:cxn ang="0">
                  <a:pos x="14" y="52"/>
                </a:cxn>
                <a:cxn ang="0">
                  <a:pos x="18" y="52"/>
                </a:cxn>
                <a:cxn ang="0">
                  <a:pos x="20" y="52"/>
                </a:cxn>
                <a:cxn ang="0">
                  <a:pos x="20" y="50"/>
                </a:cxn>
                <a:cxn ang="0">
                  <a:pos x="24" y="48"/>
                </a:cxn>
                <a:cxn ang="0">
                  <a:pos x="26" y="42"/>
                </a:cxn>
                <a:cxn ang="0">
                  <a:pos x="26" y="36"/>
                </a:cxn>
                <a:cxn ang="0">
                  <a:pos x="24" y="34"/>
                </a:cxn>
                <a:cxn ang="0">
                  <a:pos x="22" y="30"/>
                </a:cxn>
                <a:cxn ang="0">
                  <a:pos x="20" y="26"/>
                </a:cxn>
                <a:cxn ang="0">
                  <a:pos x="22" y="24"/>
                </a:cxn>
                <a:cxn ang="0">
                  <a:pos x="22" y="18"/>
                </a:cxn>
                <a:cxn ang="0">
                  <a:pos x="22" y="16"/>
                </a:cxn>
                <a:cxn ang="0">
                  <a:pos x="20" y="8"/>
                </a:cxn>
                <a:cxn ang="0">
                  <a:pos x="14" y="2"/>
                </a:cxn>
                <a:cxn ang="0">
                  <a:pos x="12" y="6"/>
                </a:cxn>
                <a:cxn ang="0">
                  <a:pos x="10" y="0"/>
                </a:cxn>
                <a:cxn ang="0">
                  <a:pos x="2" y="4"/>
                </a:cxn>
                <a:cxn ang="0">
                  <a:pos x="0" y="10"/>
                </a:cxn>
                <a:cxn ang="0">
                  <a:pos x="0" y="10"/>
                </a:cxn>
              </a:cxnLst>
              <a:rect l="0" t="0" r="r" b="b"/>
              <a:pathLst>
                <a:path w="26" h="52">
                  <a:moveTo>
                    <a:pt x="0" y="10"/>
                  </a:moveTo>
                  <a:lnTo>
                    <a:pt x="0" y="10"/>
                  </a:lnTo>
                  <a:lnTo>
                    <a:pt x="2" y="12"/>
                  </a:lnTo>
                  <a:lnTo>
                    <a:pt x="6" y="12"/>
                  </a:lnTo>
                  <a:lnTo>
                    <a:pt x="4" y="20"/>
                  </a:lnTo>
                  <a:lnTo>
                    <a:pt x="6" y="22"/>
                  </a:lnTo>
                  <a:lnTo>
                    <a:pt x="6" y="24"/>
                  </a:lnTo>
                  <a:lnTo>
                    <a:pt x="4" y="30"/>
                  </a:lnTo>
                  <a:lnTo>
                    <a:pt x="4" y="38"/>
                  </a:lnTo>
                  <a:lnTo>
                    <a:pt x="4" y="42"/>
                  </a:lnTo>
                  <a:lnTo>
                    <a:pt x="8" y="44"/>
                  </a:lnTo>
                  <a:lnTo>
                    <a:pt x="14" y="48"/>
                  </a:lnTo>
                  <a:lnTo>
                    <a:pt x="14" y="52"/>
                  </a:lnTo>
                  <a:lnTo>
                    <a:pt x="18" y="52"/>
                  </a:lnTo>
                  <a:lnTo>
                    <a:pt x="20" y="52"/>
                  </a:lnTo>
                  <a:lnTo>
                    <a:pt x="20" y="50"/>
                  </a:lnTo>
                  <a:lnTo>
                    <a:pt x="24" y="48"/>
                  </a:lnTo>
                  <a:lnTo>
                    <a:pt x="26" y="42"/>
                  </a:lnTo>
                  <a:lnTo>
                    <a:pt x="26" y="36"/>
                  </a:lnTo>
                  <a:lnTo>
                    <a:pt x="24" y="34"/>
                  </a:lnTo>
                  <a:lnTo>
                    <a:pt x="22" y="30"/>
                  </a:lnTo>
                  <a:lnTo>
                    <a:pt x="20" y="26"/>
                  </a:lnTo>
                  <a:lnTo>
                    <a:pt x="22" y="24"/>
                  </a:lnTo>
                  <a:lnTo>
                    <a:pt x="22" y="18"/>
                  </a:lnTo>
                  <a:lnTo>
                    <a:pt x="22" y="16"/>
                  </a:lnTo>
                  <a:lnTo>
                    <a:pt x="20" y="8"/>
                  </a:lnTo>
                  <a:lnTo>
                    <a:pt x="14" y="2"/>
                  </a:lnTo>
                  <a:lnTo>
                    <a:pt x="12" y="6"/>
                  </a:lnTo>
                  <a:lnTo>
                    <a:pt x="10" y="0"/>
                  </a:lnTo>
                  <a:lnTo>
                    <a:pt x="2" y="4"/>
                  </a:lnTo>
                  <a:lnTo>
                    <a:pt x="0" y="10"/>
                  </a:lnTo>
                  <a:lnTo>
                    <a:pt x="0" y="1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3" name="Freeform 547">
              <a:extLst>
                <a:ext uri="{FF2B5EF4-FFF2-40B4-BE49-F238E27FC236}">
                  <a16:creationId xmlns:a16="http://schemas.microsoft.com/office/drawing/2014/main" id="{A7F39D0F-E421-41D5-A9A1-A8D1419161CA}"/>
                </a:ext>
              </a:extLst>
            </p:cNvPr>
            <p:cNvSpPr>
              <a:spLocks noEditPoints="1"/>
            </p:cNvSpPr>
            <p:nvPr/>
          </p:nvSpPr>
          <p:spPr bwMode="auto">
            <a:xfrm>
              <a:off x="2956446" y="3618026"/>
              <a:ext cx="240834" cy="243423"/>
            </a:xfrm>
            <a:custGeom>
              <a:avLst/>
              <a:gdLst/>
              <a:ahLst/>
              <a:cxnLst>
                <a:cxn ang="0">
                  <a:pos x="166" y="58"/>
                </a:cxn>
                <a:cxn ang="0">
                  <a:pos x="166" y="72"/>
                </a:cxn>
                <a:cxn ang="0">
                  <a:pos x="160" y="76"/>
                </a:cxn>
                <a:cxn ang="0">
                  <a:pos x="148" y="88"/>
                </a:cxn>
                <a:cxn ang="0">
                  <a:pos x="142" y="104"/>
                </a:cxn>
                <a:cxn ang="0">
                  <a:pos x="148" y="104"/>
                </a:cxn>
                <a:cxn ang="0">
                  <a:pos x="158" y="108"/>
                </a:cxn>
                <a:cxn ang="0">
                  <a:pos x="152" y="118"/>
                </a:cxn>
                <a:cxn ang="0">
                  <a:pos x="148" y="124"/>
                </a:cxn>
                <a:cxn ang="0">
                  <a:pos x="150" y="134"/>
                </a:cxn>
                <a:cxn ang="0">
                  <a:pos x="158" y="138"/>
                </a:cxn>
                <a:cxn ang="0">
                  <a:pos x="154" y="146"/>
                </a:cxn>
                <a:cxn ang="0">
                  <a:pos x="148" y="156"/>
                </a:cxn>
                <a:cxn ang="0">
                  <a:pos x="136" y="154"/>
                </a:cxn>
                <a:cxn ang="0">
                  <a:pos x="128" y="150"/>
                </a:cxn>
                <a:cxn ang="0">
                  <a:pos x="116" y="148"/>
                </a:cxn>
                <a:cxn ang="0">
                  <a:pos x="104" y="156"/>
                </a:cxn>
                <a:cxn ang="0">
                  <a:pos x="96" y="168"/>
                </a:cxn>
                <a:cxn ang="0">
                  <a:pos x="84" y="166"/>
                </a:cxn>
                <a:cxn ang="0">
                  <a:pos x="68" y="164"/>
                </a:cxn>
                <a:cxn ang="0">
                  <a:pos x="54" y="162"/>
                </a:cxn>
                <a:cxn ang="0">
                  <a:pos x="42" y="154"/>
                </a:cxn>
                <a:cxn ang="0">
                  <a:pos x="50" y="142"/>
                </a:cxn>
                <a:cxn ang="0">
                  <a:pos x="54" y="128"/>
                </a:cxn>
                <a:cxn ang="0">
                  <a:pos x="50" y="112"/>
                </a:cxn>
                <a:cxn ang="0">
                  <a:pos x="46" y="100"/>
                </a:cxn>
                <a:cxn ang="0">
                  <a:pos x="32" y="84"/>
                </a:cxn>
                <a:cxn ang="0">
                  <a:pos x="28" y="80"/>
                </a:cxn>
                <a:cxn ang="0">
                  <a:pos x="22" y="76"/>
                </a:cxn>
                <a:cxn ang="0">
                  <a:pos x="24" y="70"/>
                </a:cxn>
                <a:cxn ang="0">
                  <a:pos x="10" y="68"/>
                </a:cxn>
                <a:cxn ang="0">
                  <a:pos x="0" y="64"/>
                </a:cxn>
                <a:cxn ang="0">
                  <a:pos x="4" y="58"/>
                </a:cxn>
                <a:cxn ang="0">
                  <a:pos x="8" y="50"/>
                </a:cxn>
                <a:cxn ang="0">
                  <a:pos x="20" y="48"/>
                </a:cxn>
                <a:cxn ang="0">
                  <a:pos x="30" y="50"/>
                </a:cxn>
                <a:cxn ang="0">
                  <a:pos x="46" y="46"/>
                </a:cxn>
                <a:cxn ang="0">
                  <a:pos x="38" y="28"/>
                </a:cxn>
                <a:cxn ang="0">
                  <a:pos x="58" y="34"/>
                </a:cxn>
                <a:cxn ang="0">
                  <a:pos x="78" y="20"/>
                </a:cxn>
                <a:cxn ang="0">
                  <a:pos x="82" y="8"/>
                </a:cxn>
                <a:cxn ang="0">
                  <a:pos x="96" y="6"/>
                </a:cxn>
                <a:cxn ang="0">
                  <a:pos x="106" y="18"/>
                </a:cxn>
                <a:cxn ang="0">
                  <a:pos x="112" y="22"/>
                </a:cxn>
                <a:cxn ang="0">
                  <a:pos x="122" y="26"/>
                </a:cxn>
                <a:cxn ang="0">
                  <a:pos x="126" y="32"/>
                </a:cxn>
                <a:cxn ang="0">
                  <a:pos x="136" y="34"/>
                </a:cxn>
                <a:cxn ang="0">
                  <a:pos x="148" y="38"/>
                </a:cxn>
                <a:cxn ang="0">
                  <a:pos x="158" y="44"/>
                </a:cxn>
                <a:cxn ang="0">
                  <a:pos x="168" y="50"/>
                </a:cxn>
                <a:cxn ang="0">
                  <a:pos x="180" y="160"/>
                </a:cxn>
                <a:cxn ang="0">
                  <a:pos x="170" y="172"/>
                </a:cxn>
                <a:cxn ang="0">
                  <a:pos x="172" y="182"/>
                </a:cxn>
                <a:cxn ang="0">
                  <a:pos x="186" y="164"/>
                </a:cxn>
              </a:cxnLst>
              <a:rect l="0" t="0" r="r" b="b"/>
              <a:pathLst>
                <a:path w="186" h="188">
                  <a:moveTo>
                    <a:pt x="168" y="50"/>
                  </a:moveTo>
                  <a:lnTo>
                    <a:pt x="168" y="50"/>
                  </a:lnTo>
                  <a:lnTo>
                    <a:pt x="166" y="54"/>
                  </a:lnTo>
                  <a:lnTo>
                    <a:pt x="166" y="58"/>
                  </a:lnTo>
                  <a:lnTo>
                    <a:pt x="166" y="64"/>
                  </a:lnTo>
                  <a:lnTo>
                    <a:pt x="166" y="68"/>
                  </a:lnTo>
                  <a:lnTo>
                    <a:pt x="168" y="72"/>
                  </a:lnTo>
                  <a:lnTo>
                    <a:pt x="166" y="72"/>
                  </a:lnTo>
                  <a:lnTo>
                    <a:pt x="164" y="72"/>
                  </a:lnTo>
                  <a:lnTo>
                    <a:pt x="162" y="72"/>
                  </a:lnTo>
                  <a:lnTo>
                    <a:pt x="160" y="72"/>
                  </a:lnTo>
                  <a:lnTo>
                    <a:pt x="160" y="76"/>
                  </a:lnTo>
                  <a:lnTo>
                    <a:pt x="156" y="78"/>
                  </a:lnTo>
                  <a:lnTo>
                    <a:pt x="154" y="80"/>
                  </a:lnTo>
                  <a:lnTo>
                    <a:pt x="152" y="82"/>
                  </a:lnTo>
                  <a:lnTo>
                    <a:pt x="148" y="88"/>
                  </a:lnTo>
                  <a:lnTo>
                    <a:pt x="140" y="98"/>
                  </a:lnTo>
                  <a:lnTo>
                    <a:pt x="138" y="102"/>
                  </a:lnTo>
                  <a:lnTo>
                    <a:pt x="138" y="104"/>
                  </a:lnTo>
                  <a:lnTo>
                    <a:pt x="142" y="104"/>
                  </a:lnTo>
                  <a:lnTo>
                    <a:pt x="144" y="102"/>
                  </a:lnTo>
                  <a:lnTo>
                    <a:pt x="146" y="102"/>
                  </a:lnTo>
                  <a:lnTo>
                    <a:pt x="148" y="104"/>
                  </a:lnTo>
                  <a:lnTo>
                    <a:pt x="148" y="104"/>
                  </a:lnTo>
                  <a:lnTo>
                    <a:pt x="150" y="104"/>
                  </a:lnTo>
                  <a:lnTo>
                    <a:pt x="154" y="104"/>
                  </a:lnTo>
                  <a:lnTo>
                    <a:pt x="154" y="106"/>
                  </a:lnTo>
                  <a:lnTo>
                    <a:pt x="158" y="108"/>
                  </a:lnTo>
                  <a:lnTo>
                    <a:pt x="160" y="108"/>
                  </a:lnTo>
                  <a:lnTo>
                    <a:pt x="156" y="114"/>
                  </a:lnTo>
                  <a:lnTo>
                    <a:pt x="154" y="116"/>
                  </a:lnTo>
                  <a:lnTo>
                    <a:pt x="152" y="118"/>
                  </a:lnTo>
                  <a:lnTo>
                    <a:pt x="150" y="118"/>
                  </a:lnTo>
                  <a:lnTo>
                    <a:pt x="148" y="120"/>
                  </a:lnTo>
                  <a:lnTo>
                    <a:pt x="148" y="122"/>
                  </a:lnTo>
                  <a:lnTo>
                    <a:pt x="148" y="124"/>
                  </a:lnTo>
                  <a:lnTo>
                    <a:pt x="150" y="126"/>
                  </a:lnTo>
                  <a:lnTo>
                    <a:pt x="152" y="128"/>
                  </a:lnTo>
                  <a:lnTo>
                    <a:pt x="152" y="130"/>
                  </a:lnTo>
                  <a:lnTo>
                    <a:pt x="150" y="134"/>
                  </a:lnTo>
                  <a:lnTo>
                    <a:pt x="152" y="138"/>
                  </a:lnTo>
                  <a:lnTo>
                    <a:pt x="154" y="138"/>
                  </a:lnTo>
                  <a:lnTo>
                    <a:pt x="156" y="138"/>
                  </a:lnTo>
                  <a:lnTo>
                    <a:pt x="158" y="138"/>
                  </a:lnTo>
                  <a:lnTo>
                    <a:pt x="154" y="142"/>
                  </a:lnTo>
                  <a:lnTo>
                    <a:pt x="154" y="144"/>
                  </a:lnTo>
                  <a:lnTo>
                    <a:pt x="156" y="146"/>
                  </a:lnTo>
                  <a:lnTo>
                    <a:pt x="154" y="146"/>
                  </a:lnTo>
                  <a:lnTo>
                    <a:pt x="152" y="144"/>
                  </a:lnTo>
                  <a:lnTo>
                    <a:pt x="148" y="146"/>
                  </a:lnTo>
                  <a:lnTo>
                    <a:pt x="152" y="148"/>
                  </a:lnTo>
                  <a:lnTo>
                    <a:pt x="148" y="156"/>
                  </a:lnTo>
                  <a:lnTo>
                    <a:pt x="144" y="156"/>
                  </a:lnTo>
                  <a:lnTo>
                    <a:pt x="140" y="158"/>
                  </a:lnTo>
                  <a:lnTo>
                    <a:pt x="138" y="156"/>
                  </a:lnTo>
                  <a:lnTo>
                    <a:pt x="136" y="154"/>
                  </a:lnTo>
                  <a:lnTo>
                    <a:pt x="134" y="152"/>
                  </a:lnTo>
                  <a:lnTo>
                    <a:pt x="130" y="152"/>
                  </a:lnTo>
                  <a:lnTo>
                    <a:pt x="128" y="148"/>
                  </a:lnTo>
                  <a:lnTo>
                    <a:pt x="128" y="150"/>
                  </a:lnTo>
                  <a:lnTo>
                    <a:pt x="126" y="150"/>
                  </a:lnTo>
                  <a:lnTo>
                    <a:pt x="122" y="148"/>
                  </a:lnTo>
                  <a:lnTo>
                    <a:pt x="118" y="148"/>
                  </a:lnTo>
                  <a:lnTo>
                    <a:pt x="116" y="148"/>
                  </a:lnTo>
                  <a:lnTo>
                    <a:pt x="114" y="152"/>
                  </a:lnTo>
                  <a:lnTo>
                    <a:pt x="110" y="156"/>
                  </a:lnTo>
                  <a:lnTo>
                    <a:pt x="108" y="156"/>
                  </a:lnTo>
                  <a:lnTo>
                    <a:pt x="104" y="156"/>
                  </a:lnTo>
                  <a:lnTo>
                    <a:pt x="104" y="164"/>
                  </a:lnTo>
                  <a:lnTo>
                    <a:pt x="100" y="164"/>
                  </a:lnTo>
                  <a:lnTo>
                    <a:pt x="98" y="166"/>
                  </a:lnTo>
                  <a:lnTo>
                    <a:pt x="96" y="168"/>
                  </a:lnTo>
                  <a:lnTo>
                    <a:pt x="90" y="168"/>
                  </a:lnTo>
                  <a:lnTo>
                    <a:pt x="88" y="168"/>
                  </a:lnTo>
                  <a:lnTo>
                    <a:pt x="86" y="166"/>
                  </a:lnTo>
                  <a:lnTo>
                    <a:pt x="84" y="166"/>
                  </a:lnTo>
                  <a:lnTo>
                    <a:pt x="82" y="166"/>
                  </a:lnTo>
                  <a:lnTo>
                    <a:pt x="72" y="164"/>
                  </a:lnTo>
                  <a:lnTo>
                    <a:pt x="70" y="164"/>
                  </a:lnTo>
                  <a:lnTo>
                    <a:pt x="68" y="164"/>
                  </a:lnTo>
                  <a:lnTo>
                    <a:pt x="64" y="164"/>
                  </a:lnTo>
                  <a:lnTo>
                    <a:pt x="60" y="164"/>
                  </a:lnTo>
                  <a:lnTo>
                    <a:pt x="58" y="162"/>
                  </a:lnTo>
                  <a:lnTo>
                    <a:pt x="54" y="162"/>
                  </a:lnTo>
                  <a:lnTo>
                    <a:pt x="50" y="160"/>
                  </a:lnTo>
                  <a:lnTo>
                    <a:pt x="46" y="160"/>
                  </a:lnTo>
                  <a:lnTo>
                    <a:pt x="44" y="158"/>
                  </a:lnTo>
                  <a:lnTo>
                    <a:pt x="42" y="154"/>
                  </a:lnTo>
                  <a:lnTo>
                    <a:pt x="40" y="152"/>
                  </a:lnTo>
                  <a:lnTo>
                    <a:pt x="46" y="150"/>
                  </a:lnTo>
                  <a:lnTo>
                    <a:pt x="48" y="146"/>
                  </a:lnTo>
                  <a:lnTo>
                    <a:pt x="50" y="142"/>
                  </a:lnTo>
                  <a:lnTo>
                    <a:pt x="50" y="136"/>
                  </a:lnTo>
                  <a:lnTo>
                    <a:pt x="52" y="130"/>
                  </a:lnTo>
                  <a:lnTo>
                    <a:pt x="52" y="128"/>
                  </a:lnTo>
                  <a:lnTo>
                    <a:pt x="54" y="128"/>
                  </a:lnTo>
                  <a:lnTo>
                    <a:pt x="50" y="126"/>
                  </a:lnTo>
                  <a:lnTo>
                    <a:pt x="50" y="116"/>
                  </a:lnTo>
                  <a:lnTo>
                    <a:pt x="52" y="116"/>
                  </a:lnTo>
                  <a:lnTo>
                    <a:pt x="50" y="112"/>
                  </a:lnTo>
                  <a:lnTo>
                    <a:pt x="52" y="106"/>
                  </a:lnTo>
                  <a:lnTo>
                    <a:pt x="50" y="102"/>
                  </a:lnTo>
                  <a:lnTo>
                    <a:pt x="48" y="104"/>
                  </a:lnTo>
                  <a:lnTo>
                    <a:pt x="46" y="100"/>
                  </a:lnTo>
                  <a:lnTo>
                    <a:pt x="38" y="96"/>
                  </a:lnTo>
                  <a:lnTo>
                    <a:pt x="34" y="94"/>
                  </a:lnTo>
                  <a:lnTo>
                    <a:pt x="32" y="92"/>
                  </a:lnTo>
                  <a:lnTo>
                    <a:pt x="32" y="84"/>
                  </a:lnTo>
                  <a:lnTo>
                    <a:pt x="32" y="86"/>
                  </a:lnTo>
                  <a:lnTo>
                    <a:pt x="32" y="84"/>
                  </a:lnTo>
                  <a:lnTo>
                    <a:pt x="32" y="80"/>
                  </a:lnTo>
                  <a:lnTo>
                    <a:pt x="28" y="80"/>
                  </a:lnTo>
                  <a:lnTo>
                    <a:pt x="26" y="78"/>
                  </a:lnTo>
                  <a:lnTo>
                    <a:pt x="28" y="78"/>
                  </a:lnTo>
                  <a:lnTo>
                    <a:pt x="28" y="76"/>
                  </a:lnTo>
                  <a:lnTo>
                    <a:pt x="22" y="76"/>
                  </a:lnTo>
                  <a:lnTo>
                    <a:pt x="22" y="74"/>
                  </a:lnTo>
                  <a:lnTo>
                    <a:pt x="24" y="74"/>
                  </a:lnTo>
                  <a:lnTo>
                    <a:pt x="26" y="70"/>
                  </a:lnTo>
                  <a:lnTo>
                    <a:pt x="24" y="70"/>
                  </a:lnTo>
                  <a:lnTo>
                    <a:pt x="18" y="76"/>
                  </a:lnTo>
                  <a:lnTo>
                    <a:pt x="16" y="70"/>
                  </a:lnTo>
                  <a:lnTo>
                    <a:pt x="12" y="66"/>
                  </a:lnTo>
                  <a:lnTo>
                    <a:pt x="10" y="68"/>
                  </a:lnTo>
                  <a:lnTo>
                    <a:pt x="10" y="66"/>
                  </a:lnTo>
                  <a:lnTo>
                    <a:pt x="10" y="64"/>
                  </a:lnTo>
                  <a:lnTo>
                    <a:pt x="0" y="66"/>
                  </a:lnTo>
                  <a:lnTo>
                    <a:pt x="0" y="64"/>
                  </a:lnTo>
                  <a:lnTo>
                    <a:pt x="2" y="62"/>
                  </a:lnTo>
                  <a:lnTo>
                    <a:pt x="2" y="58"/>
                  </a:lnTo>
                  <a:lnTo>
                    <a:pt x="4" y="60"/>
                  </a:lnTo>
                  <a:lnTo>
                    <a:pt x="4" y="58"/>
                  </a:lnTo>
                  <a:lnTo>
                    <a:pt x="0" y="54"/>
                  </a:lnTo>
                  <a:lnTo>
                    <a:pt x="0" y="52"/>
                  </a:lnTo>
                  <a:lnTo>
                    <a:pt x="4" y="48"/>
                  </a:lnTo>
                  <a:lnTo>
                    <a:pt x="8" y="50"/>
                  </a:lnTo>
                  <a:lnTo>
                    <a:pt x="12" y="50"/>
                  </a:lnTo>
                  <a:lnTo>
                    <a:pt x="14" y="46"/>
                  </a:lnTo>
                  <a:lnTo>
                    <a:pt x="18" y="46"/>
                  </a:lnTo>
                  <a:lnTo>
                    <a:pt x="20" y="48"/>
                  </a:lnTo>
                  <a:lnTo>
                    <a:pt x="22" y="52"/>
                  </a:lnTo>
                  <a:lnTo>
                    <a:pt x="24" y="52"/>
                  </a:lnTo>
                  <a:lnTo>
                    <a:pt x="26" y="48"/>
                  </a:lnTo>
                  <a:lnTo>
                    <a:pt x="30" y="50"/>
                  </a:lnTo>
                  <a:lnTo>
                    <a:pt x="32" y="50"/>
                  </a:lnTo>
                  <a:lnTo>
                    <a:pt x="32" y="48"/>
                  </a:lnTo>
                  <a:lnTo>
                    <a:pt x="44" y="48"/>
                  </a:lnTo>
                  <a:lnTo>
                    <a:pt x="46" y="46"/>
                  </a:lnTo>
                  <a:lnTo>
                    <a:pt x="42" y="44"/>
                  </a:lnTo>
                  <a:lnTo>
                    <a:pt x="42" y="42"/>
                  </a:lnTo>
                  <a:lnTo>
                    <a:pt x="42" y="38"/>
                  </a:lnTo>
                  <a:lnTo>
                    <a:pt x="38" y="28"/>
                  </a:lnTo>
                  <a:lnTo>
                    <a:pt x="44" y="28"/>
                  </a:lnTo>
                  <a:lnTo>
                    <a:pt x="46" y="28"/>
                  </a:lnTo>
                  <a:lnTo>
                    <a:pt x="48" y="36"/>
                  </a:lnTo>
                  <a:lnTo>
                    <a:pt x="58" y="34"/>
                  </a:lnTo>
                  <a:lnTo>
                    <a:pt x="64" y="32"/>
                  </a:lnTo>
                  <a:lnTo>
                    <a:pt x="64" y="28"/>
                  </a:lnTo>
                  <a:lnTo>
                    <a:pt x="70" y="24"/>
                  </a:lnTo>
                  <a:lnTo>
                    <a:pt x="78" y="20"/>
                  </a:lnTo>
                  <a:lnTo>
                    <a:pt x="80" y="20"/>
                  </a:lnTo>
                  <a:lnTo>
                    <a:pt x="82" y="20"/>
                  </a:lnTo>
                  <a:lnTo>
                    <a:pt x="80" y="16"/>
                  </a:lnTo>
                  <a:lnTo>
                    <a:pt x="82" y="8"/>
                  </a:lnTo>
                  <a:lnTo>
                    <a:pt x="82" y="2"/>
                  </a:lnTo>
                  <a:lnTo>
                    <a:pt x="90" y="0"/>
                  </a:lnTo>
                  <a:lnTo>
                    <a:pt x="94" y="4"/>
                  </a:lnTo>
                  <a:lnTo>
                    <a:pt x="96" y="6"/>
                  </a:lnTo>
                  <a:lnTo>
                    <a:pt x="98" y="12"/>
                  </a:lnTo>
                  <a:lnTo>
                    <a:pt x="100" y="12"/>
                  </a:lnTo>
                  <a:lnTo>
                    <a:pt x="104" y="16"/>
                  </a:lnTo>
                  <a:lnTo>
                    <a:pt x="106" y="18"/>
                  </a:lnTo>
                  <a:lnTo>
                    <a:pt x="108" y="18"/>
                  </a:lnTo>
                  <a:lnTo>
                    <a:pt x="110" y="16"/>
                  </a:lnTo>
                  <a:lnTo>
                    <a:pt x="110" y="18"/>
                  </a:lnTo>
                  <a:lnTo>
                    <a:pt x="112" y="22"/>
                  </a:lnTo>
                  <a:lnTo>
                    <a:pt x="116" y="24"/>
                  </a:lnTo>
                  <a:lnTo>
                    <a:pt x="118" y="26"/>
                  </a:lnTo>
                  <a:lnTo>
                    <a:pt x="120" y="26"/>
                  </a:lnTo>
                  <a:lnTo>
                    <a:pt x="122" y="26"/>
                  </a:lnTo>
                  <a:lnTo>
                    <a:pt x="124" y="24"/>
                  </a:lnTo>
                  <a:lnTo>
                    <a:pt x="124" y="26"/>
                  </a:lnTo>
                  <a:lnTo>
                    <a:pt x="124" y="30"/>
                  </a:lnTo>
                  <a:lnTo>
                    <a:pt x="126" y="32"/>
                  </a:lnTo>
                  <a:lnTo>
                    <a:pt x="130" y="32"/>
                  </a:lnTo>
                  <a:lnTo>
                    <a:pt x="136" y="30"/>
                  </a:lnTo>
                  <a:lnTo>
                    <a:pt x="136" y="32"/>
                  </a:lnTo>
                  <a:lnTo>
                    <a:pt x="136" y="34"/>
                  </a:lnTo>
                  <a:lnTo>
                    <a:pt x="136" y="36"/>
                  </a:lnTo>
                  <a:lnTo>
                    <a:pt x="138" y="38"/>
                  </a:lnTo>
                  <a:lnTo>
                    <a:pt x="144" y="40"/>
                  </a:lnTo>
                  <a:lnTo>
                    <a:pt x="148" y="38"/>
                  </a:lnTo>
                  <a:lnTo>
                    <a:pt x="152" y="38"/>
                  </a:lnTo>
                  <a:lnTo>
                    <a:pt x="154" y="40"/>
                  </a:lnTo>
                  <a:lnTo>
                    <a:pt x="156" y="42"/>
                  </a:lnTo>
                  <a:lnTo>
                    <a:pt x="158" y="44"/>
                  </a:lnTo>
                  <a:lnTo>
                    <a:pt x="162" y="42"/>
                  </a:lnTo>
                  <a:lnTo>
                    <a:pt x="168" y="44"/>
                  </a:lnTo>
                  <a:lnTo>
                    <a:pt x="168" y="44"/>
                  </a:lnTo>
                  <a:lnTo>
                    <a:pt x="168" y="50"/>
                  </a:lnTo>
                  <a:lnTo>
                    <a:pt x="168" y="50"/>
                  </a:lnTo>
                  <a:close/>
                  <a:moveTo>
                    <a:pt x="182" y="156"/>
                  </a:moveTo>
                  <a:lnTo>
                    <a:pt x="182" y="156"/>
                  </a:lnTo>
                  <a:lnTo>
                    <a:pt x="180" y="160"/>
                  </a:lnTo>
                  <a:lnTo>
                    <a:pt x="178" y="164"/>
                  </a:lnTo>
                  <a:lnTo>
                    <a:pt x="174" y="164"/>
                  </a:lnTo>
                  <a:lnTo>
                    <a:pt x="170" y="164"/>
                  </a:lnTo>
                  <a:lnTo>
                    <a:pt x="170" y="172"/>
                  </a:lnTo>
                  <a:lnTo>
                    <a:pt x="172" y="178"/>
                  </a:lnTo>
                  <a:lnTo>
                    <a:pt x="170" y="178"/>
                  </a:lnTo>
                  <a:lnTo>
                    <a:pt x="170" y="180"/>
                  </a:lnTo>
                  <a:lnTo>
                    <a:pt x="172" y="182"/>
                  </a:lnTo>
                  <a:lnTo>
                    <a:pt x="176" y="184"/>
                  </a:lnTo>
                  <a:lnTo>
                    <a:pt x="182" y="188"/>
                  </a:lnTo>
                  <a:lnTo>
                    <a:pt x="186" y="172"/>
                  </a:lnTo>
                  <a:lnTo>
                    <a:pt x="186" y="164"/>
                  </a:lnTo>
                  <a:lnTo>
                    <a:pt x="184" y="158"/>
                  </a:lnTo>
                  <a:lnTo>
                    <a:pt x="182" y="156"/>
                  </a:lnTo>
                  <a:lnTo>
                    <a:pt x="182" y="15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4" name="Freeform 548">
              <a:extLst>
                <a:ext uri="{FF2B5EF4-FFF2-40B4-BE49-F238E27FC236}">
                  <a16:creationId xmlns:a16="http://schemas.microsoft.com/office/drawing/2014/main" id="{1A411619-9B92-4AE8-A86B-522FD3DA6EE1}"/>
                </a:ext>
              </a:extLst>
            </p:cNvPr>
            <p:cNvSpPr>
              <a:spLocks noEditPoints="1"/>
            </p:cNvSpPr>
            <p:nvPr/>
          </p:nvSpPr>
          <p:spPr bwMode="auto">
            <a:xfrm>
              <a:off x="2907244" y="3413447"/>
              <a:ext cx="160556" cy="235655"/>
            </a:xfrm>
            <a:custGeom>
              <a:avLst/>
              <a:gdLst/>
              <a:ahLst/>
              <a:cxnLst>
                <a:cxn ang="0">
                  <a:pos x="20" y="80"/>
                </a:cxn>
                <a:cxn ang="0">
                  <a:pos x="28" y="96"/>
                </a:cxn>
                <a:cxn ang="0">
                  <a:pos x="10" y="98"/>
                </a:cxn>
                <a:cxn ang="0">
                  <a:pos x="2" y="94"/>
                </a:cxn>
                <a:cxn ang="0">
                  <a:pos x="4" y="90"/>
                </a:cxn>
                <a:cxn ang="0">
                  <a:pos x="12" y="82"/>
                </a:cxn>
                <a:cxn ang="0">
                  <a:pos x="58" y="26"/>
                </a:cxn>
                <a:cxn ang="0">
                  <a:pos x="76" y="26"/>
                </a:cxn>
                <a:cxn ang="0">
                  <a:pos x="66" y="48"/>
                </a:cxn>
                <a:cxn ang="0">
                  <a:pos x="70" y="62"/>
                </a:cxn>
                <a:cxn ang="0">
                  <a:pos x="82" y="76"/>
                </a:cxn>
                <a:cxn ang="0">
                  <a:pos x="90" y="94"/>
                </a:cxn>
                <a:cxn ang="0">
                  <a:pos x="104" y="106"/>
                </a:cxn>
                <a:cxn ang="0">
                  <a:pos x="104" y="116"/>
                </a:cxn>
                <a:cxn ang="0">
                  <a:pos x="108" y="126"/>
                </a:cxn>
                <a:cxn ang="0">
                  <a:pos x="122" y="124"/>
                </a:cxn>
                <a:cxn ang="0">
                  <a:pos x="118" y="144"/>
                </a:cxn>
                <a:cxn ang="0">
                  <a:pos x="108" y="152"/>
                </a:cxn>
                <a:cxn ang="0">
                  <a:pos x="116" y="156"/>
                </a:cxn>
                <a:cxn ang="0">
                  <a:pos x="104" y="166"/>
                </a:cxn>
                <a:cxn ang="0">
                  <a:pos x="86" y="164"/>
                </a:cxn>
                <a:cxn ang="0">
                  <a:pos x="74" y="166"/>
                </a:cxn>
                <a:cxn ang="0">
                  <a:pos x="62" y="166"/>
                </a:cxn>
                <a:cxn ang="0">
                  <a:pos x="50" y="170"/>
                </a:cxn>
                <a:cxn ang="0">
                  <a:pos x="30" y="182"/>
                </a:cxn>
                <a:cxn ang="0">
                  <a:pos x="30" y="172"/>
                </a:cxn>
                <a:cxn ang="0">
                  <a:pos x="42" y="154"/>
                </a:cxn>
                <a:cxn ang="0">
                  <a:pos x="60" y="148"/>
                </a:cxn>
                <a:cxn ang="0">
                  <a:pos x="52" y="148"/>
                </a:cxn>
                <a:cxn ang="0">
                  <a:pos x="42" y="148"/>
                </a:cxn>
                <a:cxn ang="0">
                  <a:pos x="34" y="148"/>
                </a:cxn>
                <a:cxn ang="0">
                  <a:pos x="30" y="142"/>
                </a:cxn>
                <a:cxn ang="0">
                  <a:pos x="36" y="126"/>
                </a:cxn>
                <a:cxn ang="0">
                  <a:pos x="42" y="110"/>
                </a:cxn>
                <a:cxn ang="0">
                  <a:pos x="50" y="114"/>
                </a:cxn>
                <a:cxn ang="0">
                  <a:pos x="62" y="106"/>
                </a:cxn>
                <a:cxn ang="0">
                  <a:pos x="54" y="90"/>
                </a:cxn>
                <a:cxn ang="0">
                  <a:pos x="40" y="84"/>
                </a:cxn>
                <a:cxn ang="0">
                  <a:pos x="34" y="86"/>
                </a:cxn>
                <a:cxn ang="0">
                  <a:pos x="36" y="64"/>
                </a:cxn>
                <a:cxn ang="0">
                  <a:pos x="32" y="62"/>
                </a:cxn>
                <a:cxn ang="0">
                  <a:pos x="26" y="60"/>
                </a:cxn>
                <a:cxn ang="0">
                  <a:pos x="28" y="54"/>
                </a:cxn>
                <a:cxn ang="0">
                  <a:pos x="26" y="44"/>
                </a:cxn>
                <a:cxn ang="0">
                  <a:pos x="26" y="36"/>
                </a:cxn>
                <a:cxn ang="0">
                  <a:pos x="26" y="24"/>
                </a:cxn>
                <a:cxn ang="0">
                  <a:pos x="32" y="18"/>
                </a:cxn>
                <a:cxn ang="0">
                  <a:pos x="40" y="2"/>
                </a:cxn>
                <a:cxn ang="0">
                  <a:pos x="42" y="2"/>
                </a:cxn>
                <a:cxn ang="0">
                  <a:pos x="58" y="2"/>
                </a:cxn>
                <a:cxn ang="0">
                  <a:pos x="50" y="18"/>
                </a:cxn>
                <a:cxn ang="0">
                  <a:pos x="48" y="28"/>
                </a:cxn>
                <a:cxn ang="0">
                  <a:pos x="22" y="54"/>
                </a:cxn>
                <a:cxn ang="0">
                  <a:pos x="18" y="50"/>
                </a:cxn>
                <a:cxn ang="0">
                  <a:pos x="20" y="28"/>
                </a:cxn>
                <a:cxn ang="0">
                  <a:pos x="22" y="40"/>
                </a:cxn>
                <a:cxn ang="0">
                  <a:pos x="16" y="36"/>
                </a:cxn>
                <a:cxn ang="0">
                  <a:pos x="20" y="28"/>
                </a:cxn>
                <a:cxn ang="0">
                  <a:pos x="18" y="20"/>
                </a:cxn>
                <a:cxn ang="0">
                  <a:pos x="14" y="16"/>
                </a:cxn>
                <a:cxn ang="0">
                  <a:pos x="20" y="2"/>
                </a:cxn>
              </a:cxnLst>
              <a:rect l="0" t="0" r="r" b="b"/>
              <a:pathLst>
                <a:path w="124" h="182">
                  <a:moveTo>
                    <a:pt x="12" y="82"/>
                  </a:moveTo>
                  <a:lnTo>
                    <a:pt x="12" y="82"/>
                  </a:lnTo>
                  <a:lnTo>
                    <a:pt x="10" y="84"/>
                  </a:lnTo>
                  <a:lnTo>
                    <a:pt x="18" y="80"/>
                  </a:lnTo>
                  <a:lnTo>
                    <a:pt x="20" y="80"/>
                  </a:lnTo>
                  <a:lnTo>
                    <a:pt x="24" y="82"/>
                  </a:lnTo>
                  <a:lnTo>
                    <a:pt x="22" y="88"/>
                  </a:lnTo>
                  <a:lnTo>
                    <a:pt x="24" y="88"/>
                  </a:lnTo>
                  <a:lnTo>
                    <a:pt x="26" y="94"/>
                  </a:lnTo>
                  <a:lnTo>
                    <a:pt x="28" y="96"/>
                  </a:lnTo>
                  <a:lnTo>
                    <a:pt x="22" y="98"/>
                  </a:lnTo>
                  <a:lnTo>
                    <a:pt x="18" y="98"/>
                  </a:lnTo>
                  <a:lnTo>
                    <a:pt x="18" y="100"/>
                  </a:lnTo>
                  <a:lnTo>
                    <a:pt x="14" y="100"/>
                  </a:lnTo>
                  <a:lnTo>
                    <a:pt x="10" y="98"/>
                  </a:lnTo>
                  <a:lnTo>
                    <a:pt x="6" y="100"/>
                  </a:lnTo>
                  <a:lnTo>
                    <a:pt x="4" y="100"/>
                  </a:lnTo>
                  <a:lnTo>
                    <a:pt x="4" y="98"/>
                  </a:lnTo>
                  <a:lnTo>
                    <a:pt x="4" y="96"/>
                  </a:lnTo>
                  <a:lnTo>
                    <a:pt x="2" y="94"/>
                  </a:lnTo>
                  <a:lnTo>
                    <a:pt x="0" y="94"/>
                  </a:lnTo>
                  <a:lnTo>
                    <a:pt x="0" y="94"/>
                  </a:lnTo>
                  <a:lnTo>
                    <a:pt x="0" y="92"/>
                  </a:lnTo>
                  <a:lnTo>
                    <a:pt x="2" y="92"/>
                  </a:lnTo>
                  <a:lnTo>
                    <a:pt x="4" y="90"/>
                  </a:lnTo>
                  <a:lnTo>
                    <a:pt x="4" y="88"/>
                  </a:lnTo>
                  <a:lnTo>
                    <a:pt x="6" y="84"/>
                  </a:lnTo>
                  <a:lnTo>
                    <a:pt x="8" y="82"/>
                  </a:lnTo>
                  <a:lnTo>
                    <a:pt x="12" y="80"/>
                  </a:lnTo>
                  <a:lnTo>
                    <a:pt x="12" y="82"/>
                  </a:lnTo>
                  <a:lnTo>
                    <a:pt x="12" y="82"/>
                  </a:lnTo>
                  <a:close/>
                  <a:moveTo>
                    <a:pt x="48" y="28"/>
                  </a:moveTo>
                  <a:lnTo>
                    <a:pt x="48" y="28"/>
                  </a:lnTo>
                  <a:lnTo>
                    <a:pt x="50" y="26"/>
                  </a:lnTo>
                  <a:lnTo>
                    <a:pt x="58" y="26"/>
                  </a:lnTo>
                  <a:lnTo>
                    <a:pt x="58" y="24"/>
                  </a:lnTo>
                  <a:lnTo>
                    <a:pt x="64" y="26"/>
                  </a:lnTo>
                  <a:lnTo>
                    <a:pt x="68" y="24"/>
                  </a:lnTo>
                  <a:lnTo>
                    <a:pt x="72" y="24"/>
                  </a:lnTo>
                  <a:lnTo>
                    <a:pt x="76" y="26"/>
                  </a:lnTo>
                  <a:lnTo>
                    <a:pt x="72" y="34"/>
                  </a:lnTo>
                  <a:lnTo>
                    <a:pt x="72" y="40"/>
                  </a:lnTo>
                  <a:lnTo>
                    <a:pt x="70" y="42"/>
                  </a:lnTo>
                  <a:lnTo>
                    <a:pt x="66" y="44"/>
                  </a:lnTo>
                  <a:lnTo>
                    <a:pt x="66" y="48"/>
                  </a:lnTo>
                  <a:lnTo>
                    <a:pt x="64" y="48"/>
                  </a:lnTo>
                  <a:lnTo>
                    <a:pt x="68" y="58"/>
                  </a:lnTo>
                  <a:lnTo>
                    <a:pt x="64" y="58"/>
                  </a:lnTo>
                  <a:lnTo>
                    <a:pt x="62" y="62"/>
                  </a:lnTo>
                  <a:lnTo>
                    <a:pt x="70" y="62"/>
                  </a:lnTo>
                  <a:lnTo>
                    <a:pt x="70" y="66"/>
                  </a:lnTo>
                  <a:lnTo>
                    <a:pt x="74" y="68"/>
                  </a:lnTo>
                  <a:lnTo>
                    <a:pt x="78" y="72"/>
                  </a:lnTo>
                  <a:lnTo>
                    <a:pt x="78" y="74"/>
                  </a:lnTo>
                  <a:lnTo>
                    <a:pt x="82" y="76"/>
                  </a:lnTo>
                  <a:lnTo>
                    <a:pt x="82" y="80"/>
                  </a:lnTo>
                  <a:lnTo>
                    <a:pt x="82" y="84"/>
                  </a:lnTo>
                  <a:lnTo>
                    <a:pt x="86" y="90"/>
                  </a:lnTo>
                  <a:lnTo>
                    <a:pt x="88" y="90"/>
                  </a:lnTo>
                  <a:lnTo>
                    <a:pt x="90" y="94"/>
                  </a:lnTo>
                  <a:lnTo>
                    <a:pt x="94" y="98"/>
                  </a:lnTo>
                  <a:lnTo>
                    <a:pt x="96" y="98"/>
                  </a:lnTo>
                  <a:lnTo>
                    <a:pt x="98" y="98"/>
                  </a:lnTo>
                  <a:lnTo>
                    <a:pt x="102" y="102"/>
                  </a:lnTo>
                  <a:lnTo>
                    <a:pt x="104" y="106"/>
                  </a:lnTo>
                  <a:lnTo>
                    <a:pt x="104" y="108"/>
                  </a:lnTo>
                  <a:lnTo>
                    <a:pt x="102" y="108"/>
                  </a:lnTo>
                  <a:lnTo>
                    <a:pt x="96" y="104"/>
                  </a:lnTo>
                  <a:lnTo>
                    <a:pt x="100" y="110"/>
                  </a:lnTo>
                  <a:lnTo>
                    <a:pt x="104" y="116"/>
                  </a:lnTo>
                  <a:lnTo>
                    <a:pt x="106" y="122"/>
                  </a:lnTo>
                  <a:lnTo>
                    <a:pt x="104" y="122"/>
                  </a:lnTo>
                  <a:lnTo>
                    <a:pt x="104" y="124"/>
                  </a:lnTo>
                  <a:lnTo>
                    <a:pt x="106" y="128"/>
                  </a:lnTo>
                  <a:lnTo>
                    <a:pt x="108" y="126"/>
                  </a:lnTo>
                  <a:lnTo>
                    <a:pt x="110" y="126"/>
                  </a:lnTo>
                  <a:lnTo>
                    <a:pt x="108" y="126"/>
                  </a:lnTo>
                  <a:lnTo>
                    <a:pt x="110" y="122"/>
                  </a:lnTo>
                  <a:lnTo>
                    <a:pt x="116" y="124"/>
                  </a:lnTo>
                  <a:lnTo>
                    <a:pt x="122" y="124"/>
                  </a:lnTo>
                  <a:lnTo>
                    <a:pt x="124" y="128"/>
                  </a:lnTo>
                  <a:lnTo>
                    <a:pt x="124" y="134"/>
                  </a:lnTo>
                  <a:lnTo>
                    <a:pt x="122" y="140"/>
                  </a:lnTo>
                  <a:lnTo>
                    <a:pt x="120" y="144"/>
                  </a:lnTo>
                  <a:lnTo>
                    <a:pt x="118" y="144"/>
                  </a:lnTo>
                  <a:lnTo>
                    <a:pt x="118" y="148"/>
                  </a:lnTo>
                  <a:lnTo>
                    <a:pt x="110" y="148"/>
                  </a:lnTo>
                  <a:lnTo>
                    <a:pt x="110" y="148"/>
                  </a:lnTo>
                  <a:lnTo>
                    <a:pt x="106" y="148"/>
                  </a:lnTo>
                  <a:lnTo>
                    <a:pt x="108" y="152"/>
                  </a:lnTo>
                  <a:lnTo>
                    <a:pt x="106" y="152"/>
                  </a:lnTo>
                  <a:lnTo>
                    <a:pt x="106" y="154"/>
                  </a:lnTo>
                  <a:lnTo>
                    <a:pt x="114" y="154"/>
                  </a:lnTo>
                  <a:lnTo>
                    <a:pt x="118" y="154"/>
                  </a:lnTo>
                  <a:lnTo>
                    <a:pt x="116" y="156"/>
                  </a:lnTo>
                  <a:lnTo>
                    <a:pt x="116" y="158"/>
                  </a:lnTo>
                  <a:lnTo>
                    <a:pt x="112" y="160"/>
                  </a:lnTo>
                  <a:lnTo>
                    <a:pt x="110" y="162"/>
                  </a:lnTo>
                  <a:lnTo>
                    <a:pt x="106" y="162"/>
                  </a:lnTo>
                  <a:lnTo>
                    <a:pt x="104" y="166"/>
                  </a:lnTo>
                  <a:lnTo>
                    <a:pt x="102" y="164"/>
                  </a:lnTo>
                  <a:lnTo>
                    <a:pt x="98" y="162"/>
                  </a:lnTo>
                  <a:lnTo>
                    <a:pt x="94" y="162"/>
                  </a:lnTo>
                  <a:lnTo>
                    <a:pt x="92" y="162"/>
                  </a:lnTo>
                  <a:lnTo>
                    <a:pt x="86" y="164"/>
                  </a:lnTo>
                  <a:lnTo>
                    <a:pt x="84" y="164"/>
                  </a:lnTo>
                  <a:lnTo>
                    <a:pt x="82" y="162"/>
                  </a:lnTo>
                  <a:lnTo>
                    <a:pt x="78" y="162"/>
                  </a:lnTo>
                  <a:lnTo>
                    <a:pt x="78" y="164"/>
                  </a:lnTo>
                  <a:lnTo>
                    <a:pt x="74" y="166"/>
                  </a:lnTo>
                  <a:lnTo>
                    <a:pt x="74" y="168"/>
                  </a:lnTo>
                  <a:lnTo>
                    <a:pt x="70" y="168"/>
                  </a:lnTo>
                  <a:lnTo>
                    <a:pt x="68" y="168"/>
                  </a:lnTo>
                  <a:lnTo>
                    <a:pt x="64" y="166"/>
                  </a:lnTo>
                  <a:lnTo>
                    <a:pt x="62" y="166"/>
                  </a:lnTo>
                  <a:lnTo>
                    <a:pt x="58" y="166"/>
                  </a:lnTo>
                  <a:lnTo>
                    <a:pt x="56" y="170"/>
                  </a:lnTo>
                  <a:lnTo>
                    <a:pt x="52" y="174"/>
                  </a:lnTo>
                  <a:lnTo>
                    <a:pt x="50" y="172"/>
                  </a:lnTo>
                  <a:lnTo>
                    <a:pt x="50" y="170"/>
                  </a:lnTo>
                  <a:lnTo>
                    <a:pt x="38" y="172"/>
                  </a:lnTo>
                  <a:lnTo>
                    <a:pt x="38" y="174"/>
                  </a:lnTo>
                  <a:lnTo>
                    <a:pt x="36" y="174"/>
                  </a:lnTo>
                  <a:lnTo>
                    <a:pt x="34" y="174"/>
                  </a:lnTo>
                  <a:lnTo>
                    <a:pt x="30" y="182"/>
                  </a:lnTo>
                  <a:lnTo>
                    <a:pt x="26" y="180"/>
                  </a:lnTo>
                  <a:lnTo>
                    <a:pt x="22" y="178"/>
                  </a:lnTo>
                  <a:lnTo>
                    <a:pt x="22" y="176"/>
                  </a:lnTo>
                  <a:lnTo>
                    <a:pt x="28" y="174"/>
                  </a:lnTo>
                  <a:lnTo>
                    <a:pt x="30" y="172"/>
                  </a:lnTo>
                  <a:lnTo>
                    <a:pt x="30" y="168"/>
                  </a:lnTo>
                  <a:lnTo>
                    <a:pt x="36" y="164"/>
                  </a:lnTo>
                  <a:lnTo>
                    <a:pt x="38" y="158"/>
                  </a:lnTo>
                  <a:lnTo>
                    <a:pt x="40" y="156"/>
                  </a:lnTo>
                  <a:lnTo>
                    <a:pt x="42" y="154"/>
                  </a:lnTo>
                  <a:lnTo>
                    <a:pt x="52" y="154"/>
                  </a:lnTo>
                  <a:lnTo>
                    <a:pt x="64" y="154"/>
                  </a:lnTo>
                  <a:lnTo>
                    <a:pt x="66" y="148"/>
                  </a:lnTo>
                  <a:lnTo>
                    <a:pt x="66" y="146"/>
                  </a:lnTo>
                  <a:lnTo>
                    <a:pt x="60" y="148"/>
                  </a:lnTo>
                  <a:lnTo>
                    <a:pt x="60" y="148"/>
                  </a:lnTo>
                  <a:lnTo>
                    <a:pt x="58" y="150"/>
                  </a:lnTo>
                  <a:lnTo>
                    <a:pt x="54" y="148"/>
                  </a:lnTo>
                  <a:lnTo>
                    <a:pt x="54" y="148"/>
                  </a:lnTo>
                  <a:lnTo>
                    <a:pt x="52" y="148"/>
                  </a:lnTo>
                  <a:lnTo>
                    <a:pt x="48" y="150"/>
                  </a:lnTo>
                  <a:lnTo>
                    <a:pt x="44" y="150"/>
                  </a:lnTo>
                  <a:lnTo>
                    <a:pt x="42" y="150"/>
                  </a:lnTo>
                  <a:lnTo>
                    <a:pt x="42" y="148"/>
                  </a:lnTo>
                  <a:lnTo>
                    <a:pt x="42" y="148"/>
                  </a:lnTo>
                  <a:lnTo>
                    <a:pt x="38" y="148"/>
                  </a:lnTo>
                  <a:lnTo>
                    <a:pt x="38" y="148"/>
                  </a:lnTo>
                  <a:lnTo>
                    <a:pt x="36" y="150"/>
                  </a:lnTo>
                  <a:lnTo>
                    <a:pt x="34" y="150"/>
                  </a:lnTo>
                  <a:lnTo>
                    <a:pt x="34" y="148"/>
                  </a:lnTo>
                  <a:lnTo>
                    <a:pt x="34" y="148"/>
                  </a:lnTo>
                  <a:lnTo>
                    <a:pt x="30" y="148"/>
                  </a:lnTo>
                  <a:lnTo>
                    <a:pt x="30" y="146"/>
                  </a:lnTo>
                  <a:lnTo>
                    <a:pt x="32" y="146"/>
                  </a:lnTo>
                  <a:lnTo>
                    <a:pt x="30" y="142"/>
                  </a:lnTo>
                  <a:lnTo>
                    <a:pt x="38" y="138"/>
                  </a:lnTo>
                  <a:lnTo>
                    <a:pt x="40" y="136"/>
                  </a:lnTo>
                  <a:lnTo>
                    <a:pt x="44" y="132"/>
                  </a:lnTo>
                  <a:lnTo>
                    <a:pt x="44" y="124"/>
                  </a:lnTo>
                  <a:lnTo>
                    <a:pt x="36" y="126"/>
                  </a:lnTo>
                  <a:lnTo>
                    <a:pt x="42" y="120"/>
                  </a:lnTo>
                  <a:lnTo>
                    <a:pt x="46" y="116"/>
                  </a:lnTo>
                  <a:lnTo>
                    <a:pt x="42" y="116"/>
                  </a:lnTo>
                  <a:lnTo>
                    <a:pt x="40" y="110"/>
                  </a:lnTo>
                  <a:lnTo>
                    <a:pt x="42" y="110"/>
                  </a:lnTo>
                  <a:lnTo>
                    <a:pt x="42" y="108"/>
                  </a:lnTo>
                  <a:lnTo>
                    <a:pt x="44" y="108"/>
                  </a:lnTo>
                  <a:lnTo>
                    <a:pt x="48" y="108"/>
                  </a:lnTo>
                  <a:lnTo>
                    <a:pt x="48" y="112"/>
                  </a:lnTo>
                  <a:lnTo>
                    <a:pt x="50" y="114"/>
                  </a:lnTo>
                  <a:lnTo>
                    <a:pt x="60" y="114"/>
                  </a:lnTo>
                  <a:lnTo>
                    <a:pt x="60" y="112"/>
                  </a:lnTo>
                  <a:lnTo>
                    <a:pt x="62" y="112"/>
                  </a:lnTo>
                  <a:lnTo>
                    <a:pt x="62" y="110"/>
                  </a:lnTo>
                  <a:lnTo>
                    <a:pt x="62" y="106"/>
                  </a:lnTo>
                  <a:lnTo>
                    <a:pt x="64" y="102"/>
                  </a:lnTo>
                  <a:lnTo>
                    <a:pt x="64" y="94"/>
                  </a:lnTo>
                  <a:lnTo>
                    <a:pt x="58" y="94"/>
                  </a:lnTo>
                  <a:lnTo>
                    <a:pt x="54" y="94"/>
                  </a:lnTo>
                  <a:lnTo>
                    <a:pt x="54" y="90"/>
                  </a:lnTo>
                  <a:lnTo>
                    <a:pt x="60" y="86"/>
                  </a:lnTo>
                  <a:lnTo>
                    <a:pt x="56" y="84"/>
                  </a:lnTo>
                  <a:lnTo>
                    <a:pt x="52" y="86"/>
                  </a:lnTo>
                  <a:lnTo>
                    <a:pt x="46" y="86"/>
                  </a:lnTo>
                  <a:lnTo>
                    <a:pt x="40" y="84"/>
                  </a:lnTo>
                  <a:lnTo>
                    <a:pt x="40" y="88"/>
                  </a:lnTo>
                  <a:lnTo>
                    <a:pt x="40" y="90"/>
                  </a:lnTo>
                  <a:lnTo>
                    <a:pt x="38" y="88"/>
                  </a:lnTo>
                  <a:lnTo>
                    <a:pt x="36" y="86"/>
                  </a:lnTo>
                  <a:lnTo>
                    <a:pt x="34" y="86"/>
                  </a:lnTo>
                  <a:lnTo>
                    <a:pt x="32" y="86"/>
                  </a:lnTo>
                  <a:lnTo>
                    <a:pt x="36" y="74"/>
                  </a:lnTo>
                  <a:lnTo>
                    <a:pt x="36" y="70"/>
                  </a:lnTo>
                  <a:lnTo>
                    <a:pt x="34" y="64"/>
                  </a:lnTo>
                  <a:lnTo>
                    <a:pt x="36" y="64"/>
                  </a:lnTo>
                  <a:lnTo>
                    <a:pt x="36" y="62"/>
                  </a:lnTo>
                  <a:lnTo>
                    <a:pt x="36" y="60"/>
                  </a:lnTo>
                  <a:lnTo>
                    <a:pt x="34" y="60"/>
                  </a:lnTo>
                  <a:lnTo>
                    <a:pt x="34" y="62"/>
                  </a:lnTo>
                  <a:lnTo>
                    <a:pt x="32" y="62"/>
                  </a:lnTo>
                  <a:lnTo>
                    <a:pt x="32" y="60"/>
                  </a:lnTo>
                  <a:lnTo>
                    <a:pt x="28" y="62"/>
                  </a:lnTo>
                  <a:lnTo>
                    <a:pt x="26" y="66"/>
                  </a:lnTo>
                  <a:lnTo>
                    <a:pt x="26" y="62"/>
                  </a:lnTo>
                  <a:lnTo>
                    <a:pt x="26" y="60"/>
                  </a:lnTo>
                  <a:lnTo>
                    <a:pt x="28" y="60"/>
                  </a:lnTo>
                  <a:lnTo>
                    <a:pt x="28" y="56"/>
                  </a:lnTo>
                  <a:lnTo>
                    <a:pt x="26" y="56"/>
                  </a:lnTo>
                  <a:lnTo>
                    <a:pt x="28" y="56"/>
                  </a:lnTo>
                  <a:lnTo>
                    <a:pt x="28" y="54"/>
                  </a:lnTo>
                  <a:lnTo>
                    <a:pt x="32" y="54"/>
                  </a:lnTo>
                  <a:lnTo>
                    <a:pt x="32" y="50"/>
                  </a:lnTo>
                  <a:lnTo>
                    <a:pt x="24" y="52"/>
                  </a:lnTo>
                  <a:lnTo>
                    <a:pt x="24" y="50"/>
                  </a:lnTo>
                  <a:lnTo>
                    <a:pt x="26" y="44"/>
                  </a:lnTo>
                  <a:lnTo>
                    <a:pt x="26" y="42"/>
                  </a:lnTo>
                  <a:lnTo>
                    <a:pt x="28" y="40"/>
                  </a:lnTo>
                  <a:lnTo>
                    <a:pt x="26" y="40"/>
                  </a:lnTo>
                  <a:lnTo>
                    <a:pt x="24" y="38"/>
                  </a:lnTo>
                  <a:lnTo>
                    <a:pt x="26" y="36"/>
                  </a:lnTo>
                  <a:lnTo>
                    <a:pt x="26" y="34"/>
                  </a:lnTo>
                  <a:lnTo>
                    <a:pt x="24" y="28"/>
                  </a:lnTo>
                  <a:lnTo>
                    <a:pt x="28" y="28"/>
                  </a:lnTo>
                  <a:lnTo>
                    <a:pt x="26" y="26"/>
                  </a:lnTo>
                  <a:lnTo>
                    <a:pt x="26" y="24"/>
                  </a:lnTo>
                  <a:lnTo>
                    <a:pt x="26" y="22"/>
                  </a:lnTo>
                  <a:lnTo>
                    <a:pt x="32" y="22"/>
                  </a:lnTo>
                  <a:lnTo>
                    <a:pt x="34" y="20"/>
                  </a:lnTo>
                  <a:lnTo>
                    <a:pt x="32" y="20"/>
                  </a:lnTo>
                  <a:lnTo>
                    <a:pt x="32" y="18"/>
                  </a:lnTo>
                  <a:lnTo>
                    <a:pt x="32" y="16"/>
                  </a:lnTo>
                  <a:lnTo>
                    <a:pt x="34" y="12"/>
                  </a:lnTo>
                  <a:lnTo>
                    <a:pt x="36" y="8"/>
                  </a:lnTo>
                  <a:lnTo>
                    <a:pt x="36" y="2"/>
                  </a:lnTo>
                  <a:lnTo>
                    <a:pt x="40" y="2"/>
                  </a:lnTo>
                  <a:lnTo>
                    <a:pt x="42" y="2"/>
                  </a:lnTo>
                  <a:lnTo>
                    <a:pt x="42" y="4"/>
                  </a:lnTo>
                  <a:lnTo>
                    <a:pt x="40" y="6"/>
                  </a:lnTo>
                  <a:lnTo>
                    <a:pt x="42" y="6"/>
                  </a:lnTo>
                  <a:lnTo>
                    <a:pt x="42" y="2"/>
                  </a:lnTo>
                  <a:lnTo>
                    <a:pt x="44" y="2"/>
                  </a:lnTo>
                  <a:lnTo>
                    <a:pt x="44" y="4"/>
                  </a:lnTo>
                  <a:lnTo>
                    <a:pt x="50" y="0"/>
                  </a:lnTo>
                  <a:lnTo>
                    <a:pt x="54" y="0"/>
                  </a:lnTo>
                  <a:lnTo>
                    <a:pt x="58" y="2"/>
                  </a:lnTo>
                  <a:lnTo>
                    <a:pt x="60" y="4"/>
                  </a:lnTo>
                  <a:lnTo>
                    <a:pt x="58" y="10"/>
                  </a:lnTo>
                  <a:lnTo>
                    <a:pt x="54" y="12"/>
                  </a:lnTo>
                  <a:lnTo>
                    <a:pt x="52" y="18"/>
                  </a:lnTo>
                  <a:lnTo>
                    <a:pt x="50" y="18"/>
                  </a:lnTo>
                  <a:lnTo>
                    <a:pt x="46" y="20"/>
                  </a:lnTo>
                  <a:lnTo>
                    <a:pt x="46" y="22"/>
                  </a:lnTo>
                  <a:lnTo>
                    <a:pt x="46" y="26"/>
                  </a:lnTo>
                  <a:lnTo>
                    <a:pt x="46" y="28"/>
                  </a:lnTo>
                  <a:lnTo>
                    <a:pt x="48" y="28"/>
                  </a:lnTo>
                  <a:lnTo>
                    <a:pt x="48" y="28"/>
                  </a:lnTo>
                  <a:close/>
                  <a:moveTo>
                    <a:pt x="22" y="48"/>
                  </a:moveTo>
                  <a:lnTo>
                    <a:pt x="22" y="48"/>
                  </a:lnTo>
                  <a:lnTo>
                    <a:pt x="22" y="52"/>
                  </a:lnTo>
                  <a:lnTo>
                    <a:pt x="22" y="54"/>
                  </a:lnTo>
                  <a:lnTo>
                    <a:pt x="22" y="56"/>
                  </a:lnTo>
                  <a:lnTo>
                    <a:pt x="18" y="54"/>
                  </a:lnTo>
                  <a:lnTo>
                    <a:pt x="20" y="54"/>
                  </a:lnTo>
                  <a:lnTo>
                    <a:pt x="20" y="52"/>
                  </a:lnTo>
                  <a:lnTo>
                    <a:pt x="18" y="50"/>
                  </a:lnTo>
                  <a:lnTo>
                    <a:pt x="18" y="48"/>
                  </a:lnTo>
                  <a:lnTo>
                    <a:pt x="22" y="48"/>
                  </a:lnTo>
                  <a:lnTo>
                    <a:pt x="22" y="48"/>
                  </a:lnTo>
                  <a:close/>
                  <a:moveTo>
                    <a:pt x="20" y="28"/>
                  </a:moveTo>
                  <a:lnTo>
                    <a:pt x="20" y="28"/>
                  </a:lnTo>
                  <a:lnTo>
                    <a:pt x="20" y="32"/>
                  </a:lnTo>
                  <a:lnTo>
                    <a:pt x="20" y="38"/>
                  </a:lnTo>
                  <a:lnTo>
                    <a:pt x="22" y="38"/>
                  </a:lnTo>
                  <a:lnTo>
                    <a:pt x="22" y="40"/>
                  </a:lnTo>
                  <a:lnTo>
                    <a:pt x="22" y="40"/>
                  </a:lnTo>
                  <a:lnTo>
                    <a:pt x="22" y="42"/>
                  </a:lnTo>
                  <a:lnTo>
                    <a:pt x="22" y="42"/>
                  </a:lnTo>
                  <a:lnTo>
                    <a:pt x="22" y="40"/>
                  </a:lnTo>
                  <a:lnTo>
                    <a:pt x="20" y="40"/>
                  </a:lnTo>
                  <a:lnTo>
                    <a:pt x="16" y="36"/>
                  </a:lnTo>
                  <a:lnTo>
                    <a:pt x="16" y="28"/>
                  </a:lnTo>
                  <a:lnTo>
                    <a:pt x="20" y="28"/>
                  </a:lnTo>
                  <a:lnTo>
                    <a:pt x="20" y="24"/>
                  </a:lnTo>
                  <a:lnTo>
                    <a:pt x="20" y="26"/>
                  </a:lnTo>
                  <a:lnTo>
                    <a:pt x="20" y="28"/>
                  </a:lnTo>
                  <a:lnTo>
                    <a:pt x="20" y="28"/>
                  </a:lnTo>
                  <a:close/>
                  <a:moveTo>
                    <a:pt x="20" y="12"/>
                  </a:moveTo>
                  <a:lnTo>
                    <a:pt x="20" y="12"/>
                  </a:lnTo>
                  <a:lnTo>
                    <a:pt x="18" y="16"/>
                  </a:lnTo>
                  <a:lnTo>
                    <a:pt x="18" y="20"/>
                  </a:lnTo>
                  <a:lnTo>
                    <a:pt x="14" y="20"/>
                  </a:lnTo>
                  <a:lnTo>
                    <a:pt x="14" y="22"/>
                  </a:lnTo>
                  <a:lnTo>
                    <a:pt x="10" y="24"/>
                  </a:lnTo>
                  <a:lnTo>
                    <a:pt x="10" y="20"/>
                  </a:lnTo>
                  <a:lnTo>
                    <a:pt x="14" y="16"/>
                  </a:lnTo>
                  <a:lnTo>
                    <a:pt x="12" y="14"/>
                  </a:lnTo>
                  <a:lnTo>
                    <a:pt x="10" y="10"/>
                  </a:lnTo>
                  <a:lnTo>
                    <a:pt x="14" y="10"/>
                  </a:lnTo>
                  <a:lnTo>
                    <a:pt x="14" y="6"/>
                  </a:lnTo>
                  <a:lnTo>
                    <a:pt x="20" y="2"/>
                  </a:lnTo>
                  <a:lnTo>
                    <a:pt x="22" y="4"/>
                  </a:lnTo>
                  <a:lnTo>
                    <a:pt x="22" y="8"/>
                  </a:lnTo>
                  <a:lnTo>
                    <a:pt x="20" y="12"/>
                  </a:lnTo>
                  <a:lnTo>
                    <a:pt x="20" y="1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5" name="Freeform 549">
              <a:extLst>
                <a:ext uri="{FF2B5EF4-FFF2-40B4-BE49-F238E27FC236}">
                  <a16:creationId xmlns:a16="http://schemas.microsoft.com/office/drawing/2014/main" id="{91F54EEB-F11B-4D69-B799-F30DC802A3EB}"/>
                </a:ext>
              </a:extLst>
            </p:cNvPr>
            <p:cNvSpPr>
              <a:spLocks noEditPoints="1"/>
            </p:cNvSpPr>
            <p:nvPr/>
          </p:nvSpPr>
          <p:spPr bwMode="auto">
            <a:xfrm>
              <a:off x="3365605" y="2833374"/>
              <a:ext cx="2853750" cy="1035844"/>
            </a:xfrm>
            <a:custGeom>
              <a:avLst/>
              <a:gdLst/>
              <a:ahLst/>
              <a:cxnLst>
                <a:cxn ang="0">
                  <a:pos x="1586" y="638"/>
                </a:cxn>
                <a:cxn ang="0">
                  <a:pos x="2200" y="306"/>
                </a:cxn>
                <a:cxn ang="0">
                  <a:pos x="2124" y="310"/>
                </a:cxn>
                <a:cxn ang="0">
                  <a:pos x="2034" y="326"/>
                </a:cxn>
                <a:cxn ang="0">
                  <a:pos x="1976" y="402"/>
                </a:cxn>
                <a:cxn ang="0">
                  <a:pos x="1870" y="424"/>
                </a:cxn>
                <a:cxn ang="0">
                  <a:pos x="1844" y="544"/>
                </a:cxn>
                <a:cxn ang="0">
                  <a:pos x="1778" y="494"/>
                </a:cxn>
                <a:cxn ang="0">
                  <a:pos x="1884" y="370"/>
                </a:cxn>
                <a:cxn ang="0">
                  <a:pos x="1812" y="388"/>
                </a:cxn>
                <a:cxn ang="0">
                  <a:pos x="1738" y="444"/>
                </a:cxn>
                <a:cxn ang="0">
                  <a:pos x="1658" y="440"/>
                </a:cxn>
                <a:cxn ang="0">
                  <a:pos x="1538" y="492"/>
                </a:cxn>
                <a:cxn ang="0">
                  <a:pos x="1570" y="574"/>
                </a:cxn>
                <a:cxn ang="0">
                  <a:pos x="1542" y="682"/>
                </a:cxn>
                <a:cxn ang="0">
                  <a:pos x="1438" y="768"/>
                </a:cxn>
                <a:cxn ang="0">
                  <a:pos x="1436" y="666"/>
                </a:cxn>
                <a:cxn ang="0">
                  <a:pos x="1288" y="630"/>
                </a:cxn>
                <a:cxn ang="0">
                  <a:pos x="1026" y="592"/>
                </a:cxn>
                <a:cxn ang="0">
                  <a:pos x="810" y="618"/>
                </a:cxn>
                <a:cxn ang="0">
                  <a:pos x="578" y="544"/>
                </a:cxn>
                <a:cxn ang="0">
                  <a:pos x="470" y="610"/>
                </a:cxn>
                <a:cxn ang="0">
                  <a:pos x="390" y="624"/>
                </a:cxn>
                <a:cxn ang="0">
                  <a:pos x="370" y="710"/>
                </a:cxn>
                <a:cxn ang="0">
                  <a:pos x="352" y="776"/>
                </a:cxn>
                <a:cxn ang="0">
                  <a:pos x="238" y="734"/>
                </a:cxn>
                <a:cxn ang="0">
                  <a:pos x="268" y="644"/>
                </a:cxn>
                <a:cxn ang="0">
                  <a:pos x="162" y="588"/>
                </a:cxn>
                <a:cxn ang="0">
                  <a:pos x="108" y="482"/>
                </a:cxn>
                <a:cxn ang="0">
                  <a:pos x="136" y="384"/>
                </a:cxn>
                <a:cxn ang="0">
                  <a:pos x="134" y="214"/>
                </a:cxn>
                <a:cxn ang="0">
                  <a:pos x="232" y="224"/>
                </a:cxn>
                <a:cxn ang="0">
                  <a:pos x="176" y="264"/>
                </a:cxn>
                <a:cxn ang="0">
                  <a:pos x="238" y="342"/>
                </a:cxn>
                <a:cxn ang="0">
                  <a:pos x="302" y="284"/>
                </a:cxn>
                <a:cxn ang="0">
                  <a:pos x="346" y="282"/>
                </a:cxn>
                <a:cxn ang="0">
                  <a:pos x="436" y="244"/>
                </a:cxn>
                <a:cxn ang="0">
                  <a:pos x="554" y="208"/>
                </a:cxn>
                <a:cxn ang="0">
                  <a:pos x="622" y="208"/>
                </a:cxn>
                <a:cxn ang="0">
                  <a:pos x="680" y="176"/>
                </a:cxn>
                <a:cxn ang="0">
                  <a:pos x="690" y="286"/>
                </a:cxn>
                <a:cxn ang="0">
                  <a:pos x="756" y="250"/>
                </a:cxn>
                <a:cxn ang="0">
                  <a:pos x="720" y="136"/>
                </a:cxn>
                <a:cxn ang="0">
                  <a:pos x="778" y="142"/>
                </a:cxn>
                <a:cxn ang="0">
                  <a:pos x="850" y="208"/>
                </a:cxn>
                <a:cxn ang="0">
                  <a:pos x="844" y="100"/>
                </a:cxn>
                <a:cxn ang="0">
                  <a:pos x="904" y="58"/>
                </a:cxn>
                <a:cxn ang="0">
                  <a:pos x="1016" y="50"/>
                </a:cxn>
                <a:cxn ang="0">
                  <a:pos x="1100" y="2"/>
                </a:cxn>
                <a:cxn ang="0">
                  <a:pos x="1206" y="38"/>
                </a:cxn>
                <a:cxn ang="0">
                  <a:pos x="1112" y="138"/>
                </a:cxn>
                <a:cxn ang="0">
                  <a:pos x="1208" y="106"/>
                </a:cxn>
                <a:cxn ang="0">
                  <a:pos x="1328" y="134"/>
                </a:cxn>
                <a:cxn ang="0">
                  <a:pos x="1360" y="134"/>
                </a:cxn>
                <a:cxn ang="0">
                  <a:pos x="1410" y="170"/>
                </a:cxn>
                <a:cxn ang="0">
                  <a:pos x="1534" y="166"/>
                </a:cxn>
                <a:cxn ang="0">
                  <a:pos x="1610" y="136"/>
                </a:cxn>
                <a:cxn ang="0">
                  <a:pos x="1682" y="170"/>
                </a:cxn>
                <a:cxn ang="0">
                  <a:pos x="1820" y="200"/>
                </a:cxn>
                <a:cxn ang="0">
                  <a:pos x="1952" y="222"/>
                </a:cxn>
                <a:cxn ang="0">
                  <a:pos x="2090" y="236"/>
                </a:cxn>
                <a:cxn ang="0">
                  <a:pos x="26" y="538"/>
                </a:cxn>
              </a:cxnLst>
              <a:rect l="0" t="0" r="r" b="b"/>
              <a:pathLst>
                <a:path w="2204" h="800">
                  <a:moveTo>
                    <a:pt x="1614" y="644"/>
                  </a:moveTo>
                  <a:lnTo>
                    <a:pt x="1614" y="644"/>
                  </a:lnTo>
                  <a:lnTo>
                    <a:pt x="1616" y="652"/>
                  </a:lnTo>
                  <a:lnTo>
                    <a:pt x="1612" y="648"/>
                  </a:lnTo>
                  <a:lnTo>
                    <a:pt x="1606" y="644"/>
                  </a:lnTo>
                  <a:lnTo>
                    <a:pt x="1604" y="644"/>
                  </a:lnTo>
                  <a:lnTo>
                    <a:pt x="1600" y="644"/>
                  </a:lnTo>
                  <a:lnTo>
                    <a:pt x="1598" y="646"/>
                  </a:lnTo>
                  <a:lnTo>
                    <a:pt x="1596" y="650"/>
                  </a:lnTo>
                  <a:lnTo>
                    <a:pt x="1596" y="656"/>
                  </a:lnTo>
                  <a:lnTo>
                    <a:pt x="1596" y="658"/>
                  </a:lnTo>
                  <a:lnTo>
                    <a:pt x="1594" y="668"/>
                  </a:lnTo>
                  <a:lnTo>
                    <a:pt x="1592" y="678"/>
                  </a:lnTo>
                  <a:lnTo>
                    <a:pt x="1594" y="686"/>
                  </a:lnTo>
                  <a:lnTo>
                    <a:pt x="1596" y="696"/>
                  </a:lnTo>
                  <a:lnTo>
                    <a:pt x="1600" y="698"/>
                  </a:lnTo>
                  <a:lnTo>
                    <a:pt x="1600" y="704"/>
                  </a:lnTo>
                  <a:lnTo>
                    <a:pt x="1602" y="710"/>
                  </a:lnTo>
                  <a:lnTo>
                    <a:pt x="1598" y="712"/>
                  </a:lnTo>
                  <a:lnTo>
                    <a:pt x="1598" y="710"/>
                  </a:lnTo>
                  <a:lnTo>
                    <a:pt x="1596" y="706"/>
                  </a:lnTo>
                  <a:lnTo>
                    <a:pt x="1596" y="704"/>
                  </a:lnTo>
                  <a:lnTo>
                    <a:pt x="1594" y="702"/>
                  </a:lnTo>
                  <a:lnTo>
                    <a:pt x="1592" y="698"/>
                  </a:lnTo>
                  <a:lnTo>
                    <a:pt x="1590" y="698"/>
                  </a:lnTo>
                  <a:lnTo>
                    <a:pt x="1588" y="700"/>
                  </a:lnTo>
                  <a:lnTo>
                    <a:pt x="1586" y="702"/>
                  </a:lnTo>
                  <a:lnTo>
                    <a:pt x="1584" y="708"/>
                  </a:lnTo>
                  <a:lnTo>
                    <a:pt x="1584" y="710"/>
                  </a:lnTo>
                  <a:lnTo>
                    <a:pt x="1580" y="710"/>
                  </a:lnTo>
                  <a:lnTo>
                    <a:pt x="1582" y="698"/>
                  </a:lnTo>
                  <a:lnTo>
                    <a:pt x="1584" y="696"/>
                  </a:lnTo>
                  <a:lnTo>
                    <a:pt x="1584" y="692"/>
                  </a:lnTo>
                  <a:lnTo>
                    <a:pt x="1584" y="686"/>
                  </a:lnTo>
                  <a:lnTo>
                    <a:pt x="1586" y="684"/>
                  </a:lnTo>
                  <a:lnTo>
                    <a:pt x="1586" y="672"/>
                  </a:lnTo>
                  <a:lnTo>
                    <a:pt x="1584" y="658"/>
                  </a:lnTo>
                  <a:lnTo>
                    <a:pt x="1586" y="656"/>
                  </a:lnTo>
                  <a:lnTo>
                    <a:pt x="1584" y="648"/>
                  </a:lnTo>
                  <a:lnTo>
                    <a:pt x="1586" y="638"/>
                  </a:lnTo>
                  <a:lnTo>
                    <a:pt x="1586" y="630"/>
                  </a:lnTo>
                  <a:lnTo>
                    <a:pt x="1584" y="622"/>
                  </a:lnTo>
                  <a:lnTo>
                    <a:pt x="1586" y="614"/>
                  </a:lnTo>
                  <a:lnTo>
                    <a:pt x="1584" y="608"/>
                  </a:lnTo>
                  <a:lnTo>
                    <a:pt x="1582" y="600"/>
                  </a:lnTo>
                  <a:lnTo>
                    <a:pt x="1582" y="596"/>
                  </a:lnTo>
                  <a:lnTo>
                    <a:pt x="1584" y="592"/>
                  </a:lnTo>
                  <a:lnTo>
                    <a:pt x="1584" y="588"/>
                  </a:lnTo>
                  <a:lnTo>
                    <a:pt x="1582" y="584"/>
                  </a:lnTo>
                  <a:lnTo>
                    <a:pt x="1586" y="582"/>
                  </a:lnTo>
                  <a:lnTo>
                    <a:pt x="1586" y="576"/>
                  </a:lnTo>
                  <a:lnTo>
                    <a:pt x="1594" y="572"/>
                  </a:lnTo>
                  <a:lnTo>
                    <a:pt x="1592" y="554"/>
                  </a:lnTo>
                  <a:lnTo>
                    <a:pt x="1596" y="554"/>
                  </a:lnTo>
                  <a:lnTo>
                    <a:pt x="1596" y="550"/>
                  </a:lnTo>
                  <a:lnTo>
                    <a:pt x="1600" y="556"/>
                  </a:lnTo>
                  <a:lnTo>
                    <a:pt x="1600" y="562"/>
                  </a:lnTo>
                  <a:lnTo>
                    <a:pt x="1598" y="564"/>
                  </a:lnTo>
                  <a:lnTo>
                    <a:pt x="1598" y="568"/>
                  </a:lnTo>
                  <a:lnTo>
                    <a:pt x="1598" y="572"/>
                  </a:lnTo>
                  <a:lnTo>
                    <a:pt x="1598" y="576"/>
                  </a:lnTo>
                  <a:lnTo>
                    <a:pt x="1602" y="580"/>
                  </a:lnTo>
                  <a:lnTo>
                    <a:pt x="1604" y="584"/>
                  </a:lnTo>
                  <a:lnTo>
                    <a:pt x="1604" y="588"/>
                  </a:lnTo>
                  <a:lnTo>
                    <a:pt x="1600" y="598"/>
                  </a:lnTo>
                  <a:lnTo>
                    <a:pt x="1602" y="600"/>
                  </a:lnTo>
                  <a:lnTo>
                    <a:pt x="1600" y="604"/>
                  </a:lnTo>
                  <a:lnTo>
                    <a:pt x="1600" y="612"/>
                  </a:lnTo>
                  <a:lnTo>
                    <a:pt x="1602" y="616"/>
                  </a:lnTo>
                  <a:lnTo>
                    <a:pt x="1604" y="622"/>
                  </a:lnTo>
                  <a:lnTo>
                    <a:pt x="1602" y="626"/>
                  </a:lnTo>
                  <a:lnTo>
                    <a:pt x="1602" y="628"/>
                  </a:lnTo>
                  <a:lnTo>
                    <a:pt x="1602" y="632"/>
                  </a:lnTo>
                  <a:lnTo>
                    <a:pt x="1606" y="638"/>
                  </a:lnTo>
                  <a:lnTo>
                    <a:pt x="1610" y="638"/>
                  </a:lnTo>
                  <a:lnTo>
                    <a:pt x="1610" y="640"/>
                  </a:lnTo>
                  <a:lnTo>
                    <a:pt x="1612" y="644"/>
                  </a:lnTo>
                  <a:lnTo>
                    <a:pt x="1614" y="644"/>
                  </a:lnTo>
                  <a:lnTo>
                    <a:pt x="1614" y="644"/>
                  </a:lnTo>
                  <a:close/>
                  <a:moveTo>
                    <a:pt x="2200" y="306"/>
                  </a:moveTo>
                  <a:lnTo>
                    <a:pt x="2200" y="306"/>
                  </a:lnTo>
                  <a:lnTo>
                    <a:pt x="2200" y="308"/>
                  </a:lnTo>
                  <a:lnTo>
                    <a:pt x="2200" y="312"/>
                  </a:lnTo>
                  <a:lnTo>
                    <a:pt x="2196" y="312"/>
                  </a:lnTo>
                  <a:lnTo>
                    <a:pt x="2194" y="318"/>
                  </a:lnTo>
                  <a:lnTo>
                    <a:pt x="2190" y="318"/>
                  </a:lnTo>
                  <a:lnTo>
                    <a:pt x="2190" y="316"/>
                  </a:lnTo>
                  <a:lnTo>
                    <a:pt x="2186" y="314"/>
                  </a:lnTo>
                  <a:lnTo>
                    <a:pt x="2172" y="314"/>
                  </a:lnTo>
                  <a:lnTo>
                    <a:pt x="2172" y="320"/>
                  </a:lnTo>
                  <a:lnTo>
                    <a:pt x="2178" y="318"/>
                  </a:lnTo>
                  <a:lnTo>
                    <a:pt x="2178" y="324"/>
                  </a:lnTo>
                  <a:lnTo>
                    <a:pt x="2170" y="326"/>
                  </a:lnTo>
                  <a:lnTo>
                    <a:pt x="2172" y="328"/>
                  </a:lnTo>
                  <a:lnTo>
                    <a:pt x="2172" y="330"/>
                  </a:lnTo>
                  <a:lnTo>
                    <a:pt x="2172" y="332"/>
                  </a:lnTo>
                  <a:lnTo>
                    <a:pt x="2174" y="336"/>
                  </a:lnTo>
                  <a:lnTo>
                    <a:pt x="2178" y="340"/>
                  </a:lnTo>
                  <a:lnTo>
                    <a:pt x="2170" y="338"/>
                  </a:lnTo>
                  <a:lnTo>
                    <a:pt x="2170" y="340"/>
                  </a:lnTo>
                  <a:lnTo>
                    <a:pt x="2168" y="340"/>
                  </a:lnTo>
                  <a:lnTo>
                    <a:pt x="2166" y="338"/>
                  </a:lnTo>
                  <a:lnTo>
                    <a:pt x="2164" y="338"/>
                  </a:lnTo>
                  <a:lnTo>
                    <a:pt x="2164" y="334"/>
                  </a:lnTo>
                  <a:lnTo>
                    <a:pt x="2162" y="334"/>
                  </a:lnTo>
                  <a:lnTo>
                    <a:pt x="2162" y="336"/>
                  </a:lnTo>
                  <a:lnTo>
                    <a:pt x="2160" y="336"/>
                  </a:lnTo>
                  <a:lnTo>
                    <a:pt x="2160" y="338"/>
                  </a:lnTo>
                  <a:lnTo>
                    <a:pt x="2154" y="340"/>
                  </a:lnTo>
                  <a:lnTo>
                    <a:pt x="2154" y="336"/>
                  </a:lnTo>
                  <a:lnTo>
                    <a:pt x="2148" y="330"/>
                  </a:lnTo>
                  <a:lnTo>
                    <a:pt x="2140" y="328"/>
                  </a:lnTo>
                  <a:lnTo>
                    <a:pt x="2138" y="330"/>
                  </a:lnTo>
                  <a:lnTo>
                    <a:pt x="2136" y="330"/>
                  </a:lnTo>
                  <a:lnTo>
                    <a:pt x="2132" y="328"/>
                  </a:lnTo>
                  <a:lnTo>
                    <a:pt x="2128" y="324"/>
                  </a:lnTo>
                  <a:lnTo>
                    <a:pt x="2130" y="320"/>
                  </a:lnTo>
                  <a:lnTo>
                    <a:pt x="2128" y="320"/>
                  </a:lnTo>
                  <a:lnTo>
                    <a:pt x="2128" y="316"/>
                  </a:lnTo>
                  <a:lnTo>
                    <a:pt x="2124" y="310"/>
                  </a:lnTo>
                  <a:lnTo>
                    <a:pt x="2122" y="310"/>
                  </a:lnTo>
                  <a:lnTo>
                    <a:pt x="2118" y="310"/>
                  </a:lnTo>
                  <a:lnTo>
                    <a:pt x="2112" y="310"/>
                  </a:lnTo>
                  <a:lnTo>
                    <a:pt x="2112" y="308"/>
                  </a:lnTo>
                  <a:lnTo>
                    <a:pt x="2110" y="308"/>
                  </a:lnTo>
                  <a:lnTo>
                    <a:pt x="2108" y="310"/>
                  </a:lnTo>
                  <a:lnTo>
                    <a:pt x="2108" y="312"/>
                  </a:lnTo>
                  <a:lnTo>
                    <a:pt x="2102" y="314"/>
                  </a:lnTo>
                  <a:lnTo>
                    <a:pt x="2096" y="316"/>
                  </a:lnTo>
                  <a:lnTo>
                    <a:pt x="2092" y="312"/>
                  </a:lnTo>
                  <a:lnTo>
                    <a:pt x="2086" y="310"/>
                  </a:lnTo>
                  <a:lnTo>
                    <a:pt x="2086" y="306"/>
                  </a:lnTo>
                  <a:lnTo>
                    <a:pt x="2090" y="302"/>
                  </a:lnTo>
                  <a:lnTo>
                    <a:pt x="2090" y="300"/>
                  </a:lnTo>
                  <a:lnTo>
                    <a:pt x="2088" y="298"/>
                  </a:lnTo>
                  <a:lnTo>
                    <a:pt x="2086" y="296"/>
                  </a:lnTo>
                  <a:lnTo>
                    <a:pt x="2086" y="294"/>
                  </a:lnTo>
                  <a:lnTo>
                    <a:pt x="2088" y="292"/>
                  </a:lnTo>
                  <a:lnTo>
                    <a:pt x="2084" y="290"/>
                  </a:lnTo>
                  <a:lnTo>
                    <a:pt x="2080" y="294"/>
                  </a:lnTo>
                  <a:lnTo>
                    <a:pt x="2080" y="296"/>
                  </a:lnTo>
                  <a:lnTo>
                    <a:pt x="2082" y="298"/>
                  </a:lnTo>
                  <a:lnTo>
                    <a:pt x="2082" y="302"/>
                  </a:lnTo>
                  <a:lnTo>
                    <a:pt x="2080" y="302"/>
                  </a:lnTo>
                  <a:lnTo>
                    <a:pt x="2078" y="306"/>
                  </a:lnTo>
                  <a:lnTo>
                    <a:pt x="2084" y="310"/>
                  </a:lnTo>
                  <a:lnTo>
                    <a:pt x="2084" y="312"/>
                  </a:lnTo>
                  <a:lnTo>
                    <a:pt x="2080" y="318"/>
                  </a:lnTo>
                  <a:lnTo>
                    <a:pt x="2082" y="320"/>
                  </a:lnTo>
                  <a:lnTo>
                    <a:pt x="2080" y="322"/>
                  </a:lnTo>
                  <a:lnTo>
                    <a:pt x="2074" y="326"/>
                  </a:lnTo>
                  <a:lnTo>
                    <a:pt x="2066" y="328"/>
                  </a:lnTo>
                  <a:lnTo>
                    <a:pt x="2060" y="328"/>
                  </a:lnTo>
                  <a:lnTo>
                    <a:pt x="2054" y="326"/>
                  </a:lnTo>
                  <a:lnTo>
                    <a:pt x="2042" y="322"/>
                  </a:lnTo>
                  <a:lnTo>
                    <a:pt x="2040" y="324"/>
                  </a:lnTo>
                  <a:lnTo>
                    <a:pt x="2034" y="324"/>
                  </a:lnTo>
                  <a:lnTo>
                    <a:pt x="2028" y="324"/>
                  </a:lnTo>
                  <a:lnTo>
                    <a:pt x="2028" y="326"/>
                  </a:lnTo>
                  <a:lnTo>
                    <a:pt x="2034" y="326"/>
                  </a:lnTo>
                  <a:lnTo>
                    <a:pt x="2040" y="330"/>
                  </a:lnTo>
                  <a:lnTo>
                    <a:pt x="2044" y="326"/>
                  </a:lnTo>
                  <a:lnTo>
                    <a:pt x="2046" y="332"/>
                  </a:lnTo>
                  <a:lnTo>
                    <a:pt x="2042" y="332"/>
                  </a:lnTo>
                  <a:lnTo>
                    <a:pt x="2040" y="338"/>
                  </a:lnTo>
                  <a:lnTo>
                    <a:pt x="2046" y="336"/>
                  </a:lnTo>
                  <a:lnTo>
                    <a:pt x="2050" y="336"/>
                  </a:lnTo>
                  <a:lnTo>
                    <a:pt x="2056" y="348"/>
                  </a:lnTo>
                  <a:lnTo>
                    <a:pt x="2058" y="348"/>
                  </a:lnTo>
                  <a:lnTo>
                    <a:pt x="2060" y="354"/>
                  </a:lnTo>
                  <a:lnTo>
                    <a:pt x="2062" y="356"/>
                  </a:lnTo>
                  <a:lnTo>
                    <a:pt x="2060" y="358"/>
                  </a:lnTo>
                  <a:lnTo>
                    <a:pt x="2060" y="360"/>
                  </a:lnTo>
                  <a:lnTo>
                    <a:pt x="2066" y="362"/>
                  </a:lnTo>
                  <a:lnTo>
                    <a:pt x="2066" y="364"/>
                  </a:lnTo>
                  <a:lnTo>
                    <a:pt x="2066" y="366"/>
                  </a:lnTo>
                  <a:lnTo>
                    <a:pt x="2066" y="370"/>
                  </a:lnTo>
                  <a:lnTo>
                    <a:pt x="2068" y="372"/>
                  </a:lnTo>
                  <a:lnTo>
                    <a:pt x="2062" y="376"/>
                  </a:lnTo>
                  <a:lnTo>
                    <a:pt x="2058" y="376"/>
                  </a:lnTo>
                  <a:lnTo>
                    <a:pt x="2054" y="376"/>
                  </a:lnTo>
                  <a:lnTo>
                    <a:pt x="2048" y="372"/>
                  </a:lnTo>
                  <a:lnTo>
                    <a:pt x="2038" y="374"/>
                  </a:lnTo>
                  <a:lnTo>
                    <a:pt x="2036" y="374"/>
                  </a:lnTo>
                  <a:lnTo>
                    <a:pt x="2034" y="372"/>
                  </a:lnTo>
                  <a:lnTo>
                    <a:pt x="2032" y="374"/>
                  </a:lnTo>
                  <a:lnTo>
                    <a:pt x="2026" y="376"/>
                  </a:lnTo>
                  <a:lnTo>
                    <a:pt x="2016" y="378"/>
                  </a:lnTo>
                  <a:lnTo>
                    <a:pt x="2016" y="380"/>
                  </a:lnTo>
                  <a:lnTo>
                    <a:pt x="2008" y="382"/>
                  </a:lnTo>
                  <a:lnTo>
                    <a:pt x="2002" y="384"/>
                  </a:lnTo>
                  <a:lnTo>
                    <a:pt x="1996" y="390"/>
                  </a:lnTo>
                  <a:lnTo>
                    <a:pt x="1990" y="386"/>
                  </a:lnTo>
                  <a:lnTo>
                    <a:pt x="1990" y="392"/>
                  </a:lnTo>
                  <a:lnTo>
                    <a:pt x="1988" y="396"/>
                  </a:lnTo>
                  <a:lnTo>
                    <a:pt x="1984" y="396"/>
                  </a:lnTo>
                  <a:lnTo>
                    <a:pt x="1978" y="392"/>
                  </a:lnTo>
                  <a:lnTo>
                    <a:pt x="1982" y="398"/>
                  </a:lnTo>
                  <a:lnTo>
                    <a:pt x="1978" y="402"/>
                  </a:lnTo>
                  <a:lnTo>
                    <a:pt x="1976" y="402"/>
                  </a:lnTo>
                  <a:lnTo>
                    <a:pt x="1974" y="402"/>
                  </a:lnTo>
                  <a:lnTo>
                    <a:pt x="1968" y="404"/>
                  </a:lnTo>
                  <a:lnTo>
                    <a:pt x="1968" y="406"/>
                  </a:lnTo>
                  <a:lnTo>
                    <a:pt x="1968" y="410"/>
                  </a:lnTo>
                  <a:lnTo>
                    <a:pt x="1966" y="410"/>
                  </a:lnTo>
                  <a:lnTo>
                    <a:pt x="1962" y="412"/>
                  </a:lnTo>
                  <a:lnTo>
                    <a:pt x="1962" y="414"/>
                  </a:lnTo>
                  <a:lnTo>
                    <a:pt x="1958" y="418"/>
                  </a:lnTo>
                  <a:lnTo>
                    <a:pt x="1956" y="424"/>
                  </a:lnTo>
                  <a:lnTo>
                    <a:pt x="1954" y="428"/>
                  </a:lnTo>
                  <a:lnTo>
                    <a:pt x="1942" y="422"/>
                  </a:lnTo>
                  <a:lnTo>
                    <a:pt x="1942" y="420"/>
                  </a:lnTo>
                  <a:lnTo>
                    <a:pt x="1942" y="416"/>
                  </a:lnTo>
                  <a:lnTo>
                    <a:pt x="1940" y="416"/>
                  </a:lnTo>
                  <a:lnTo>
                    <a:pt x="1936" y="416"/>
                  </a:lnTo>
                  <a:lnTo>
                    <a:pt x="1932" y="412"/>
                  </a:lnTo>
                  <a:lnTo>
                    <a:pt x="1926" y="408"/>
                  </a:lnTo>
                  <a:lnTo>
                    <a:pt x="1922" y="408"/>
                  </a:lnTo>
                  <a:lnTo>
                    <a:pt x="1920" y="410"/>
                  </a:lnTo>
                  <a:lnTo>
                    <a:pt x="1920" y="412"/>
                  </a:lnTo>
                  <a:lnTo>
                    <a:pt x="1916" y="412"/>
                  </a:lnTo>
                  <a:lnTo>
                    <a:pt x="1914" y="414"/>
                  </a:lnTo>
                  <a:lnTo>
                    <a:pt x="1912" y="414"/>
                  </a:lnTo>
                  <a:lnTo>
                    <a:pt x="1912" y="418"/>
                  </a:lnTo>
                  <a:lnTo>
                    <a:pt x="1904" y="428"/>
                  </a:lnTo>
                  <a:lnTo>
                    <a:pt x="1902" y="430"/>
                  </a:lnTo>
                  <a:lnTo>
                    <a:pt x="1900" y="430"/>
                  </a:lnTo>
                  <a:lnTo>
                    <a:pt x="1898" y="428"/>
                  </a:lnTo>
                  <a:lnTo>
                    <a:pt x="1898" y="422"/>
                  </a:lnTo>
                  <a:lnTo>
                    <a:pt x="1900" y="416"/>
                  </a:lnTo>
                  <a:lnTo>
                    <a:pt x="1902" y="412"/>
                  </a:lnTo>
                  <a:lnTo>
                    <a:pt x="1900" y="412"/>
                  </a:lnTo>
                  <a:lnTo>
                    <a:pt x="1896" y="418"/>
                  </a:lnTo>
                  <a:lnTo>
                    <a:pt x="1884" y="424"/>
                  </a:lnTo>
                  <a:lnTo>
                    <a:pt x="1884" y="428"/>
                  </a:lnTo>
                  <a:lnTo>
                    <a:pt x="1880" y="428"/>
                  </a:lnTo>
                  <a:lnTo>
                    <a:pt x="1878" y="426"/>
                  </a:lnTo>
                  <a:lnTo>
                    <a:pt x="1876" y="426"/>
                  </a:lnTo>
                  <a:lnTo>
                    <a:pt x="1872" y="426"/>
                  </a:lnTo>
                  <a:lnTo>
                    <a:pt x="1870" y="424"/>
                  </a:lnTo>
                  <a:lnTo>
                    <a:pt x="1868" y="424"/>
                  </a:lnTo>
                  <a:lnTo>
                    <a:pt x="1866" y="430"/>
                  </a:lnTo>
                  <a:lnTo>
                    <a:pt x="1862" y="432"/>
                  </a:lnTo>
                  <a:lnTo>
                    <a:pt x="1862" y="434"/>
                  </a:lnTo>
                  <a:lnTo>
                    <a:pt x="1862" y="438"/>
                  </a:lnTo>
                  <a:lnTo>
                    <a:pt x="1860" y="438"/>
                  </a:lnTo>
                  <a:lnTo>
                    <a:pt x="1860" y="442"/>
                  </a:lnTo>
                  <a:lnTo>
                    <a:pt x="1858" y="442"/>
                  </a:lnTo>
                  <a:lnTo>
                    <a:pt x="1856" y="442"/>
                  </a:lnTo>
                  <a:lnTo>
                    <a:pt x="1856" y="446"/>
                  </a:lnTo>
                  <a:lnTo>
                    <a:pt x="1852" y="448"/>
                  </a:lnTo>
                  <a:lnTo>
                    <a:pt x="1848" y="452"/>
                  </a:lnTo>
                  <a:lnTo>
                    <a:pt x="1844" y="458"/>
                  </a:lnTo>
                  <a:lnTo>
                    <a:pt x="1844" y="462"/>
                  </a:lnTo>
                  <a:lnTo>
                    <a:pt x="1846" y="470"/>
                  </a:lnTo>
                  <a:lnTo>
                    <a:pt x="1848" y="472"/>
                  </a:lnTo>
                  <a:lnTo>
                    <a:pt x="1848" y="470"/>
                  </a:lnTo>
                  <a:lnTo>
                    <a:pt x="1858" y="472"/>
                  </a:lnTo>
                  <a:lnTo>
                    <a:pt x="1858" y="476"/>
                  </a:lnTo>
                  <a:lnTo>
                    <a:pt x="1856" y="482"/>
                  </a:lnTo>
                  <a:lnTo>
                    <a:pt x="1852" y="484"/>
                  </a:lnTo>
                  <a:lnTo>
                    <a:pt x="1850" y="484"/>
                  </a:lnTo>
                  <a:lnTo>
                    <a:pt x="1850" y="488"/>
                  </a:lnTo>
                  <a:lnTo>
                    <a:pt x="1850" y="490"/>
                  </a:lnTo>
                  <a:lnTo>
                    <a:pt x="1848" y="492"/>
                  </a:lnTo>
                  <a:lnTo>
                    <a:pt x="1848" y="496"/>
                  </a:lnTo>
                  <a:lnTo>
                    <a:pt x="1850" y="498"/>
                  </a:lnTo>
                  <a:lnTo>
                    <a:pt x="1852" y="500"/>
                  </a:lnTo>
                  <a:lnTo>
                    <a:pt x="1852" y="504"/>
                  </a:lnTo>
                  <a:lnTo>
                    <a:pt x="1860" y="504"/>
                  </a:lnTo>
                  <a:lnTo>
                    <a:pt x="1860" y="510"/>
                  </a:lnTo>
                  <a:lnTo>
                    <a:pt x="1858" y="514"/>
                  </a:lnTo>
                  <a:lnTo>
                    <a:pt x="1854" y="512"/>
                  </a:lnTo>
                  <a:lnTo>
                    <a:pt x="1850" y="510"/>
                  </a:lnTo>
                  <a:lnTo>
                    <a:pt x="1846" y="514"/>
                  </a:lnTo>
                  <a:lnTo>
                    <a:pt x="1840" y="516"/>
                  </a:lnTo>
                  <a:lnTo>
                    <a:pt x="1838" y="534"/>
                  </a:lnTo>
                  <a:lnTo>
                    <a:pt x="1842" y="536"/>
                  </a:lnTo>
                  <a:lnTo>
                    <a:pt x="1844" y="540"/>
                  </a:lnTo>
                  <a:lnTo>
                    <a:pt x="1844" y="544"/>
                  </a:lnTo>
                  <a:lnTo>
                    <a:pt x="1842" y="544"/>
                  </a:lnTo>
                  <a:lnTo>
                    <a:pt x="1840" y="546"/>
                  </a:lnTo>
                  <a:lnTo>
                    <a:pt x="1840" y="548"/>
                  </a:lnTo>
                  <a:lnTo>
                    <a:pt x="1836" y="548"/>
                  </a:lnTo>
                  <a:lnTo>
                    <a:pt x="1830" y="548"/>
                  </a:lnTo>
                  <a:lnTo>
                    <a:pt x="1826" y="548"/>
                  </a:lnTo>
                  <a:lnTo>
                    <a:pt x="1822" y="552"/>
                  </a:lnTo>
                  <a:lnTo>
                    <a:pt x="1814" y="564"/>
                  </a:lnTo>
                  <a:lnTo>
                    <a:pt x="1814" y="572"/>
                  </a:lnTo>
                  <a:lnTo>
                    <a:pt x="1814" y="578"/>
                  </a:lnTo>
                  <a:lnTo>
                    <a:pt x="1814" y="580"/>
                  </a:lnTo>
                  <a:lnTo>
                    <a:pt x="1810" y="580"/>
                  </a:lnTo>
                  <a:lnTo>
                    <a:pt x="1806" y="580"/>
                  </a:lnTo>
                  <a:lnTo>
                    <a:pt x="1804" y="582"/>
                  </a:lnTo>
                  <a:lnTo>
                    <a:pt x="1802" y="584"/>
                  </a:lnTo>
                  <a:lnTo>
                    <a:pt x="1798" y="584"/>
                  </a:lnTo>
                  <a:lnTo>
                    <a:pt x="1798" y="588"/>
                  </a:lnTo>
                  <a:lnTo>
                    <a:pt x="1798" y="592"/>
                  </a:lnTo>
                  <a:lnTo>
                    <a:pt x="1798" y="598"/>
                  </a:lnTo>
                  <a:lnTo>
                    <a:pt x="1798" y="600"/>
                  </a:lnTo>
                  <a:lnTo>
                    <a:pt x="1778" y="616"/>
                  </a:lnTo>
                  <a:lnTo>
                    <a:pt x="1778" y="616"/>
                  </a:lnTo>
                  <a:lnTo>
                    <a:pt x="1778" y="612"/>
                  </a:lnTo>
                  <a:lnTo>
                    <a:pt x="1774" y="608"/>
                  </a:lnTo>
                  <a:lnTo>
                    <a:pt x="1774" y="602"/>
                  </a:lnTo>
                  <a:lnTo>
                    <a:pt x="1774" y="596"/>
                  </a:lnTo>
                  <a:lnTo>
                    <a:pt x="1770" y="588"/>
                  </a:lnTo>
                  <a:lnTo>
                    <a:pt x="1768" y="578"/>
                  </a:lnTo>
                  <a:lnTo>
                    <a:pt x="1768" y="564"/>
                  </a:lnTo>
                  <a:lnTo>
                    <a:pt x="1768" y="552"/>
                  </a:lnTo>
                  <a:lnTo>
                    <a:pt x="1766" y="546"/>
                  </a:lnTo>
                  <a:lnTo>
                    <a:pt x="1764" y="540"/>
                  </a:lnTo>
                  <a:lnTo>
                    <a:pt x="1762" y="530"/>
                  </a:lnTo>
                  <a:lnTo>
                    <a:pt x="1762" y="518"/>
                  </a:lnTo>
                  <a:lnTo>
                    <a:pt x="1766" y="510"/>
                  </a:lnTo>
                  <a:lnTo>
                    <a:pt x="1766" y="504"/>
                  </a:lnTo>
                  <a:lnTo>
                    <a:pt x="1768" y="500"/>
                  </a:lnTo>
                  <a:lnTo>
                    <a:pt x="1770" y="498"/>
                  </a:lnTo>
                  <a:lnTo>
                    <a:pt x="1774" y="494"/>
                  </a:lnTo>
                  <a:lnTo>
                    <a:pt x="1778" y="494"/>
                  </a:lnTo>
                  <a:lnTo>
                    <a:pt x="1780" y="478"/>
                  </a:lnTo>
                  <a:lnTo>
                    <a:pt x="1778" y="476"/>
                  </a:lnTo>
                  <a:lnTo>
                    <a:pt x="1778" y="474"/>
                  </a:lnTo>
                  <a:lnTo>
                    <a:pt x="1788" y="474"/>
                  </a:lnTo>
                  <a:lnTo>
                    <a:pt x="1790" y="472"/>
                  </a:lnTo>
                  <a:lnTo>
                    <a:pt x="1794" y="468"/>
                  </a:lnTo>
                  <a:lnTo>
                    <a:pt x="1796" y="468"/>
                  </a:lnTo>
                  <a:lnTo>
                    <a:pt x="1800" y="470"/>
                  </a:lnTo>
                  <a:lnTo>
                    <a:pt x="1802" y="466"/>
                  </a:lnTo>
                  <a:lnTo>
                    <a:pt x="1804" y="464"/>
                  </a:lnTo>
                  <a:lnTo>
                    <a:pt x="1810" y="458"/>
                  </a:lnTo>
                  <a:lnTo>
                    <a:pt x="1816" y="452"/>
                  </a:lnTo>
                  <a:lnTo>
                    <a:pt x="1816" y="450"/>
                  </a:lnTo>
                  <a:lnTo>
                    <a:pt x="1820" y="444"/>
                  </a:lnTo>
                  <a:lnTo>
                    <a:pt x="1826" y="442"/>
                  </a:lnTo>
                  <a:lnTo>
                    <a:pt x="1828" y="438"/>
                  </a:lnTo>
                  <a:lnTo>
                    <a:pt x="1828" y="436"/>
                  </a:lnTo>
                  <a:lnTo>
                    <a:pt x="1834" y="434"/>
                  </a:lnTo>
                  <a:lnTo>
                    <a:pt x="1838" y="428"/>
                  </a:lnTo>
                  <a:lnTo>
                    <a:pt x="1838" y="424"/>
                  </a:lnTo>
                  <a:lnTo>
                    <a:pt x="1842" y="422"/>
                  </a:lnTo>
                  <a:lnTo>
                    <a:pt x="1842" y="414"/>
                  </a:lnTo>
                  <a:lnTo>
                    <a:pt x="1844" y="412"/>
                  </a:lnTo>
                  <a:lnTo>
                    <a:pt x="1850" y="412"/>
                  </a:lnTo>
                  <a:lnTo>
                    <a:pt x="1854" y="408"/>
                  </a:lnTo>
                  <a:lnTo>
                    <a:pt x="1860" y="408"/>
                  </a:lnTo>
                  <a:lnTo>
                    <a:pt x="1868" y="408"/>
                  </a:lnTo>
                  <a:lnTo>
                    <a:pt x="1868" y="404"/>
                  </a:lnTo>
                  <a:lnTo>
                    <a:pt x="1872" y="404"/>
                  </a:lnTo>
                  <a:lnTo>
                    <a:pt x="1870" y="398"/>
                  </a:lnTo>
                  <a:lnTo>
                    <a:pt x="1872" y="392"/>
                  </a:lnTo>
                  <a:lnTo>
                    <a:pt x="1874" y="388"/>
                  </a:lnTo>
                  <a:lnTo>
                    <a:pt x="1874" y="384"/>
                  </a:lnTo>
                  <a:lnTo>
                    <a:pt x="1872" y="380"/>
                  </a:lnTo>
                  <a:lnTo>
                    <a:pt x="1872" y="378"/>
                  </a:lnTo>
                  <a:lnTo>
                    <a:pt x="1876" y="376"/>
                  </a:lnTo>
                  <a:lnTo>
                    <a:pt x="1880" y="374"/>
                  </a:lnTo>
                  <a:lnTo>
                    <a:pt x="1886" y="376"/>
                  </a:lnTo>
                  <a:lnTo>
                    <a:pt x="1890" y="374"/>
                  </a:lnTo>
                  <a:lnTo>
                    <a:pt x="1884" y="370"/>
                  </a:lnTo>
                  <a:lnTo>
                    <a:pt x="1880" y="368"/>
                  </a:lnTo>
                  <a:lnTo>
                    <a:pt x="1876" y="368"/>
                  </a:lnTo>
                  <a:lnTo>
                    <a:pt x="1870" y="370"/>
                  </a:lnTo>
                  <a:lnTo>
                    <a:pt x="1866" y="372"/>
                  </a:lnTo>
                  <a:lnTo>
                    <a:pt x="1866" y="376"/>
                  </a:lnTo>
                  <a:lnTo>
                    <a:pt x="1864" y="376"/>
                  </a:lnTo>
                  <a:lnTo>
                    <a:pt x="1862" y="376"/>
                  </a:lnTo>
                  <a:lnTo>
                    <a:pt x="1864" y="386"/>
                  </a:lnTo>
                  <a:lnTo>
                    <a:pt x="1866" y="386"/>
                  </a:lnTo>
                  <a:lnTo>
                    <a:pt x="1866" y="388"/>
                  </a:lnTo>
                  <a:lnTo>
                    <a:pt x="1860" y="390"/>
                  </a:lnTo>
                  <a:lnTo>
                    <a:pt x="1858" y="390"/>
                  </a:lnTo>
                  <a:lnTo>
                    <a:pt x="1858" y="388"/>
                  </a:lnTo>
                  <a:lnTo>
                    <a:pt x="1854" y="386"/>
                  </a:lnTo>
                  <a:lnTo>
                    <a:pt x="1850" y="388"/>
                  </a:lnTo>
                  <a:lnTo>
                    <a:pt x="1846" y="390"/>
                  </a:lnTo>
                  <a:lnTo>
                    <a:pt x="1840" y="394"/>
                  </a:lnTo>
                  <a:lnTo>
                    <a:pt x="1840" y="398"/>
                  </a:lnTo>
                  <a:lnTo>
                    <a:pt x="1840" y="400"/>
                  </a:lnTo>
                  <a:lnTo>
                    <a:pt x="1838" y="400"/>
                  </a:lnTo>
                  <a:lnTo>
                    <a:pt x="1838" y="404"/>
                  </a:lnTo>
                  <a:lnTo>
                    <a:pt x="1832" y="406"/>
                  </a:lnTo>
                  <a:lnTo>
                    <a:pt x="1826" y="414"/>
                  </a:lnTo>
                  <a:lnTo>
                    <a:pt x="1824" y="412"/>
                  </a:lnTo>
                  <a:lnTo>
                    <a:pt x="1824" y="408"/>
                  </a:lnTo>
                  <a:lnTo>
                    <a:pt x="1826" y="408"/>
                  </a:lnTo>
                  <a:lnTo>
                    <a:pt x="1826" y="404"/>
                  </a:lnTo>
                  <a:lnTo>
                    <a:pt x="1828" y="404"/>
                  </a:lnTo>
                  <a:lnTo>
                    <a:pt x="1828" y="402"/>
                  </a:lnTo>
                  <a:lnTo>
                    <a:pt x="1826" y="402"/>
                  </a:lnTo>
                  <a:lnTo>
                    <a:pt x="1824" y="406"/>
                  </a:lnTo>
                  <a:lnTo>
                    <a:pt x="1818" y="406"/>
                  </a:lnTo>
                  <a:lnTo>
                    <a:pt x="1820" y="400"/>
                  </a:lnTo>
                  <a:lnTo>
                    <a:pt x="1822" y="394"/>
                  </a:lnTo>
                  <a:lnTo>
                    <a:pt x="1824" y="394"/>
                  </a:lnTo>
                  <a:lnTo>
                    <a:pt x="1826" y="394"/>
                  </a:lnTo>
                  <a:lnTo>
                    <a:pt x="1826" y="384"/>
                  </a:lnTo>
                  <a:lnTo>
                    <a:pt x="1818" y="390"/>
                  </a:lnTo>
                  <a:lnTo>
                    <a:pt x="1814" y="390"/>
                  </a:lnTo>
                  <a:lnTo>
                    <a:pt x="1812" y="388"/>
                  </a:lnTo>
                  <a:lnTo>
                    <a:pt x="1808" y="384"/>
                  </a:lnTo>
                  <a:lnTo>
                    <a:pt x="1802" y="384"/>
                  </a:lnTo>
                  <a:lnTo>
                    <a:pt x="1798" y="386"/>
                  </a:lnTo>
                  <a:lnTo>
                    <a:pt x="1790" y="386"/>
                  </a:lnTo>
                  <a:lnTo>
                    <a:pt x="1784" y="388"/>
                  </a:lnTo>
                  <a:lnTo>
                    <a:pt x="1782" y="390"/>
                  </a:lnTo>
                  <a:lnTo>
                    <a:pt x="1780" y="392"/>
                  </a:lnTo>
                  <a:lnTo>
                    <a:pt x="1778" y="390"/>
                  </a:lnTo>
                  <a:lnTo>
                    <a:pt x="1778" y="390"/>
                  </a:lnTo>
                  <a:lnTo>
                    <a:pt x="1778" y="394"/>
                  </a:lnTo>
                  <a:lnTo>
                    <a:pt x="1776" y="398"/>
                  </a:lnTo>
                  <a:lnTo>
                    <a:pt x="1772" y="400"/>
                  </a:lnTo>
                  <a:lnTo>
                    <a:pt x="1770" y="400"/>
                  </a:lnTo>
                  <a:lnTo>
                    <a:pt x="1770" y="402"/>
                  </a:lnTo>
                  <a:lnTo>
                    <a:pt x="1772" y="406"/>
                  </a:lnTo>
                  <a:lnTo>
                    <a:pt x="1768" y="406"/>
                  </a:lnTo>
                  <a:lnTo>
                    <a:pt x="1768" y="410"/>
                  </a:lnTo>
                  <a:lnTo>
                    <a:pt x="1764" y="410"/>
                  </a:lnTo>
                  <a:lnTo>
                    <a:pt x="1762" y="410"/>
                  </a:lnTo>
                  <a:lnTo>
                    <a:pt x="1758" y="414"/>
                  </a:lnTo>
                  <a:lnTo>
                    <a:pt x="1752" y="416"/>
                  </a:lnTo>
                  <a:lnTo>
                    <a:pt x="1750" y="418"/>
                  </a:lnTo>
                  <a:lnTo>
                    <a:pt x="1750" y="420"/>
                  </a:lnTo>
                  <a:lnTo>
                    <a:pt x="1748" y="426"/>
                  </a:lnTo>
                  <a:lnTo>
                    <a:pt x="1744" y="426"/>
                  </a:lnTo>
                  <a:lnTo>
                    <a:pt x="1744" y="428"/>
                  </a:lnTo>
                  <a:lnTo>
                    <a:pt x="1744" y="432"/>
                  </a:lnTo>
                  <a:lnTo>
                    <a:pt x="1742" y="436"/>
                  </a:lnTo>
                  <a:lnTo>
                    <a:pt x="1744" y="436"/>
                  </a:lnTo>
                  <a:lnTo>
                    <a:pt x="1746" y="438"/>
                  </a:lnTo>
                  <a:lnTo>
                    <a:pt x="1750" y="434"/>
                  </a:lnTo>
                  <a:lnTo>
                    <a:pt x="1756" y="436"/>
                  </a:lnTo>
                  <a:lnTo>
                    <a:pt x="1758" y="436"/>
                  </a:lnTo>
                  <a:lnTo>
                    <a:pt x="1758" y="442"/>
                  </a:lnTo>
                  <a:lnTo>
                    <a:pt x="1750" y="444"/>
                  </a:lnTo>
                  <a:lnTo>
                    <a:pt x="1744" y="446"/>
                  </a:lnTo>
                  <a:lnTo>
                    <a:pt x="1744" y="444"/>
                  </a:lnTo>
                  <a:lnTo>
                    <a:pt x="1742" y="442"/>
                  </a:lnTo>
                  <a:lnTo>
                    <a:pt x="1740" y="442"/>
                  </a:lnTo>
                  <a:lnTo>
                    <a:pt x="1738" y="444"/>
                  </a:lnTo>
                  <a:lnTo>
                    <a:pt x="1734" y="446"/>
                  </a:lnTo>
                  <a:lnTo>
                    <a:pt x="1732" y="450"/>
                  </a:lnTo>
                  <a:lnTo>
                    <a:pt x="1724" y="446"/>
                  </a:lnTo>
                  <a:lnTo>
                    <a:pt x="1722" y="452"/>
                  </a:lnTo>
                  <a:lnTo>
                    <a:pt x="1714" y="452"/>
                  </a:lnTo>
                  <a:lnTo>
                    <a:pt x="1712" y="452"/>
                  </a:lnTo>
                  <a:lnTo>
                    <a:pt x="1710" y="448"/>
                  </a:lnTo>
                  <a:lnTo>
                    <a:pt x="1708" y="442"/>
                  </a:lnTo>
                  <a:lnTo>
                    <a:pt x="1714" y="442"/>
                  </a:lnTo>
                  <a:lnTo>
                    <a:pt x="1720" y="442"/>
                  </a:lnTo>
                  <a:lnTo>
                    <a:pt x="1722" y="438"/>
                  </a:lnTo>
                  <a:lnTo>
                    <a:pt x="1720" y="436"/>
                  </a:lnTo>
                  <a:lnTo>
                    <a:pt x="1714" y="432"/>
                  </a:lnTo>
                  <a:lnTo>
                    <a:pt x="1714" y="430"/>
                  </a:lnTo>
                  <a:lnTo>
                    <a:pt x="1708" y="432"/>
                  </a:lnTo>
                  <a:lnTo>
                    <a:pt x="1708" y="432"/>
                  </a:lnTo>
                  <a:lnTo>
                    <a:pt x="1706" y="434"/>
                  </a:lnTo>
                  <a:lnTo>
                    <a:pt x="1704" y="432"/>
                  </a:lnTo>
                  <a:lnTo>
                    <a:pt x="1702" y="432"/>
                  </a:lnTo>
                  <a:lnTo>
                    <a:pt x="1702" y="432"/>
                  </a:lnTo>
                  <a:lnTo>
                    <a:pt x="1698" y="432"/>
                  </a:lnTo>
                  <a:lnTo>
                    <a:pt x="1692" y="432"/>
                  </a:lnTo>
                  <a:lnTo>
                    <a:pt x="1686" y="430"/>
                  </a:lnTo>
                  <a:lnTo>
                    <a:pt x="1682" y="430"/>
                  </a:lnTo>
                  <a:lnTo>
                    <a:pt x="1678" y="432"/>
                  </a:lnTo>
                  <a:lnTo>
                    <a:pt x="1678" y="432"/>
                  </a:lnTo>
                  <a:lnTo>
                    <a:pt x="1680" y="436"/>
                  </a:lnTo>
                  <a:lnTo>
                    <a:pt x="1678" y="436"/>
                  </a:lnTo>
                  <a:lnTo>
                    <a:pt x="1678" y="438"/>
                  </a:lnTo>
                  <a:lnTo>
                    <a:pt x="1680" y="438"/>
                  </a:lnTo>
                  <a:lnTo>
                    <a:pt x="1680" y="440"/>
                  </a:lnTo>
                  <a:lnTo>
                    <a:pt x="1678" y="442"/>
                  </a:lnTo>
                  <a:lnTo>
                    <a:pt x="1676" y="442"/>
                  </a:lnTo>
                  <a:lnTo>
                    <a:pt x="1674" y="442"/>
                  </a:lnTo>
                  <a:lnTo>
                    <a:pt x="1674" y="440"/>
                  </a:lnTo>
                  <a:lnTo>
                    <a:pt x="1672" y="438"/>
                  </a:lnTo>
                  <a:lnTo>
                    <a:pt x="1670" y="438"/>
                  </a:lnTo>
                  <a:lnTo>
                    <a:pt x="1668" y="438"/>
                  </a:lnTo>
                  <a:lnTo>
                    <a:pt x="1664" y="440"/>
                  </a:lnTo>
                  <a:lnTo>
                    <a:pt x="1658" y="440"/>
                  </a:lnTo>
                  <a:lnTo>
                    <a:pt x="1652" y="436"/>
                  </a:lnTo>
                  <a:lnTo>
                    <a:pt x="1652" y="434"/>
                  </a:lnTo>
                  <a:lnTo>
                    <a:pt x="1648" y="434"/>
                  </a:lnTo>
                  <a:lnTo>
                    <a:pt x="1646" y="440"/>
                  </a:lnTo>
                  <a:lnTo>
                    <a:pt x="1644" y="442"/>
                  </a:lnTo>
                  <a:lnTo>
                    <a:pt x="1640" y="442"/>
                  </a:lnTo>
                  <a:lnTo>
                    <a:pt x="1640" y="440"/>
                  </a:lnTo>
                  <a:lnTo>
                    <a:pt x="1640" y="434"/>
                  </a:lnTo>
                  <a:lnTo>
                    <a:pt x="1632" y="432"/>
                  </a:lnTo>
                  <a:lnTo>
                    <a:pt x="1624" y="432"/>
                  </a:lnTo>
                  <a:lnTo>
                    <a:pt x="1604" y="434"/>
                  </a:lnTo>
                  <a:lnTo>
                    <a:pt x="1606" y="432"/>
                  </a:lnTo>
                  <a:lnTo>
                    <a:pt x="1604" y="430"/>
                  </a:lnTo>
                  <a:lnTo>
                    <a:pt x="1604" y="432"/>
                  </a:lnTo>
                  <a:lnTo>
                    <a:pt x="1600" y="430"/>
                  </a:lnTo>
                  <a:lnTo>
                    <a:pt x="1598" y="430"/>
                  </a:lnTo>
                  <a:lnTo>
                    <a:pt x="1598" y="434"/>
                  </a:lnTo>
                  <a:lnTo>
                    <a:pt x="1596" y="434"/>
                  </a:lnTo>
                  <a:lnTo>
                    <a:pt x="1592" y="436"/>
                  </a:lnTo>
                  <a:lnTo>
                    <a:pt x="1590" y="438"/>
                  </a:lnTo>
                  <a:lnTo>
                    <a:pt x="1586" y="442"/>
                  </a:lnTo>
                  <a:lnTo>
                    <a:pt x="1584" y="440"/>
                  </a:lnTo>
                  <a:lnTo>
                    <a:pt x="1582" y="440"/>
                  </a:lnTo>
                  <a:lnTo>
                    <a:pt x="1582" y="442"/>
                  </a:lnTo>
                  <a:lnTo>
                    <a:pt x="1582" y="446"/>
                  </a:lnTo>
                  <a:lnTo>
                    <a:pt x="1580" y="448"/>
                  </a:lnTo>
                  <a:lnTo>
                    <a:pt x="1576" y="450"/>
                  </a:lnTo>
                  <a:lnTo>
                    <a:pt x="1572" y="460"/>
                  </a:lnTo>
                  <a:lnTo>
                    <a:pt x="1568" y="472"/>
                  </a:lnTo>
                  <a:lnTo>
                    <a:pt x="1560" y="474"/>
                  </a:lnTo>
                  <a:lnTo>
                    <a:pt x="1558" y="478"/>
                  </a:lnTo>
                  <a:lnTo>
                    <a:pt x="1558" y="480"/>
                  </a:lnTo>
                  <a:lnTo>
                    <a:pt x="1556" y="480"/>
                  </a:lnTo>
                  <a:lnTo>
                    <a:pt x="1552" y="484"/>
                  </a:lnTo>
                  <a:lnTo>
                    <a:pt x="1546" y="486"/>
                  </a:lnTo>
                  <a:lnTo>
                    <a:pt x="1546" y="488"/>
                  </a:lnTo>
                  <a:lnTo>
                    <a:pt x="1544" y="488"/>
                  </a:lnTo>
                  <a:lnTo>
                    <a:pt x="1542" y="490"/>
                  </a:lnTo>
                  <a:lnTo>
                    <a:pt x="1540" y="492"/>
                  </a:lnTo>
                  <a:lnTo>
                    <a:pt x="1538" y="492"/>
                  </a:lnTo>
                  <a:lnTo>
                    <a:pt x="1538" y="490"/>
                  </a:lnTo>
                  <a:lnTo>
                    <a:pt x="1536" y="492"/>
                  </a:lnTo>
                  <a:lnTo>
                    <a:pt x="1536" y="494"/>
                  </a:lnTo>
                  <a:lnTo>
                    <a:pt x="1536" y="496"/>
                  </a:lnTo>
                  <a:lnTo>
                    <a:pt x="1534" y="500"/>
                  </a:lnTo>
                  <a:lnTo>
                    <a:pt x="1534" y="506"/>
                  </a:lnTo>
                  <a:lnTo>
                    <a:pt x="1532" y="508"/>
                  </a:lnTo>
                  <a:lnTo>
                    <a:pt x="1528" y="510"/>
                  </a:lnTo>
                  <a:lnTo>
                    <a:pt x="1528" y="512"/>
                  </a:lnTo>
                  <a:lnTo>
                    <a:pt x="1528" y="514"/>
                  </a:lnTo>
                  <a:lnTo>
                    <a:pt x="1524" y="516"/>
                  </a:lnTo>
                  <a:lnTo>
                    <a:pt x="1520" y="520"/>
                  </a:lnTo>
                  <a:lnTo>
                    <a:pt x="1516" y="524"/>
                  </a:lnTo>
                  <a:lnTo>
                    <a:pt x="1512" y="526"/>
                  </a:lnTo>
                  <a:lnTo>
                    <a:pt x="1508" y="530"/>
                  </a:lnTo>
                  <a:lnTo>
                    <a:pt x="1506" y="534"/>
                  </a:lnTo>
                  <a:lnTo>
                    <a:pt x="1502" y="536"/>
                  </a:lnTo>
                  <a:lnTo>
                    <a:pt x="1498" y="540"/>
                  </a:lnTo>
                  <a:lnTo>
                    <a:pt x="1496" y="546"/>
                  </a:lnTo>
                  <a:lnTo>
                    <a:pt x="1506" y="546"/>
                  </a:lnTo>
                  <a:lnTo>
                    <a:pt x="1516" y="546"/>
                  </a:lnTo>
                  <a:lnTo>
                    <a:pt x="1516" y="566"/>
                  </a:lnTo>
                  <a:lnTo>
                    <a:pt x="1520" y="566"/>
                  </a:lnTo>
                  <a:lnTo>
                    <a:pt x="1522" y="558"/>
                  </a:lnTo>
                  <a:lnTo>
                    <a:pt x="1526" y="562"/>
                  </a:lnTo>
                  <a:lnTo>
                    <a:pt x="1528" y="564"/>
                  </a:lnTo>
                  <a:lnTo>
                    <a:pt x="1524" y="572"/>
                  </a:lnTo>
                  <a:lnTo>
                    <a:pt x="1528" y="572"/>
                  </a:lnTo>
                  <a:lnTo>
                    <a:pt x="1532" y="568"/>
                  </a:lnTo>
                  <a:lnTo>
                    <a:pt x="1532" y="564"/>
                  </a:lnTo>
                  <a:lnTo>
                    <a:pt x="1538" y="566"/>
                  </a:lnTo>
                  <a:lnTo>
                    <a:pt x="1538" y="556"/>
                  </a:lnTo>
                  <a:lnTo>
                    <a:pt x="1544" y="558"/>
                  </a:lnTo>
                  <a:lnTo>
                    <a:pt x="1550" y="558"/>
                  </a:lnTo>
                  <a:lnTo>
                    <a:pt x="1552" y="562"/>
                  </a:lnTo>
                  <a:lnTo>
                    <a:pt x="1560" y="564"/>
                  </a:lnTo>
                  <a:lnTo>
                    <a:pt x="1560" y="566"/>
                  </a:lnTo>
                  <a:lnTo>
                    <a:pt x="1560" y="570"/>
                  </a:lnTo>
                  <a:lnTo>
                    <a:pt x="1568" y="576"/>
                  </a:lnTo>
                  <a:lnTo>
                    <a:pt x="1570" y="574"/>
                  </a:lnTo>
                  <a:lnTo>
                    <a:pt x="1570" y="578"/>
                  </a:lnTo>
                  <a:lnTo>
                    <a:pt x="1578" y="580"/>
                  </a:lnTo>
                  <a:lnTo>
                    <a:pt x="1580" y="578"/>
                  </a:lnTo>
                  <a:lnTo>
                    <a:pt x="1580" y="584"/>
                  </a:lnTo>
                  <a:lnTo>
                    <a:pt x="1574" y="582"/>
                  </a:lnTo>
                  <a:lnTo>
                    <a:pt x="1572" y="582"/>
                  </a:lnTo>
                  <a:lnTo>
                    <a:pt x="1570" y="582"/>
                  </a:lnTo>
                  <a:lnTo>
                    <a:pt x="1568" y="590"/>
                  </a:lnTo>
                  <a:lnTo>
                    <a:pt x="1570" y="592"/>
                  </a:lnTo>
                  <a:lnTo>
                    <a:pt x="1570" y="596"/>
                  </a:lnTo>
                  <a:lnTo>
                    <a:pt x="1570" y="594"/>
                  </a:lnTo>
                  <a:lnTo>
                    <a:pt x="1570" y="596"/>
                  </a:lnTo>
                  <a:lnTo>
                    <a:pt x="1570" y="598"/>
                  </a:lnTo>
                  <a:lnTo>
                    <a:pt x="1572" y="598"/>
                  </a:lnTo>
                  <a:lnTo>
                    <a:pt x="1572" y="600"/>
                  </a:lnTo>
                  <a:lnTo>
                    <a:pt x="1570" y="600"/>
                  </a:lnTo>
                  <a:lnTo>
                    <a:pt x="1570" y="604"/>
                  </a:lnTo>
                  <a:lnTo>
                    <a:pt x="1566" y="608"/>
                  </a:lnTo>
                  <a:lnTo>
                    <a:pt x="1562" y="612"/>
                  </a:lnTo>
                  <a:lnTo>
                    <a:pt x="1564" y="618"/>
                  </a:lnTo>
                  <a:lnTo>
                    <a:pt x="1562" y="622"/>
                  </a:lnTo>
                  <a:lnTo>
                    <a:pt x="1562" y="626"/>
                  </a:lnTo>
                  <a:lnTo>
                    <a:pt x="1564" y="626"/>
                  </a:lnTo>
                  <a:lnTo>
                    <a:pt x="1562" y="634"/>
                  </a:lnTo>
                  <a:lnTo>
                    <a:pt x="1564" y="636"/>
                  </a:lnTo>
                  <a:lnTo>
                    <a:pt x="1564" y="642"/>
                  </a:lnTo>
                  <a:lnTo>
                    <a:pt x="1562" y="646"/>
                  </a:lnTo>
                  <a:lnTo>
                    <a:pt x="1560" y="650"/>
                  </a:lnTo>
                  <a:lnTo>
                    <a:pt x="1560" y="652"/>
                  </a:lnTo>
                  <a:lnTo>
                    <a:pt x="1562" y="654"/>
                  </a:lnTo>
                  <a:lnTo>
                    <a:pt x="1560" y="656"/>
                  </a:lnTo>
                  <a:lnTo>
                    <a:pt x="1558" y="658"/>
                  </a:lnTo>
                  <a:lnTo>
                    <a:pt x="1558" y="662"/>
                  </a:lnTo>
                  <a:lnTo>
                    <a:pt x="1556" y="664"/>
                  </a:lnTo>
                  <a:lnTo>
                    <a:pt x="1552" y="668"/>
                  </a:lnTo>
                  <a:lnTo>
                    <a:pt x="1546" y="672"/>
                  </a:lnTo>
                  <a:lnTo>
                    <a:pt x="1546" y="676"/>
                  </a:lnTo>
                  <a:lnTo>
                    <a:pt x="1544" y="680"/>
                  </a:lnTo>
                  <a:lnTo>
                    <a:pt x="1544" y="682"/>
                  </a:lnTo>
                  <a:lnTo>
                    <a:pt x="1542" y="682"/>
                  </a:lnTo>
                  <a:lnTo>
                    <a:pt x="1538" y="688"/>
                  </a:lnTo>
                  <a:lnTo>
                    <a:pt x="1534" y="694"/>
                  </a:lnTo>
                  <a:lnTo>
                    <a:pt x="1534" y="696"/>
                  </a:lnTo>
                  <a:lnTo>
                    <a:pt x="1536" y="698"/>
                  </a:lnTo>
                  <a:lnTo>
                    <a:pt x="1532" y="710"/>
                  </a:lnTo>
                  <a:lnTo>
                    <a:pt x="1526" y="712"/>
                  </a:lnTo>
                  <a:lnTo>
                    <a:pt x="1524" y="718"/>
                  </a:lnTo>
                  <a:lnTo>
                    <a:pt x="1518" y="718"/>
                  </a:lnTo>
                  <a:lnTo>
                    <a:pt x="1510" y="728"/>
                  </a:lnTo>
                  <a:lnTo>
                    <a:pt x="1508" y="734"/>
                  </a:lnTo>
                  <a:lnTo>
                    <a:pt x="1506" y="736"/>
                  </a:lnTo>
                  <a:lnTo>
                    <a:pt x="1504" y="736"/>
                  </a:lnTo>
                  <a:lnTo>
                    <a:pt x="1504" y="740"/>
                  </a:lnTo>
                  <a:lnTo>
                    <a:pt x="1500" y="742"/>
                  </a:lnTo>
                  <a:lnTo>
                    <a:pt x="1500" y="746"/>
                  </a:lnTo>
                  <a:lnTo>
                    <a:pt x="1498" y="752"/>
                  </a:lnTo>
                  <a:lnTo>
                    <a:pt x="1494" y="752"/>
                  </a:lnTo>
                  <a:lnTo>
                    <a:pt x="1492" y="756"/>
                  </a:lnTo>
                  <a:lnTo>
                    <a:pt x="1484" y="764"/>
                  </a:lnTo>
                  <a:lnTo>
                    <a:pt x="1478" y="770"/>
                  </a:lnTo>
                  <a:lnTo>
                    <a:pt x="1476" y="772"/>
                  </a:lnTo>
                  <a:lnTo>
                    <a:pt x="1474" y="770"/>
                  </a:lnTo>
                  <a:lnTo>
                    <a:pt x="1470" y="768"/>
                  </a:lnTo>
                  <a:lnTo>
                    <a:pt x="1468" y="768"/>
                  </a:lnTo>
                  <a:lnTo>
                    <a:pt x="1466" y="766"/>
                  </a:lnTo>
                  <a:lnTo>
                    <a:pt x="1464" y="766"/>
                  </a:lnTo>
                  <a:lnTo>
                    <a:pt x="1462" y="762"/>
                  </a:lnTo>
                  <a:lnTo>
                    <a:pt x="1464" y="756"/>
                  </a:lnTo>
                  <a:lnTo>
                    <a:pt x="1460" y="758"/>
                  </a:lnTo>
                  <a:lnTo>
                    <a:pt x="1458" y="758"/>
                  </a:lnTo>
                  <a:lnTo>
                    <a:pt x="1456" y="758"/>
                  </a:lnTo>
                  <a:lnTo>
                    <a:pt x="1456" y="756"/>
                  </a:lnTo>
                  <a:lnTo>
                    <a:pt x="1456" y="754"/>
                  </a:lnTo>
                  <a:lnTo>
                    <a:pt x="1452" y="754"/>
                  </a:lnTo>
                  <a:lnTo>
                    <a:pt x="1450" y="760"/>
                  </a:lnTo>
                  <a:lnTo>
                    <a:pt x="1446" y="764"/>
                  </a:lnTo>
                  <a:lnTo>
                    <a:pt x="1444" y="764"/>
                  </a:lnTo>
                  <a:lnTo>
                    <a:pt x="1442" y="768"/>
                  </a:lnTo>
                  <a:lnTo>
                    <a:pt x="1438" y="768"/>
                  </a:lnTo>
                  <a:lnTo>
                    <a:pt x="1438" y="768"/>
                  </a:lnTo>
                  <a:lnTo>
                    <a:pt x="1440" y="764"/>
                  </a:lnTo>
                  <a:lnTo>
                    <a:pt x="1440" y="758"/>
                  </a:lnTo>
                  <a:lnTo>
                    <a:pt x="1442" y="756"/>
                  </a:lnTo>
                  <a:lnTo>
                    <a:pt x="1444" y="750"/>
                  </a:lnTo>
                  <a:lnTo>
                    <a:pt x="1442" y="740"/>
                  </a:lnTo>
                  <a:lnTo>
                    <a:pt x="1444" y="734"/>
                  </a:lnTo>
                  <a:lnTo>
                    <a:pt x="1444" y="728"/>
                  </a:lnTo>
                  <a:lnTo>
                    <a:pt x="1448" y="724"/>
                  </a:lnTo>
                  <a:lnTo>
                    <a:pt x="1452" y="722"/>
                  </a:lnTo>
                  <a:lnTo>
                    <a:pt x="1456" y="724"/>
                  </a:lnTo>
                  <a:lnTo>
                    <a:pt x="1454" y="728"/>
                  </a:lnTo>
                  <a:lnTo>
                    <a:pt x="1452" y="730"/>
                  </a:lnTo>
                  <a:lnTo>
                    <a:pt x="1454" y="734"/>
                  </a:lnTo>
                  <a:lnTo>
                    <a:pt x="1456" y="736"/>
                  </a:lnTo>
                  <a:lnTo>
                    <a:pt x="1460" y="736"/>
                  </a:lnTo>
                  <a:lnTo>
                    <a:pt x="1460" y="724"/>
                  </a:lnTo>
                  <a:lnTo>
                    <a:pt x="1464" y="720"/>
                  </a:lnTo>
                  <a:lnTo>
                    <a:pt x="1470" y="716"/>
                  </a:lnTo>
                  <a:lnTo>
                    <a:pt x="1470" y="712"/>
                  </a:lnTo>
                  <a:lnTo>
                    <a:pt x="1474" y="712"/>
                  </a:lnTo>
                  <a:lnTo>
                    <a:pt x="1478" y="706"/>
                  </a:lnTo>
                  <a:lnTo>
                    <a:pt x="1482" y="700"/>
                  </a:lnTo>
                  <a:lnTo>
                    <a:pt x="1484" y="690"/>
                  </a:lnTo>
                  <a:lnTo>
                    <a:pt x="1484" y="684"/>
                  </a:lnTo>
                  <a:lnTo>
                    <a:pt x="1488" y="682"/>
                  </a:lnTo>
                  <a:lnTo>
                    <a:pt x="1488" y="674"/>
                  </a:lnTo>
                  <a:lnTo>
                    <a:pt x="1484" y="670"/>
                  </a:lnTo>
                  <a:lnTo>
                    <a:pt x="1484" y="666"/>
                  </a:lnTo>
                  <a:lnTo>
                    <a:pt x="1488" y="658"/>
                  </a:lnTo>
                  <a:lnTo>
                    <a:pt x="1480" y="660"/>
                  </a:lnTo>
                  <a:lnTo>
                    <a:pt x="1478" y="664"/>
                  </a:lnTo>
                  <a:lnTo>
                    <a:pt x="1472" y="666"/>
                  </a:lnTo>
                  <a:lnTo>
                    <a:pt x="1470" y="666"/>
                  </a:lnTo>
                  <a:lnTo>
                    <a:pt x="1464" y="670"/>
                  </a:lnTo>
                  <a:lnTo>
                    <a:pt x="1460" y="674"/>
                  </a:lnTo>
                  <a:lnTo>
                    <a:pt x="1454" y="676"/>
                  </a:lnTo>
                  <a:lnTo>
                    <a:pt x="1450" y="678"/>
                  </a:lnTo>
                  <a:lnTo>
                    <a:pt x="1444" y="674"/>
                  </a:lnTo>
                  <a:lnTo>
                    <a:pt x="1438" y="672"/>
                  </a:lnTo>
                  <a:lnTo>
                    <a:pt x="1436" y="666"/>
                  </a:lnTo>
                  <a:lnTo>
                    <a:pt x="1436" y="660"/>
                  </a:lnTo>
                  <a:lnTo>
                    <a:pt x="1434" y="656"/>
                  </a:lnTo>
                  <a:lnTo>
                    <a:pt x="1428" y="650"/>
                  </a:lnTo>
                  <a:lnTo>
                    <a:pt x="1426" y="644"/>
                  </a:lnTo>
                  <a:lnTo>
                    <a:pt x="1424" y="638"/>
                  </a:lnTo>
                  <a:lnTo>
                    <a:pt x="1420" y="634"/>
                  </a:lnTo>
                  <a:lnTo>
                    <a:pt x="1414" y="632"/>
                  </a:lnTo>
                  <a:lnTo>
                    <a:pt x="1408" y="630"/>
                  </a:lnTo>
                  <a:lnTo>
                    <a:pt x="1402" y="630"/>
                  </a:lnTo>
                  <a:lnTo>
                    <a:pt x="1398" y="626"/>
                  </a:lnTo>
                  <a:lnTo>
                    <a:pt x="1394" y="618"/>
                  </a:lnTo>
                  <a:lnTo>
                    <a:pt x="1388" y="608"/>
                  </a:lnTo>
                  <a:lnTo>
                    <a:pt x="1386" y="600"/>
                  </a:lnTo>
                  <a:lnTo>
                    <a:pt x="1386" y="596"/>
                  </a:lnTo>
                  <a:lnTo>
                    <a:pt x="1380" y="590"/>
                  </a:lnTo>
                  <a:lnTo>
                    <a:pt x="1378" y="584"/>
                  </a:lnTo>
                  <a:lnTo>
                    <a:pt x="1370" y="578"/>
                  </a:lnTo>
                  <a:lnTo>
                    <a:pt x="1360" y="578"/>
                  </a:lnTo>
                  <a:lnTo>
                    <a:pt x="1356" y="572"/>
                  </a:lnTo>
                  <a:lnTo>
                    <a:pt x="1350" y="568"/>
                  </a:lnTo>
                  <a:lnTo>
                    <a:pt x="1346" y="564"/>
                  </a:lnTo>
                  <a:lnTo>
                    <a:pt x="1338" y="562"/>
                  </a:lnTo>
                  <a:lnTo>
                    <a:pt x="1334" y="564"/>
                  </a:lnTo>
                  <a:lnTo>
                    <a:pt x="1328" y="566"/>
                  </a:lnTo>
                  <a:lnTo>
                    <a:pt x="1320" y="566"/>
                  </a:lnTo>
                  <a:lnTo>
                    <a:pt x="1314" y="570"/>
                  </a:lnTo>
                  <a:lnTo>
                    <a:pt x="1308" y="576"/>
                  </a:lnTo>
                  <a:lnTo>
                    <a:pt x="1304" y="582"/>
                  </a:lnTo>
                  <a:lnTo>
                    <a:pt x="1302" y="584"/>
                  </a:lnTo>
                  <a:lnTo>
                    <a:pt x="1300" y="588"/>
                  </a:lnTo>
                  <a:lnTo>
                    <a:pt x="1306" y="586"/>
                  </a:lnTo>
                  <a:lnTo>
                    <a:pt x="1306" y="594"/>
                  </a:lnTo>
                  <a:lnTo>
                    <a:pt x="1306" y="600"/>
                  </a:lnTo>
                  <a:lnTo>
                    <a:pt x="1302" y="602"/>
                  </a:lnTo>
                  <a:lnTo>
                    <a:pt x="1304" y="608"/>
                  </a:lnTo>
                  <a:lnTo>
                    <a:pt x="1298" y="616"/>
                  </a:lnTo>
                  <a:lnTo>
                    <a:pt x="1294" y="622"/>
                  </a:lnTo>
                  <a:lnTo>
                    <a:pt x="1290" y="626"/>
                  </a:lnTo>
                  <a:lnTo>
                    <a:pt x="1288" y="628"/>
                  </a:lnTo>
                  <a:lnTo>
                    <a:pt x="1288" y="630"/>
                  </a:lnTo>
                  <a:lnTo>
                    <a:pt x="1290" y="632"/>
                  </a:lnTo>
                  <a:lnTo>
                    <a:pt x="1288" y="634"/>
                  </a:lnTo>
                  <a:lnTo>
                    <a:pt x="1286" y="636"/>
                  </a:lnTo>
                  <a:lnTo>
                    <a:pt x="1282" y="638"/>
                  </a:lnTo>
                  <a:lnTo>
                    <a:pt x="1272" y="644"/>
                  </a:lnTo>
                  <a:lnTo>
                    <a:pt x="1266" y="640"/>
                  </a:lnTo>
                  <a:lnTo>
                    <a:pt x="1258" y="636"/>
                  </a:lnTo>
                  <a:lnTo>
                    <a:pt x="1252" y="638"/>
                  </a:lnTo>
                  <a:lnTo>
                    <a:pt x="1242" y="636"/>
                  </a:lnTo>
                  <a:lnTo>
                    <a:pt x="1236" y="636"/>
                  </a:lnTo>
                  <a:lnTo>
                    <a:pt x="1226" y="630"/>
                  </a:lnTo>
                  <a:lnTo>
                    <a:pt x="1224" y="632"/>
                  </a:lnTo>
                  <a:lnTo>
                    <a:pt x="1212" y="640"/>
                  </a:lnTo>
                  <a:lnTo>
                    <a:pt x="1200" y="642"/>
                  </a:lnTo>
                  <a:lnTo>
                    <a:pt x="1194" y="646"/>
                  </a:lnTo>
                  <a:lnTo>
                    <a:pt x="1184" y="648"/>
                  </a:lnTo>
                  <a:lnTo>
                    <a:pt x="1174" y="646"/>
                  </a:lnTo>
                  <a:lnTo>
                    <a:pt x="1168" y="644"/>
                  </a:lnTo>
                  <a:lnTo>
                    <a:pt x="1162" y="646"/>
                  </a:lnTo>
                  <a:lnTo>
                    <a:pt x="1158" y="646"/>
                  </a:lnTo>
                  <a:lnTo>
                    <a:pt x="1152" y="642"/>
                  </a:lnTo>
                  <a:lnTo>
                    <a:pt x="1146" y="642"/>
                  </a:lnTo>
                  <a:lnTo>
                    <a:pt x="1140" y="638"/>
                  </a:lnTo>
                  <a:lnTo>
                    <a:pt x="1140" y="632"/>
                  </a:lnTo>
                  <a:lnTo>
                    <a:pt x="1134" y="632"/>
                  </a:lnTo>
                  <a:lnTo>
                    <a:pt x="1122" y="628"/>
                  </a:lnTo>
                  <a:lnTo>
                    <a:pt x="1114" y="626"/>
                  </a:lnTo>
                  <a:lnTo>
                    <a:pt x="1108" y="630"/>
                  </a:lnTo>
                  <a:lnTo>
                    <a:pt x="1102" y="632"/>
                  </a:lnTo>
                  <a:lnTo>
                    <a:pt x="1098" y="632"/>
                  </a:lnTo>
                  <a:lnTo>
                    <a:pt x="1092" y="632"/>
                  </a:lnTo>
                  <a:lnTo>
                    <a:pt x="1082" y="626"/>
                  </a:lnTo>
                  <a:lnTo>
                    <a:pt x="1078" y="624"/>
                  </a:lnTo>
                  <a:lnTo>
                    <a:pt x="1074" y="614"/>
                  </a:lnTo>
                  <a:lnTo>
                    <a:pt x="1066" y="608"/>
                  </a:lnTo>
                  <a:lnTo>
                    <a:pt x="1054" y="600"/>
                  </a:lnTo>
                  <a:lnTo>
                    <a:pt x="1044" y="598"/>
                  </a:lnTo>
                  <a:lnTo>
                    <a:pt x="1042" y="594"/>
                  </a:lnTo>
                  <a:lnTo>
                    <a:pt x="1032" y="594"/>
                  </a:lnTo>
                  <a:lnTo>
                    <a:pt x="1026" y="592"/>
                  </a:lnTo>
                  <a:lnTo>
                    <a:pt x="1016" y="592"/>
                  </a:lnTo>
                  <a:lnTo>
                    <a:pt x="1014" y="596"/>
                  </a:lnTo>
                  <a:lnTo>
                    <a:pt x="1010" y="600"/>
                  </a:lnTo>
                  <a:lnTo>
                    <a:pt x="1008" y="606"/>
                  </a:lnTo>
                  <a:lnTo>
                    <a:pt x="1014" y="610"/>
                  </a:lnTo>
                  <a:lnTo>
                    <a:pt x="1018" y="616"/>
                  </a:lnTo>
                  <a:lnTo>
                    <a:pt x="1020" y="624"/>
                  </a:lnTo>
                  <a:lnTo>
                    <a:pt x="1016" y="628"/>
                  </a:lnTo>
                  <a:lnTo>
                    <a:pt x="1006" y="628"/>
                  </a:lnTo>
                  <a:lnTo>
                    <a:pt x="994" y="628"/>
                  </a:lnTo>
                  <a:lnTo>
                    <a:pt x="984" y="628"/>
                  </a:lnTo>
                  <a:lnTo>
                    <a:pt x="978" y="626"/>
                  </a:lnTo>
                  <a:lnTo>
                    <a:pt x="970" y="622"/>
                  </a:lnTo>
                  <a:lnTo>
                    <a:pt x="960" y="618"/>
                  </a:lnTo>
                  <a:lnTo>
                    <a:pt x="952" y="620"/>
                  </a:lnTo>
                  <a:lnTo>
                    <a:pt x="950" y="616"/>
                  </a:lnTo>
                  <a:lnTo>
                    <a:pt x="942" y="616"/>
                  </a:lnTo>
                  <a:lnTo>
                    <a:pt x="932" y="616"/>
                  </a:lnTo>
                  <a:lnTo>
                    <a:pt x="928" y="620"/>
                  </a:lnTo>
                  <a:lnTo>
                    <a:pt x="920" y="624"/>
                  </a:lnTo>
                  <a:lnTo>
                    <a:pt x="914" y="626"/>
                  </a:lnTo>
                  <a:lnTo>
                    <a:pt x="910" y="630"/>
                  </a:lnTo>
                  <a:lnTo>
                    <a:pt x="906" y="634"/>
                  </a:lnTo>
                  <a:lnTo>
                    <a:pt x="906" y="638"/>
                  </a:lnTo>
                  <a:lnTo>
                    <a:pt x="904" y="642"/>
                  </a:lnTo>
                  <a:lnTo>
                    <a:pt x="898" y="644"/>
                  </a:lnTo>
                  <a:lnTo>
                    <a:pt x="892" y="646"/>
                  </a:lnTo>
                  <a:lnTo>
                    <a:pt x="886" y="650"/>
                  </a:lnTo>
                  <a:lnTo>
                    <a:pt x="876" y="648"/>
                  </a:lnTo>
                  <a:lnTo>
                    <a:pt x="874" y="644"/>
                  </a:lnTo>
                  <a:lnTo>
                    <a:pt x="868" y="640"/>
                  </a:lnTo>
                  <a:lnTo>
                    <a:pt x="866" y="632"/>
                  </a:lnTo>
                  <a:lnTo>
                    <a:pt x="858" y="632"/>
                  </a:lnTo>
                  <a:lnTo>
                    <a:pt x="850" y="634"/>
                  </a:lnTo>
                  <a:lnTo>
                    <a:pt x="834" y="642"/>
                  </a:lnTo>
                  <a:lnTo>
                    <a:pt x="824" y="644"/>
                  </a:lnTo>
                  <a:lnTo>
                    <a:pt x="818" y="640"/>
                  </a:lnTo>
                  <a:lnTo>
                    <a:pt x="814" y="636"/>
                  </a:lnTo>
                  <a:lnTo>
                    <a:pt x="812" y="626"/>
                  </a:lnTo>
                  <a:lnTo>
                    <a:pt x="810" y="618"/>
                  </a:lnTo>
                  <a:lnTo>
                    <a:pt x="804" y="612"/>
                  </a:lnTo>
                  <a:lnTo>
                    <a:pt x="800" y="608"/>
                  </a:lnTo>
                  <a:lnTo>
                    <a:pt x="796" y="606"/>
                  </a:lnTo>
                  <a:lnTo>
                    <a:pt x="784" y="606"/>
                  </a:lnTo>
                  <a:lnTo>
                    <a:pt x="780" y="608"/>
                  </a:lnTo>
                  <a:lnTo>
                    <a:pt x="772" y="610"/>
                  </a:lnTo>
                  <a:lnTo>
                    <a:pt x="768" y="608"/>
                  </a:lnTo>
                  <a:lnTo>
                    <a:pt x="766" y="604"/>
                  </a:lnTo>
                  <a:lnTo>
                    <a:pt x="762" y="600"/>
                  </a:lnTo>
                  <a:lnTo>
                    <a:pt x="756" y="586"/>
                  </a:lnTo>
                  <a:lnTo>
                    <a:pt x="746" y="564"/>
                  </a:lnTo>
                  <a:lnTo>
                    <a:pt x="736" y="548"/>
                  </a:lnTo>
                  <a:lnTo>
                    <a:pt x="738" y="544"/>
                  </a:lnTo>
                  <a:lnTo>
                    <a:pt x="736" y="542"/>
                  </a:lnTo>
                  <a:lnTo>
                    <a:pt x="726" y="544"/>
                  </a:lnTo>
                  <a:lnTo>
                    <a:pt x="716" y="546"/>
                  </a:lnTo>
                  <a:lnTo>
                    <a:pt x="702" y="552"/>
                  </a:lnTo>
                  <a:lnTo>
                    <a:pt x="692" y="556"/>
                  </a:lnTo>
                  <a:lnTo>
                    <a:pt x="680" y="556"/>
                  </a:lnTo>
                  <a:lnTo>
                    <a:pt x="680" y="554"/>
                  </a:lnTo>
                  <a:lnTo>
                    <a:pt x="680" y="550"/>
                  </a:lnTo>
                  <a:lnTo>
                    <a:pt x="678" y="548"/>
                  </a:lnTo>
                  <a:lnTo>
                    <a:pt x="676" y="548"/>
                  </a:lnTo>
                  <a:lnTo>
                    <a:pt x="672" y="550"/>
                  </a:lnTo>
                  <a:lnTo>
                    <a:pt x="670" y="548"/>
                  </a:lnTo>
                  <a:lnTo>
                    <a:pt x="662" y="544"/>
                  </a:lnTo>
                  <a:lnTo>
                    <a:pt x="656" y="550"/>
                  </a:lnTo>
                  <a:lnTo>
                    <a:pt x="650" y="552"/>
                  </a:lnTo>
                  <a:lnTo>
                    <a:pt x="644" y="546"/>
                  </a:lnTo>
                  <a:lnTo>
                    <a:pt x="640" y="544"/>
                  </a:lnTo>
                  <a:lnTo>
                    <a:pt x="642" y="540"/>
                  </a:lnTo>
                  <a:lnTo>
                    <a:pt x="642" y="536"/>
                  </a:lnTo>
                  <a:lnTo>
                    <a:pt x="636" y="534"/>
                  </a:lnTo>
                  <a:lnTo>
                    <a:pt x="634" y="530"/>
                  </a:lnTo>
                  <a:lnTo>
                    <a:pt x="628" y="532"/>
                  </a:lnTo>
                  <a:lnTo>
                    <a:pt x="618" y="534"/>
                  </a:lnTo>
                  <a:lnTo>
                    <a:pt x="608" y="542"/>
                  </a:lnTo>
                  <a:lnTo>
                    <a:pt x="604" y="542"/>
                  </a:lnTo>
                  <a:lnTo>
                    <a:pt x="590" y="544"/>
                  </a:lnTo>
                  <a:lnTo>
                    <a:pt x="578" y="544"/>
                  </a:lnTo>
                  <a:lnTo>
                    <a:pt x="568" y="546"/>
                  </a:lnTo>
                  <a:lnTo>
                    <a:pt x="556" y="548"/>
                  </a:lnTo>
                  <a:lnTo>
                    <a:pt x="550" y="546"/>
                  </a:lnTo>
                  <a:lnTo>
                    <a:pt x="544" y="544"/>
                  </a:lnTo>
                  <a:lnTo>
                    <a:pt x="536" y="542"/>
                  </a:lnTo>
                  <a:lnTo>
                    <a:pt x="530" y="544"/>
                  </a:lnTo>
                  <a:lnTo>
                    <a:pt x="532" y="548"/>
                  </a:lnTo>
                  <a:lnTo>
                    <a:pt x="532" y="556"/>
                  </a:lnTo>
                  <a:lnTo>
                    <a:pt x="526" y="562"/>
                  </a:lnTo>
                  <a:lnTo>
                    <a:pt x="526" y="570"/>
                  </a:lnTo>
                  <a:lnTo>
                    <a:pt x="522" y="576"/>
                  </a:lnTo>
                  <a:lnTo>
                    <a:pt x="522" y="582"/>
                  </a:lnTo>
                  <a:lnTo>
                    <a:pt x="528" y="590"/>
                  </a:lnTo>
                  <a:lnTo>
                    <a:pt x="530" y="594"/>
                  </a:lnTo>
                  <a:lnTo>
                    <a:pt x="524" y="602"/>
                  </a:lnTo>
                  <a:lnTo>
                    <a:pt x="530" y="606"/>
                  </a:lnTo>
                  <a:lnTo>
                    <a:pt x="532" y="606"/>
                  </a:lnTo>
                  <a:lnTo>
                    <a:pt x="538" y="612"/>
                  </a:lnTo>
                  <a:lnTo>
                    <a:pt x="538" y="616"/>
                  </a:lnTo>
                  <a:lnTo>
                    <a:pt x="536" y="618"/>
                  </a:lnTo>
                  <a:lnTo>
                    <a:pt x="532" y="620"/>
                  </a:lnTo>
                  <a:lnTo>
                    <a:pt x="526" y="620"/>
                  </a:lnTo>
                  <a:lnTo>
                    <a:pt x="518" y="618"/>
                  </a:lnTo>
                  <a:lnTo>
                    <a:pt x="516" y="614"/>
                  </a:lnTo>
                  <a:lnTo>
                    <a:pt x="512" y="606"/>
                  </a:lnTo>
                  <a:lnTo>
                    <a:pt x="510" y="606"/>
                  </a:lnTo>
                  <a:lnTo>
                    <a:pt x="508" y="606"/>
                  </a:lnTo>
                  <a:lnTo>
                    <a:pt x="506" y="608"/>
                  </a:lnTo>
                  <a:lnTo>
                    <a:pt x="504" y="608"/>
                  </a:lnTo>
                  <a:lnTo>
                    <a:pt x="502" y="606"/>
                  </a:lnTo>
                  <a:lnTo>
                    <a:pt x="502" y="604"/>
                  </a:lnTo>
                  <a:lnTo>
                    <a:pt x="498" y="604"/>
                  </a:lnTo>
                  <a:lnTo>
                    <a:pt x="492" y="608"/>
                  </a:lnTo>
                  <a:lnTo>
                    <a:pt x="488" y="612"/>
                  </a:lnTo>
                  <a:lnTo>
                    <a:pt x="486" y="612"/>
                  </a:lnTo>
                  <a:lnTo>
                    <a:pt x="484" y="612"/>
                  </a:lnTo>
                  <a:lnTo>
                    <a:pt x="478" y="608"/>
                  </a:lnTo>
                  <a:lnTo>
                    <a:pt x="474" y="608"/>
                  </a:lnTo>
                  <a:lnTo>
                    <a:pt x="472" y="608"/>
                  </a:lnTo>
                  <a:lnTo>
                    <a:pt x="470" y="610"/>
                  </a:lnTo>
                  <a:lnTo>
                    <a:pt x="470" y="612"/>
                  </a:lnTo>
                  <a:lnTo>
                    <a:pt x="470" y="614"/>
                  </a:lnTo>
                  <a:lnTo>
                    <a:pt x="470" y="618"/>
                  </a:lnTo>
                  <a:lnTo>
                    <a:pt x="462" y="616"/>
                  </a:lnTo>
                  <a:lnTo>
                    <a:pt x="464" y="614"/>
                  </a:lnTo>
                  <a:lnTo>
                    <a:pt x="466" y="612"/>
                  </a:lnTo>
                  <a:lnTo>
                    <a:pt x="464" y="608"/>
                  </a:lnTo>
                  <a:lnTo>
                    <a:pt x="464" y="606"/>
                  </a:lnTo>
                  <a:lnTo>
                    <a:pt x="462" y="606"/>
                  </a:lnTo>
                  <a:lnTo>
                    <a:pt x="456" y="606"/>
                  </a:lnTo>
                  <a:lnTo>
                    <a:pt x="454" y="606"/>
                  </a:lnTo>
                  <a:lnTo>
                    <a:pt x="452" y="602"/>
                  </a:lnTo>
                  <a:lnTo>
                    <a:pt x="448" y="600"/>
                  </a:lnTo>
                  <a:lnTo>
                    <a:pt x="444" y="598"/>
                  </a:lnTo>
                  <a:lnTo>
                    <a:pt x="440" y="596"/>
                  </a:lnTo>
                  <a:lnTo>
                    <a:pt x="436" y="596"/>
                  </a:lnTo>
                  <a:lnTo>
                    <a:pt x="436" y="594"/>
                  </a:lnTo>
                  <a:lnTo>
                    <a:pt x="436" y="590"/>
                  </a:lnTo>
                  <a:lnTo>
                    <a:pt x="432" y="588"/>
                  </a:lnTo>
                  <a:lnTo>
                    <a:pt x="430" y="586"/>
                  </a:lnTo>
                  <a:lnTo>
                    <a:pt x="430" y="588"/>
                  </a:lnTo>
                  <a:lnTo>
                    <a:pt x="430" y="590"/>
                  </a:lnTo>
                  <a:lnTo>
                    <a:pt x="424" y="590"/>
                  </a:lnTo>
                  <a:lnTo>
                    <a:pt x="424" y="586"/>
                  </a:lnTo>
                  <a:lnTo>
                    <a:pt x="412" y="588"/>
                  </a:lnTo>
                  <a:lnTo>
                    <a:pt x="414" y="590"/>
                  </a:lnTo>
                  <a:lnTo>
                    <a:pt x="414" y="592"/>
                  </a:lnTo>
                  <a:lnTo>
                    <a:pt x="404" y="602"/>
                  </a:lnTo>
                  <a:lnTo>
                    <a:pt x="400" y="602"/>
                  </a:lnTo>
                  <a:lnTo>
                    <a:pt x="394" y="602"/>
                  </a:lnTo>
                  <a:lnTo>
                    <a:pt x="392" y="602"/>
                  </a:lnTo>
                  <a:lnTo>
                    <a:pt x="390" y="602"/>
                  </a:lnTo>
                  <a:lnTo>
                    <a:pt x="390" y="604"/>
                  </a:lnTo>
                  <a:lnTo>
                    <a:pt x="388" y="606"/>
                  </a:lnTo>
                  <a:lnTo>
                    <a:pt x="386" y="606"/>
                  </a:lnTo>
                  <a:lnTo>
                    <a:pt x="384" y="610"/>
                  </a:lnTo>
                  <a:lnTo>
                    <a:pt x="384" y="616"/>
                  </a:lnTo>
                  <a:lnTo>
                    <a:pt x="384" y="618"/>
                  </a:lnTo>
                  <a:lnTo>
                    <a:pt x="386" y="620"/>
                  </a:lnTo>
                  <a:lnTo>
                    <a:pt x="390" y="624"/>
                  </a:lnTo>
                  <a:lnTo>
                    <a:pt x="380" y="628"/>
                  </a:lnTo>
                  <a:lnTo>
                    <a:pt x="376" y="618"/>
                  </a:lnTo>
                  <a:lnTo>
                    <a:pt x="372" y="618"/>
                  </a:lnTo>
                  <a:lnTo>
                    <a:pt x="370" y="624"/>
                  </a:lnTo>
                  <a:lnTo>
                    <a:pt x="368" y="624"/>
                  </a:lnTo>
                  <a:lnTo>
                    <a:pt x="366" y="626"/>
                  </a:lnTo>
                  <a:lnTo>
                    <a:pt x="366" y="626"/>
                  </a:lnTo>
                  <a:lnTo>
                    <a:pt x="366" y="632"/>
                  </a:lnTo>
                  <a:lnTo>
                    <a:pt x="364" y="636"/>
                  </a:lnTo>
                  <a:lnTo>
                    <a:pt x="362" y="640"/>
                  </a:lnTo>
                  <a:lnTo>
                    <a:pt x="364" y="640"/>
                  </a:lnTo>
                  <a:lnTo>
                    <a:pt x="366" y="642"/>
                  </a:lnTo>
                  <a:lnTo>
                    <a:pt x="366" y="644"/>
                  </a:lnTo>
                  <a:lnTo>
                    <a:pt x="364" y="646"/>
                  </a:lnTo>
                  <a:lnTo>
                    <a:pt x="364" y="648"/>
                  </a:lnTo>
                  <a:lnTo>
                    <a:pt x="358" y="656"/>
                  </a:lnTo>
                  <a:lnTo>
                    <a:pt x="356" y="656"/>
                  </a:lnTo>
                  <a:lnTo>
                    <a:pt x="358" y="658"/>
                  </a:lnTo>
                  <a:lnTo>
                    <a:pt x="362" y="662"/>
                  </a:lnTo>
                  <a:lnTo>
                    <a:pt x="364" y="664"/>
                  </a:lnTo>
                  <a:lnTo>
                    <a:pt x="364" y="666"/>
                  </a:lnTo>
                  <a:lnTo>
                    <a:pt x="364" y="672"/>
                  </a:lnTo>
                  <a:lnTo>
                    <a:pt x="366" y="674"/>
                  </a:lnTo>
                  <a:lnTo>
                    <a:pt x="366" y="674"/>
                  </a:lnTo>
                  <a:lnTo>
                    <a:pt x="370" y="672"/>
                  </a:lnTo>
                  <a:lnTo>
                    <a:pt x="374" y="684"/>
                  </a:lnTo>
                  <a:lnTo>
                    <a:pt x="376" y="686"/>
                  </a:lnTo>
                  <a:lnTo>
                    <a:pt x="374" y="690"/>
                  </a:lnTo>
                  <a:lnTo>
                    <a:pt x="374" y="692"/>
                  </a:lnTo>
                  <a:lnTo>
                    <a:pt x="376" y="696"/>
                  </a:lnTo>
                  <a:lnTo>
                    <a:pt x="376" y="698"/>
                  </a:lnTo>
                  <a:lnTo>
                    <a:pt x="376" y="702"/>
                  </a:lnTo>
                  <a:lnTo>
                    <a:pt x="372" y="702"/>
                  </a:lnTo>
                  <a:lnTo>
                    <a:pt x="372" y="700"/>
                  </a:lnTo>
                  <a:lnTo>
                    <a:pt x="370" y="698"/>
                  </a:lnTo>
                  <a:lnTo>
                    <a:pt x="370" y="700"/>
                  </a:lnTo>
                  <a:lnTo>
                    <a:pt x="370" y="702"/>
                  </a:lnTo>
                  <a:lnTo>
                    <a:pt x="374" y="702"/>
                  </a:lnTo>
                  <a:lnTo>
                    <a:pt x="374" y="706"/>
                  </a:lnTo>
                  <a:lnTo>
                    <a:pt x="370" y="710"/>
                  </a:lnTo>
                  <a:lnTo>
                    <a:pt x="368" y="708"/>
                  </a:lnTo>
                  <a:lnTo>
                    <a:pt x="370" y="706"/>
                  </a:lnTo>
                  <a:lnTo>
                    <a:pt x="366" y="706"/>
                  </a:lnTo>
                  <a:lnTo>
                    <a:pt x="366" y="702"/>
                  </a:lnTo>
                  <a:lnTo>
                    <a:pt x="366" y="702"/>
                  </a:lnTo>
                  <a:lnTo>
                    <a:pt x="366" y="704"/>
                  </a:lnTo>
                  <a:lnTo>
                    <a:pt x="362" y="706"/>
                  </a:lnTo>
                  <a:lnTo>
                    <a:pt x="360" y="706"/>
                  </a:lnTo>
                  <a:lnTo>
                    <a:pt x="358" y="706"/>
                  </a:lnTo>
                  <a:lnTo>
                    <a:pt x="358" y="708"/>
                  </a:lnTo>
                  <a:lnTo>
                    <a:pt x="360" y="708"/>
                  </a:lnTo>
                  <a:lnTo>
                    <a:pt x="358" y="708"/>
                  </a:lnTo>
                  <a:lnTo>
                    <a:pt x="358" y="710"/>
                  </a:lnTo>
                  <a:lnTo>
                    <a:pt x="360" y="712"/>
                  </a:lnTo>
                  <a:lnTo>
                    <a:pt x="356" y="714"/>
                  </a:lnTo>
                  <a:lnTo>
                    <a:pt x="352" y="724"/>
                  </a:lnTo>
                  <a:lnTo>
                    <a:pt x="352" y="730"/>
                  </a:lnTo>
                  <a:lnTo>
                    <a:pt x="350" y="732"/>
                  </a:lnTo>
                  <a:lnTo>
                    <a:pt x="350" y="736"/>
                  </a:lnTo>
                  <a:lnTo>
                    <a:pt x="350" y="738"/>
                  </a:lnTo>
                  <a:lnTo>
                    <a:pt x="348" y="740"/>
                  </a:lnTo>
                  <a:lnTo>
                    <a:pt x="360" y="740"/>
                  </a:lnTo>
                  <a:lnTo>
                    <a:pt x="360" y="750"/>
                  </a:lnTo>
                  <a:lnTo>
                    <a:pt x="362" y="752"/>
                  </a:lnTo>
                  <a:lnTo>
                    <a:pt x="362" y="766"/>
                  </a:lnTo>
                  <a:lnTo>
                    <a:pt x="366" y="768"/>
                  </a:lnTo>
                  <a:lnTo>
                    <a:pt x="368" y="772"/>
                  </a:lnTo>
                  <a:lnTo>
                    <a:pt x="368" y="776"/>
                  </a:lnTo>
                  <a:lnTo>
                    <a:pt x="370" y="780"/>
                  </a:lnTo>
                  <a:lnTo>
                    <a:pt x="378" y="786"/>
                  </a:lnTo>
                  <a:lnTo>
                    <a:pt x="380" y="790"/>
                  </a:lnTo>
                  <a:lnTo>
                    <a:pt x="378" y="796"/>
                  </a:lnTo>
                  <a:lnTo>
                    <a:pt x="372" y="800"/>
                  </a:lnTo>
                  <a:lnTo>
                    <a:pt x="370" y="798"/>
                  </a:lnTo>
                  <a:lnTo>
                    <a:pt x="368" y="794"/>
                  </a:lnTo>
                  <a:lnTo>
                    <a:pt x="366" y="790"/>
                  </a:lnTo>
                  <a:lnTo>
                    <a:pt x="364" y="788"/>
                  </a:lnTo>
                  <a:lnTo>
                    <a:pt x="358" y="782"/>
                  </a:lnTo>
                  <a:lnTo>
                    <a:pt x="354" y="778"/>
                  </a:lnTo>
                  <a:lnTo>
                    <a:pt x="352" y="776"/>
                  </a:lnTo>
                  <a:lnTo>
                    <a:pt x="350" y="776"/>
                  </a:lnTo>
                  <a:lnTo>
                    <a:pt x="346" y="776"/>
                  </a:lnTo>
                  <a:lnTo>
                    <a:pt x="346" y="774"/>
                  </a:lnTo>
                  <a:lnTo>
                    <a:pt x="346" y="772"/>
                  </a:lnTo>
                  <a:lnTo>
                    <a:pt x="346" y="770"/>
                  </a:lnTo>
                  <a:lnTo>
                    <a:pt x="342" y="768"/>
                  </a:lnTo>
                  <a:lnTo>
                    <a:pt x="340" y="768"/>
                  </a:lnTo>
                  <a:lnTo>
                    <a:pt x="338" y="766"/>
                  </a:lnTo>
                  <a:lnTo>
                    <a:pt x="336" y="762"/>
                  </a:lnTo>
                  <a:lnTo>
                    <a:pt x="332" y="760"/>
                  </a:lnTo>
                  <a:lnTo>
                    <a:pt x="328" y="762"/>
                  </a:lnTo>
                  <a:lnTo>
                    <a:pt x="324" y="764"/>
                  </a:lnTo>
                  <a:lnTo>
                    <a:pt x="322" y="764"/>
                  </a:lnTo>
                  <a:lnTo>
                    <a:pt x="320" y="762"/>
                  </a:lnTo>
                  <a:lnTo>
                    <a:pt x="318" y="762"/>
                  </a:lnTo>
                  <a:lnTo>
                    <a:pt x="312" y="764"/>
                  </a:lnTo>
                  <a:lnTo>
                    <a:pt x="308" y="764"/>
                  </a:lnTo>
                  <a:lnTo>
                    <a:pt x="306" y="762"/>
                  </a:lnTo>
                  <a:lnTo>
                    <a:pt x="304" y="756"/>
                  </a:lnTo>
                  <a:lnTo>
                    <a:pt x="300" y="754"/>
                  </a:lnTo>
                  <a:lnTo>
                    <a:pt x="296" y="752"/>
                  </a:lnTo>
                  <a:lnTo>
                    <a:pt x="292" y="752"/>
                  </a:lnTo>
                  <a:lnTo>
                    <a:pt x="286" y="752"/>
                  </a:lnTo>
                  <a:lnTo>
                    <a:pt x="280" y="752"/>
                  </a:lnTo>
                  <a:lnTo>
                    <a:pt x="278" y="748"/>
                  </a:lnTo>
                  <a:lnTo>
                    <a:pt x="276" y="748"/>
                  </a:lnTo>
                  <a:lnTo>
                    <a:pt x="272" y="748"/>
                  </a:lnTo>
                  <a:lnTo>
                    <a:pt x="268" y="750"/>
                  </a:lnTo>
                  <a:lnTo>
                    <a:pt x="264" y="754"/>
                  </a:lnTo>
                  <a:lnTo>
                    <a:pt x="264" y="758"/>
                  </a:lnTo>
                  <a:lnTo>
                    <a:pt x="262" y="756"/>
                  </a:lnTo>
                  <a:lnTo>
                    <a:pt x="258" y="752"/>
                  </a:lnTo>
                  <a:lnTo>
                    <a:pt x="254" y="748"/>
                  </a:lnTo>
                  <a:lnTo>
                    <a:pt x="252" y="746"/>
                  </a:lnTo>
                  <a:lnTo>
                    <a:pt x="248" y="746"/>
                  </a:lnTo>
                  <a:lnTo>
                    <a:pt x="246" y="740"/>
                  </a:lnTo>
                  <a:lnTo>
                    <a:pt x="242" y="738"/>
                  </a:lnTo>
                  <a:lnTo>
                    <a:pt x="242" y="734"/>
                  </a:lnTo>
                  <a:lnTo>
                    <a:pt x="240" y="734"/>
                  </a:lnTo>
                  <a:lnTo>
                    <a:pt x="238" y="734"/>
                  </a:lnTo>
                  <a:lnTo>
                    <a:pt x="234" y="728"/>
                  </a:lnTo>
                  <a:lnTo>
                    <a:pt x="234" y="724"/>
                  </a:lnTo>
                  <a:lnTo>
                    <a:pt x="224" y="728"/>
                  </a:lnTo>
                  <a:lnTo>
                    <a:pt x="224" y="724"/>
                  </a:lnTo>
                  <a:lnTo>
                    <a:pt x="230" y="722"/>
                  </a:lnTo>
                  <a:lnTo>
                    <a:pt x="230" y="718"/>
                  </a:lnTo>
                  <a:lnTo>
                    <a:pt x="238" y="718"/>
                  </a:lnTo>
                  <a:lnTo>
                    <a:pt x="238" y="714"/>
                  </a:lnTo>
                  <a:lnTo>
                    <a:pt x="242" y="712"/>
                  </a:lnTo>
                  <a:lnTo>
                    <a:pt x="242" y="710"/>
                  </a:lnTo>
                  <a:lnTo>
                    <a:pt x="242" y="708"/>
                  </a:lnTo>
                  <a:lnTo>
                    <a:pt x="238" y="706"/>
                  </a:lnTo>
                  <a:lnTo>
                    <a:pt x="236" y="702"/>
                  </a:lnTo>
                  <a:lnTo>
                    <a:pt x="244" y="702"/>
                  </a:lnTo>
                  <a:lnTo>
                    <a:pt x="244" y="696"/>
                  </a:lnTo>
                  <a:lnTo>
                    <a:pt x="246" y="696"/>
                  </a:lnTo>
                  <a:lnTo>
                    <a:pt x="248" y="696"/>
                  </a:lnTo>
                  <a:lnTo>
                    <a:pt x="250" y="694"/>
                  </a:lnTo>
                  <a:lnTo>
                    <a:pt x="252" y="692"/>
                  </a:lnTo>
                  <a:lnTo>
                    <a:pt x="260" y="688"/>
                  </a:lnTo>
                  <a:lnTo>
                    <a:pt x="260" y="686"/>
                  </a:lnTo>
                  <a:lnTo>
                    <a:pt x="258" y="686"/>
                  </a:lnTo>
                  <a:lnTo>
                    <a:pt x="256" y="688"/>
                  </a:lnTo>
                  <a:lnTo>
                    <a:pt x="252" y="688"/>
                  </a:lnTo>
                  <a:lnTo>
                    <a:pt x="254" y="684"/>
                  </a:lnTo>
                  <a:lnTo>
                    <a:pt x="256" y="680"/>
                  </a:lnTo>
                  <a:lnTo>
                    <a:pt x="262" y="678"/>
                  </a:lnTo>
                  <a:lnTo>
                    <a:pt x="266" y="678"/>
                  </a:lnTo>
                  <a:lnTo>
                    <a:pt x="268" y="676"/>
                  </a:lnTo>
                  <a:lnTo>
                    <a:pt x="270" y="666"/>
                  </a:lnTo>
                  <a:lnTo>
                    <a:pt x="270" y="662"/>
                  </a:lnTo>
                  <a:lnTo>
                    <a:pt x="268" y="660"/>
                  </a:lnTo>
                  <a:lnTo>
                    <a:pt x="268" y="656"/>
                  </a:lnTo>
                  <a:lnTo>
                    <a:pt x="268" y="656"/>
                  </a:lnTo>
                  <a:lnTo>
                    <a:pt x="268" y="654"/>
                  </a:lnTo>
                  <a:lnTo>
                    <a:pt x="266" y="652"/>
                  </a:lnTo>
                  <a:lnTo>
                    <a:pt x="264" y="650"/>
                  </a:lnTo>
                  <a:lnTo>
                    <a:pt x="266" y="650"/>
                  </a:lnTo>
                  <a:lnTo>
                    <a:pt x="268" y="646"/>
                  </a:lnTo>
                  <a:lnTo>
                    <a:pt x="268" y="644"/>
                  </a:lnTo>
                  <a:lnTo>
                    <a:pt x="266" y="644"/>
                  </a:lnTo>
                  <a:lnTo>
                    <a:pt x="262" y="642"/>
                  </a:lnTo>
                  <a:lnTo>
                    <a:pt x="262" y="640"/>
                  </a:lnTo>
                  <a:lnTo>
                    <a:pt x="264" y="638"/>
                  </a:lnTo>
                  <a:lnTo>
                    <a:pt x="262" y="634"/>
                  </a:lnTo>
                  <a:lnTo>
                    <a:pt x="244" y="628"/>
                  </a:lnTo>
                  <a:lnTo>
                    <a:pt x="242" y="626"/>
                  </a:lnTo>
                  <a:lnTo>
                    <a:pt x="238" y="624"/>
                  </a:lnTo>
                  <a:lnTo>
                    <a:pt x="236" y="622"/>
                  </a:lnTo>
                  <a:lnTo>
                    <a:pt x="236" y="620"/>
                  </a:lnTo>
                  <a:lnTo>
                    <a:pt x="232" y="618"/>
                  </a:lnTo>
                  <a:lnTo>
                    <a:pt x="228" y="618"/>
                  </a:lnTo>
                  <a:lnTo>
                    <a:pt x="224" y="620"/>
                  </a:lnTo>
                  <a:lnTo>
                    <a:pt x="216" y="624"/>
                  </a:lnTo>
                  <a:lnTo>
                    <a:pt x="214" y="620"/>
                  </a:lnTo>
                  <a:lnTo>
                    <a:pt x="214" y="616"/>
                  </a:lnTo>
                  <a:lnTo>
                    <a:pt x="212" y="614"/>
                  </a:lnTo>
                  <a:lnTo>
                    <a:pt x="206" y="612"/>
                  </a:lnTo>
                  <a:lnTo>
                    <a:pt x="204" y="608"/>
                  </a:lnTo>
                  <a:lnTo>
                    <a:pt x="204" y="606"/>
                  </a:lnTo>
                  <a:lnTo>
                    <a:pt x="202" y="606"/>
                  </a:lnTo>
                  <a:lnTo>
                    <a:pt x="198" y="608"/>
                  </a:lnTo>
                  <a:lnTo>
                    <a:pt x="192" y="604"/>
                  </a:lnTo>
                  <a:lnTo>
                    <a:pt x="188" y="604"/>
                  </a:lnTo>
                  <a:lnTo>
                    <a:pt x="184" y="604"/>
                  </a:lnTo>
                  <a:lnTo>
                    <a:pt x="184" y="604"/>
                  </a:lnTo>
                  <a:lnTo>
                    <a:pt x="180" y="602"/>
                  </a:lnTo>
                  <a:lnTo>
                    <a:pt x="180" y="600"/>
                  </a:lnTo>
                  <a:lnTo>
                    <a:pt x="180" y="600"/>
                  </a:lnTo>
                  <a:lnTo>
                    <a:pt x="178" y="600"/>
                  </a:lnTo>
                  <a:lnTo>
                    <a:pt x="178" y="598"/>
                  </a:lnTo>
                  <a:lnTo>
                    <a:pt x="178" y="594"/>
                  </a:lnTo>
                  <a:lnTo>
                    <a:pt x="178" y="592"/>
                  </a:lnTo>
                  <a:lnTo>
                    <a:pt x="176" y="588"/>
                  </a:lnTo>
                  <a:lnTo>
                    <a:pt x="176" y="586"/>
                  </a:lnTo>
                  <a:lnTo>
                    <a:pt x="174" y="586"/>
                  </a:lnTo>
                  <a:lnTo>
                    <a:pt x="170" y="586"/>
                  </a:lnTo>
                  <a:lnTo>
                    <a:pt x="166" y="584"/>
                  </a:lnTo>
                  <a:lnTo>
                    <a:pt x="164" y="586"/>
                  </a:lnTo>
                  <a:lnTo>
                    <a:pt x="162" y="588"/>
                  </a:lnTo>
                  <a:lnTo>
                    <a:pt x="158" y="588"/>
                  </a:lnTo>
                  <a:lnTo>
                    <a:pt x="156" y="584"/>
                  </a:lnTo>
                  <a:lnTo>
                    <a:pt x="156" y="568"/>
                  </a:lnTo>
                  <a:lnTo>
                    <a:pt x="154" y="566"/>
                  </a:lnTo>
                  <a:lnTo>
                    <a:pt x="152" y="564"/>
                  </a:lnTo>
                  <a:lnTo>
                    <a:pt x="150" y="564"/>
                  </a:lnTo>
                  <a:lnTo>
                    <a:pt x="150" y="560"/>
                  </a:lnTo>
                  <a:lnTo>
                    <a:pt x="152" y="558"/>
                  </a:lnTo>
                  <a:lnTo>
                    <a:pt x="154" y="558"/>
                  </a:lnTo>
                  <a:lnTo>
                    <a:pt x="158" y="560"/>
                  </a:lnTo>
                  <a:lnTo>
                    <a:pt x="160" y="560"/>
                  </a:lnTo>
                  <a:lnTo>
                    <a:pt x="162" y="558"/>
                  </a:lnTo>
                  <a:lnTo>
                    <a:pt x="162" y="556"/>
                  </a:lnTo>
                  <a:lnTo>
                    <a:pt x="160" y="550"/>
                  </a:lnTo>
                  <a:lnTo>
                    <a:pt x="156" y="546"/>
                  </a:lnTo>
                  <a:lnTo>
                    <a:pt x="152" y="544"/>
                  </a:lnTo>
                  <a:lnTo>
                    <a:pt x="150" y="542"/>
                  </a:lnTo>
                  <a:lnTo>
                    <a:pt x="150" y="540"/>
                  </a:lnTo>
                  <a:lnTo>
                    <a:pt x="150" y="532"/>
                  </a:lnTo>
                  <a:lnTo>
                    <a:pt x="148" y="526"/>
                  </a:lnTo>
                  <a:lnTo>
                    <a:pt x="146" y="522"/>
                  </a:lnTo>
                  <a:lnTo>
                    <a:pt x="146" y="518"/>
                  </a:lnTo>
                  <a:lnTo>
                    <a:pt x="144" y="518"/>
                  </a:lnTo>
                  <a:lnTo>
                    <a:pt x="142" y="516"/>
                  </a:lnTo>
                  <a:lnTo>
                    <a:pt x="142" y="514"/>
                  </a:lnTo>
                  <a:lnTo>
                    <a:pt x="140" y="512"/>
                  </a:lnTo>
                  <a:lnTo>
                    <a:pt x="138" y="512"/>
                  </a:lnTo>
                  <a:lnTo>
                    <a:pt x="134" y="510"/>
                  </a:lnTo>
                  <a:lnTo>
                    <a:pt x="128" y="508"/>
                  </a:lnTo>
                  <a:lnTo>
                    <a:pt x="126" y="508"/>
                  </a:lnTo>
                  <a:lnTo>
                    <a:pt x="122" y="510"/>
                  </a:lnTo>
                  <a:lnTo>
                    <a:pt x="122" y="510"/>
                  </a:lnTo>
                  <a:lnTo>
                    <a:pt x="122" y="508"/>
                  </a:lnTo>
                  <a:lnTo>
                    <a:pt x="120" y="506"/>
                  </a:lnTo>
                  <a:lnTo>
                    <a:pt x="116" y="500"/>
                  </a:lnTo>
                  <a:lnTo>
                    <a:pt x="114" y="494"/>
                  </a:lnTo>
                  <a:lnTo>
                    <a:pt x="112" y="492"/>
                  </a:lnTo>
                  <a:lnTo>
                    <a:pt x="110" y="492"/>
                  </a:lnTo>
                  <a:lnTo>
                    <a:pt x="108" y="490"/>
                  </a:lnTo>
                  <a:lnTo>
                    <a:pt x="108" y="482"/>
                  </a:lnTo>
                  <a:lnTo>
                    <a:pt x="104" y="484"/>
                  </a:lnTo>
                  <a:lnTo>
                    <a:pt x="102" y="484"/>
                  </a:lnTo>
                  <a:lnTo>
                    <a:pt x="100" y="482"/>
                  </a:lnTo>
                  <a:lnTo>
                    <a:pt x="100" y="478"/>
                  </a:lnTo>
                  <a:lnTo>
                    <a:pt x="98" y="478"/>
                  </a:lnTo>
                  <a:lnTo>
                    <a:pt x="100" y="474"/>
                  </a:lnTo>
                  <a:lnTo>
                    <a:pt x="100" y="470"/>
                  </a:lnTo>
                  <a:lnTo>
                    <a:pt x="102" y="470"/>
                  </a:lnTo>
                  <a:lnTo>
                    <a:pt x="106" y="466"/>
                  </a:lnTo>
                  <a:lnTo>
                    <a:pt x="108" y="464"/>
                  </a:lnTo>
                  <a:lnTo>
                    <a:pt x="110" y="464"/>
                  </a:lnTo>
                  <a:lnTo>
                    <a:pt x="112" y="454"/>
                  </a:lnTo>
                  <a:lnTo>
                    <a:pt x="110" y="446"/>
                  </a:lnTo>
                  <a:lnTo>
                    <a:pt x="114" y="444"/>
                  </a:lnTo>
                  <a:lnTo>
                    <a:pt x="114" y="442"/>
                  </a:lnTo>
                  <a:lnTo>
                    <a:pt x="116" y="440"/>
                  </a:lnTo>
                  <a:lnTo>
                    <a:pt x="114" y="436"/>
                  </a:lnTo>
                  <a:lnTo>
                    <a:pt x="112" y="434"/>
                  </a:lnTo>
                  <a:lnTo>
                    <a:pt x="116" y="426"/>
                  </a:lnTo>
                  <a:lnTo>
                    <a:pt x="116" y="428"/>
                  </a:lnTo>
                  <a:lnTo>
                    <a:pt x="120" y="426"/>
                  </a:lnTo>
                  <a:lnTo>
                    <a:pt x="122" y="428"/>
                  </a:lnTo>
                  <a:lnTo>
                    <a:pt x="126" y="428"/>
                  </a:lnTo>
                  <a:lnTo>
                    <a:pt x="128" y="426"/>
                  </a:lnTo>
                  <a:lnTo>
                    <a:pt x="132" y="422"/>
                  </a:lnTo>
                  <a:lnTo>
                    <a:pt x="136" y="424"/>
                  </a:lnTo>
                  <a:lnTo>
                    <a:pt x="138" y="424"/>
                  </a:lnTo>
                  <a:lnTo>
                    <a:pt x="142" y="424"/>
                  </a:lnTo>
                  <a:lnTo>
                    <a:pt x="144" y="422"/>
                  </a:lnTo>
                  <a:lnTo>
                    <a:pt x="140" y="422"/>
                  </a:lnTo>
                  <a:lnTo>
                    <a:pt x="138" y="418"/>
                  </a:lnTo>
                  <a:lnTo>
                    <a:pt x="134" y="414"/>
                  </a:lnTo>
                  <a:lnTo>
                    <a:pt x="124" y="416"/>
                  </a:lnTo>
                  <a:lnTo>
                    <a:pt x="114" y="406"/>
                  </a:lnTo>
                  <a:lnTo>
                    <a:pt x="116" y="404"/>
                  </a:lnTo>
                  <a:lnTo>
                    <a:pt x="116" y="402"/>
                  </a:lnTo>
                  <a:lnTo>
                    <a:pt x="108" y="406"/>
                  </a:lnTo>
                  <a:lnTo>
                    <a:pt x="106" y="406"/>
                  </a:lnTo>
                  <a:lnTo>
                    <a:pt x="114" y="400"/>
                  </a:lnTo>
                  <a:lnTo>
                    <a:pt x="136" y="384"/>
                  </a:lnTo>
                  <a:lnTo>
                    <a:pt x="152" y="376"/>
                  </a:lnTo>
                  <a:lnTo>
                    <a:pt x="158" y="370"/>
                  </a:lnTo>
                  <a:lnTo>
                    <a:pt x="158" y="366"/>
                  </a:lnTo>
                  <a:lnTo>
                    <a:pt x="156" y="360"/>
                  </a:lnTo>
                  <a:lnTo>
                    <a:pt x="156" y="358"/>
                  </a:lnTo>
                  <a:lnTo>
                    <a:pt x="154" y="358"/>
                  </a:lnTo>
                  <a:lnTo>
                    <a:pt x="148" y="356"/>
                  </a:lnTo>
                  <a:lnTo>
                    <a:pt x="146" y="354"/>
                  </a:lnTo>
                  <a:lnTo>
                    <a:pt x="146" y="352"/>
                  </a:lnTo>
                  <a:lnTo>
                    <a:pt x="146" y="346"/>
                  </a:lnTo>
                  <a:lnTo>
                    <a:pt x="146" y="342"/>
                  </a:lnTo>
                  <a:lnTo>
                    <a:pt x="150" y="338"/>
                  </a:lnTo>
                  <a:lnTo>
                    <a:pt x="150" y="336"/>
                  </a:lnTo>
                  <a:lnTo>
                    <a:pt x="150" y="334"/>
                  </a:lnTo>
                  <a:lnTo>
                    <a:pt x="148" y="328"/>
                  </a:lnTo>
                  <a:lnTo>
                    <a:pt x="146" y="324"/>
                  </a:lnTo>
                  <a:lnTo>
                    <a:pt x="144" y="322"/>
                  </a:lnTo>
                  <a:lnTo>
                    <a:pt x="140" y="320"/>
                  </a:lnTo>
                  <a:lnTo>
                    <a:pt x="140" y="316"/>
                  </a:lnTo>
                  <a:lnTo>
                    <a:pt x="138" y="308"/>
                  </a:lnTo>
                  <a:lnTo>
                    <a:pt x="138" y="304"/>
                  </a:lnTo>
                  <a:lnTo>
                    <a:pt x="138" y="300"/>
                  </a:lnTo>
                  <a:lnTo>
                    <a:pt x="140" y="298"/>
                  </a:lnTo>
                  <a:lnTo>
                    <a:pt x="138" y="296"/>
                  </a:lnTo>
                  <a:lnTo>
                    <a:pt x="138" y="292"/>
                  </a:lnTo>
                  <a:lnTo>
                    <a:pt x="138" y="288"/>
                  </a:lnTo>
                  <a:lnTo>
                    <a:pt x="136" y="284"/>
                  </a:lnTo>
                  <a:lnTo>
                    <a:pt x="130" y="260"/>
                  </a:lnTo>
                  <a:lnTo>
                    <a:pt x="130" y="258"/>
                  </a:lnTo>
                  <a:lnTo>
                    <a:pt x="132" y="254"/>
                  </a:lnTo>
                  <a:lnTo>
                    <a:pt x="138" y="248"/>
                  </a:lnTo>
                  <a:lnTo>
                    <a:pt x="138" y="244"/>
                  </a:lnTo>
                  <a:lnTo>
                    <a:pt x="136" y="240"/>
                  </a:lnTo>
                  <a:lnTo>
                    <a:pt x="134" y="236"/>
                  </a:lnTo>
                  <a:lnTo>
                    <a:pt x="132" y="238"/>
                  </a:lnTo>
                  <a:lnTo>
                    <a:pt x="130" y="236"/>
                  </a:lnTo>
                  <a:lnTo>
                    <a:pt x="128" y="232"/>
                  </a:lnTo>
                  <a:lnTo>
                    <a:pt x="128" y="226"/>
                  </a:lnTo>
                  <a:lnTo>
                    <a:pt x="130" y="218"/>
                  </a:lnTo>
                  <a:lnTo>
                    <a:pt x="134" y="214"/>
                  </a:lnTo>
                  <a:lnTo>
                    <a:pt x="134" y="216"/>
                  </a:lnTo>
                  <a:lnTo>
                    <a:pt x="136" y="218"/>
                  </a:lnTo>
                  <a:lnTo>
                    <a:pt x="138" y="218"/>
                  </a:lnTo>
                  <a:lnTo>
                    <a:pt x="140" y="212"/>
                  </a:lnTo>
                  <a:lnTo>
                    <a:pt x="140" y="208"/>
                  </a:lnTo>
                  <a:lnTo>
                    <a:pt x="140" y="204"/>
                  </a:lnTo>
                  <a:lnTo>
                    <a:pt x="138" y="202"/>
                  </a:lnTo>
                  <a:lnTo>
                    <a:pt x="140" y="202"/>
                  </a:lnTo>
                  <a:lnTo>
                    <a:pt x="142" y="202"/>
                  </a:lnTo>
                  <a:lnTo>
                    <a:pt x="144" y="200"/>
                  </a:lnTo>
                  <a:lnTo>
                    <a:pt x="148" y="198"/>
                  </a:lnTo>
                  <a:lnTo>
                    <a:pt x="152" y="196"/>
                  </a:lnTo>
                  <a:lnTo>
                    <a:pt x="156" y="196"/>
                  </a:lnTo>
                  <a:lnTo>
                    <a:pt x="158" y="198"/>
                  </a:lnTo>
                  <a:lnTo>
                    <a:pt x="160" y="200"/>
                  </a:lnTo>
                  <a:lnTo>
                    <a:pt x="160" y="196"/>
                  </a:lnTo>
                  <a:lnTo>
                    <a:pt x="164" y="196"/>
                  </a:lnTo>
                  <a:lnTo>
                    <a:pt x="164" y="194"/>
                  </a:lnTo>
                  <a:lnTo>
                    <a:pt x="166" y="194"/>
                  </a:lnTo>
                  <a:lnTo>
                    <a:pt x="176" y="200"/>
                  </a:lnTo>
                  <a:lnTo>
                    <a:pt x="168" y="204"/>
                  </a:lnTo>
                  <a:lnTo>
                    <a:pt x="168" y="206"/>
                  </a:lnTo>
                  <a:lnTo>
                    <a:pt x="174" y="208"/>
                  </a:lnTo>
                  <a:lnTo>
                    <a:pt x="178" y="208"/>
                  </a:lnTo>
                  <a:lnTo>
                    <a:pt x="180" y="208"/>
                  </a:lnTo>
                  <a:lnTo>
                    <a:pt x="184" y="208"/>
                  </a:lnTo>
                  <a:lnTo>
                    <a:pt x="184" y="208"/>
                  </a:lnTo>
                  <a:lnTo>
                    <a:pt x="184" y="208"/>
                  </a:lnTo>
                  <a:lnTo>
                    <a:pt x="190" y="208"/>
                  </a:lnTo>
                  <a:lnTo>
                    <a:pt x="198" y="210"/>
                  </a:lnTo>
                  <a:lnTo>
                    <a:pt x="202" y="214"/>
                  </a:lnTo>
                  <a:lnTo>
                    <a:pt x="204" y="214"/>
                  </a:lnTo>
                  <a:lnTo>
                    <a:pt x="208" y="214"/>
                  </a:lnTo>
                  <a:lnTo>
                    <a:pt x="210" y="216"/>
                  </a:lnTo>
                  <a:lnTo>
                    <a:pt x="212" y="218"/>
                  </a:lnTo>
                  <a:lnTo>
                    <a:pt x="214" y="218"/>
                  </a:lnTo>
                  <a:lnTo>
                    <a:pt x="216" y="218"/>
                  </a:lnTo>
                  <a:lnTo>
                    <a:pt x="220" y="220"/>
                  </a:lnTo>
                  <a:lnTo>
                    <a:pt x="226" y="222"/>
                  </a:lnTo>
                  <a:lnTo>
                    <a:pt x="232" y="224"/>
                  </a:lnTo>
                  <a:lnTo>
                    <a:pt x="236" y="228"/>
                  </a:lnTo>
                  <a:lnTo>
                    <a:pt x="242" y="228"/>
                  </a:lnTo>
                  <a:lnTo>
                    <a:pt x="248" y="234"/>
                  </a:lnTo>
                  <a:lnTo>
                    <a:pt x="254" y="242"/>
                  </a:lnTo>
                  <a:lnTo>
                    <a:pt x="258" y="240"/>
                  </a:lnTo>
                  <a:lnTo>
                    <a:pt x="260" y="242"/>
                  </a:lnTo>
                  <a:lnTo>
                    <a:pt x="262" y="246"/>
                  </a:lnTo>
                  <a:lnTo>
                    <a:pt x="268" y="246"/>
                  </a:lnTo>
                  <a:lnTo>
                    <a:pt x="278" y="256"/>
                  </a:lnTo>
                  <a:lnTo>
                    <a:pt x="280" y="262"/>
                  </a:lnTo>
                  <a:lnTo>
                    <a:pt x="280" y="264"/>
                  </a:lnTo>
                  <a:lnTo>
                    <a:pt x="278" y="270"/>
                  </a:lnTo>
                  <a:lnTo>
                    <a:pt x="276" y="272"/>
                  </a:lnTo>
                  <a:lnTo>
                    <a:pt x="274" y="274"/>
                  </a:lnTo>
                  <a:lnTo>
                    <a:pt x="272" y="276"/>
                  </a:lnTo>
                  <a:lnTo>
                    <a:pt x="272" y="278"/>
                  </a:lnTo>
                  <a:lnTo>
                    <a:pt x="270" y="278"/>
                  </a:lnTo>
                  <a:lnTo>
                    <a:pt x="268" y="278"/>
                  </a:lnTo>
                  <a:lnTo>
                    <a:pt x="264" y="284"/>
                  </a:lnTo>
                  <a:lnTo>
                    <a:pt x="258" y="286"/>
                  </a:lnTo>
                  <a:lnTo>
                    <a:pt x="254" y="288"/>
                  </a:lnTo>
                  <a:lnTo>
                    <a:pt x="250" y="288"/>
                  </a:lnTo>
                  <a:lnTo>
                    <a:pt x="248" y="288"/>
                  </a:lnTo>
                  <a:lnTo>
                    <a:pt x="238" y="286"/>
                  </a:lnTo>
                  <a:lnTo>
                    <a:pt x="226" y="286"/>
                  </a:lnTo>
                  <a:lnTo>
                    <a:pt x="220" y="282"/>
                  </a:lnTo>
                  <a:lnTo>
                    <a:pt x="212" y="282"/>
                  </a:lnTo>
                  <a:lnTo>
                    <a:pt x="210" y="280"/>
                  </a:lnTo>
                  <a:lnTo>
                    <a:pt x="206" y="278"/>
                  </a:lnTo>
                  <a:lnTo>
                    <a:pt x="202" y="278"/>
                  </a:lnTo>
                  <a:lnTo>
                    <a:pt x="198" y="270"/>
                  </a:lnTo>
                  <a:lnTo>
                    <a:pt x="196" y="272"/>
                  </a:lnTo>
                  <a:lnTo>
                    <a:pt x="196" y="276"/>
                  </a:lnTo>
                  <a:lnTo>
                    <a:pt x="194" y="276"/>
                  </a:lnTo>
                  <a:lnTo>
                    <a:pt x="194" y="274"/>
                  </a:lnTo>
                  <a:lnTo>
                    <a:pt x="188" y="272"/>
                  </a:lnTo>
                  <a:lnTo>
                    <a:pt x="186" y="268"/>
                  </a:lnTo>
                  <a:lnTo>
                    <a:pt x="184" y="268"/>
                  </a:lnTo>
                  <a:lnTo>
                    <a:pt x="178" y="268"/>
                  </a:lnTo>
                  <a:lnTo>
                    <a:pt x="176" y="264"/>
                  </a:lnTo>
                  <a:lnTo>
                    <a:pt x="174" y="262"/>
                  </a:lnTo>
                  <a:lnTo>
                    <a:pt x="168" y="260"/>
                  </a:lnTo>
                  <a:lnTo>
                    <a:pt x="166" y="262"/>
                  </a:lnTo>
                  <a:lnTo>
                    <a:pt x="168" y="262"/>
                  </a:lnTo>
                  <a:lnTo>
                    <a:pt x="172" y="268"/>
                  </a:lnTo>
                  <a:lnTo>
                    <a:pt x="174" y="270"/>
                  </a:lnTo>
                  <a:lnTo>
                    <a:pt x="172" y="272"/>
                  </a:lnTo>
                  <a:lnTo>
                    <a:pt x="178" y="272"/>
                  </a:lnTo>
                  <a:lnTo>
                    <a:pt x="178" y="274"/>
                  </a:lnTo>
                  <a:lnTo>
                    <a:pt x="176" y="276"/>
                  </a:lnTo>
                  <a:lnTo>
                    <a:pt x="176" y="278"/>
                  </a:lnTo>
                  <a:lnTo>
                    <a:pt x="178" y="280"/>
                  </a:lnTo>
                  <a:lnTo>
                    <a:pt x="178" y="282"/>
                  </a:lnTo>
                  <a:lnTo>
                    <a:pt x="180" y="282"/>
                  </a:lnTo>
                  <a:lnTo>
                    <a:pt x="184" y="280"/>
                  </a:lnTo>
                  <a:lnTo>
                    <a:pt x="184" y="284"/>
                  </a:lnTo>
                  <a:lnTo>
                    <a:pt x="178" y="284"/>
                  </a:lnTo>
                  <a:lnTo>
                    <a:pt x="180" y="286"/>
                  </a:lnTo>
                  <a:lnTo>
                    <a:pt x="190" y="288"/>
                  </a:lnTo>
                  <a:lnTo>
                    <a:pt x="192" y="290"/>
                  </a:lnTo>
                  <a:lnTo>
                    <a:pt x="196" y="290"/>
                  </a:lnTo>
                  <a:lnTo>
                    <a:pt x="200" y="290"/>
                  </a:lnTo>
                  <a:lnTo>
                    <a:pt x="200" y="294"/>
                  </a:lnTo>
                  <a:lnTo>
                    <a:pt x="202" y="296"/>
                  </a:lnTo>
                  <a:lnTo>
                    <a:pt x="206" y="296"/>
                  </a:lnTo>
                  <a:lnTo>
                    <a:pt x="206" y="298"/>
                  </a:lnTo>
                  <a:lnTo>
                    <a:pt x="206" y="300"/>
                  </a:lnTo>
                  <a:lnTo>
                    <a:pt x="204" y="302"/>
                  </a:lnTo>
                  <a:lnTo>
                    <a:pt x="204" y="308"/>
                  </a:lnTo>
                  <a:lnTo>
                    <a:pt x="206" y="312"/>
                  </a:lnTo>
                  <a:lnTo>
                    <a:pt x="208" y="330"/>
                  </a:lnTo>
                  <a:lnTo>
                    <a:pt x="210" y="330"/>
                  </a:lnTo>
                  <a:lnTo>
                    <a:pt x="212" y="332"/>
                  </a:lnTo>
                  <a:lnTo>
                    <a:pt x="214" y="330"/>
                  </a:lnTo>
                  <a:lnTo>
                    <a:pt x="216" y="328"/>
                  </a:lnTo>
                  <a:lnTo>
                    <a:pt x="220" y="332"/>
                  </a:lnTo>
                  <a:lnTo>
                    <a:pt x="220" y="340"/>
                  </a:lnTo>
                  <a:lnTo>
                    <a:pt x="228" y="338"/>
                  </a:lnTo>
                  <a:lnTo>
                    <a:pt x="234" y="340"/>
                  </a:lnTo>
                  <a:lnTo>
                    <a:pt x="238" y="342"/>
                  </a:lnTo>
                  <a:lnTo>
                    <a:pt x="238" y="344"/>
                  </a:lnTo>
                  <a:lnTo>
                    <a:pt x="240" y="344"/>
                  </a:lnTo>
                  <a:lnTo>
                    <a:pt x="242" y="342"/>
                  </a:lnTo>
                  <a:lnTo>
                    <a:pt x="242" y="340"/>
                  </a:lnTo>
                  <a:lnTo>
                    <a:pt x="244" y="340"/>
                  </a:lnTo>
                  <a:lnTo>
                    <a:pt x="244" y="338"/>
                  </a:lnTo>
                  <a:lnTo>
                    <a:pt x="244" y="326"/>
                  </a:lnTo>
                  <a:lnTo>
                    <a:pt x="240" y="324"/>
                  </a:lnTo>
                  <a:lnTo>
                    <a:pt x="236" y="320"/>
                  </a:lnTo>
                  <a:lnTo>
                    <a:pt x="234" y="314"/>
                  </a:lnTo>
                  <a:lnTo>
                    <a:pt x="238" y="314"/>
                  </a:lnTo>
                  <a:lnTo>
                    <a:pt x="238" y="308"/>
                  </a:lnTo>
                  <a:lnTo>
                    <a:pt x="236" y="308"/>
                  </a:lnTo>
                  <a:lnTo>
                    <a:pt x="236" y="306"/>
                  </a:lnTo>
                  <a:lnTo>
                    <a:pt x="238" y="306"/>
                  </a:lnTo>
                  <a:lnTo>
                    <a:pt x="242" y="306"/>
                  </a:lnTo>
                  <a:lnTo>
                    <a:pt x="242" y="308"/>
                  </a:lnTo>
                  <a:lnTo>
                    <a:pt x="244" y="310"/>
                  </a:lnTo>
                  <a:lnTo>
                    <a:pt x="252" y="314"/>
                  </a:lnTo>
                  <a:lnTo>
                    <a:pt x="252" y="316"/>
                  </a:lnTo>
                  <a:lnTo>
                    <a:pt x="256" y="318"/>
                  </a:lnTo>
                  <a:lnTo>
                    <a:pt x="260" y="318"/>
                  </a:lnTo>
                  <a:lnTo>
                    <a:pt x="264" y="320"/>
                  </a:lnTo>
                  <a:lnTo>
                    <a:pt x="276" y="320"/>
                  </a:lnTo>
                  <a:lnTo>
                    <a:pt x="274" y="318"/>
                  </a:lnTo>
                  <a:lnTo>
                    <a:pt x="272" y="312"/>
                  </a:lnTo>
                  <a:lnTo>
                    <a:pt x="268" y="308"/>
                  </a:lnTo>
                  <a:lnTo>
                    <a:pt x="266" y="306"/>
                  </a:lnTo>
                  <a:lnTo>
                    <a:pt x="264" y="304"/>
                  </a:lnTo>
                  <a:lnTo>
                    <a:pt x="264" y="300"/>
                  </a:lnTo>
                  <a:lnTo>
                    <a:pt x="270" y="296"/>
                  </a:lnTo>
                  <a:lnTo>
                    <a:pt x="276" y="292"/>
                  </a:lnTo>
                  <a:lnTo>
                    <a:pt x="278" y="286"/>
                  </a:lnTo>
                  <a:lnTo>
                    <a:pt x="280" y="286"/>
                  </a:lnTo>
                  <a:lnTo>
                    <a:pt x="284" y="286"/>
                  </a:lnTo>
                  <a:lnTo>
                    <a:pt x="288" y="282"/>
                  </a:lnTo>
                  <a:lnTo>
                    <a:pt x="290" y="280"/>
                  </a:lnTo>
                  <a:lnTo>
                    <a:pt x="294" y="280"/>
                  </a:lnTo>
                  <a:lnTo>
                    <a:pt x="298" y="284"/>
                  </a:lnTo>
                  <a:lnTo>
                    <a:pt x="302" y="284"/>
                  </a:lnTo>
                  <a:lnTo>
                    <a:pt x="304" y="290"/>
                  </a:lnTo>
                  <a:lnTo>
                    <a:pt x="304" y="292"/>
                  </a:lnTo>
                  <a:lnTo>
                    <a:pt x="310" y="292"/>
                  </a:lnTo>
                  <a:lnTo>
                    <a:pt x="310" y="284"/>
                  </a:lnTo>
                  <a:lnTo>
                    <a:pt x="314" y="276"/>
                  </a:lnTo>
                  <a:lnTo>
                    <a:pt x="318" y="272"/>
                  </a:lnTo>
                  <a:lnTo>
                    <a:pt x="318" y="270"/>
                  </a:lnTo>
                  <a:lnTo>
                    <a:pt x="318" y="266"/>
                  </a:lnTo>
                  <a:lnTo>
                    <a:pt x="314" y="264"/>
                  </a:lnTo>
                  <a:lnTo>
                    <a:pt x="312" y="262"/>
                  </a:lnTo>
                  <a:lnTo>
                    <a:pt x="312" y="258"/>
                  </a:lnTo>
                  <a:lnTo>
                    <a:pt x="314" y="256"/>
                  </a:lnTo>
                  <a:lnTo>
                    <a:pt x="316" y="252"/>
                  </a:lnTo>
                  <a:lnTo>
                    <a:pt x="318" y="252"/>
                  </a:lnTo>
                  <a:lnTo>
                    <a:pt x="318" y="248"/>
                  </a:lnTo>
                  <a:lnTo>
                    <a:pt x="320" y="248"/>
                  </a:lnTo>
                  <a:lnTo>
                    <a:pt x="322" y="242"/>
                  </a:lnTo>
                  <a:lnTo>
                    <a:pt x="322" y="238"/>
                  </a:lnTo>
                  <a:lnTo>
                    <a:pt x="318" y="234"/>
                  </a:lnTo>
                  <a:lnTo>
                    <a:pt x="312" y="228"/>
                  </a:lnTo>
                  <a:lnTo>
                    <a:pt x="312" y="224"/>
                  </a:lnTo>
                  <a:lnTo>
                    <a:pt x="318" y="228"/>
                  </a:lnTo>
                  <a:lnTo>
                    <a:pt x="326" y="230"/>
                  </a:lnTo>
                  <a:lnTo>
                    <a:pt x="328" y="232"/>
                  </a:lnTo>
                  <a:lnTo>
                    <a:pt x="334" y="232"/>
                  </a:lnTo>
                  <a:lnTo>
                    <a:pt x="340" y="234"/>
                  </a:lnTo>
                  <a:lnTo>
                    <a:pt x="344" y="236"/>
                  </a:lnTo>
                  <a:lnTo>
                    <a:pt x="346" y="240"/>
                  </a:lnTo>
                  <a:lnTo>
                    <a:pt x="350" y="246"/>
                  </a:lnTo>
                  <a:lnTo>
                    <a:pt x="352" y="248"/>
                  </a:lnTo>
                  <a:lnTo>
                    <a:pt x="352" y="252"/>
                  </a:lnTo>
                  <a:lnTo>
                    <a:pt x="356" y="254"/>
                  </a:lnTo>
                  <a:lnTo>
                    <a:pt x="354" y="258"/>
                  </a:lnTo>
                  <a:lnTo>
                    <a:pt x="340" y="258"/>
                  </a:lnTo>
                  <a:lnTo>
                    <a:pt x="338" y="264"/>
                  </a:lnTo>
                  <a:lnTo>
                    <a:pt x="336" y="264"/>
                  </a:lnTo>
                  <a:lnTo>
                    <a:pt x="336" y="268"/>
                  </a:lnTo>
                  <a:lnTo>
                    <a:pt x="338" y="272"/>
                  </a:lnTo>
                  <a:lnTo>
                    <a:pt x="340" y="282"/>
                  </a:lnTo>
                  <a:lnTo>
                    <a:pt x="346" y="282"/>
                  </a:lnTo>
                  <a:lnTo>
                    <a:pt x="352" y="280"/>
                  </a:lnTo>
                  <a:lnTo>
                    <a:pt x="360" y="278"/>
                  </a:lnTo>
                  <a:lnTo>
                    <a:pt x="360" y="276"/>
                  </a:lnTo>
                  <a:lnTo>
                    <a:pt x="366" y="276"/>
                  </a:lnTo>
                  <a:lnTo>
                    <a:pt x="366" y="264"/>
                  </a:lnTo>
                  <a:lnTo>
                    <a:pt x="366" y="256"/>
                  </a:lnTo>
                  <a:lnTo>
                    <a:pt x="368" y="258"/>
                  </a:lnTo>
                  <a:lnTo>
                    <a:pt x="370" y="258"/>
                  </a:lnTo>
                  <a:lnTo>
                    <a:pt x="376" y="254"/>
                  </a:lnTo>
                  <a:lnTo>
                    <a:pt x="376" y="250"/>
                  </a:lnTo>
                  <a:lnTo>
                    <a:pt x="386" y="250"/>
                  </a:lnTo>
                  <a:lnTo>
                    <a:pt x="394" y="248"/>
                  </a:lnTo>
                  <a:lnTo>
                    <a:pt x="396" y="244"/>
                  </a:lnTo>
                  <a:lnTo>
                    <a:pt x="402" y="244"/>
                  </a:lnTo>
                  <a:lnTo>
                    <a:pt x="406" y="240"/>
                  </a:lnTo>
                  <a:lnTo>
                    <a:pt x="412" y="240"/>
                  </a:lnTo>
                  <a:lnTo>
                    <a:pt x="414" y="236"/>
                  </a:lnTo>
                  <a:lnTo>
                    <a:pt x="420" y="236"/>
                  </a:lnTo>
                  <a:lnTo>
                    <a:pt x="424" y="236"/>
                  </a:lnTo>
                  <a:lnTo>
                    <a:pt x="424" y="238"/>
                  </a:lnTo>
                  <a:lnTo>
                    <a:pt x="424" y="240"/>
                  </a:lnTo>
                  <a:lnTo>
                    <a:pt x="424" y="238"/>
                  </a:lnTo>
                  <a:lnTo>
                    <a:pt x="424" y="236"/>
                  </a:lnTo>
                  <a:lnTo>
                    <a:pt x="424" y="234"/>
                  </a:lnTo>
                  <a:lnTo>
                    <a:pt x="424" y="232"/>
                  </a:lnTo>
                  <a:lnTo>
                    <a:pt x="432" y="228"/>
                  </a:lnTo>
                  <a:lnTo>
                    <a:pt x="434" y="226"/>
                  </a:lnTo>
                  <a:lnTo>
                    <a:pt x="436" y="224"/>
                  </a:lnTo>
                  <a:lnTo>
                    <a:pt x="438" y="224"/>
                  </a:lnTo>
                  <a:lnTo>
                    <a:pt x="438" y="226"/>
                  </a:lnTo>
                  <a:lnTo>
                    <a:pt x="438" y="228"/>
                  </a:lnTo>
                  <a:lnTo>
                    <a:pt x="436" y="230"/>
                  </a:lnTo>
                  <a:lnTo>
                    <a:pt x="438" y="230"/>
                  </a:lnTo>
                  <a:lnTo>
                    <a:pt x="442" y="230"/>
                  </a:lnTo>
                  <a:lnTo>
                    <a:pt x="442" y="234"/>
                  </a:lnTo>
                  <a:lnTo>
                    <a:pt x="446" y="236"/>
                  </a:lnTo>
                  <a:lnTo>
                    <a:pt x="446" y="240"/>
                  </a:lnTo>
                  <a:lnTo>
                    <a:pt x="438" y="240"/>
                  </a:lnTo>
                  <a:lnTo>
                    <a:pt x="436" y="242"/>
                  </a:lnTo>
                  <a:lnTo>
                    <a:pt x="436" y="244"/>
                  </a:lnTo>
                  <a:lnTo>
                    <a:pt x="448" y="244"/>
                  </a:lnTo>
                  <a:lnTo>
                    <a:pt x="454" y="240"/>
                  </a:lnTo>
                  <a:lnTo>
                    <a:pt x="456" y="240"/>
                  </a:lnTo>
                  <a:lnTo>
                    <a:pt x="456" y="242"/>
                  </a:lnTo>
                  <a:lnTo>
                    <a:pt x="460" y="244"/>
                  </a:lnTo>
                  <a:lnTo>
                    <a:pt x="462" y="242"/>
                  </a:lnTo>
                  <a:lnTo>
                    <a:pt x="460" y="238"/>
                  </a:lnTo>
                  <a:lnTo>
                    <a:pt x="468" y="234"/>
                  </a:lnTo>
                  <a:lnTo>
                    <a:pt x="476" y="232"/>
                  </a:lnTo>
                  <a:lnTo>
                    <a:pt x="480" y="232"/>
                  </a:lnTo>
                  <a:lnTo>
                    <a:pt x="484" y="232"/>
                  </a:lnTo>
                  <a:lnTo>
                    <a:pt x="490" y="238"/>
                  </a:lnTo>
                  <a:lnTo>
                    <a:pt x="494" y="238"/>
                  </a:lnTo>
                  <a:lnTo>
                    <a:pt x="496" y="234"/>
                  </a:lnTo>
                  <a:lnTo>
                    <a:pt x="494" y="232"/>
                  </a:lnTo>
                  <a:lnTo>
                    <a:pt x="494" y="230"/>
                  </a:lnTo>
                  <a:lnTo>
                    <a:pt x="496" y="230"/>
                  </a:lnTo>
                  <a:lnTo>
                    <a:pt x="496" y="232"/>
                  </a:lnTo>
                  <a:lnTo>
                    <a:pt x="498" y="232"/>
                  </a:lnTo>
                  <a:lnTo>
                    <a:pt x="502" y="230"/>
                  </a:lnTo>
                  <a:lnTo>
                    <a:pt x="508" y="226"/>
                  </a:lnTo>
                  <a:lnTo>
                    <a:pt x="514" y="226"/>
                  </a:lnTo>
                  <a:lnTo>
                    <a:pt x="512" y="240"/>
                  </a:lnTo>
                  <a:lnTo>
                    <a:pt x="520" y="246"/>
                  </a:lnTo>
                  <a:lnTo>
                    <a:pt x="522" y="236"/>
                  </a:lnTo>
                  <a:lnTo>
                    <a:pt x="526" y="234"/>
                  </a:lnTo>
                  <a:lnTo>
                    <a:pt x="528" y="236"/>
                  </a:lnTo>
                  <a:lnTo>
                    <a:pt x="530" y="236"/>
                  </a:lnTo>
                  <a:lnTo>
                    <a:pt x="534" y="236"/>
                  </a:lnTo>
                  <a:lnTo>
                    <a:pt x="536" y="234"/>
                  </a:lnTo>
                  <a:lnTo>
                    <a:pt x="536" y="224"/>
                  </a:lnTo>
                  <a:lnTo>
                    <a:pt x="536" y="218"/>
                  </a:lnTo>
                  <a:lnTo>
                    <a:pt x="534" y="214"/>
                  </a:lnTo>
                  <a:lnTo>
                    <a:pt x="532" y="212"/>
                  </a:lnTo>
                  <a:lnTo>
                    <a:pt x="532" y="210"/>
                  </a:lnTo>
                  <a:lnTo>
                    <a:pt x="538" y="208"/>
                  </a:lnTo>
                  <a:lnTo>
                    <a:pt x="540" y="206"/>
                  </a:lnTo>
                  <a:lnTo>
                    <a:pt x="546" y="206"/>
                  </a:lnTo>
                  <a:lnTo>
                    <a:pt x="548" y="208"/>
                  </a:lnTo>
                  <a:lnTo>
                    <a:pt x="554" y="208"/>
                  </a:lnTo>
                  <a:lnTo>
                    <a:pt x="558" y="206"/>
                  </a:lnTo>
                  <a:lnTo>
                    <a:pt x="558" y="204"/>
                  </a:lnTo>
                  <a:lnTo>
                    <a:pt x="560" y="204"/>
                  </a:lnTo>
                  <a:lnTo>
                    <a:pt x="564" y="204"/>
                  </a:lnTo>
                  <a:lnTo>
                    <a:pt x="566" y="204"/>
                  </a:lnTo>
                  <a:lnTo>
                    <a:pt x="568" y="208"/>
                  </a:lnTo>
                  <a:lnTo>
                    <a:pt x="570" y="208"/>
                  </a:lnTo>
                  <a:lnTo>
                    <a:pt x="572" y="208"/>
                  </a:lnTo>
                  <a:lnTo>
                    <a:pt x="572" y="208"/>
                  </a:lnTo>
                  <a:lnTo>
                    <a:pt x="574" y="210"/>
                  </a:lnTo>
                  <a:lnTo>
                    <a:pt x="582" y="210"/>
                  </a:lnTo>
                  <a:lnTo>
                    <a:pt x="588" y="212"/>
                  </a:lnTo>
                  <a:lnTo>
                    <a:pt x="586" y="224"/>
                  </a:lnTo>
                  <a:lnTo>
                    <a:pt x="588" y="224"/>
                  </a:lnTo>
                  <a:lnTo>
                    <a:pt x="592" y="216"/>
                  </a:lnTo>
                  <a:lnTo>
                    <a:pt x="604" y="220"/>
                  </a:lnTo>
                  <a:lnTo>
                    <a:pt x="602" y="222"/>
                  </a:lnTo>
                  <a:lnTo>
                    <a:pt x="602" y="224"/>
                  </a:lnTo>
                  <a:lnTo>
                    <a:pt x="608" y="226"/>
                  </a:lnTo>
                  <a:lnTo>
                    <a:pt x="612" y="228"/>
                  </a:lnTo>
                  <a:lnTo>
                    <a:pt x="618" y="236"/>
                  </a:lnTo>
                  <a:lnTo>
                    <a:pt x="620" y="240"/>
                  </a:lnTo>
                  <a:lnTo>
                    <a:pt x="622" y="240"/>
                  </a:lnTo>
                  <a:lnTo>
                    <a:pt x="624" y="240"/>
                  </a:lnTo>
                  <a:lnTo>
                    <a:pt x="626" y="246"/>
                  </a:lnTo>
                  <a:lnTo>
                    <a:pt x="628" y="246"/>
                  </a:lnTo>
                  <a:lnTo>
                    <a:pt x="632" y="244"/>
                  </a:lnTo>
                  <a:lnTo>
                    <a:pt x="634" y="236"/>
                  </a:lnTo>
                  <a:lnTo>
                    <a:pt x="636" y="228"/>
                  </a:lnTo>
                  <a:lnTo>
                    <a:pt x="634" y="228"/>
                  </a:lnTo>
                  <a:lnTo>
                    <a:pt x="632" y="230"/>
                  </a:lnTo>
                  <a:lnTo>
                    <a:pt x="628" y="222"/>
                  </a:lnTo>
                  <a:lnTo>
                    <a:pt x="628" y="220"/>
                  </a:lnTo>
                  <a:lnTo>
                    <a:pt x="628" y="218"/>
                  </a:lnTo>
                  <a:lnTo>
                    <a:pt x="628" y="216"/>
                  </a:lnTo>
                  <a:lnTo>
                    <a:pt x="632" y="214"/>
                  </a:lnTo>
                  <a:lnTo>
                    <a:pt x="632" y="210"/>
                  </a:lnTo>
                  <a:lnTo>
                    <a:pt x="628" y="210"/>
                  </a:lnTo>
                  <a:lnTo>
                    <a:pt x="626" y="212"/>
                  </a:lnTo>
                  <a:lnTo>
                    <a:pt x="622" y="208"/>
                  </a:lnTo>
                  <a:lnTo>
                    <a:pt x="618" y="208"/>
                  </a:lnTo>
                  <a:lnTo>
                    <a:pt x="616" y="208"/>
                  </a:lnTo>
                  <a:lnTo>
                    <a:pt x="614" y="208"/>
                  </a:lnTo>
                  <a:lnTo>
                    <a:pt x="616" y="200"/>
                  </a:lnTo>
                  <a:lnTo>
                    <a:pt x="618" y="198"/>
                  </a:lnTo>
                  <a:lnTo>
                    <a:pt x="622" y="194"/>
                  </a:lnTo>
                  <a:lnTo>
                    <a:pt x="622" y="190"/>
                  </a:lnTo>
                  <a:lnTo>
                    <a:pt x="620" y="184"/>
                  </a:lnTo>
                  <a:lnTo>
                    <a:pt x="616" y="176"/>
                  </a:lnTo>
                  <a:lnTo>
                    <a:pt x="616" y="170"/>
                  </a:lnTo>
                  <a:lnTo>
                    <a:pt x="616" y="166"/>
                  </a:lnTo>
                  <a:lnTo>
                    <a:pt x="626" y="160"/>
                  </a:lnTo>
                  <a:lnTo>
                    <a:pt x="628" y="158"/>
                  </a:lnTo>
                  <a:lnTo>
                    <a:pt x="630" y="152"/>
                  </a:lnTo>
                  <a:lnTo>
                    <a:pt x="636" y="148"/>
                  </a:lnTo>
                  <a:lnTo>
                    <a:pt x="642" y="142"/>
                  </a:lnTo>
                  <a:lnTo>
                    <a:pt x="644" y="134"/>
                  </a:lnTo>
                  <a:lnTo>
                    <a:pt x="648" y="128"/>
                  </a:lnTo>
                  <a:lnTo>
                    <a:pt x="652" y="126"/>
                  </a:lnTo>
                  <a:lnTo>
                    <a:pt x="654" y="124"/>
                  </a:lnTo>
                  <a:lnTo>
                    <a:pt x="656" y="120"/>
                  </a:lnTo>
                  <a:lnTo>
                    <a:pt x="658" y="122"/>
                  </a:lnTo>
                  <a:lnTo>
                    <a:pt x="674" y="122"/>
                  </a:lnTo>
                  <a:lnTo>
                    <a:pt x="678" y="120"/>
                  </a:lnTo>
                  <a:lnTo>
                    <a:pt x="684" y="124"/>
                  </a:lnTo>
                  <a:lnTo>
                    <a:pt x="688" y="124"/>
                  </a:lnTo>
                  <a:lnTo>
                    <a:pt x="688" y="130"/>
                  </a:lnTo>
                  <a:lnTo>
                    <a:pt x="692" y="134"/>
                  </a:lnTo>
                  <a:lnTo>
                    <a:pt x="692" y="136"/>
                  </a:lnTo>
                  <a:lnTo>
                    <a:pt x="690" y="136"/>
                  </a:lnTo>
                  <a:lnTo>
                    <a:pt x="690" y="140"/>
                  </a:lnTo>
                  <a:lnTo>
                    <a:pt x="692" y="142"/>
                  </a:lnTo>
                  <a:lnTo>
                    <a:pt x="688" y="146"/>
                  </a:lnTo>
                  <a:lnTo>
                    <a:pt x="688" y="152"/>
                  </a:lnTo>
                  <a:lnTo>
                    <a:pt x="688" y="156"/>
                  </a:lnTo>
                  <a:lnTo>
                    <a:pt x="686" y="160"/>
                  </a:lnTo>
                  <a:lnTo>
                    <a:pt x="682" y="166"/>
                  </a:lnTo>
                  <a:lnTo>
                    <a:pt x="680" y="168"/>
                  </a:lnTo>
                  <a:lnTo>
                    <a:pt x="680" y="174"/>
                  </a:lnTo>
                  <a:lnTo>
                    <a:pt x="680" y="176"/>
                  </a:lnTo>
                  <a:lnTo>
                    <a:pt x="682" y="180"/>
                  </a:lnTo>
                  <a:lnTo>
                    <a:pt x="690" y="182"/>
                  </a:lnTo>
                  <a:lnTo>
                    <a:pt x="688" y="190"/>
                  </a:lnTo>
                  <a:lnTo>
                    <a:pt x="692" y="192"/>
                  </a:lnTo>
                  <a:lnTo>
                    <a:pt x="692" y="200"/>
                  </a:lnTo>
                  <a:lnTo>
                    <a:pt x="686" y="208"/>
                  </a:lnTo>
                  <a:lnTo>
                    <a:pt x="686" y="208"/>
                  </a:lnTo>
                  <a:lnTo>
                    <a:pt x="688" y="210"/>
                  </a:lnTo>
                  <a:lnTo>
                    <a:pt x="686" y="214"/>
                  </a:lnTo>
                  <a:lnTo>
                    <a:pt x="686" y="218"/>
                  </a:lnTo>
                  <a:lnTo>
                    <a:pt x="690" y="220"/>
                  </a:lnTo>
                  <a:lnTo>
                    <a:pt x="694" y="228"/>
                  </a:lnTo>
                  <a:lnTo>
                    <a:pt x="700" y="234"/>
                  </a:lnTo>
                  <a:lnTo>
                    <a:pt x="696" y="246"/>
                  </a:lnTo>
                  <a:lnTo>
                    <a:pt x="696" y="252"/>
                  </a:lnTo>
                  <a:lnTo>
                    <a:pt x="700" y="258"/>
                  </a:lnTo>
                  <a:lnTo>
                    <a:pt x="694" y="260"/>
                  </a:lnTo>
                  <a:lnTo>
                    <a:pt x="694" y="264"/>
                  </a:lnTo>
                  <a:lnTo>
                    <a:pt x="690" y="266"/>
                  </a:lnTo>
                  <a:lnTo>
                    <a:pt x="690" y="270"/>
                  </a:lnTo>
                  <a:lnTo>
                    <a:pt x="686" y="274"/>
                  </a:lnTo>
                  <a:lnTo>
                    <a:pt x="678" y="270"/>
                  </a:lnTo>
                  <a:lnTo>
                    <a:pt x="674" y="276"/>
                  </a:lnTo>
                  <a:lnTo>
                    <a:pt x="672" y="278"/>
                  </a:lnTo>
                  <a:lnTo>
                    <a:pt x="664" y="278"/>
                  </a:lnTo>
                  <a:lnTo>
                    <a:pt x="650" y="278"/>
                  </a:lnTo>
                  <a:lnTo>
                    <a:pt x="650" y="282"/>
                  </a:lnTo>
                  <a:lnTo>
                    <a:pt x="658" y="286"/>
                  </a:lnTo>
                  <a:lnTo>
                    <a:pt x="662" y="290"/>
                  </a:lnTo>
                  <a:lnTo>
                    <a:pt x="668" y="290"/>
                  </a:lnTo>
                  <a:lnTo>
                    <a:pt x="670" y="288"/>
                  </a:lnTo>
                  <a:lnTo>
                    <a:pt x="674" y="288"/>
                  </a:lnTo>
                  <a:lnTo>
                    <a:pt x="680" y="288"/>
                  </a:lnTo>
                  <a:lnTo>
                    <a:pt x="680" y="292"/>
                  </a:lnTo>
                  <a:lnTo>
                    <a:pt x="684" y="294"/>
                  </a:lnTo>
                  <a:lnTo>
                    <a:pt x="686" y="302"/>
                  </a:lnTo>
                  <a:lnTo>
                    <a:pt x="688" y="302"/>
                  </a:lnTo>
                  <a:lnTo>
                    <a:pt x="692" y="302"/>
                  </a:lnTo>
                  <a:lnTo>
                    <a:pt x="694" y="304"/>
                  </a:lnTo>
                  <a:lnTo>
                    <a:pt x="690" y="286"/>
                  </a:lnTo>
                  <a:lnTo>
                    <a:pt x="682" y="284"/>
                  </a:lnTo>
                  <a:lnTo>
                    <a:pt x="684" y="280"/>
                  </a:lnTo>
                  <a:lnTo>
                    <a:pt x="694" y="278"/>
                  </a:lnTo>
                  <a:lnTo>
                    <a:pt x="700" y="276"/>
                  </a:lnTo>
                  <a:lnTo>
                    <a:pt x="704" y="276"/>
                  </a:lnTo>
                  <a:lnTo>
                    <a:pt x="712" y="264"/>
                  </a:lnTo>
                  <a:lnTo>
                    <a:pt x="712" y="262"/>
                  </a:lnTo>
                  <a:lnTo>
                    <a:pt x="712" y="260"/>
                  </a:lnTo>
                  <a:lnTo>
                    <a:pt x="714" y="254"/>
                  </a:lnTo>
                  <a:lnTo>
                    <a:pt x="716" y="250"/>
                  </a:lnTo>
                  <a:lnTo>
                    <a:pt x="716" y="244"/>
                  </a:lnTo>
                  <a:lnTo>
                    <a:pt x="712" y="240"/>
                  </a:lnTo>
                  <a:lnTo>
                    <a:pt x="714" y="236"/>
                  </a:lnTo>
                  <a:lnTo>
                    <a:pt x="716" y="232"/>
                  </a:lnTo>
                  <a:lnTo>
                    <a:pt x="716" y="228"/>
                  </a:lnTo>
                  <a:lnTo>
                    <a:pt x="720" y="228"/>
                  </a:lnTo>
                  <a:lnTo>
                    <a:pt x="724" y="226"/>
                  </a:lnTo>
                  <a:lnTo>
                    <a:pt x="734" y="224"/>
                  </a:lnTo>
                  <a:lnTo>
                    <a:pt x="736" y="220"/>
                  </a:lnTo>
                  <a:lnTo>
                    <a:pt x="742" y="220"/>
                  </a:lnTo>
                  <a:lnTo>
                    <a:pt x="746" y="232"/>
                  </a:lnTo>
                  <a:lnTo>
                    <a:pt x="748" y="236"/>
                  </a:lnTo>
                  <a:lnTo>
                    <a:pt x="750" y="242"/>
                  </a:lnTo>
                  <a:lnTo>
                    <a:pt x="750" y="248"/>
                  </a:lnTo>
                  <a:lnTo>
                    <a:pt x="746" y="262"/>
                  </a:lnTo>
                  <a:lnTo>
                    <a:pt x="752" y="266"/>
                  </a:lnTo>
                  <a:lnTo>
                    <a:pt x="758" y="270"/>
                  </a:lnTo>
                  <a:lnTo>
                    <a:pt x="760" y="268"/>
                  </a:lnTo>
                  <a:lnTo>
                    <a:pt x="758" y="268"/>
                  </a:lnTo>
                  <a:lnTo>
                    <a:pt x="758" y="264"/>
                  </a:lnTo>
                  <a:lnTo>
                    <a:pt x="764" y="262"/>
                  </a:lnTo>
                  <a:lnTo>
                    <a:pt x="766" y="264"/>
                  </a:lnTo>
                  <a:lnTo>
                    <a:pt x="774" y="266"/>
                  </a:lnTo>
                  <a:lnTo>
                    <a:pt x="782" y="266"/>
                  </a:lnTo>
                  <a:lnTo>
                    <a:pt x="780" y="264"/>
                  </a:lnTo>
                  <a:lnTo>
                    <a:pt x="772" y="262"/>
                  </a:lnTo>
                  <a:lnTo>
                    <a:pt x="764" y="260"/>
                  </a:lnTo>
                  <a:lnTo>
                    <a:pt x="760" y="256"/>
                  </a:lnTo>
                  <a:lnTo>
                    <a:pt x="756" y="256"/>
                  </a:lnTo>
                  <a:lnTo>
                    <a:pt x="756" y="250"/>
                  </a:lnTo>
                  <a:lnTo>
                    <a:pt x="756" y="248"/>
                  </a:lnTo>
                  <a:lnTo>
                    <a:pt x="764" y="244"/>
                  </a:lnTo>
                  <a:lnTo>
                    <a:pt x="762" y="240"/>
                  </a:lnTo>
                  <a:lnTo>
                    <a:pt x="760" y="236"/>
                  </a:lnTo>
                  <a:lnTo>
                    <a:pt x="760" y="234"/>
                  </a:lnTo>
                  <a:lnTo>
                    <a:pt x="756" y="232"/>
                  </a:lnTo>
                  <a:lnTo>
                    <a:pt x="754" y="226"/>
                  </a:lnTo>
                  <a:lnTo>
                    <a:pt x="752" y="220"/>
                  </a:lnTo>
                  <a:lnTo>
                    <a:pt x="742" y="216"/>
                  </a:lnTo>
                  <a:lnTo>
                    <a:pt x="730" y="214"/>
                  </a:lnTo>
                  <a:lnTo>
                    <a:pt x="726" y="216"/>
                  </a:lnTo>
                  <a:lnTo>
                    <a:pt x="722" y="218"/>
                  </a:lnTo>
                  <a:lnTo>
                    <a:pt x="714" y="218"/>
                  </a:lnTo>
                  <a:lnTo>
                    <a:pt x="712" y="218"/>
                  </a:lnTo>
                  <a:lnTo>
                    <a:pt x="712" y="220"/>
                  </a:lnTo>
                  <a:lnTo>
                    <a:pt x="710" y="220"/>
                  </a:lnTo>
                  <a:lnTo>
                    <a:pt x="708" y="220"/>
                  </a:lnTo>
                  <a:lnTo>
                    <a:pt x="708" y="212"/>
                  </a:lnTo>
                  <a:lnTo>
                    <a:pt x="706" y="210"/>
                  </a:lnTo>
                  <a:lnTo>
                    <a:pt x="704" y="204"/>
                  </a:lnTo>
                  <a:lnTo>
                    <a:pt x="706" y="200"/>
                  </a:lnTo>
                  <a:lnTo>
                    <a:pt x="708" y="196"/>
                  </a:lnTo>
                  <a:lnTo>
                    <a:pt x="708" y="190"/>
                  </a:lnTo>
                  <a:lnTo>
                    <a:pt x="704" y="184"/>
                  </a:lnTo>
                  <a:lnTo>
                    <a:pt x="700" y="180"/>
                  </a:lnTo>
                  <a:lnTo>
                    <a:pt x="700" y="176"/>
                  </a:lnTo>
                  <a:lnTo>
                    <a:pt x="702" y="174"/>
                  </a:lnTo>
                  <a:lnTo>
                    <a:pt x="704" y="170"/>
                  </a:lnTo>
                  <a:lnTo>
                    <a:pt x="704" y="168"/>
                  </a:lnTo>
                  <a:lnTo>
                    <a:pt x="704" y="164"/>
                  </a:lnTo>
                  <a:lnTo>
                    <a:pt x="706" y="162"/>
                  </a:lnTo>
                  <a:lnTo>
                    <a:pt x="708" y="162"/>
                  </a:lnTo>
                  <a:lnTo>
                    <a:pt x="712" y="158"/>
                  </a:lnTo>
                  <a:lnTo>
                    <a:pt x="714" y="152"/>
                  </a:lnTo>
                  <a:lnTo>
                    <a:pt x="716" y="146"/>
                  </a:lnTo>
                  <a:lnTo>
                    <a:pt x="716" y="140"/>
                  </a:lnTo>
                  <a:lnTo>
                    <a:pt x="712" y="128"/>
                  </a:lnTo>
                  <a:lnTo>
                    <a:pt x="716" y="126"/>
                  </a:lnTo>
                  <a:lnTo>
                    <a:pt x="720" y="134"/>
                  </a:lnTo>
                  <a:lnTo>
                    <a:pt x="720" y="136"/>
                  </a:lnTo>
                  <a:lnTo>
                    <a:pt x="718" y="138"/>
                  </a:lnTo>
                  <a:lnTo>
                    <a:pt x="718" y="140"/>
                  </a:lnTo>
                  <a:lnTo>
                    <a:pt x="720" y="142"/>
                  </a:lnTo>
                  <a:lnTo>
                    <a:pt x="722" y="146"/>
                  </a:lnTo>
                  <a:lnTo>
                    <a:pt x="720" y="150"/>
                  </a:lnTo>
                  <a:lnTo>
                    <a:pt x="718" y="152"/>
                  </a:lnTo>
                  <a:lnTo>
                    <a:pt x="718" y="154"/>
                  </a:lnTo>
                  <a:lnTo>
                    <a:pt x="720" y="154"/>
                  </a:lnTo>
                  <a:lnTo>
                    <a:pt x="720" y="160"/>
                  </a:lnTo>
                  <a:lnTo>
                    <a:pt x="724" y="166"/>
                  </a:lnTo>
                  <a:lnTo>
                    <a:pt x="726" y="170"/>
                  </a:lnTo>
                  <a:lnTo>
                    <a:pt x="722" y="174"/>
                  </a:lnTo>
                  <a:lnTo>
                    <a:pt x="726" y="178"/>
                  </a:lnTo>
                  <a:lnTo>
                    <a:pt x="730" y="180"/>
                  </a:lnTo>
                  <a:lnTo>
                    <a:pt x="732" y="180"/>
                  </a:lnTo>
                  <a:lnTo>
                    <a:pt x="734" y="178"/>
                  </a:lnTo>
                  <a:lnTo>
                    <a:pt x="736" y="176"/>
                  </a:lnTo>
                  <a:lnTo>
                    <a:pt x="740" y="176"/>
                  </a:lnTo>
                  <a:lnTo>
                    <a:pt x="742" y="178"/>
                  </a:lnTo>
                  <a:lnTo>
                    <a:pt x="754" y="176"/>
                  </a:lnTo>
                  <a:lnTo>
                    <a:pt x="756" y="178"/>
                  </a:lnTo>
                  <a:lnTo>
                    <a:pt x="758" y="176"/>
                  </a:lnTo>
                  <a:lnTo>
                    <a:pt x="756" y="172"/>
                  </a:lnTo>
                  <a:lnTo>
                    <a:pt x="752" y="172"/>
                  </a:lnTo>
                  <a:lnTo>
                    <a:pt x="750" y="168"/>
                  </a:lnTo>
                  <a:lnTo>
                    <a:pt x="744" y="168"/>
                  </a:lnTo>
                  <a:lnTo>
                    <a:pt x="742" y="164"/>
                  </a:lnTo>
                  <a:lnTo>
                    <a:pt x="740" y="164"/>
                  </a:lnTo>
                  <a:lnTo>
                    <a:pt x="736" y="162"/>
                  </a:lnTo>
                  <a:lnTo>
                    <a:pt x="740" y="152"/>
                  </a:lnTo>
                  <a:lnTo>
                    <a:pt x="750" y="154"/>
                  </a:lnTo>
                  <a:lnTo>
                    <a:pt x="758" y="158"/>
                  </a:lnTo>
                  <a:lnTo>
                    <a:pt x="760" y="158"/>
                  </a:lnTo>
                  <a:lnTo>
                    <a:pt x="764" y="156"/>
                  </a:lnTo>
                  <a:lnTo>
                    <a:pt x="766" y="152"/>
                  </a:lnTo>
                  <a:lnTo>
                    <a:pt x="762" y="150"/>
                  </a:lnTo>
                  <a:lnTo>
                    <a:pt x="756" y="150"/>
                  </a:lnTo>
                  <a:lnTo>
                    <a:pt x="766" y="144"/>
                  </a:lnTo>
                  <a:lnTo>
                    <a:pt x="770" y="142"/>
                  </a:lnTo>
                  <a:lnTo>
                    <a:pt x="778" y="142"/>
                  </a:lnTo>
                  <a:lnTo>
                    <a:pt x="788" y="146"/>
                  </a:lnTo>
                  <a:lnTo>
                    <a:pt x="792" y="150"/>
                  </a:lnTo>
                  <a:lnTo>
                    <a:pt x="794" y="150"/>
                  </a:lnTo>
                  <a:lnTo>
                    <a:pt x="796" y="152"/>
                  </a:lnTo>
                  <a:lnTo>
                    <a:pt x="800" y="156"/>
                  </a:lnTo>
                  <a:lnTo>
                    <a:pt x="806" y="156"/>
                  </a:lnTo>
                  <a:lnTo>
                    <a:pt x="810" y="156"/>
                  </a:lnTo>
                  <a:lnTo>
                    <a:pt x="816" y="156"/>
                  </a:lnTo>
                  <a:lnTo>
                    <a:pt x="822" y="156"/>
                  </a:lnTo>
                  <a:lnTo>
                    <a:pt x="824" y="158"/>
                  </a:lnTo>
                  <a:lnTo>
                    <a:pt x="824" y="160"/>
                  </a:lnTo>
                  <a:lnTo>
                    <a:pt x="822" y="162"/>
                  </a:lnTo>
                  <a:lnTo>
                    <a:pt x="818" y="168"/>
                  </a:lnTo>
                  <a:lnTo>
                    <a:pt x="814" y="172"/>
                  </a:lnTo>
                  <a:lnTo>
                    <a:pt x="814" y="176"/>
                  </a:lnTo>
                  <a:lnTo>
                    <a:pt x="814" y="186"/>
                  </a:lnTo>
                  <a:lnTo>
                    <a:pt x="812" y="188"/>
                  </a:lnTo>
                  <a:lnTo>
                    <a:pt x="808" y="196"/>
                  </a:lnTo>
                  <a:lnTo>
                    <a:pt x="804" y="204"/>
                  </a:lnTo>
                  <a:lnTo>
                    <a:pt x="808" y="202"/>
                  </a:lnTo>
                  <a:lnTo>
                    <a:pt x="814" y="196"/>
                  </a:lnTo>
                  <a:lnTo>
                    <a:pt x="816" y="196"/>
                  </a:lnTo>
                  <a:lnTo>
                    <a:pt x="816" y="200"/>
                  </a:lnTo>
                  <a:lnTo>
                    <a:pt x="822" y="204"/>
                  </a:lnTo>
                  <a:lnTo>
                    <a:pt x="822" y="208"/>
                  </a:lnTo>
                  <a:lnTo>
                    <a:pt x="832" y="208"/>
                  </a:lnTo>
                  <a:lnTo>
                    <a:pt x="842" y="210"/>
                  </a:lnTo>
                  <a:lnTo>
                    <a:pt x="844" y="208"/>
                  </a:lnTo>
                  <a:lnTo>
                    <a:pt x="846" y="208"/>
                  </a:lnTo>
                  <a:lnTo>
                    <a:pt x="848" y="208"/>
                  </a:lnTo>
                  <a:lnTo>
                    <a:pt x="850" y="208"/>
                  </a:lnTo>
                  <a:lnTo>
                    <a:pt x="854" y="210"/>
                  </a:lnTo>
                  <a:lnTo>
                    <a:pt x="854" y="216"/>
                  </a:lnTo>
                  <a:lnTo>
                    <a:pt x="856" y="216"/>
                  </a:lnTo>
                  <a:lnTo>
                    <a:pt x="858" y="218"/>
                  </a:lnTo>
                  <a:lnTo>
                    <a:pt x="856" y="210"/>
                  </a:lnTo>
                  <a:lnTo>
                    <a:pt x="856" y="208"/>
                  </a:lnTo>
                  <a:lnTo>
                    <a:pt x="854" y="208"/>
                  </a:lnTo>
                  <a:lnTo>
                    <a:pt x="852" y="208"/>
                  </a:lnTo>
                  <a:lnTo>
                    <a:pt x="850" y="208"/>
                  </a:lnTo>
                  <a:lnTo>
                    <a:pt x="848" y="204"/>
                  </a:lnTo>
                  <a:lnTo>
                    <a:pt x="846" y="204"/>
                  </a:lnTo>
                  <a:lnTo>
                    <a:pt x="842" y="206"/>
                  </a:lnTo>
                  <a:lnTo>
                    <a:pt x="836" y="208"/>
                  </a:lnTo>
                  <a:lnTo>
                    <a:pt x="824" y="200"/>
                  </a:lnTo>
                  <a:lnTo>
                    <a:pt x="822" y="194"/>
                  </a:lnTo>
                  <a:lnTo>
                    <a:pt x="832" y="192"/>
                  </a:lnTo>
                  <a:lnTo>
                    <a:pt x="832" y="184"/>
                  </a:lnTo>
                  <a:lnTo>
                    <a:pt x="828" y="178"/>
                  </a:lnTo>
                  <a:lnTo>
                    <a:pt x="828" y="174"/>
                  </a:lnTo>
                  <a:lnTo>
                    <a:pt x="828" y="172"/>
                  </a:lnTo>
                  <a:lnTo>
                    <a:pt x="830" y="166"/>
                  </a:lnTo>
                  <a:lnTo>
                    <a:pt x="832" y="162"/>
                  </a:lnTo>
                  <a:lnTo>
                    <a:pt x="832" y="160"/>
                  </a:lnTo>
                  <a:lnTo>
                    <a:pt x="832" y="156"/>
                  </a:lnTo>
                  <a:lnTo>
                    <a:pt x="820" y="152"/>
                  </a:lnTo>
                  <a:lnTo>
                    <a:pt x="820" y="150"/>
                  </a:lnTo>
                  <a:lnTo>
                    <a:pt x="816" y="148"/>
                  </a:lnTo>
                  <a:lnTo>
                    <a:pt x="812" y="148"/>
                  </a:lnTo>
                  <a:lnTo>
                    <a:pt x="808" y="148"/>
                  </a:lnTo>
                  <a:lnTo>
                    <a:pt x="806" y="146"/>
                  </a:lnTo>
                  <a:lnTo>
                    <a:pt x="800" y="142"/>
                  </a:lnTo>
                  <a:lnTo>
                    <a:pt x="796" y="140"/>
                  </a:lnTo>
                  <a:lnTo>
                    <a:pt x="794" y="134"/>
                  </a:lnTo>
                  <a:lnTo>
                    <a:pt x="796" y="126"/>
                  </a:lnTo>
                  <a:lnTo>
                    <a:pt x="800" y="118"/>
                  </a:lnTo>
                  <a:lnTo>
                    <a:pt x="800" y="116"/>
                  </a:lnTo>
                  <a:lnTo>
                    <a:pt x="800" y="114"/>
                  </a:lnTo>
                  <a:lnTo>
                    <a:pt x="802" y="106"/>
                  </a:lnTo>
                  <a:lnTo>
                    <a:pt x="804" y="106"/>
                  </a:lnTo>
                  <a:lnTo>
                    <a:pt x="806" y="106"/>
                  </a:lnTo>
                  <a:lnTo>
                    <a:pt x="808" y="104"/>
                  </a:lnTo>
                  <a:lnTo>
                    <a:pt x="814" y="104"/>
                  </a:lnTo>
                  <a:lnTo>
                    <a:pt x="818" y="104"/>
                  </a:lnTo>
                  <a:lnTo>
                    <a:pt x="822" y="102"/>
                  </a:lnTo>
                  <a:lnTo>
                    <a:pt x="826" y="102"/>
                  </a:lnTo>
                  <a:lnTo>
                    <a:pt x="832" y="104"/>
                  </a:lnTo>
                  <a:lnTo>
                    <a:pt x="836" y="100"/>
                  </a:lnTo>
                  <a:lnTo>
                    <a:pt x="840" y="100"/>
                  </a:lnTo>
                  <a:lnTo>
                    <a:pt x="844" y="100"/>
                  </a:lnTo>
                  <a:lnTo>
                    <a:pt x="848" y="102"/>
                  </a:lnTo>
                  <a:lnTo>
                    <a:pt x="850" y="104"/>
                  </a:lnTo>
                  <a:lnTo>
                    <a:pt x="852" y="104"/>
                  </a:lnTo>
                  <a:lnTo>
                    <a:pt x="854" y="102"/>
                  </a:lnTo>
                  <a:lnTo>
                    <a:pt x="856" y="102"/>
                  </a:lnTo>
                  <a:lnTo>
                    <a:pt x="858" y="102"/>
                  </a:lnTo>
                  <a:lnTo>
                    <a:pt x="862" y="100"/>
                  </a:lnTo>
                  <a:lnTo>
                    <a:pt x="868" y="100"/>
                  </a:lnTo>
                  <a:lnTo>
                    <a:pt x="872" y="100"/>
                  </a:lnTo>
                  <a:lnTo>
                    <a:pt x="874" y="102"/>
                  </a:lnTo>
                  <a:lnTo>
                    <a:pt x="874" y="104"/>
                  </a:lnTo>
                  <a:lnTo>
                    <a:pt x="872" y="108"/>
                  </a:lnTo>
                  <a:lnTo>
                    <a:pt x="874" y="110"/>
                  </a:lnTo>
                  <a:lnTo>
                    <a:pt x="880" y="110"/>
                  </a:lnTo>
                  <a:lnTo>
                    <a:pt x="880" y="106"/>
                  </a:lnTo>
                  <a:lnTo>
                    <a:pt x="878" y="100"/>
                  </a:lnTo>
                  <a:lnTo>
                    <a:pt x="874" y="94"/>
                  </a:lnTo>
                  <a:lnTo>
                    <a:pt x="870" y="92"/>
                  </a:lnTo>
                  <a:lnTo>
                    <a:pt x="866" y="90"/>
                  </a:lnTo>
                  <a:lnTo>
                    <a:pt x="866" y="86"/>
                  </a:lnTo>
                  <a:lnTo>
                    <a:pt x="872" y="86"/>
                  </a:lnTo>
                  <a:lnTo>
                    <a:pt x="878" y="86"/>
                  </a:lnTo>
                  <a:lnTo>
                    <a:pt x="878" y="84"/>
                  </a:lnTo>
                  <a:lnTo>
                    <a:pt x="876" y="82"/>
                  </a:lnTo>
                  <a:lnTo>
                    <a:pt x="874" y="80"/>
                  </a:lnTo>
                  <a:lnTo>
                    <a:pt x="872" y="78"/>
                  </a:lnTo>
                  <a:lnTo>
                    <a:pt x="868" y="78"/>
                  </a:lnTo>
                  <a:lnTo>
                    <a:pt x="870" y="74"/>
                  </a:lnTo>
                  <a:lnTo>
                    <a:pt x="880" y="80"/>
                  </a:lnTo>
                  <a:lnTo>
                    <a:pt x="882" y="72"/>
                  </a:lnTo>
                  <a:lnTo>
                    <a:pt x="884" y="68"/>
                  </a:lnTo>
                  <a:lnTo>
                    <a:pt x="888" y="68"/>
                  </a:lnTo>
                  <a:lnTo>
                    <a:pt x="890" y="64"/>
                  </a:lnTo>
                  <a:lnTo>
                    <a:pt x="886" y="62"/>
                  </a:lnTo>
                  <a:lnTo>
                    <a:pt x="882" y="62"/>
                  </a:lnTo>
                  <a:lnTo>
                    <a:pt x="882" y="60"/>
                  </a:lnTo>
                  <a:lnTo>
                    <a:pt x="888" y="60"/>
                  </a:lnTo>
                  <a:lnTo>
                    <a:pt x="894" y="60"/>
                  </a:lnTo>
                  <a:lnTo>
                    <a:pt x="896" y="58"/>
                  </a:lnTo>
                  <a:lnTo>
                    <a:pt x="904" y="58"/>
                  </a:lnTo>
                  <a:lnTo>
                    <a:pt x="904" y="56"/>
                  </a:lnTo>
                  <a:lnTo>
                    <a:pt x="910" y="56"/>
                  </a:lnTo>
                  <a:lnTo>
                    <a:pt x="914" y="52"/>
                  </a:lnTo>
                  <a:lnTo>
                    <a:pt x="918" y="50"/>
                  </a:lnTo>
                  <a:lnTo>
                    <a:pt x="920" y="52"/>
                  </a:lnTo>
                  <a:lnTo>
                    <a:pt x="922" y="52"/>
                  </a:lnTo>
                  <a:lnTo>
                    <a:pt x="930" y="50"/>
                  </a:lnTo>
                  <a:lnTo>
                    <a:pt x="934" y="50"/>
                  </a:lnTo>
                  <a:lnTo>
                    <a:pt x="940" y="50"/>
                  </a:lnTo>
                  <a:lnTo>
                    <a:pt x="946" y="46"/>
                  </a:lnTo>
                  <a:lnTo>
                    <a:pt x="952" y="46"/>
                  </a:lnTo>
                  <a:lnTo>
                    <a:pt x="958" y="46"/>
                  </a:lnTo>
                  <a:lnTo>
                    <a:pt x="962" y="44"/>
                  </a:lnTo>
                  <a:lnTo>
                    <a:pt x="962" y="42"/>
                  </a:lnTo>
                  <a:lnTo>
                    <a:pt x="962" y="40"/>
                  </a:lnTo>
                  <a:lnTo>
                    <a:pt x="966" y="40"/>
                  </a:lnTo>
                  <a:lnTo>
                    <a:pt x="968" y="40"/>
                  </a:lnTo>
                  <a:lnTo>
                    <a:pt x="970" y="42"/>
                  </a:lnTo>
                  <a:lnTo>
                    <a:pt x="972" y="40"/>
                  </a:lnTo>
                  <a:lnTo>
                    <a:pt x="974" y="40"/>
                  </a:lnTo>
                  <a:lnTo>
                    <a:pt x="980" y="40"/>
                  </a:lnTo>
                  <a:lnTo>
                    <a:pt x="982" y="42"/>
                  </a:lnTo>
                  <a:lnTo>
                    <a:pt x="982" y="42"/>
                  </a:lnTo>
                  <a:lnTo>
                    <a:pt x="984" y="40"/>
                  </a:lnTo>
                  <a:lnTo>
                    <a:pt x="992" y="42"/>
                  </a:lnTo>
                  <a:lnTo>
                    <a:pt x="996" y="40"/>
                  </a:lnTo>
                  <a:lnTo>
                    <a:pt x="998" y="40"/>
                  </a:lnTo>
                  <a:lnTo>
                    <a:pt x="1002" y="40"/>
                  </a:lnTo>
                  <a:lnTo>
                    <a:pt x="1004" y="44"/>
                  </a:lnTo>
                  <a:lnTo>
                    <a:pt x="1000" y="48"/>
                  </a:lnTo>
                  <a:lnTo>
                    <a:pt x="996" y="52"/>
                  </a:lnTo>
                  <a:lnTo>
                    <a:pt x="996" y="54"/>
                  </a:lnTo>
                  <a:lnTo>
                    <a:pt x="1004" y="52"/>
                  </a:lnTo>
                  <a:lnTo>
                    <a:pt x="1006" y="48"/>
                  </a:lnTo>
                  <a:lnTo>
                    <a:pt x="1008" y="48"/>
                  </a:lnTo>
                  <a:lnTo>
                    <a:pt x="1008" y="52"/>
                  </a:lnTo>
                  <a:lnTo>
                    <a:pt x="1010" y="52"/>
                  </a:lnTo>
                  <a:lnTo>
                    <a:pt x="1012" y="48"/>
                  </a:lnTo>
                  <a:lnTo>
                    <a:pt x="1016" y="48"/>
                  </a:lnTo>
                  <a:lnTo>
                    <a:pt x="1016" y="50"/>
                  </a:lnTo>
                  <a:lnTo>
                    <a:pt x="1024" y="44"/>
                  </a:lnTo>
                  <a:lnTo>
                    <a:pt x="1030" y="40"/>
                  </a:lnTo>
                  <a:lnTo>
                    <a:pt x="1032" y="40"/>
                  </a:lnTo>
                  <a:lnTo>
                    <a:pt x="1036" y="42"/>
                  </a:lnTo>
                  <a:lnTo>
                    <a:pt x="1038" y="44"/>
                  </a:lnTo>
                  <a:lnTo>
                    <a:pt x="1036" y="48"/>
                  </a:lnTo>
                  <a:lnTo>
                    <a:pt x="1036" y="52"/>
                  </a:lnTo>
                  <a:lnTo>
                    <a:pt x="1038" y="54"/>
                  </a:lnTo>
                  <a:lnTo>
                    <a:pt x="1038" y="50"/>
                  </a:lnTo>
                  <a:lnTo>
                    <a:pt x="1042" y="50"/>
                  </a:lnTo>
                  <a:lnTo>
                    <a:pt x="1040" y="42"/>
                  </a:lnTo>
                  <a:lnTo>
                    <a:pt x="1040" y="40"/>
                  </a:lnTo>
                  <a:lnTo>
                    <a:pt x="1038" y="40"/>
                  </a:lnTo>
                  <a:lnTo>
                    <a:pt x="1034" y="38"/>
                  </a:lnTo>
                  <a:lnTo>
                    <a:pt x="1032" y="36"/>
                  </a:lnTo>
                  <a:lnTo>
                    <a:pt x="1050" y="36"/>
                  </a:lnTo>
                  <a:lnTo>
                    <a:pt x="1052" y="34"/>
                  </a:lnTo>
                  <a:lnTo>
                    <a:pt x="1056" y="32"/>
                  </a:lnTo>
                  <a:lnTo>
                    <a:pt x="1060" y="38"/>
                  </a:lnTo>
                  <a:lnTo>
                    <a:pt x="1064" y="38"/>
                  </a:lnTo>
                  <a:lnTo>
                    <a:pt x="1060" y="32"/>
                  </a:lnTo>
                  <a:lnTo>
                    <a:pt x="1056" y="28"/>
                  </a:lnTo>
                  <a:lnTo>
                    <a:pt x="1056" y="22"/>
                  </a:lnTo>
                  <a:lnTo>
                    <a:pt x="1058" y="22"/>
                  </a:lnTo>
                  <a:lnTo>
                    <a:pt x="1068" y="14"/>
                  </a:lnTo>
                  <a:lnTo>
                    <a:pt x="1070" y="12"/>
                  </a:lnTo>
                  <a:lnTo>
                    <a:pt x="1070" y="10"/>
                  </a:lnTo>
                  <a:lnTo>
                    <a:pt x="1070" y="8"/>
                  </a:lnTo>
                  <a:lnTo>
                    <a:pt x="1074" y="6"/>
                  </a:lnTo>
                  <a:lnTo>
                    <a:pt x="1078" y="6"/>
                  </a:lnTo>
                  <a:lnTo>
                    <a:pt x="1080" y="4"/>
                  </a:lnTo>
                  <a:lnTo>
                    <a:pt x="1084" y="4"/>
                  </a:lnTo>
                  <a:lnTo>
                    <a:pt x="1086" y="6"/>
                  </a:lnTo>
                  <a:lnTo>
                    <a:pt x="1088" y="6"/>
                  </a:lnTo>
                  <a:lnTo>
                    <a:pt x="1090" y="8"/>
                  </a:lnTo>
                  <a:lnTo>
                    <a:pt x="1092" y="6"/>
                  </a:lnTo>
                  <a:lnTo>
                    <a:pt x="1094" y="4"/>
                  </a:lnTo>
                  <a:lnTo>
                    <a:pt x="1096" y="2"/>
                  </a:lnTo>
                  <a:lnTo>
                    <a:pt x="1098" y="0"/>
                  </a:lnTo>
                  <a:lnTo>
                    <a:pt x="1100" y="2"/>
                  </a:lnTo>
                  <a:lnTo>
                    <a:pt x="1102" y="4"/>
                  </a:lnTo>
                  <a:lnTo>
                    <a:pt x="1106" y="2"/>
                  </a:lnTo>
                  <a:lnTo>
                    <a:pt x="1110" y="2"/>
                  </a:lnTo>
                  <a:lnTo>
                    <a:pt x="1110" y="6"/>
                  </a:lnTo>
                  <a:lnTo>
                    <a:pt x="1110" y="8"/>
                  </a:lnTo>
                  <a:lnTo>
                    <a:pt x="1114" y="8"/>
                  </a:lnTo>
                  <a:lnTo>
                    <a:pt x="1118" y="8"/>
                  </a:lnTo>
                  <a:lnTo>
                    <a:pt x="1120" y="10"/>
                  </a:lnTo>
                  <a:lnTo>
                    <a:pt x="1120" y="12"/>
                  </a:lnTo>
                  <a:lnTo>
                    <a:pt x="1116" y="12"/>
                  </a:lnTo>
                  <a:lnTo>
                    <a:pt x="1114" y="16"/>
                  </a:lnTo>
                  <a:lnTo>
                    <a:pt x="1112" y="20"/>
                  </a:lnTo>
                  <a:lnTo>
                    <a:pt x="1116" y="18"/>
                  </a:lnTo>
                  <a:lnTo>
                    <a:pt x="1118" y="18"/>
                  </a:lnTo>
                  <a:lnTo>
                    <a:pt x="1118" y="20"/>
                  </a:lnTo>
                  <a:lnTo>
                    <a:pt x="1118" y="22"/>
                  </a:lnTo>
                  <a:lnTo>
                    <a:pt x="1122" y="22"/>
                  </a:lnTo>
                  <a:lnTo>
                    <a:pt x="1124" y="20"/>
                  </a:lnTo>
                  <a:lnTo>
                    <a:pt x="1126" y="20"/>
                  </a:lnTo>
                  <a:lnTo>
                    <a:pt x="1130" y="20"/>
                  </a:lnTo>
                  <a:lnTo>
                    <a:pt x="1132" y="22"/>
                  </a:lnTo>
                  <a:lnTo>
                    <a:pt x="1140" y="24"/>
                  </a:lnTo>
                  <a:lnTo>
                    <a:pt x="1136" y="38"/>
                  </a:lnTo>
                  <a:lnTo>
                    <a:pt x="1142" y="36"/>
                  </a:lnTo>
                  <a:lnTo>
                    <a:pt x="1148" y="32"/>
                  </a:lnTo>
                  <a:lnTo>
                    <a:pt x="1150" y="30"/>
                  </a:lnTo>
                  <a:lnTo>
                    <a:pt x="1152" y="28"/>
                  </a:lnTo>
                  <a:lnTo>
                    <a:pt x="1162" y="26"/>
                  </a:lnTo>
                  <a:lnTo>
                    <a:pt x="1174" y="24"/>
                  </a:lnTo>
                  <a:lnTo>
                    <a:pt x="1176" y="26"/>
                  </a:lnTo>
                  <a:lnTo>
                    <a:pt x="1178" y="26"/>
                  </a:lnTo>
                  <a:lnTo>
                    <a:pt x="1182" y="24"/>
                  </a:lnTo>
                  <a:lnTo>
                    <a:pt x="1190" y="24"/>
                  </a:lnTo>
                  <a:lnTo>
                    <a:pt x="1192" y="22"/>
                  </a:lnTo>
                  <a:lnTo>
                    <a:pt x="1194" y="22"/>
                  </a:lnTo>
                  <a:lnTo>
                    <a:pt x="1196" y="26"/>
                  </a:lnTo>
                  <a:lnTo>
                    <a:pt x="1198" y="28"/>
                  </a:lnTo>
                  <a:lnTo>
                    <a:pt x="1198" y="34"/>
                  </a:lnTo>
                  <a:lnTo>
                    <a:pt x="1200" y="36"/>
                  </a:lnTo>
                  <a:lnTo>
                    <a:pt x="1206" y="38"/>
                  </a:lnTo>
                  <a:lnTo>
                    <a:pt x="1214" y="40"/>
                  </a:lnTo>
                  <a:lnTo>
                    <a:pt x="1216" y="48"/>
                  </a:lnTo>
                  <a:lnTo>
                    <a:pt x="1220" y="48"/>
                  </a:lnTo>
                  <a:lnTo>
                    <a:pt x="1222" y="52"/>
                  </a:lnTo>
                  <a:lnTo>
                    <a:pt x="1222" y="54"/>
                  </a:lnTo>
                  <a:lnTo>
                    <a:pt x="1220" y="62"/>
                  </a:lnTo>
                  <a:lnTo>
                    <a:pt x="1214" y="60"/>
                  </a:lnTo>
                  <a:lnTo>
                    <a:pt x="1214" y="58"/>
                  </a:lnTo>
                  <a:lnTo>
                    <a:pt x="1212" y="60"/>
                  </a:lnTo>
                  <a:lnTo>
                    <a:pt x="1212" y="62"/>
                  </a:lnTo>
                  <a:lnTo>
                    <a:pt x="1220" y="68"/>
                  </a:lnTo>
                  <a:lnTo>
                    <a:pt x="1224" y="74"/>
                  </a:lnTo>
                  <a:lnTo>
                    <a:pt x="1222" y="76"/>
                  </a:lnTo>
                  <a:lnTo>
                    <a:pt x="1220" y="78"/>
                  </a:lnTo>
                  <a:lnTo>
                    <a:pt x="1208" y="82"/>
                  </a:lnTo>
                  <a:lnTo>
                    <a:pt x="1194" y="86"/>
                  </a:lnTo>
                  <a:lnTo>
                    <a:pt x="1186" y="86"/>
                  </a:lnTo>
                  <a:lnTo>
                    <a:pt x="1182" y="90"/>
                  </a:lnTo>
                  <a:lnTo>
                    <a:pt x="1170" y="92"/>
                  </a:lnTo>
                  <a:lnTo>
                    <a:pt x="1166" y="92"/>
                  </a:lnTo>
                  <a:lnTo>
                    <a:pt x="1164" y="92"/>
                  </a:lnTo>
                  <a:lnTo>
                    <a:pt x="1162" y="96"/>
                  </a:lnTo>
                  <a:lnTo>
                    <a:pt x="1160" y="98"/>
                  </a:lnTo>
                  <a:lnTo>
                    <a:pt x="1162" y="108"/>
                  </a:lnTo>
                  <a:lnTo>
                    <a:pt x="1156" y="108"/>
                  </a:lnTo>
                  <a:lnTo>
                    <a:pt x="1152" y="112"/>
                  </a:lnTo>
                  <a:lnTo>
                    <a:pt x="1150" y="118"/>
                  </a:lnTo>
                  <a:lnTo>
                    <a:pt x="1146" y="118"/>
                  </a:lnTo>
                  <a:lnTo>
                    <a:pt x="1142" y="120"/>
                  </a:lnTo>
                  <a:lnTo>
                    <a:pt x="1138" y="122"/>
                  </a:lnTo>
                  <a:lnTo>
                    <a:pt x="1134" y="124"/>
                  </a:lnTo>
                  <a:lnTo>
                    <a:pt x="1130" y="124"/>
                  </a:lnTo>
                  <a:lnTo>
                    <a:pt x="1128" y="126"/>
                  </a:lnTo>
                  <a:lnTo>
                    <a:pt x="1128" y="128"/>
                  </a:lnTo>
                  <a:lnTo>
                    <a:pt x="1126" y="132"/>
                  </a:lnTo>
                  <a:lnTo>
                    <a:pt x="1120" y="134"/>
                  </a:lnTo>
                  <a:lnTo>
                    <a:pt x="1114" y="136"/>
                  </a:lnTo>
                  <a:lnTo>
                    <a:pt x="1102" y="138"/>
                  </a:lnTo>
                  <a:lnTo>
                    <a:pt x="1100" y="140"/>
                  </a:lnTo>
                  <a:lnTo>
                    <a:pt x="1112" y="138"/>
                  </a:lnTo>
                  <a:lnTo>
                    <a:pt x="1126" y="138"/>
                  </a:lnTo>
                  <a:lnTo>
                    <a:pt x="1130" y="134"/>
                  </a:lnTo>
                  <a:lnTo>
                    <a:pt x="1130" y="132"/>
                  </a:lnTo>
                  <a:lnTo>
                    <a:pt x="1132" y="130"/>
                  </a:lnTo>
                  <a:lnTo>
                    <a:pt x="1136" y="128"/>
                  </a:lnTo>
                  <a:lnTo>
                    <a:pt x="1140" y="130"/>
                  </a:lnTo>
                  <a:lnTo>
                    <a:pt x="1148" y="130"/>
                  </a:lnTo>
                  <a:lnTo>
                    <a:pt x="1150" y="130"/>
                  </a:lnTo>
                  <a:lnTo>
                    <a:pt x="1150" y="128"/>
                  </a:lnTo>
                  <a:lnTo>
                    <a:pt x="1154" y="128"/>
                  </a:lnTo>
                  <a:lnTo>
                    <a:pt x="1158" y="126"/>
                  </a:lnTo>
                  <a:lnTo>
                    <a:pt x="1162" y="122"/>
                  </a:lnTo>
                  <a:lnTo>
                    <a:pt x="1162" y="120"/>
                  </a:lnTo>
                  <a:lnTo>
                    <a:pt x="1162" y="118"/>
                  </a:lnTo>
                  <a:lnTo>
                    <a:pt x="1164" y="122"/>
                  </a:lnTo>
                  <a:lnTo>
                    <a:pt x="1166" y="122"/>
                  </a:lnTo>
                  <a:lnTo>
                    <a:pt x="1170" y="122"/>
                  </a:lnTo>
                  <a:lnTo>
                    <a:pt x="1172" y="118"/>
                  </a:lnTo>
                  <a:lnTo>
                    <a:pt x="1166" y="118"/>
                  </a:lnTo>
                  <a:lnTo>
                    <a:pt x="1164" y="114"/>
                  </a:lnTo>
                  <a:lnTo>
                    <a:pt x="1164" y="112"/>
                  </a:lnTo>
                  <a:lnTo>
                    <a:pt x="1166" y="112"/>
                  </a:lnTo>
                  <a:lnTo>
                    <a:pt x="1166" y="110"/>
                  </a:lnTo>
                  <a:lnTo>
                    <a:pt x="1168" y="108"/>
                  </a:lnTo>
                  <a:lnTo>
                    <a:pt x="1170" y="108"/>
                  </a:lnTo>
                  <a:lnTo>
                    <a:pt x="1170" y="104"/>
                  </a:lnTo>
                  <a:lnTo>
                    <a:pt x="1174" y="102"/>
                  </a:lnTo>
                  <a:lnTo>
                    <a:pt x="1176" y="102"/>
                  </a:lnTo>
                  <a:lnTo>
                    <a:pt x="1176" y="104"/>
                  </a:lnTo>
                  <a:lnTo>
                    <a:pt x="1178" y="106"/>
                  </a:lnTo>
                  <a:lnTo>
                    <a:pt x="1180" y="106"/>
                  </a:lnTo>
                  <a:lnTo>
                    <a:pt x="1180" y="104"/>
                  </a:lnTo>
                  <a:lnTo>
                    <a:pt x="1182" y="100"/>
                  </a:lnTo>
                  <a:lnTo>
                    <a:pt x="1184" y="100"/>
                  </a:lnTo>
                  <a:lnTo>
                    <a:pt x="1188" y="108"/>
                  </a:lnTo>
                  <a:lnTo>
                    <a:pt x="1190" y="112"/>
                  </a:lnTo>
                  <a:lnTo>
                    <a:pt x="1194" y="112"/>
                  </a:lnTo>
                  <a:lnTo>
                    <a:pt x="1206" y="112"/>
                  </a:lnTo>
                  <a:lnTo>
                    <a:pt x="1206" y="104"/>
                  </a:lnTo>
                  <a:lnTo>
                    <a:pt x="1208" y="106"/>
                  </a:lnTo>
                  <a:lnTo>
                    <a:pt x="1212" y="108"/>
                  </a:lnTo>
                  <a:lnTo>
                    <a:pt x="1212" y="114"/>
                  </a:lnTo>
                  <a:lnTo>
                    <a:pt x="1210" y="116"/>
                  </a:lnTo>
                  <a:lnTo>
                    <a:pt x="1210" y="120"/>
                  </a:lnTo>
                  <a:lnTo>
                    <a:pt x="1212" y="122"/>
                  </a:lnTo>
                  <a:lnTo>
                    <a:pt x="1212" y="118"/>
                  </a:lnTo>
                  <a:lnTo>
                    <a:pt x="1216" y="112"/>
                  </a:lnTo>
                  <a:lnTo>
                    <a:pt x="1220" y="110"/>
                  </a:lnTo>
                  <a:lnTo>
                    <a:pt x="1228" y="104"/>
                  </a:lnTo>
                  <a:lnTo>
                    <a:pt x="1230" y="100"/>
                  </a:lnTo>
                  <a:lnTo>
                    <a:pt x="1232" y="100"/>
                  </a:lnTo>
                  <a:lnTo>
                    <a:pt x="1236" y="100"/>
                  </a:lnTo>
                  <a:lnTo>
                    <a:pt x="1238" y="100"/>
                  </a:lnTo>
                  <a:lnTo>
                    <a:pt x="1244" y="104"/>
                  </a:lnTo>
                  <a:lnTo>
                    <a:pt x="1248" y="102"/>
                  </a:lnTo>
                  <a:lnTo>
                    <a:pt x="1252" y="102"/>
                  </a:lnTo>
                  <a:lnTo>
                    <a:pt x="1254" y="106"/>
                  </a:lnTo>
                  <a:lnTo>
                    <a:pt x="1260" y="104"/>
                  </a:lnTo>
                  <a:lnTo>
                    <a:pt x="1270" y="104"/>
                  </a:lnTo>
                  <a:lnTo>
                    <a:pt x="1276" y="106"/>
                  </a:lnTo>
                  <a:lnTo>
                    <a:pt x="1276" y="116"/>
                  </a:lnTo>
                  <a:lnTo>
                    <a:pt x="1274" y="116"/>
                  </a:lnTo>
                  <a:lnTo>
                    <a:pt x="1274" y="118"/>
                  </a:lnTo>
                  <a:lnTo>
                    <a:pt x="1280" y="122"/>
                  </a:lnTo>
                  <a:lnTo>
                    <a:pt x="1284" y="124"/>
                  </a:lnTo>
                  <a:lnTo>
                    <a:pt x="1286" y="124"/>
                  </a:lnTo>
                  <a:lnTo>
                    <a:pt x="1288" y="126"/>
                  </a:lnTo>
                  <a:lnTo>
                    <a:pt x="1290" y="126"/>
                  </a:lnTo>
                  <a:lnTo>
                    <a:pt x="1296" y="130"/>
                  </a:lnTo>
                  <a:lnTo>
                    <a:pt x="1298" y="130"/>
                  </a:lnTo>
                  <a:lnTo>
                    <a:pt x="1298" y="128"/>
                  </a:lnTo>
                  <a:lnTo>
                    <a:pt x="1302" y="128"/>
                  </a:lnTo>
                  <a:lnTo>
                    <a:pt x="1304" y="128"/>
                  </a:lnTo>
                  <a:lnTo>
                    <a:pt x="1308" y="130"/>
                  </a:lnTo>
                  <a:lnTo>
                    <a:pt x="1310" y="130"/>
                  </a:lnTo>
                  <a:lnTo>
                    <a:pt x="1314" y="128"/>
                  </a:lnTo>
                  <a:lnTo>
                    <a:pt x="1320" y="132"/>
                  </a:lnTo>
                  <a:lnTo>
                    <a:pt x="1324" y="132"/>
                  </a:lnTo>
                  <a:lnTo>
                    <a:pt x="1326" y="130"/>
                  </a:lnTo>
                  <a:lnTo>
                    <a:pt x="1328" y="134"/>
                  </a:lnTo>
                  <a:lnTo>
                    <a:pt x="1332" y="136"/>
                  </a:lnTo>
                  <a:lnTo>
                    <a:pt x="1338" y="138"/>
                  </a:lnTo>
                  <a:lnTo>
                    <a:pt x="1346" y="138"/>
                  </a:lnTo>
                  <a:lnTo>
                    <a:pt x="1344" y="136"/>
                  </a:lnTo>
                  <a:lnTo>
                    <a:pt x="1346" y="134"/>
                  </a:lnTo>
                  <a:lnTo>
                    <a:pt x="1352" y="132"/>
                  </a:lnTo>
                  <a:lnTo>
                    <a:pt x="1350" y="130"/>
                  </a:lnTo>
                  <a:lnTo>
                    <a:pt x="1350" y="128"/>
                  </a:lnTo>
                  <a:lnTo>
                    <a:pt x="1354" y="126"/>
                  </a:lnTo>
                  <a:lnTo>
                    <a:pt x="1352" y="124"/>
                  </a:lnTo>
                  <a:lnTo>
                    <a:pt x="1350" y="122"/>
                  </a:lnTo>
                  <a:lnTo>
                    <a:pt x="1346" y="122"/>
                  </a:lnTo>
                  <a:lnTo>
                    <a:pt x="1340" y="122"/>
                  </a:lnTo>
                  <a:lnTo>
                    <a:pt x="1340" y="118"/>
                  </a:lnTo>
                  <a:lnTo>
                    <a:pt x="1336" y="116"/>
                  </a:lnTo>
                  <a:lnTo>
                    <a:pt x="1336" y="110"/>
                  </a:lnTo>
                  <a:lnTo>
                    <a:pt x="1336" y="106"/>
                  </a:lnTo>
                  <a:lnTo>
                    <a:pt x="1340" y="102"/>
                  </a:lnTo>
                  <a:lnTo>
                    <a:pt x="1348" y="100"/>
                  </a:lnTo>
                  <a:lnTo>
                    <a:pt x="1354" y="100"/>
                  </a:lnTo>
                  <a:lnTo>
                    <a:pt x="1358" y="100"/>
                  </a:lnTo>
                  <a:lnTo>
                    <a:pt x="1362" y="102"/>
                  </a:lnTo>
                  <a:lnTo>
                    <a:pt x="1362" y="104"/>
                  </a:lnTo>
                  <a:lnTo>
                    <a:pt x="1368" y="104"/>
                  </a:lnTo>
                  <a:lnTo>
                    <a:pt x="1370" y="108"/>
                  </a:lnTo>
                  <a:lnTo>
                    <a:pt x="1372" y="110"/>
                  </a:lnTo>
                  <a:lnTo>
                    <a:pt x="1380" y="110"/>
                  </a:lnTo>
                  <a:lnTo>
                    <a:pt x="1380" y="116"/>
                  </a:lnTo>
                  <a:lnTo>
                    <a:pt x="1376" y="120"/>
                  </a:lnTo>
                  <a:lnTo>
                    <a:pt x="1374" y="122"/>
                  </a:lnTo>
                  <a:lnTo>
                    <a:pt x="1372" y="124"/>
                  </a:lnTo>
                  <a:lnTo>
                    <a:pt x="1368" y="124"/>
                  </a:lnTo>
                  <a:lnTo>
                    <a:pt x="1364" y="126"/>
                  </a:lnTo>
                  <a:lnTo>
                    <a:pt x="1358" y="126"/>
                  </a:lnTo>
                  <a:lnTo>
                    <a:pt x="1358" y="130"/>
                  </a:lnTo>
                  <a:lnTo>
                    <a:pt x="1358" y="132"/>
                  </a:lnTo>
                  <a:lnTo>
                    <a:pt x="1354" y="134"/>
                  </a:lnTo>
                  <a:lnTo>
                    <a:pt x="1352" y="134"/>
                  </a:lnTo>
                  <a:lnTo>
                    <a:pt x="1356" y="134"/>
                  </a:lnTo>
                  <a:lnTo>
                    <a:pt x="1360" y="134"/>
                  </a:lnTo>
                  <a:lnTo>
                    <a:pt x="1362" y="136"/>
                  </a:lnTo>
                  <a:lnTo>
                    <a:pt x="1360" y="140"/>
                  </a:lnTo>
                  <a:lnTo>
                    <a:pt x="1358" y="140"/>
                  </a:lnTo>
                  <a:lnTo>
                    <a:pt x="1362" y="140"/>
                  </a:lnTo>
                  <a:lnTo>
                    <a:pt x="1366" y="144"/>
                  </a:lnTo>
                  <a:lnTo>
                    <a:pt x="1368" y="144"/>
                  </a:lnTo>
                  <a:lnTo>
                    <a:pt x="1368" y="140"/>
                  </a:lnTo>
                  <a:lnTo>
                    <a:pt x="1376" y="138"/>
                  </a:lnTo>
                  <a:lnTo>
                    <a:pt x="1378" y="146"/>
                  </a:lnTo>
                  <a:lnTo>
                    <a:pt x="1370" y="144"/>
                  </a:lnTo>
                  <a:lnTo>
                    <a:pt x="1368" y="144"/>
                  </a:lnTo>
                  <a:lnTo>
                    <a:pt x="1370" y="146"/>
                  </a:lnTo>
                  <a:lnTo>
                    <a:pt x="1376" y="148"/>
                  </a:lnTo>
                  <a:lnTo>
                    <a:pt x="1382" y="148"/>
                  </a:lnTo>
                  <a:lnTo>
                    <a:pt x="1384" y="152"/>
                  </a:lnTo>
                  <a:lnTo>
                    <a:pt x="1386" y="154"/>
                  </a:lnTo>
                  <a:lnTo>
                    <a:pt x="1388" y="158"/>
                  </a:lnTo>
                  <a:lnTo>
                    <a:pt x="1390" y="160"/>
                  </a:lnTo>
                  <a:lnTo>
                    <a:pt x="1390" y="158"/>
                  </a:lnTo>
                  <a:lnTo>
                    <a:pt x="1390" y="160"/>
                  </a:lnTo>
                  <a:lnTo>
                    <a:pt x="1390" y="158"/>
                  </a:lnTo>
                  <a:lnTo>
                    <a:pt x="1392" y="156"/>
                  </a:lnTo>
                  <a:lnTo>
                    <a:pt x="1388" y="152"/>
                  </a:lnTo>
                  <a:lnTo>
                    <a:pt x="1388" y="150"/>
                  </a:lnTo>
                  <a:lnTo>
                    <a:pt x="1390" y="148"/>
                  </a:lnTo>
                  <a:lnTo>
                    <a:pt x="1392" y="146"/>
                  </a:lnTo>
                  <a:lnTo>
                    <a:pt x="1394" y="146"/>
                  </a:lnTo>
                  <a:lnTo>
                    <a:pt x="1402" y="152"/>
                  </a:lnTo>
                  <a:lnTo>
                    <a:pt x="1406" y="156"/>
                  </a:lnTo>
                  <a:lnTo>
                    <a:pt x="1408" y="160"/>
                  </a:lnTo>
                  <a:lnTo>
                    <a:pt x="1414" y="160"/>
                  </a:lnTo>
                  <a:lnTo>
                    <a:pt x="1414" y="158"/>
                  </a:lnTo>
                  <a:lnTo>
                    <a:pt x="1414" y="158"/>
                  </a:lnTo>
                  <a:lnTo>
                    <a:pt x="1414" y="156"/>
                  </a:lnTo>
                  <a:lnTo>
                    <a:pt x="1414" y="156"/>
                  </a:lnTo>
                  <a:lnTo>
                    <a:pt x="1418" y="162"/>
                  </a:lnTo>
                  <a:lnTo>
                    <a:pt x="1416" y="162"/>
                  </a:lnTo>
                  <a:lnTo>
                    <a:pt x="1414" y="162"/>
                  </a:lnTo>
                  <a:lnTo>
                    <a:pt x="1410" y="168"/>
                  </a:lnTo>
                  <a:lnTo>
                    <a:pt x="1410" y="170"/>
                  </a:lnTo>
                  <a:lnTo>
                    <a:pt x="1416" y="168"/>
                  </a:lnTo>
                  <a:lnTo>
                    <a:pt x="1422" y="176"/>
                  </a:lnTo>
                  <a:lnTo>
                    <a:pt x="1432" y="174"/>
                  </a:lnTo>
                  <a:lnTo>
                    <a:pt x="1436" y="180"/>
                  </a:lnTo>
                  <a:lnTo>
                    <a:pt x="1440" y="182"/>
                  </a:lnTo>
                  <a:lnTo>
                    <a:pt x="1442" y="182"/>
                  </a:lnTo>
                  <a:lnTo>
                    <a:pt x="1442" y="180"/>
                  </a:lnTo>
                  <a:lnTo>
                    <a:pt x="1446" y="180"/>
                  </a:lnTo>
                  <a:lnTo>
                    <a:pt x="1442" y="190"/>
                  </a:lnTo>
                  <a:lnTo>
                    <a:pt x="1444" y="190"/>
                  </a:lnTo>
                  <a:lnTo>
                    <a:pt x="1444" y="192"/>
                  </a:lnTo>
                  <a:lnTo>
                    <a:pt x="1448" y="190"/>
                  </a:lnTo>
                  <a:lnTo>
                    <a:pt x="1450" y="186"/>
                  </a:lnTo>
                  <a:lnTo>
                    <a:pt x="1456" y="178"/>
                  </a:lnTo>
                  <a:lnTo>
                    <a:pt x="1458" y="168"/>
                  </a:lnTo>
                  <a:lnTo>
                    <a:pt x="1462" y="166"/>
                  </a:lnTo>
                  <a:lnTo>
                    <a:pt x="1460" y="162"/>
                  </a:lnTo>
                  <a:lnTo>
                    <a:pt x="1460" y="156"/>
                  </a:lnTo>
                  <a:lnTo>
                    <a:pt x="1466" y="150"/>
                  </a:lnTo>
                  <a:lnTo>
                    <a:pt x="1468" y="152"/>
                  </a:lnTo>
                  <a:lnTo>
                    <a:pt x="1468" y="154"/>
                  </a:lnTo>
                  <a:lnTo>
                    <a:pt x="1468" y="156"/>
                  </a:lnTo>
                  <a:lnTo>
                    <a:pt x="1470" y="156"/>
                  </a:lnTo>
                  <a:lnTo>
                    <a:pt x="1470" y="158"/>
                  </a:lnTo>
                  <a:lnTo>
                    <a:pt x="1470" y="162"/>
                  </a:lnTo>
                  <a:lnTo>
                    <a:pt x="1470" y="168"/>
                  </a:lnTo>
                  <a:lnTo>
                    <a:pt x="1474" y="164"/>
                  </a:lnTo>
                  <a:lnTo>
                    <a:pt x="1480" y="164"/>
                  </a:lnTo>
                  <a:lnTo>
                    <a:pt x="1488" y="158"/>
                  </a:lnTo>
                  <a:lnTo>
                    <a:pt x="1492" y="156"/>
                  </a:lnTo>
                  <a:lnTo>
                    <a:pt x="1496" y="154"/>
                  </a:lnTo>
                  <a:lnTo>
                    <a:pt x="1500" y="158"/>
                  </a:lnTo>
                  <a:lnTo>
                    <a:pt x="1504" y="158"/>
                  </a:lnTo>
                  <a:lnTo>
                    <a:pt x="1518" y="168"/>
                  </a:lnTo>
                  <a:lnTo>
                    <a:pt x="1518" y="170"/>
                  </a:lnTo>
                  <a:lnTo>
                    <a:pt x="1524" y="170"/>
                  </a:lnTo>
                  <a:lnTo>
                    <a:pt x="1526" y="172"/>
                  </a:lnTo>
                  <a:lnTo>
                    <a:pt x="1532" y="172"/>
                  </a:lnTo>
                  <a:lnTo>
                    <a:pt x="1536" y="170"/>
                  </a:lnTo>
                  <a:lnTo>
                    <a:pt x="1534" y="166"/>
                  </a:lnTo>
                  <a:lnTo>
                    <a:pt x="1534" y="162"/>
                  </a:lnTo>
                  <a:lnTo>
                    <a:pt x="1536" y="162"/>
                  </a:lnTo>
                  <a:lnTo>
                    <a:pt x="1536" y="160"/>
                  </a:lnTo>
                  <a:lnTo>
                    <a:pt x="1538" y="160"/>
                  </a:lnTo>
                  <a:lnTo>
                    <a:pt x="1540" y="160"/>
                  </a:lnTo>
                  <a:lnTo>
                    <a:pt x="1542" y="158"/>
                  </a:lnTo>
                  <a:lnTo>
                    <a:pt x="1542" y="160"/>
                  </a:lnTo>
                  <a:lnTo>
                    <a:pt x="1544" y="162"/>
                  </a:lnTo>
                  <a:lnTo>
                    <a:pt x="1542" y="168"/>
                  </a:lnTo>
                  <a:lnTo>
                    <a:pt x="1546" y="166"/>
                  </a:lnTo>
                  <a:lnTo>
                    <a:pt x="1548" y="166"/>
                  </a:lnTo>
                  <a:lnTo>
                    <a:pt x="1550" y="168"/>
                  </a:lnTo>
                  <a:lnTo>
                    <a:pt x="1554" y="166"/>
                  </a:lnTo>
                  <a:lnTo>
                    <a:pt x="1556" y="166"/>
                  </a:lnTo>
                  <a:lnTo>
                    <a:pt x="1556" y="160"/>
                  </a:lnTo>
                  <a:lnTo>
                    <a:pt x="1552" y="158"/>
                  </a:lnTo>
                  <a:lnTo>
                    <a:pt x="1552" y="152"/>
                  </a:lnTo>
                  <a:lnTo>
                    <a:pt x="1552" y="148"/>
                  </a:lnTo>
                  <a:lnTo>
                    <a:pt x="1554" y="148"/>
                  </a:lnTo>
                  <a:lnTo>
                    <a:pt x="1560" y="146"/>
                  </a:lnTo>
                  <a:lnTo>
                    <a:pt x="1568" y="148"/>
                  </a:lnTo>
                  <a:lnTo>
                    <a:pt x="1566" y="144"/>
                  </a:lnTo>
                  <a:lnTo>
                    <a:pt x="1562" y="144"/>
                  </a:lnTo>
                  <a:lnTo>
                    <a:pt x="1554" y="142"/>
                  </a:lnTo>
                  <a:lnTo>
                    <a:pt x="1556" y="136"/>
                  </a:lnTo>
                  <a:lnTo>
                    <a:pt x="1568" y="136"/>
                  </a:lnTo>
                  <a:lnTo>
                    <a:pt x="1570" y="134"/>
                  </a:lnTo>
                  <a:lnTo>
                    <a:pt x="1570" y="132"/>
                  </a:lnTo>
                  <a:lnTo>
                    <a:pt x="1568" y="132"/>
                  </a:lnTo>
                  <a:lnTo>
                    <a:pt x="1568" y="130"/>
                  </a:lnTo>
                  <a:lnTo>
                    <a:pt x="1564" y="130"/>
                  </a:lnTo>
                  <a:lnTo>
                    <a:pt x="1564" y="126"/>
                  </a:lnTo>
                  <a:lnTo>
                    <a:pt x="1568" y="126"/>
                  </a:lnTo>
                  <a:lnTo>
                    <a:pt x="1572" y="126"/>
                  </a:lnTo>
                  <a:lnTo>
                    <a:pt x="1576" y="130"/>
                  </a:lnTo>
                  <a:lnTo>
                    <a:pt x="1584" y="134"/>
                  </a:lnTo>
                  <a:lnTo>
                    <a:pt x="1592" y="134"/>
                  </a:lnTo>
                  <a:lnTo>
                    <a:pt x="1600" y="138"/>
                  </a:lnTo>
                  <a:lnTo>
                    <a:pt x="1604" y="136"/>
                  </a:lnTo>
                  <a:lnTo>
                    <a:pt x="1610" y="136"/>
                  </a:lnTo>
                  <a:lnTo>
                    <a:pt x="1612" y="138"/>
                  </a:lnTo>
                  <a:lnTo>
                    <a:pt x="1628" y="142"/>
                  </a:lnTo>
                  <a:lnTo>
                    <a:pt x="1628" y="144"/>
                  </a:lnTo>
                  <a:lnTo>
                    <a:pt x="1616" y="142"/>
                  </a:lnTo>
                  <a:lnTo>
                    <a:pt x="1614" y="144"/>
                  </a:lnTo>
                  <a:lnTo>
                    <a:pt x="1614" y="150"/>
                  </a:lnTo>
                  <a:lnTo>
                    <a:pt x="1642" y="148"/>
                  </a:lnTo>
                  <a:lnTo>
                    <a:pt x="1640" y="156"/>
                  </a:lnTo>
                  <a:lnTo>
                    <a:pt x="1638" y="154"/>
                  </a:lnTo>
                  <a:lnTo>
                    <a:pt x="1638" y="152"/>
                  </a:lnTo>
                  <a:lnTo>
                    <a:pt x="1638" y="152"/>
                  </a:lnTo>
                  <a:lnTo>
                    <a:pt x="1636" y="150"/>
                  </a:lnTo>
                  <a:lnTo>
                    <a:pt x="1632" y="156"/>
                  </a:lnTo>
                  <a:lnTo>
                    <a:pt x="1626" y="158"/>
                  </a:lnTo>
                  <a:lnTo>
                    <a:pt x="1626" y="160"/>
                  </a:lnTo>
                  <a:lnTo>
                    <a:pt x="1630" y="164"/>
                  </a:lnTo>
                  <a:lnTo>
                    <a:pt x="1624" y="166"/>
                  </a:lnTo>
                  <a:lnTo>
                    <a:pt x="1624" y="168"/>
                  </a:lnTo>
                  <a:lnTo>
                    <a:pt x="1626" y="170"/>
                  </a:lnTo>
                  <a:lnTo>
                    <a:pt x="1638" y="168"/>
                  </a:lnTo>
                  <a:lnTo>
                    <a:pt x="1640" y="164"/>
                  </a:lnTo>
                  <a:lnTo>
                    <a:pt x="1646" y="154"/>
                  </a:lnTo>
                  <a:lnTo>
                    <a:pt x="1650" y="146"/>
                  </a:lnTo>
                  <a:lnTo>
                    <a:pt x="1658" y="146"/>
                  </a:lnTo>
                  <a:lnTo>
                    <a:pt x="1668" y="146"/>
                  </a:lnTo>
                  <a:lnTo>
                    <a:pt x="1670" y="148"/>
                  </a:lnTo>
                  <a:lnTo>
                    <a:pt x="1672" y="150"/>
                  </a:lnTo>
                  <a:lnTo>
                    <a:pt x="1676" y="148"/>
                  </a:lnTo>
                  <a:lnTo>
                    <a:pt x="1678" y="148"/>
                  </a:lnTo>
                  <a:lnTo>
                    <a:pt x="1684" y="152"/>
                  </a:lnTo>
                  <a:lnTo>
                    <a:pt x="1690" y="154"/>
                  </a:lnTo>
                  <a:lnTo>
                    <a:pt x="1688" y="160"/>
                  </a:lnTo>
                  <a:lnTo>
                    <a:pt x="1682" y="162"/>
                  </a:lnTo>
                  <a:lnTo>
                    <a:pt x="1680" y="158"/>
                  </a:lnTo>
                  <a:lnTo>
                    <a:pt x="1678" y="158"/>
                  </a:lnTo>
                  <a:lnTo>
                    <a:pt x="1678" y="160"/>
                  </a:lnTo>
                  <a:lnTo>
                    <a:pt x="1676" y="160"/>
                  </a:lnTo>
                  <a:lnTo>
                    <a:pt x="1676" y="166"/>
                  </a:lnTo>
                  <a:lnTo>
                    <a:pt x="1682" y="166"/>
                  </a:lnTo>
                  <a:lnTo>
                    <a:pt x="1682" y="170"/>
                  </a:lnTo>
                  <a:lnTo>
                    <a:pt x="1676" y="176"/>
                  </a:lnTo>
                  <a:lnTo>
                    <a:pt x="1670" y="184"/>
                  </a:lnTo>
                  <a:lnTo>
                    <a:pt x="1678" y="182"/>
                  </a:lnTo>
                  <a:lnTo>
                    <a:pt x="1684" y="184"/>
                  </a:lnTo>
                  <a:lnTo>
                    <a:pt x="1688" y="182"/>
                  </a:lnTo>
                  <a:lnTo>
                    <a:pt x="1694" y="182"/>
                  </a:lnTo>
                  <a:lnTo>
                    <a:pt x="1700" y="182"/>
                  </a:lnTo>
                  <a:lnTo>
                    <a:pt x="1708" y="182"/>
                  </a:lnTo>
                  <a:lnTo>
                    <a:pt x="1714" y="182"/>
                  </a:lnTo>
                  <a:lnTo>
                    <a:pt x="1720" y="182"/>
                  </a:lnTo>
                  <a:lnTo>
                    <a:pt x="1722" y="180"/>
                  </a:lnTo>
                  <a:lnTo>
                    <a:pt x="1730" y="176"/>
                  </a:lnTo>
                  <a:lnTo>
                    <a:pt x="1734" y="176"/>
                  </a:lnTo>
                  <a:lnTo>
                    <a:pt x="1736" y="178"/>
                  </a:lnTo>
                  <a:lnTo>
                    <a:pt x="1740" y="180"/>
                  </a:lnTo>
                  <a:lnTo>
                    <a:pt x="1746" y="180"/>
                  </a:lnTo>
                  <a:lnTo>
                    <a:pt x="1748" y="178"/>
                  </a:lnTo>
                  <a:lnTo>
                    <a:pt x="1756" y="174"/>
                  </a:lnTo>
                  <a:lnTo>
                    <a:pt x="1760" y="174"/>
                  </a:lnTo>
                  <a:lnTo>
                    <a:pt x="1764" y="176"/>
                  </a:lnTo>
                  <a:lnTo>
                    <a:pt x="1768" y="176"/>
                  </a:lnTo>
                  <a:lnTo>
                    <a:pt x="1772" y="176"/>
                  </a:lnTo>
                  <a:lnTo>
                    <a:pt x="1774" y="178"/>
                  </a:lnTo>
                  <a:lnTo>
                    <a:pt x="1778" y="178"/>
                  </a:lnTo>
                  <a:lnTo>
                    <a:pt x="1780" y="176"/>
                  </a:lnTo>
                  <a:lnTo>
                    <a:pt x="1784" y="176"/>
                  </a:lnTo>
                  <a:lnTo>
                    <a:pt x="1788" y="178"/>
                  </a:lnTo>
                  <a:lnTo>
                    <a:pt x="1788" y="176"/>
                  </a:lnTo>
                  <a:lnTo>
                    <a:pt x="1792" y="174"/>
                  </a:lnTo>
                  <a:lnTo>
                    <a:pt x="1798" y="178"/>
                  </a:lnTo>
                  <a:lnTo>
                    <a:pt x="1802" y="178"/>
                  </a:lnTo>
                  <a:lnTo>
                    <a:pt x="1806" y="180"/>
                  </a:lnTo>
                  <a:lnTo>
                    <a:pt x="1808" y="182"/>
                  </a:lnTo>
                  <a:lnTo>
                    <a:pt x="1810" y="186"/>
                  </a:lnTo>
                  <a:lnTo>
                    <a:pt x="1814" y="186"/>
                  </a:lnTo>
                  <a:lnTo>
                    <a:pt x="1818" y="190"/>
                  </a:lnTo>
                  <a:lnTo>
                    <a:pt x="1822" y="194"/>
                  </a:lnTo>
                  <a:lnTo>
                    <a:pt x="1818" y="196"/>
                  </a:lnTo>
                  <a:lnTo>
                    <a:pt x="1818" y="200"/>
                  </a:lnTo>
                  <a:lnTo>
                    <a:pt x="1820" y="200"/>
                  </a:lnTo>
                  <a:lnTo>
                    <a:pt x="1820" y="204"/>
                  </a:lnTo>
                  <a:lnTo>
                    <a:pt x="1818" y="206"/>
                  </a:lnTo>
                  <a:lnTo>
                    <a:pt x="1822" y="208"/>
                  </a:lnTo>
                  <a:lnTo>
                    <a:pt x="1826" y="208"/>
                  </a:lnTo>
                  <a:lnTo>
                    <a:pt x="1826" y="210"/>
                  </a:lnTo>
                  <a:lnTo>
                    <a:pt x="1830" y="214"/>
                  </a:lnTo>
                  <a:lnTo>
                    <a:pt x="1830" y="218"/>
                  </a:lnTo>
                  <a:lnTo>
                    <a:pt x="1832" y="220"/>
                  </a:lnTo>
                  <a:lnTo>
                    <a:pt x="1832" y="224"/>
                  </a:lnTo>
                  <a:lnTo>
                    <a:pt x="1834" y="222"/>
                  </a:lnTo>
                  <a:lnTo>
                    <a:pt x="1838" y="208"/>
                  </a:lnTo>
                  <a:lnTo>
                    <a:pt x="1842" y="208"/>
                  </a:lnTo>
                  <a:lnTo>
                    <a:pt x="1850" y="204"/>
                  </a:lnTo>
                  <a:lnTo>
                    <a:pt x="1852" y="204"/>
                  </a:lnTo>
                  <a:lnTo>
                    <a:pt x="1854" y="204"/>
                  </a:lnTo>
                  <a:lnTo>
                    <a:pt x="1866" y="204"/>
                  </a:lnTo>
                  <a:lnTo>
                    <a:pt x="1876" y="204"/>
                  </a:lnTo>
                  <a:lnTo>
                    <a:pt x="1876" y="208"/>
                  </a:lnTo>
                  <a:lnTo>
                    <a:pt x="1880" y="208"/>
                  </a:lnTo>
                  <a:lnTo>
                    <a:pt x="1882" y="208"/>
                  </a:lnTo>
                  <a:lnTo>
                    <a:pt x="1884" y="206"/>
                  </a:lnTo>
                  <a:lnTo>
                    <a:pt x="1896" y="206"/>
                  </a:lnTo>
                  <a:lnTo>
                    <a:pt x="1904" y="208"/>
                  </a:lnTo>
                  <a:lnTo>
                    <a:pt x="1904" y="210"/>
                  </a:lnTo>
                  <a:lnTo>
                    <a:pt x="1906" y="210"/>
                  </a:lnTo>
                  <a:lnTo>
                    <a:pt x="1910" y="208"/>
                  </a:lnTo>
                  <a:lnTo>
                    <a:pt x="1916" y="208"/>
                  </a:lnTo>
                  <a:lnTo>
                    <a:pt x="1918" y="208"/>
                  </a:lnTo>
                  <a:lnTo>
                    <a:pt x="1920" y="208"/>
                  </a:lnTo>
                  <a:lnTo>
                    <a:pt x="1926" y="204"/>
                  </a:lnTo>
                  <a:lnTo>
                    <a:pt x="1926" y="208"/>
                  </a:lnTo>
                  <a:lnTo>
                    <a:pt x="1926" y="214"/>
                  </a:lnTo>
                  <a:lnTo>
                    <a:pt x="1928" y="214"/>
                  </a:lnTo>
                  <a:lnTo>
                    <a:pt x="1932" y="216"/>
                  </a:lnTo>
                  <a:lnTo>
                    <a:pt x="1934" y="230"/>
                  </a:lnTo>
                  <a:lnTo>
                    <a:pt x="1944" y="228"/>
                  </a:lnTo>
                  <a:lnTo>
                    <a:pt x="1944" y="226"/>
                  </a:lnTo>
                  <a:lnTo>
                    <a:pt x="1948" y="228"/>
                  </a:lnTo>
                  <a:lnTo>
                    <a:pt x="1952" y="226"/>
                  </a:lnTo>
                  <a:lnTo>
                    <a:pt x="1952" y="222"/>
                  </a:lnTo>
                  <a:lnTo>
                    <a:pt x="1956" y="222"/>
                  </a:lnTo>
                  <a:lnTo>
                    <a:pt x="1958" y="218"/>
                  </a:lnTo>
                  <a:lnTo>
                    <a:pt x="1962" y="218"/>
                  </a:lnTo>
                  <a:lnTo>
                    <a:pt x="1962" y="212"/>
                  </a:lnTo>
                  <a:lnTo>
                    <a:pt x="1962" y="208"/>
                  </a:lnTo>
                  <a:lnTo>
                    <a:pt x="1958" y="206"/>
                  </a:lnTo>
                  <a:lnTo>
                    <a:pt x="1956" y="206"/>
                  </a:lnTo>
                  <a:lnTo>
                    <a:pt x="1956" y="198"/>
                  </a:lnTo>
                  <a:lnTo>
                    <a:pt x="1956" y="192"/>
                  </a:lnTo>
                  <a:lnTo>
                    <a:pt x="1960" y="192"/>
                  </a:lnTo>
                  <a:lnTo>
                    <a:pt x="1964" y="194"/>
                  </a:lnTo>
                  <a:lnTo>
                    <a:pt x="1970" y="194"/>
                  </a:lnTo>
                  <a:lnTo>
                    <a:pt x="1978" y="194"/>
                  </a:lnTo>
                  <a:lnTo>
                    <a:pt x="1982" y="196"/>
                  </a:lnTo>
                  <a:lnTo>
                    <a:pt x="1986" y="196"/>
                  </a:lnTo>
                  <a:lnTo>
                    <a:pt x="1988" y="194"/>
                  </a:lnTo>
                  <a:lnTo>
                    <a:pt x="1992" y="196"/>
                  </a:lnTo>
                  <a:lnTo>
                    <a:pt x="1998" y="196"/>
                  </a:lnTo>
                  <a:lnTo>
                    <a:pt x="2004" y="198"/>
                  </a:lnTo>
                  <a:lnTo>
                    <a:pt x="2012" y="196"/>
                  </a:lnTo>
                  <a:lnTo>
                    <a:pt x="2014" y="194"/>
                  </a:lnTo>
                  <a:lnTo>
                    <a:pt x="2014" y="196"/>
                  </a:lnTo>
                  <a:lnTo>
                    <a:pt x="2020" y="202"/>
                  </a:lnTo>
                  <a:lnTo>
                    <a:pt x="2026" y="202"/>
                  </a:lnTo>
                  <a:lnTo>
                    <a:pt x="2030" y="204"/>
                  </a:lnTo>
                  <a:lnTo>
                    <a:pt x="2032" y="208"/>
                  </a:lnTo>
                  <a:lnTo>
                    <a:pt x="2036" y="210"/>
                  </a:lnTo>
                  <a:lnTo>
                    <a:pt x="2040" y="210"/>
                  </a:lnTo>
                  <a:lnTo>
                    <a:pt x="2042" y="210"/>
                  </a:lnTo>
                  <a:lnTo>
                    <a:pt x="2046" y="208"/>
                  </a:lnTo>
                  <a:lnTo>
                    <a:pt x="2050" y="208"/>
                  </a:lnTo>
                  <a:lnTo>
                    <a:pt x="2052" y="210"/>
                  </a:lnTo>
                  <a:lnTo>
                    <a:pt x="2056" y="212"/>
                  </a:lnTo>
                  <a:lnTo>
                    <a:pt x="2066" y="212"/>
                  </a:lnTo>
                  <a:lnTo>
                    <a:pt x="2070" y="216"/>
                  </a:lnTo>
                  <a:lnTo>
                    <a:pt x="2070" y="220"/>
                  </a:lnTo>
                  <a:lnTo>
                    <a:pt x="2074" y="222"/>
                  </a:lnTo>
                  <a:lnTo>
                    <a:pt x="2078" y="226"/>
                  </a:lnTo>
                  <a:lnTo>
                    <a:pt x="2080" y="234"/>
                  </a:lnTo>
                  <a:lnTo>
                    <a:pt x="2090" y="236"/>
                  </a:lnTo>
                  <a:lnTo>
                    <a:pt x="2090" y="238"/>
                  </a:lnTo>
                  <a:lnTo>
                    <a:pt x="2094" y="238"/>
                  </a:lnTo>
                  <a:lnTo>
                    <a:pt x="2096" y="238"/>
                  </a:lnTo>
                  <a:lnTo>
                    <a:pt x="2100" y="242"/>
                  </a:lnTo>
                  <a:lnTo>
                    <a:pt x="2098" y="244"/>
                  </a:lnTo>
                  <a:lnTo>
                    <a:pt x="2098" y="246"/>
                  </a:lnTo>
                  <a:lnTo>
                    <a:pt x="2100" y="246"/>
                  </a:lnTo>
                  <a:lnTo>
                    <a:pt x="2106" y="250"/>
                  </a:lnTo>
                  <a:lnTo>
                    <a:pt x="2112" y="254"/>
                  </a:lnTo>
                  <a:lnTo>
                    <a:pt x="2116" y="254"/>
                  </a:lnTo>
                  <a:lnTo>
                    <a:pt x="2118" y="258"/>
                  </a:lnTo>
                  <a:lnTo>
                    <a:pt x="2126" y="260"/>
                  </a:lnTo>
                  <a:lnTo>
                    <a:pt x="2128" y="264"/>
                  </a:lnTo>
                  <a:lnTo>
                    <a:pt x="2132" y="264"/>
                  </a:lnTo>
                  <a:lnTo>
                    <a:pt x="2136" y="264"/>
                  </a:lnTo>
                  <a:lnTo>
                    <a:pt x="2138" y="270"/>
                  </a:lnTo>
                  <a:lnTo>
                    <a:pt x="2140" y="272"/>
                  </a:lnTo>
                  <a:lnTo>
                    <a:pt x="2144" y="274"/>
                  </a:lnTo>
                  <a:lnTo>
                    <a:pt x="2144" y="280"/>
                  </a:lnTo>
                  <a:lnTo>
                    <a:pt x="2142" y="288"/>
                  </a:lnTo>
                  <a:lnTo>
                    <a:pt x="2148" y="290"/>
                  </a:lnTo>
                  <a:lnTo>
                    <a:pt x="2146" y="278"/>
                  </a:lnTo>
                  <a:lnTo>
                    <a:pt x="2156" y="276"/>
                  </a:lnTo>
                  <a:lnTo>
                    <a:pt x="2168" y="276"/>
                  </a:lnTo>
                  <a:lnTo>
                    <a:pt x="2170" y="278"/>
                  </a:lnTo>
                  <a:lnTo>
                    <a:pt x="2174" y="280"/>
                  </a:lnTo>
                  <a:lnTo>
                    <a:pt x="2176" y="280"/>
                  </a:lnTo>
                  <a:lnTo>
                    <a:pt x="2178" y="282"/>
                  </a:lnTo>
                  <a:lnTo>
                    <a:pt x="2178" y="286"/>
                  </a:lnTo>
                  <a:lnTo>
                    <a:pt x="2184" y="288"/>
                  </a:lnTo>
                  <a:lnTo>
                    <a:pt x="2184" y="292"/>
                  </a:lnTo>
                  <a:lnTo>
                    <a:pt x="2192" y="296"/>
                  </a:lnTo>
                  <a:lnTo>
                    <a:pt x="2198" y="300"/>
                  </a:lnTo>
                  <a:lnTo>
                    <a:pt x="2200" y="302"/>
                  </a:lnTo>
                  <a:lnTo>
                    <a:pt x="2204" y="302"/>
                  </a:lnTo>
                  <a:lnTo>
                    <a:pt x="2204" y="304"/>
                  </a:lnTo>
                  <a:lnTo>
                    <a:pt x="2200" y="306"/>
                  </a:lnTo>
                  <a:lnTo>
                    <a:pt x="2200" y="306"/>
                  </a:lnTo>
                  <a:close/>
                  <a:moveTo>
                    <a:pt x="26" y="538"/>
                  </a:moveTo>
                  <a:lnTo>
                    <a:pt x="26" y="538"/>
                  </a:lnTo>
                  <a:lnTo>
                    <a:pt x="16" y="528"/>
                  </a:lnTo>
                  <a:lnTo>
                    <a:pt x="12" y="530"/>
                  </a:lnTo>
                  <a:lnTo>
                    <a:pt x="14" y="526"/>
                  </a:lnTo>
                  <a:lnTo>
                    <a:pt x="14" y="524"/>
                  </a:lnTo>
                  <a:lnTo>
                    <a:pt x="12" y="524"/>
                  </a:lnTo>
                  <a:lnTo>
                    <a:pt x="10" y="524"/>
                  </a:lnTo>
                  <a:lnTo>
                    <a:pt x="12" y="524"/>
                  </a:lnTo>
                  <a:lnTo>
                    <a:pt x="8" y="528"/>
                  </a:lnTo>
                  <a:lnTo>
                    <a:pt x="6" y="528"/>
                  </a:lnTo>
                  <a:lnTo>
                    <a:pt x="4" y="536"/>
                  </a:lnTo>
                  <a:lnTo>
                    <a:pt x="6" y="536"/>
                  </a:lnTo>
                  <a:lnTo>
                    <a:pt x="4" y="538"/>
                  </a:lnTo>
                  <a:lnTo>
                    <a:pt x="4" y="542"/>
                  </a:lnTo>
                  <a:lnTo>
                    <a:pt x="0" y="544"/>
                  </a:lnTo>
                  <a:lnTo>
                    <a:pt x="0" y="544"/>
                  </a:lnTo>
                  <a:lnTo>
                    <a:pt x="4" y="548"/>
                  </a:lnTo>
                  <a:lnTo>
                    <a:pt x="14" y="552"/>
                  </a:lnTo>
                  <a:lnTo>
                    <a:pt x="26" y="554"/>
                  </a:lnTo>
                  <a:lnTo>
                    <a:pt x="32" y="554"/>
                  </a:lnTo>
                  <a:lnTo>
                    <a:pt x="40" y="554"/>
                  </a:lnTo>
                  <a:lnTo>
                    <a:pt x="46" y="552"/>
                  </a:lnTo>
                  <a:lnTo>
                    <a:pt x="44" y="542"/>
                  </a:lnTo>
                  <a:lnTo>
                    <a:pt x="36" y="542"/>
                  </a:lnTo>
                  <a:lnTo>
                    <a:pt x="30" y="540"/>
                  </a:lnTo>
                  <a:lnTo>
                    <a:pt x="26" y="538"/>
                  </a:lnTo>
                  <a:lnTo>
                    <a:pt x="26" y="53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6" name="Freeform 550">
              <a:extLst>
                <a:ext uri="{FF2B5EF4-FFF2-40B4-BE49-F238E27FC236}">
                  <a16:creationId xmlns:a16="http://schemas.microsoft.com/office/drawing/2014/main" id="{F8E96A61-9791-4B46-931C-A219DC1F2451}"/>
                </a:ext>
              </a:extLst>
            </p:cNvPr>
            <p:cNvSpPr>
              <a:spLocks/>
            </p:cNvSpPr>
            <p:nvPr/>
          </p:nvSpPr>
          <p:spPr bwMode="auto">
            <a:xfrm>
              <a:off x="3391501" y="3687946"/>
              <a:ext cx="147608" cy="113943"/>
            </a:xfrm>
            <a:custGeom>
              <a:avLst/>
              <a:gdLst/>
              <a:ahLst/>
              <a:cxnLst>
                <a:cxn ang="0">
                  <a:pos x="114" y="58"/>
                </a:cxn>
                <a:cxn ang="0">
                  <a:pos x="108" y="58"/>
                </a:cxn>
                <a:cxn ang="0">
                  <a:pos x="106" y="60"/>
                </a:cxn>
                <a:cxn ang="0">
                  <a:pos x="102" y="58"/>
                </a:cxn>
                <a:cxn ang="0">
                  <a:pos x="96" y="56"/>
                </a:cxn>
                <a:cxn ang="0">
                  <a:pos x="94" y="52"/>
                </a:cxn>
                <a:cxn ang="0">
                  <a:pos x="94" y="48"/>
                </a:cxn>
                <a:cxn ang="0">
                  <a:pos x="94" y="42"/>
                </a:cxn>
                <a:cxn ang="0">
                  <a:pos x="96" y="38"/>
                </a:cxn>
                <a:cxn ang="0">
                  <a:pos x="94" y="34"/>
                </a:cxn>
                <a:cxn ang="0">
                  <a:pos x="94" y="30"/>
                </a:cxn>
                <a:cxn ang="0">
                  <a:pos x="92" y="24"/>
                </a:cxn>
                <a:cxn ang="0">
                  <a:pos x="84" y="14"/>
                </a:cxn>
                <a:cxn ang="0">
                  <a:pos x="78" y="2"/>
                </a:cxn>
                <a:cxn ang="0">
                  <a:pos x="72" y="0"/>
                </a:cxn>
                <a:cxn ang="0">
                  <a:pos x="66" y="6"/>
                </a:cxn>
                <a:cxn ang="0">
                  <a:pos x="60" y="8"/>
                </a:cxn>
                <a:cxn ang="0">
                  <a:pos x="56" y="12"/>
                </a:cxn>
                <a:cxn ang="0">
                  <a:pos x="50" y="10"/>
                </a:cxn>
                <a:cxn ang="0">
                  <a:pos x="44" y="8"/>
                </a:cxn>
                <a:cxn ang="0">
                  <a:pos x="34" y="6"/>
                </a:cxn>
                <a:cxn ang="0">
                  <a:pos x="30" y="2"/>
                </a:cxn>
                <a:cxn ang="0">
                  <a:pos x="26" y="18"/>
                </a:cxn>
                <a:cxn ang="0">
                  <a:pos x="18" y="26"/>
                </a:cxn>
                <a:cxn ang="0">
                  <a:pos x="16" y="40"/>
                </a:cxn>
                <a:cxn ang="0">
                  <a:pos x="10" y="48"/>
                </a:cxn>
                <a:cxn ang="0">
                  <a:pos x="4" y="52"/>
                </a:cxn>
                <a:cxn ang="0">
                  <a:pos x="4" y="56"/>
                </a:cxn>
                <a:cxn ang="0">
                  <a:pos x="8" y="62"/>
                </a:cxn>
                <a:cxn ang="0">
                  <a:pos x="10" y="66"/>
                </a:cxn>
                <a:cxn ang="0">
                  <a:pos x="14" y="70"/>
                </a:cxn>
                <a:cxn ang="0">
                  <a:pos x="18" y="70"/>
                </a:cxn>
                <a:cxn ang="0">
                  <a:pos x="20" y="66"/>
                </a:cxn>
                <a:cxn ang="0">
                  <a:pos x="28" y="70"/>
                </a:cxn>
                <a:cxn ang="0">
                  <a:pos x="28" y="72"/>
                </a:cxn>
                <a:cxn ang="0">
                  <a:pos x="24" y="74"/>
                </a:cxn>
                <a:cxn ang="0">
                  <a:pos x="30" y="80"/>
                </a:cxn>
                <a:cxn ang="0">
                  <a:pos x="36" y="82"/>
                </a:cxn>
                <a:cxn ang="0">
                  <a:pos x="38" y="84"/>
                </a:cxn>
                <a:cxn ang="0">
                  <a:pos x="36" y="88"/>
                </a:cxn>
                <a:cxn ang="0">
                  <a:pos x="42" y="88"/>
                </a:cxn>
                <a:cxn ang="0">
                  <a:pos x="48" y="86"/>
                </a:cxn>
                <a:cxn ang="0">
                  <a:pos x="54" y="88"/>
                </a:cxn>
                <a:cxn ang="0">
                  <a:pos x="64" y="86"/>
                </a:cxn>
                <a:cxn ang="0">
                  <a:pos x="72" y="80"/>
                </a:cxn>
                <a:cxn ang="0">
                  <a:pos x="80" y="82"/>
                </a:cxn>
                <a:cxn ang="0">
                  <a:pos x="86" y="82"/>
                </a:cxn>
                <a:cxn ang="0">
                  <a:pos x="94" y="80"/>
                </a:cxn>
                <a:cxn ang="0">
                  <a:pos x="104" y="82"/>
                </a:cxn>
                <a:cxn ang="0">
                  <a:pos x="104" y="78"/>
                </a:cxn>
                <a:cxn ang="0">
                  <a:pos x="106" y="74"/>
                </a:cxn>
                <a:cxn ang="0">
                  <a:pos x="110" y="74"/>
                </a:cxn>
                <a:cxn ang="0">
                  <a:pos x="112" y="70"/>
                </a:cxn>
                <a:cxn ang="0">
                  <a:pos x="114" y="62"/>
                </a:cxn>
                <a:cxn ang="0">
                  <a:pos x="112" y="60"/>
                </a:cxn>
                <a:cxn ang="0">
                  <a:pos x="114" y="58"/>
                </a:cxn>
              </a:cxnLst>
              <a:rect l="0" t="0" r="r" b="b"/>
              <a:pathLst>
                <a:path w="114" h="88">
                  <a:moveTo>
                    <a:pt x="114" y="58"/>
                  </a:moveTo>
                  <a:lnTo>
                    <a:pt x="114" y="58"/>
                  </a:lnTo>
                  <a:lnTo>
                    <a:pt x="112" y="58"/>
                  </a:lnTo>
                  <a:lnTo>
                    <a:pt x="108" y="58"/>
                  </a:lnTo>
                  <a:lnTo>
                    <a:pt x="106" y="58"/>
                  </a:lnTo>
                  <a:lnTo>
                    <a:pt x="106" y="60"/>
                  </a:lnTo>
                  <a:lnTo>
                    <a:pt x="104" y="60"/>
                  </a:lnTo>
                  <a:lnTo>
                    <a:pt x="102" y="58"/>
                  </a:lnTo>
                  <a:lnTo>
                    <a:pt x="100" y="58"/>
                  </a:lnTo>
                  <a:lnTo>
                    <a:pt x="96" y="56"/>
                  </a:lnTo>
                  <a:lnTo>
                    <a:pt x="94" y="54"/>
                  </a:lnTo>
                  <a:lnTo>
                    <a:pt x="94" y="52"/>
                  </a:lnTo>
                  <a:lnTo>
                    <a:pt x="96" y="50"/>
                  </a:lnTo>
                  <a:lnTo>
                    <a:pt x="94" y="48"/>
                  </a:lnTo>
                  <a:lnTo>
                    <a:pt x="94" y="48"/>
                  </a:lnTo>
                  <a:lnTo>
                    <a:pt x="94" y="42"/>
                  </a:lnTo>
                  <a:lnTo>
                    <a:pt x="94" y="40"/>
                  </a:lnTo>
                  <a:lnTo>
                    <a:pt x="96" y="38"/>
                  </a:lnTo>
                  <a:lnTo>
                    <a:pt x="94" y="36"/>
                  </a:lnTo>
                  <a:lnTo>
                    <a:pt x="94" y="34"/>
                  </a:lnTo>
                  <a:lnTo>
                    <a:pt x="94" y="32"/>
                  </a:lnTo>
                  <a:lnTo>
                    <a:pt x="94" y="30"/>
                  </a:lnTo>
                  <a:lnTo>
                    <a:pt x="94" y="28"/>
                  </a:lnTo>
                  <a:lnTo>
                    <a:pt x="92" y="24"/>
                  </a:lnTo>
                  <a:lnTo>
                    <a:pt x="88" y="18"/>
                  </a:lnTo>
                  <a:lnTo>
                    <a:pt x="84" y="14"/>
                  </a:lnTo>
                  <a:lnTo>
                    <a:pt x="84" y="10"/>
                  </a:lnTo>
                  <a:lnTo>
                    <a:pt x="78" y="2"/>
                  </a:lnTo>
                  <a:lnTo>
                    <a:pt x="74" y="0"/>
                  </a:lnTo>
                  <a:lnTo>
                    <a:pt x="72" y="0"/>
                  </a:lnTo>
                  <a:lnTo>
                    <a:pt x="68" y="4"/>
                  </a:lnTo>
                  <a:lnTo>
                    <a:pt x="66" y="6"/>
                  </a:lnTo>
                  <a:lnTo>
                    <a:pt x="62" y="8"/>
                  </a:lnTo>
                  <a:lnTo>
                    <a:pt x="60" y="8"/>
                  </a:lnTo>
                  <a:lnTo>
                    <a:pt x="60" y="10"/>
                  </a:lnTo>
                  <a:lnTo>
                    <a:pt x="56" y="12"/>
                  </a:lnTo>
                  <a:lnTo>
                    <a:pt x="52" y="14"/>
                  </a:lnTo>
                  <a:lnTo>
                    <a:pt x="50" y="10"/>
                  </a:lnTo>
                  <a:lnTo>
                    <a:pt x="48" y="8"/>
                  </a:lnTo>
                  <a:lnTo>
                    <a:pt x="44" y="8"/>
                  </a:lnTo>
                  <a:lnTo>
                    <a:pt x="38" y="8"/>
                  </a:lnTo>
                  <a:lnTo>
                    <a:pt x="34" y="6"/>
                  </a:lnTo>
                  <a:lnTo>
                    <a:pt x="32" y="2"/>
                  </a:lnTo>
                  <a:lnTo>
                    <a:pt x="30" y="2"/>
                  </a:lnTo>
                  <a:lnTo>
                    <a:pt x="28" y="14"/>
                  </a:lnTo>
                  <a:lnTo>
                    <a:pt x="26" y="18"/>
                  </a:lnTo>
                  <a:lnTo>
                    <a:pt x="20" y="22"/>
                  </a:lnTo>
                  <a:lnTo>
                    <a:pt x="18" y="26"/>
                  </a:lnTo>
                  <a:lnTo>
                    <a:pt x="16" y="32"/>
                  </a:lnTo>
                  <a:lnTo>
                    <a:pt x="16" y="40"/>
                  </a:lnTo>
                  <a:lnTo>
                    <a:pt x="14" y="46"/>
                  </a:lnTo>
                  <a:lnTo>
                    <a:pt x="10" y="48"/>
                  </a:lnTo>
                  <a:lnTo>
                    <a:pt x="8" y="50"/>
                  </a:lnTo>
                  <a:lnTo>
                    <a:pt x="4" y="52"/>
                  </a:lnTo>
                  <a:lnTo>
                    <a:pt x="0" y="52"/>
                  </a:lnTo>
                  <a:lnTo>
                    <a:pt x="4" y="56"/>
                  </a:lnTo>
                  <a:lnTo>
                    <a:pt x="6" y="58"/>
                  </a:lnTo>
                  <a:lnTo>
                    <a:pt x="8" y="62"/>
                  </a:lnTo>
                  <a:lnTo>
                    <a:pt x="6" y="66"/>
                  </a:lnTo>
                  <a:lnTo>
                    <a:pt x="10" y="66"/>
                  </a:lnTo>
                  <a:lnTo>
                    <a:pt x="12" y="66"/>
                  </a:lnTo>
                  <a:lnTo>
                    <a:pt x="14" y="70"/>
                  </a:lnTo>
                  <a:lnTo>
                    <a:pt x="16" y="72"/>
                  </a:lnTo>
                  <a:lnTo>
                    <a:pt x="18" y="70"/>
                  </a:lnTo>
                  <a:lnTo>
                    <a:pt x="20" y="68"/>
                  </a:lnTo>
                  <a:lnTo>
                    <a:pt x="20" y="66"/>
                  </a:lnTo>
                  <a:lnTo>
                    <a:pt x="24" y="66"/>
                  </a:lnTo>
                  <a:lnTo>
                    <a:pt x="28" y="70"/>
                  </a:lnTo>
                  <a:lnTo>
                    <a:pt x="30" y="72"/>
                  </a:lnTo>
                  <a:lnTo>
                    <a:pt x="28" y="72"/>
                  </a:lnTo>
                  <a:lnTo>
                    <a:pt x="24" y="72"/>
                  </a:lnTo>
                  <a:lnTo>
                    <a:pt x="24" y="74"/>
                  </a:lnTo>
                  <a:lnTo>
                    <a:pt x="26" y="78"/>
                  </a:lnTo>
                  <a:lnTo>
                    <a:pt x="30" y="80"/>
                  </a:lnTo>
                  <a:lnTo>
                    <a:pt x="32" y="80"/>
                  </a:lnTo>
                  <a:lnTo>
                    <a:pt x="36" y="82"/>
                  </a:lnTo>
                  <a:lnTo>
                    <a:pt x="38" y="82"/>
                  </a:lnTo>
                  <a:lnTo>
                    <a:pt x="38" y="84"/>
                  </a:lnTo>
                  <a:lnTo>
                    <a:pt x="36" y="86"/>
                  </a:lnTo>
                  <a:lnTo>
                    <a:pt x="36" y="88"/>
                  </a:lnTo>
                  <a:lnTo>
                    <a:pt x="38" y="88"/>
                  </a:lnTo>
                  <a:lnTo>
                    <a:pt x="42" y="88"/>
                  </a:lnTo>
                  <a:lnTo>
                    <a:pt x="46" y="88"/>
                  </a:lnTo>
                  <a:lnTo>
                    <a:pt x="48" y="86"/>
                  </a:lnTo>
                  <a:lnTo>
                    <a:pt x="50" y="88"/>
                  </a:lnTo>
                  <a:lnTo>
                    <a:pt x="54" y="88"/>
                  </a:lnTo>
                  <a:lnTo>
                    <a:pt x="60" y="88"/>
                  </a:lnTo>
                  <a:lnTo>
                    <a:pt x="64" y="86"/>
                  </a:lnTo>
                  <a:lnTo>
                    <a:pt x="68" y="84"/>
                  </a:lnTo>
                  <a:lnTo>
                    <a:pt x="72" y="80"/>
                  </a:lnTo>
                  <a:lnTo>
                    <a:pt x="76" y="80"/>
                  </a:lnTo>
                  <a:lnTo>
                    <a:pt x="80" y="82"/>
                  </a:lnTo>
                  <a:lnTo>
                    <a:pt x="82" y="84"/>
                  </a:lnTo>
                  <a:lnTo>
                    <a:pt x="86" y="82"/>
                  </a:lnTo>
                  <a:lnTo>
                    <a:pt x="90" y="80"/>
                  </a:lnTo>
                  <a:lnTo>
                    <a:pt x="94" y="80"/>
                  </a:lnTo>
                  <a:lnTo>
                    <a:pt x="100" y="84"/>
                  </a:lnTo>
                  <a:lnTo>
                    <a:pt x="104" y="82"/>
                  </a:lnTo>
                  <a:lnTo>
                    <a:pt x="104" y="80"/>
                  </a:lnTo>
                  <a:lnTo>
                    <a:pt x="104" y="78"/>
                  </a:lnTo>
                  <a:lnTo>
                    <a:pt x="104" y="76"/>
                  </a:lnTo>
                  <a:lnTo>
                    <a:pt x="106" y="74"/>
                  </a:lnTo>
                  <a:lnTo>
                    <a:pt x="110" y="76"/>
                  </a:lnTo>
                  <a:lnTo>
                    <a:pt x="110" y="74"/>
                  </a:lnTo>
                  <a:lnTo>
                    <a:pt x="112" y="74"/>
                  </a:lnTo>
                  <a:lnTo>
                    <a:pt x="112" y="70"/>
                  </a:lnTo>
                  <a:lnTo>
                    <a:pt x="112" y="64"/>
                  </a:lnTo>
                  <a:lnTo>
                    <a:pt x="114" y="62"/>
                  </a:lnTo>
                  <a:lnTo>
                    <a:pt x="112" y="62"/>
                  </a:lnTo>
                  <a:lnTo>
                    <a:pt x="112" y="60"/>
                  </a:lnTo>
                  <a:lnTo>
                    <a:pt x="114" y="60"/>
                  </a:lnTo>
                  <a:lnTo>
                    <a:pt x="114" y="58"/>
                  </a:lnTo>
                  <a:lnTo>
                    <a:pt x="114" y="58"/>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7" name="Freeform 551">
              <a:extLst>
                <a:ext uri="{FF2B5EF4-FFF2-40B4-BE49-F238E27FC236}">
                  <a16:creationId xmlns:a16="http://schemas.microsoft.com/office/drawing/2014/main" id="{BAB99FCE-A5AF-435A-8AF9-88DBE0CC5EDA}"/>
                </a:ext>
              </a:extLst>
            </p:cNvPr>
            <p:cNvSpPr>
              <a:spLocks noEditPoints="1"/>
            </p:cNvSpPr>
            <p:nvPr/>
          </p:nvSpPr>
          <p:spPr bwMode="auto">
            <a:xfrm>
              <a:off x="3148078" y="3726790"/>
              <a:ext cx="194221" cy="243423"/>
            </a:xfrm>
            <a:custGeom>
              <a:avLst/>
              <a:gdLst/>
              <a:ahLst/>
              <a:cxnLst>
                <a:cxn ang="0">
                  <a:pos x="76" y="164"/>
                </a:cxn>
                <a:cxn ang="0">
                  <a:pos x="90" y="180"/>
                </a:cxn>
                <a:cxn ang="0">
                  <a:pos x="104" y="186"/>
                </a:cxn>
                <a:cxn ang="0">
                  <a:pos x="112" y="180"/>
                </a:cxn>
                <a:cxn ang="0">
                  <a:pos x="112" y="168"/>
                </a:cxn>
                <a:cxn ang="0">
                  <a:pos x="96" y="168"/>
                </a:cxn>
                <a:cxn ang="0">
                  <a:pos x="80" y="164"/>
                </a:cxn>
                <a:cxn ang="0">
                  <a:pos x="8" y="62"/>
                </a:cxn>
                <a:cxn ang="0">
                  <a:pos x="22" y="54"/>
                </a:cxn>
                <a:cxn ang="0">
                  <a:pos x="34" y="52"/>
                </a:cxn>
                <a:cxn ang="0">
                  <a:pos x="46" y="58"/>
                </a:cxn>
                <a:cxn ang="0">
                  <a:pos x="50" y="72"/>
                </a:cxn>
                <a:cxn ang="0">
                  <a:pos x="60" y="86"/>
                </a:cxn>
                <a:cxn ang="0">
                  <a:pos x="74" y="104"/>
                </a:cxn>
                <a:cxn ang="0">
                  <a:pos x="90" y="108"/>
                </a:cxn>
                <a:cxn ang="0">
                  <a:pos x="100" y="118"/>
                </a:cxn>
                <a:cxn ang="0">
                  <a:pos x="106" y="124"/>
                </a:cxn>
                <a:cxn ang="0">
                  <a:pos x="120" y="140"/>
                </a:cxn>
                <a:cxn ang="0">
                  <a:pos x="116" y="164"/>
                </a:cxn>
                <a:cxn ang="0">
                  <a:pos x="122" y="170"/>
                </a:cxn>
                <a:cxn ang="0">
                  <a:pos x="128" y="152"/>
                </a:cxn>
                <a:cxn ang="0">
                  <a:pos x="132" y="142"/>
                </a:cxn>
                <a:cxn ang="0">
                  <a:pos x="128" y="126"/>
                </a:cxn>
                <a:cxn ang="0">
                  <a:pos x="144" y="126"/>
                </a:cxn>
                <a:cxn ang="0">
                  <a:pos x="150" y="128"/>
                </a:cxn>
                <a:cxn ang="0">
                  <a:pos x="144" y="120"/>
                </a:cxn>
                <a:cxn ang="0">
                  <a:pos x="122" y="96"/>
                </a:cxn>
                <a:cxn ang="0">
                  <a:pos x="92" y="76"/>
                </a:cxn>
                <a:cxn ang="0">
                  <a:pos x="84" y="62"/>
                </a:cxn>
                <a:cxn ang="0">
                  <a:pos x="70" y="54"/>
                </a:cxn>
                <a:cxn ang="0">
                  <a:pos x="74" y="36"/>
                </a:cxn>
                <a:cxn ang="0">
                  <a:pos x="72" y="28"/>
                </a:cxn>
                <a:cxn ang="0">
                  <a:pos x="88" y="22"/>
                </a:cxn>
                <a:cxn ang="0">
                  <a:pos x="86" y="12"/>
                </a:cxn>
                <a:cxn ang="0">
                  <a:pos x="78" y="4"/>
                </a:cxn>
                <a:cxn ang="0">
                  <a:pos x="68" y="2"/>
                </a:cxn>
                <a:cxn ang="0">
                  <a:pos x="58" y="0"/>
                </a:cxn>
                <a:cxn ang="0">
                  <a:pos x="50" y="2"/>
                </a:cxn>
                <a:cxn ang="0">
                  <a:pos x="50" y="6"/>
                </a:cxn>
                <a:cxn ang="0">
                  <a:pos x="42" y="6"/>
                </a:cxn>
                <a:cxn ang="0">
                  <a:pos x="36" y="12"/>
                </a:cxn>
                <a:cxn ang="0">
                  <a:pos x="34" y="20"/>
                </a:cxn>
                <a:cxn ang="0">
                  <a:pos x="22" y="14"/>
                </a:cxn>
                <a:cxn ang="0">
                  <a:pos x="18" y="20"/>
                </a:cxn>
                <a:cxn ang="0">
                  <a:pos x="8" y="30"/>
                </a:cxn>
                <a:cxn ang="0">
                  <a:pos x="0" y="36"/>
                </a:cxn>
                <a:cxn ang="0">
                  <a:pos x="4" y="44"/>
                </a:cxn>
                <a:cxn ang="0">
                  <a:pos x="6" y="54"/>
                </a:cxn>
                <a:cxn ang="0">
                  <a:pos x="6" y="60"/>
                </a:cxn>
                <a:cxn ang="0">
                  <a:pos x="34" y="106"/>
                </a:cxn>
                <a:cxn ang="0">
                  <a:pos x="24" y="132"/>
                </a:cxn>
                <a:cxn ang="0">
                  <a:pos x="34" y="146"/>
                </a:cxn>
                <a:cxn ang="0">
                  <a:pos x="38" y="110"/>
                </a:cxn>
              </a:cxnLst>
              <a:rect l="0" t="0" r="r" b="b"/>
              <a:pathLst>
                <a:path w="150" h="188">
                  <a:moveTo>
                    <a:pt x="78" y="162"/>
                  </a:moveTo>
                  <a:lnTo>
                    <a:pt x="78" y="162"/>
                  </a:lnTo>
                  <a:lnTo>
                    <a:pt x="78" y="164"/>
                  </a:lnTo>
                  <a:lnTo>
                    <a:pt x="76" y="164"/>
                  </a:lnTo>
                  <a:lnTo>
                    <a:pt x="76" y="170"/>
                  </a:lnTo>
                  <a:lnTo>
                    <a:pt x="82" y="174"/>
                  </a:lnTo>
                  <a:lnTo>
                    <a:pt x="88" y="176"/>
                  </a:lnTo>
                  <a:lnTo>
                    <a:pt x="90" y="180"/>
                  </a:lnTo>
                  <a:lnTo>
                    <a:pt x="92" y="180"/>
                  </a:lnTo>
                  <a:lnTo>
                    <a:pt x="96" y="180"/>
                  </a:lnTo>
                  <a:lnTo>
                    <a:pt x="98" y="182"/>
                  </a:lnTo>
                  <a:lnTo>
                    <a:pt x="104" y="186"/>
                  </a:lnTo>
                  <a:lnTo>
                    <a:pt x="104" y="188"/>
                  </a:lnTo>
                  <a:lnTo>
                    <a:pt x="110" y="188"/>
                  </a:lnTo>
                  <a:lnTo>
                    <a:pt x="108" y="182"/>
                  </a:lnTo>
                  <a:lnTo>
                    <a:pt x="112" y="180"/>
                  </a:lnTo>
                  <a:lnTo>
                    <a:pt x="112" y="176"/>
                  </a:lnTo>
                  <a:lnTo>
                    <a:pt x="112" y="172"/>
                  </a:lnTo>
                  <a:lnTo>
                    <a:pt x="112" y="170"/>
                  </a:lnTo>
                  <a:lnTo>
                    <a:pt x="112" y="168"/>
                  </a:lnTo>
                  <a:lnTo>
                    <a:pt x="114" y="166"/>
                  </a:lnTo>
                  <a:lnTo>
                    <a:pt x="114" y="162"/>
                  </a:lnTo>
                  <a:lnTo>
                    <a:pt x="102" y="166"/>
                  </a:lnTo>
                  <a:lnTo>
                    <a:pt x="96" y="168"/>
                  </a:lnTo>
                  <a:lnTo>
                    <a:pt x="90" y="166"/>
                  </a:lnTo>
                  <a:lnTo>
                    <a:pt x="86" y="164"/>
                  </a:lnTo>
                  <a:lnTo>
                    <a:pt x="84" y="164"/>
                  </a:lnTo>
                  <a:lnTo>
                    <a:pt x="80" y="164"/>
                  </a:lnTo>
                  <a:lnTo>
                    <a:pt x="78" y="162"/>
                  </a:lnTo>
                  <a:lnTo>
                    <a:pt x="78" y="162"/>
                  </a:lnTo>
                  <a:close/>
                  <a:moveTo>
                    <a:pt x="8" y="62"/>
                  </a:moveTo>
                  <a:lnTo>
                    <a:pt x="8" y="62"/>
                  </a:lnTo>
                  <a:lnTo>
                    <a:pt x="12" y="60"/>
                  </a:lnTo>
                  <a:lnTo>
                    <a:pt x="18" y="60"/>
                  </a:lnTo>
                  <a:lnTo>
                    <a:pt x="18" y="56"/>
                  </a:lnTo>
                  <a:lnTo>
                    <a:pt x="22" y="54"/>
                  </a:lnTo>
                  <a:lnTo>
                    <a:pt x="22" y="50"/>
                  </a:lnTo>
                  <a:lnTo>
                    <a:pt x="26" y="48"/>
                  </a:lnTo>
                  <a:lnTo>
                    <a:pt x="32" y="48"/>
                  </a:lnTo>
                  <a:lnTo>
                    <a:pt x="34" y="52"/>
                  </a:lnTo>
                  <a:lnTo>
                    <a:pt x="38" y="52"/>
                  </a:lnTo>
                  <a:lnTo>
                    <a:pt x="44" y="56"/>
                  </a:lnTo>
                  <a:lnTo>
                    <a:pt x="44" y="58"/>
                  </a:lnTo>
                  <a:lnTo>
                    <a:pt x="46" y="58"/>
                  </a:lnTo>
                  <a:lnTo>
                    <a:pt x="46" y="62"/>
                  </a:lnTo>
                  <a:lnTo>
                    <a:pt x="46" y="64"/>
                  </a:lnTo>
                  <a:lnTo>
                    <a:pt x="50" y="68"/>
                  </a:lnTo>
                  <a:lnTo>
                    <a:pt x="50" y="72"/>
                  </a:lnTo>
                  <a:lnTo>
                    <a:pt x="56" y="74"/>
                  </a:lnTo>
                  <a:lnTo>
                    <a:pt x="56" y="78"/>
                  </a:lnTo>
                  <a:lnTo>
                    <a:pt x="58" y="84"/>
                  </a:lnTo>
                  <a:lnTo>
                    <a:pt x="60" y="86"/>
                  </a:lnTo>
                  <a:lnTo>
                    <a:pt x="62" y="90"/>
                  </a:lnTo>
                  <a:lnTo>
                    <a:pt x="70" y="96"/>
                  </a:lnTo>
                  <a:lnTo>
                    <a:pt x="72" y="100"/>
                  </a:lnTo>
                  <a:lnTo>
                    <a:pt x="74" y="104"/>
                  </a:lnTo>
                  <a:lnTo>
                    <a:pt x="84" y="108"/>
                  </a:lnTo>
                  <a:lnTo>
                    <a:pt x="84" y="110"/>
                  </a:lnTo>
                  <a:lnTo>
                    <a:pt x="88" y="108"/>
                  </a:lnTo>
                  <a:lnTo>
                    <a:pt x="90" y="108"/>
                  </a:lnTo>
                  <a:lnTo>
                    <a:pt x="94" y="112"/>
                  </a:lnTo>
                  <a:lnTo>
                    <a:pt x="98" y="116"/>
                  </a:lnTo>
                  <a:lnTo>
                    <a:pt x="100" y="116"/>
                  </a:lnTo>
                  <a:lnTo>
                    <a:pt x="100" y="118"/>
                  </a:lnTo>
                  <a:lnTo>
                    <a:pt x="100" y="120"/>
                  </a:lnTo>
                  <a:lnTo>
                    <a:pt x="102" y="120"/>
                  </a:lnTo>
                  <a:lnTo>
                    <a:pt x="106" y="120"/>
                  </a:lnTo>
                  <a:lnTo>
                    <a:pt x="106" y="124"/>
                  </a:lnTo>
                  <a:lnTo>
                    <a:pt x="108" y="128"/>
                  </a:lnTo>
                  <a:lnTo>
                    <a:pt x="112" y="128"/>
                  </a:lnTo>
                  <a:lnTo>
                    <a:pt x="116" y="130"/>
                  </a:lnTo>
                  <a:lnTo>
                    <a:pt x="120" y="140"/>
                  </a:lnTo>
                  <a:lnTo>
                    <a:pt x="122" y="152"/>
                  </a:lnTo>
                  <a:lnTo>
                    <a:pt x="118" y="152"/>
                  </a:lnTo>
                  <a:lnTo>
                    <a:pt x="118" y="160"/>
                  </a:lnTo>
                  <a:lnTo>
                    <a:pt x="116" y="164"/>
                  </a:lnTo>
                  <a:lnTo>
                    <a:pt x="116" y="168"/>
                  </a:lnTo>
                  <a:lnTo>
                    <a:pt x="118" y="170"/>
                  </a:lnTo>
                  <a:lnTo>
                    <a:pt x="120" y="170"/>
                  </a:lnTo>
                  <a:lnTo>
                    <a:pt x="122" y="170"/>
                  </a:lnTo>
                  <a:lnTo>
                    <a:pt x="124" y="164"/>
                  </a:lnTo>
                  <a:lnTo>
                    <a:pt x="128" y="160"/>
                  </a:lnTo>
                  <a:lnTo>
                    <a:pt x="128" y="156"/>
                  </a:lnTo>
                  <a:lnTo>
                    <a:pt x="128" y="152"/>
                  </a:lnTo>
                  <a:lnTo>
                    <a:pt x="130" y="152"/>
                  </a:lnTo>
                  <a:lnTo>
                    <a:pt x="134" y="150"/>
                  </a:lnTo>
                  <a:lnTo>
                    <a:pt x="134" y="144"/>
                  </a:lnTo>
                  <a:lnTo>
                    <a:pt x="132" y="142"/>
                  </a:lnTo>
                  <a:lnTo>
                    <a:pt x="130" y="140"/>
                  </a:lnTo>
                  <a:lnTo>
                    <a:pt x="128" y="134"/>
                  </a:lnTo>
                  <a:lnTo>
                    <a:pt x="124" y="132"/>
                  </a:lnTo>
                  <a:lnTo>
                    <a:pt x="128" y="126"/>
                  </a:lnTo>
                  <a:lnTo>
                    <a:pt x="130" y="122"/>
                  </a:lnTo>
                  <a:lnTo>
                    <a:pt x="134" y="122"/>
                  </a:lnTo>
                  <a:lnTo>
                    <a:pt x="134" y="124"/>
                  </a:lnTo>
                  <a:lnTo>
                    <a:pt x="144" y="126"/>
                  </a:lnTo>
                  <a:lnTo>
                    <a:pt x="144" y="130"/>
                  </a:lnTo>
                  <a:lnTo>
                    <a:pt x="148" y="130"/>
                  </a:lnTo>
                  <a:lnTo>
                    <a:pt x="148" y="128"/>
                  </a:lnTo>
                  <a:lnTo>
                    <a:pt x="150" y="128"/>
                  </a:lnTo>
                  <a:lnTo>
                    <a:pt x="148" y="126"/>
                  </a:lnTo>
                  <a:lnTo>
                    <a:pt x="148" y="122"/>
                  </a:lnTo>
                  <a:lnTo>
                    <a:pt x="146" y="122"/>
                  </a:lnTo>
                  <a:lnTo>
                    <a:pt x="144" y="120"/>
                  </a:lnTo>
                  <a:lnTo>
                    <a:pt x="138" y="114"/>
                  </a:lnTo>
                  <a:lnTo>
                    <a:pt x="130" y="108"/>
                  </a:lnTo>
                  <a:lnTo>
                    <a:pt x="122" y="104"/>
                  </a:lnTo>
                  <a:lnTo>
                    <a:pt x="122" y="96"/>
                  </a:lnTo>
                  <a:lnTo>
                    <a:pt x="114" y="96"/>
                  </a:lnTo>
                  <a:lnTo>
                    <a:pt x="106" y="92"/>
                  </a:lnTo>
                  <a:lnTo>
                    <a:pt x="98" y="86"/>
                  </a:lnTo>
                  <a:lnTo>
                    <a:pt x="92" y="76"/>
                  </a:lnTo>
                  <a:lnTo>
                    <a:pt x="92" y="72"/>
                  </a:lnTo>
                  <a:lnTo>
                    <a:pt x="90" y="68"/>
                  </a:lnTo>
                  <a:lnTo>
                    <a:pt x="88" y="68"/>
                  </a:lnTo>
                  <a:lnTo>
                    <a:pt x="84" y="62"/>
                  </a:lnTo>
                  <a:lnTo>
                    <a:pt x="78" y="58"/>
                  </a:lnTo>
                  <a:lnTo>
                    <a:pt x="74" y="58"/>
                  </a:lnTo>
                  <a:lnTo>
                    <a:pt x="72" y="54"/>
                  </a:lnTo>
                  <a:lnTo>
                    <a:pt x="70" y="54"/>
                  </a:lnTo>
                  <a:lnTo>
                    <a:pt x="70" y="50"/>
                  </a:lnTo>
                  <a:lnTo>
                    <a:pt x="72" y="44"/>
                  </a:lnTo>
                  <a:lnTo>
                    <a:pt x="74" y="40"/>
                  </a:lnTo>
                  <a:lnTo>
                    <a:pt x="74" y="36"/>
                  </a:lnTo>
                  <a:lnTo>
                    <a:pt x="74" y="34"/>
                  </a:lnTo>
                  <a:lnTo>
                    <a:pt x="72" y="32"/>
                  </a:lnTo>
                  <a:lnTo>
                    <a:pt x="72" y="30"/>
                  </a:lnTo>
                  <a:lnTo>
                    <a:pt x="72" y="28"/>
                  </a:lnTo>
                  <a:lnTo>
                    <a:pt x="74" y="28"/>
                  </a:lnTo>
                  <a:lnTo>
                    <a:pt x="74" y="30"/>
                  </a:lnTo>
                  <a:lnTo>
                    <a:pt x="90" y="24"/>
                  </a:lnTo>
                  <a:lnTo>
                    <a:pt x="88" y="22"/>
                  </a:lnTo>
                  <a:lnTo>
                    <a:pt x="88" y="20"/>
                  </a:lnTo>
                  <a:lnTo>
                    <a:pt x="90" y="16"/>
                  </a:lnTo>
                  <a:lnTo>
                    <a:pt x="88" y="12"/>
                  </a:lnTo>
                  <a:lnTo>
                    <a:pt x="86" y="12"/>
                  </a:lnTo>
                  <a:lnTo>
                    <a:pt x="84" y="10"/>
                  </a:lnTo>
                  <a:lnTo>
                    <a:pt x="84" y="6"/>
                  </a:lnTo>
                  <a:lnTo>
                    <a:pt x="86" y="4"/>
                  </a:lnTo>
                  <a:lnTo>
                    <a:pt x="78" y="4"/>
                  </a:lnTo>
                  <a:lnTo>
                    <a:pt x="74" y="6"/>
                  </a:lnTo>
                  <a:lnTo>
                    <a:pt x="72" y="6"/>
                  </a:lnTo>
                  <a:lnTo>
                    <a:pt x="70" y="4"/>
                  </a:lnTo>
                  <a:lnTo>
                    <a:pt x="68" y="2"/>
                  </a:lnTo>
                  <a:lnTo>
                    <a:pt x="66" y="2"/>
                  </a:lnTo>
                  <a:lnTo>
                    <a:pt x="62" y="2"/>
                  </a:lnTo>
                  <a:lnTo>
                    <a:pt x="62" y="0"/>
                  </a:lnTo>
                  <a:lnTo>
                    <a:pt x="58" y="0"/>
                  </a:lnTo>
                  <a:lnTo>
                    <a:pt x="58" y="2"/>
                  </a:lnTo>
                  <a:lnTo>
                    <a:pt x="56" y="2"/>
                  </a:lnTo>
                  <a:lnTo>
                    <a:pt x="50" y="0"/>
                  </a:lnTo>
                  <a:lnTo>
                    <a:pt x="50" y="2"/>
                  </a:lnTo>
                  <a:lnTo>
                    <a:pt x="48" y="4"/>
                  </a:lnTo>
                  <a:lnTo>
                    <a:pt x="46" y="6"/>
                  </a:lnTo>
                  <a:lnTo>
                    <a:pt x="48" y="6"/>
                  </a:lnTo>
                  <a:lnTo>
                    <a:pt x="50" y="6"/>
                  </a:lnTo>
                  <a:lnTo>
                    <a:pt x="48" y="6"/>
                  </a:lnTo>
                  <a:lnTo>
                    <a:pt x="46" y="8"/>
                  </a:lnTo>
                  <a:lnTo>
                    <a:pt x="44" y="8"/>
                  </a:lnTo>
                  <a:lnTo>
                    <a:pt x="42" y="6"/>
                  </a:lnTo>
                  <a:lnTo>
                    <a:pt x="40" y="8"/>
                  </a:lnTo>
                  <a:lnTo>
                    <a:pt x="38" y="10"/>
                  </a:lnTo>
                  <a:lnTo>
                    <a:pt x="38" y="12"/>
                  </a:lnTo>
                  <a:lnTo>
                    <a:pt x="36" y="12"/>
                  </a:lnTo>
                  <a:lnTo>
                    <a:pt x="34" y="14"/>
                  </a:lnTo>
                  <a:lnTo>
                    <a:pt x="34" y="16"/>
                  </a:lnTo>
                  <a:lnTo>
                    <a:pt x="34" y="20"/>
                  </a:lnTo>
                  <a:lnTo>
                    <a:pt x="34" y="20"/>
                  </a:lnTo>
                  <a:lnTo>
                    <a:pt x="32" y="20"/>
                  </a:lnTo>
                  <a:lnTo>
                    <a:pt x="28" y="18"/>
                  </a:lnTo>
                  <a:lnTo>
                    <a:pt x="24" y="18"/>
                  </a:lnTo>
                  <a:lnTo>
                    <a:pt x="22" y="14"/>
                  </a:lnTo>
                  <a:lnTo>
                    <a:pt x="20" y="12"/>
                  </a:lnTo>
                  <a:lnTo>
                    <a:pt x="20" y="14"/>
                  </a:lnTo>
                  <a:lnTo>
                    <a:pt x="20" y="18"/>
                  </a:lnTo>
                  <a:lnTo>
                    <a:pt x="18" y="20"/>
                  </a:lnTo>
                  <a:lnTo>
                    <a:pt x="16" y="22"/>
                  </a:lnTo>
                  <a:lnTo>
                    <a:pt x="12" y="22"/>
                  </a:lnTo>
                  <a:lnTo>
                    <a:pt x="10" y="24"/>
                  </a:lnTo>
                  <a:lnTo>
                    <a:pt x="8" y="30"/>
                  </a:lnTo>
                  <a:lnTo>
                    <a:pt x="6" y="32"/>
                  </a:lnTo>
                  <a:lnTo>
                    <a:pt x="4" y="34"/>
                  </a:lnTo>
                  <a:lnTo>
                    <a:pt x="2" y="34"/>
                  </a:lnTo>
                  <a:lnTo>
                    <a:pt x="0" y="36"/>
                  </a:lnTo>
                  <a:lnTo>
                    <a:pt x="0" y="38"/>
                  </a:lnTo>
                  <a:lnTo>
                    <a:pt x="0" y="40"/>
                  </a:lnTo>
                  <a:lnTo>
                    <a:pt x="2" y="42"/>
                  </a:lnTo>
                  <a:lnTo>
                    <a:pt x="4" y="44"/>
                  </a:lnTo>
                  <a:lnTo>
                    <a:pt x="4" y="46"/>
                  </a:lnTo>
                  <a:lnTo>
                    <a:pt x="2" y="50"/>
                  </a:lnTo>
                  <a:lnTo>
                    <a:pt x="4" y="54"/>
                  </a:lnTo>
                  <a:lnTo>
                    <a:pt x="6" y="54"/>
                  </a:lnTo>
                  <a:lnTo>
                    <a:pt x="8" y="54"/>
                  </a:lnTo>
                  <a:lnTo>
                    <a:pt x="10" y="54"/>
                  </a:lnTo>
                  <a:lnTo>
                    <a:pt x="6" y="58"/>
                  </a:lnTo>
                  <a:lnTo>
                    <a:pt x="6" y="60"/>
                  </a:lnTo>
                  <a:lnTo>
                    <a:pt x="8" y="62"/>
                  </a:lnTo>
                  <a:lnTo>
                    <a:pt x="8" y="62"/>
                  </a:lnTo>
                  <a:close/>
                  <a:moveTo>
                    <a:pt x="34" y="106"/>
                  </a:moveTo>
                  <a:lnTo>
                    <a:pt x="34" y="106"/>
                  </a:lnTo>
                  <a:lnTo>
                    <a:pt x="24" y="114"/>
                  </a:lnTo>
                  <a:lnTo>
                    <a:pt x="22" y="114"/>
                  </a:lnTo>
                  <a:lnTo>
                    <a:pt x="24" y="122"/>
                  </a:lnTo>
                  <a:lnTo>
                    <a:pt x="24" y="132"/>
                  </a:lnTo>
                  <a:lnTo>
                    <a:pt x="28" y="142"/>
                  </a:lnTo>
                  <a:lnTo>
                    <a:pt x="30" y="144"/>
                  </a:lnTo>
                  <a:lnTo>
                    <a:pt x="32" y="146"/>
                  </a:lnTo>
                  <a:lnTo>
                    <a:pt x="34" y="146"/>
                  </a:lnTo>
                  <a:lnTo>
                    <a:pt x="38" y="142"/>
                  </a:lnTo>
                  <a:lnTo>
                    <a:pt x="42" y="118"/>
                  </a:lnTo>
                  <a:lnTo>
                    <a:pt x="38" y="114"/>
                  </a:lnTo>
                  <a:lnTo>
                    <a:pt x="38" y="110"/>
                  </a:lnTo>
                  <a:lnTo>
                    <a:pt x="36" y="108"/>
                  </a:lnTo>
                  <a:lnTo>
                    <a:pt x="34" y="106"/>
                  </a:lnTo>
                  <a:lnTo>
                    <a:pt x="34" y="10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8" name="Freeform 552">
              <a:extLst>
                <a:ext uri="{FF2B5EF4-FFF2-40B4-BE49-F238E27FC236}">
                  <a16:creationId xmlns:a16="http://schemas.microsoft.com/office/drawing/2014/main" id="{9784893E-5E97-4A29-9965-69DA34116E4A}"/>
                </a:ext>
              </a:extLst>
            </p:cNvPr>
            <p:cNvSpPr>
              <a:spLocks/>
            </p:cNvSpPr>
            <p:nvPr/>
          </p:nvSpPr>
          <p:spPr bwMode="auto">
            <a:xfrm>
              <a:off x="3311223" y="3685356"/>
              <a:ext cx="119122" cy="80278"/>
            </a:xfrm>
            <a:custGeom>
              <a:avLst/>
              <a:gdLst/>
              <a:ahLst/>
              <a:cxnLst>
                <a:cxn ang="0">
                  <a:pos x="40" y="62"/>
                </a:cxn>
                <a:cxn ang="0">
                  <a:pos x="34" y="62"/>
                </a:cxn>
                <a:cxn ang="0">
                  <a:pos x="26" y="58"/>
                </a:cxn>
                <a:cxn ang="0">
                  <a:pos x="14" y="50"/>
                </a:cxn>
                <a:cxn ang="0">
                  <a:pos x="8" y="40"/>
                </a:cxn>
                <a:cxn ang="0">
                  <a:pos x="2" y="34"/>
                </a:cxn>
                <a:cxn ang="0">
                  <a:pos x="0" y="26"/>
                </a:cxn>
                <a:cxn ang="0">
                  <a:pos x="0" y="22"/>
                </a:cxn>
                <a:cxn ang="0">
                  <a:pos x="4" y="20"/>
                </a:cxn>
                <a:cxn ang="0">
                  <a:pos x="6" y="16"/>
                </a:cxn>
                <a:cxn ang="0">
                  <a:pos x="6" y="8"/>
                </a:cxn>
                <a:cxn ang="0">
                  <a:pos x="10" y="6"/>
                </a:cxn>
                <a:cxn ang="0">
                  <a:pos x="20" y="10"/>
                </a:cxn>
                <a:cxn ang="0">
                  <a:pos x="32" y="12"/>
                </a:cxn>
                <a:cxn ang="0">
                  <a:pos x="38" y="8"/>
                </a:cxn>
                <a:cxn ang="0">
                  <a:pos x="50" y="4"/>
                </a:cxn>
                <a:cxn ang="0">
                  <a:pos x="52" y="6"/>
                </a:cxn>
                <a:cxn ang="0">
                  <a:pos x="56" y="8"/>
                </a:cxn>
                <a:cxn ang="0">
                  <a:pos x="60" y="6"/>
                </a:cxn>
                <a:cxn ang="0">
                  <a:pos x="70" y="2"/>
                </a:cxn>
                <a:cxn ang="0">
                  <a:pos x="82" y="0"/>
                </a:cxn>
                <a:cxn ang="0">
                  <a:pos x="86" y="2"/>
                </a:cxn>
                <a:cxn ang="0">
                  <a:pos x="92" y="4"/>
                </a:cxn>
                <a:cxn ang="0">
                  <a:pos x="88" y="20"/>
                </a:cxn>
                <a:cxn ang="0">
                  <a:pos x="80" y="28"/>
                </a:cxn>
                <a:cxn ang="0">
                  <a:pos x="78" y="42"/>
                </a:cxn>
                <a:cxn ang="0">
                  <a:pos x="72" y="52"/>
                </a:cxn>
                <a:cxn ang="0">
                  <a:pos x="66" y="56"/>
                </a:cxn>
                <a:cxn ang="0">
                  <a:pos x="56" y="56"/>
                </a:cxn>
                <a:cxn ang="0">
                  <a:pos x="48" y="58"/>
                </a:cxn>
                <a:cxn ang="0">
                  <a:pos x="42" y="62"/>
                </a:cxn>
                <a:cxn ang="0">
                  <a:pos x="40" y="62"/>
                </a:cxn>
              </a:cxnLst>
              <a:rect l="0" t="0" r="r" b="b"/>
              <a:pathLst>
                <a:path w="92" h="62">
                  <a:moveTo>
                    <a:pt x="40" y="62"/>
                  </a:moveTo>
                  <a:lnTo>
                    <a:pt x="40" y="62"/>
                  </a:lnTo>
                  <a:lnTo>
                    <a:pt x="36" y="62"/>
                  </a:lnTo>
                  <a:lnTo>
                    <a:pt x="34" y="62"/>
                  </a:lnTo>
                  <a:lnTo>
                    <a:pt x="30" y="60"/>
                  </a:lnTo>
                  <a:lnTo>
                    <a:pt x="26" y="58"/>
                  </a:lnTo>
                  <a:lnTo>
                    <a:pt x="20" y="56"/>
                  </a:lnTo>
                  <a:lnTo>
                    <a:pt x="14" y="50"/>
                  </a:lnTo>
                  <a:lnTo>
                    <a:pt x="10" y="44"/>
                  </a:lnTo>
                  <a:lnTo>
                    <a:pt x="8" y="40"/>
                  </a:lnTo>
                  <a:lnTo>
                    <a:pt x="6" y="38"/>
                  </a:lnTo>
                  <a:lnTo>
                    <a:pt x="2" y="34"/>
                  </a:lnTo>
                  <a:lnTo>
                    <a:pt x="2" y="30"/>
                  </a:lnTo>
                  <a:lnTo>
                    <a:pt x="0" y="26"/>
                  </a:lnTo>
                  <a:lnTo>
                    <a:pt x="0" y="24"/>
                  </a:lnTo>
                  <a:lnTo>
                    <a:pt x="0" y="22"/>
                  </a:lnTo>
                  <a:lnTo>
                    <a:pt x="2" y="20"/>
                  </a:lnTo>
                  <a:lnTo>
                    <a:pt x="4" y="20"/>
                  </a:lnTo>
                  <a:lnTo>
                    <a:pt x="6" y="20"/>
                  </a:lnTo>
                  <a:lnTo>
                    <a:pt x="6" y="16"/>
                  </a:lnTo>
                  <a:lnTo>
                    <a:pt x="8" y="12"/>
                  </a:lnTo>
                  <a:lnTo>
                    <a:pt x="6" y="8"/>
                  </a:lnTo>
                  <a:lnTo>
                    <a:pt x="8" y="6"/>
                  </a:lnTo>
                  <a:lnTo>
                    <a:pt x="10" y="6"/>
                  </a:lnTo>
                  <a:lnTo>
                    <a:pt x="14" y="8"/>
                  </a:lnTo>
                  <a:lnTo>
                    <a:pt x="20" y="10"/>
                  </a:lnTo>
                  <a:lnTo>
                    <a:pt x="24" y="10"/>
                  </a:lnTo>
                  <a:lnTo>
                    <a:pt x="32" y="12"/>
                  </a:lnTo>
                  <a:lnTo>
                    <a:pt x="38" y="12"/>
                  </a:lnTo>
                  <a:lnTo>
                    <a:pt x="38" y="8"/>
                  </a:lnTo>
                  <a:lnTo>
                    <a:pt x="44" y="6"/>
                  </a:lnTo>
                  <a:lnTo>
                    <a:pt x="50" y="4"/>
                  </a:lnTo>
                  <a:lnTo>
                    <a:pt x="52" y="4"/>
                  </a:lnTo>
                  <a:lnTo>
                    <a:pt x="52" y="6"/>
                  </a:lnTo>
                  <a:lnTo>
                    <a:pt x="54" y="6"/>
                  </a:lnTo>
                  <a:lnTo>
                    <a:pt x="56" y="8"/>
                  </a:lnTo>
                  <a:lnTo>
                    <a:pt x="58" y="6"/>
                  </a:lnTo>
                  <a:lnTo>
                    <a:pt x="60" y="6"/>
                  </a:lnTo>
                  <a:lnTo>
                    <a:pt x="64" y="2"/>
                  </a:lnTo>
                  <a:lnTo>
                    <a:pt x="70" y="2"/>
                  </a:lnTo>
                  <a:lnTo>
                    <a:pt x="76" y="2"/>
                  </a:lnTo>
                  <a:lnTo>
                    <a:pt x="82" y="0"/>
                  </a:lnTo>
                  <a:lnTo>
                    <a:pt x="84" y="0"/>
                  </a:lnTo>
                  <a:lnTo>
                    <a:pt x="86" y="2"/>
                  </a:lnTo>
                  <a:lnTo>
                    <a:pt x="90" y="4"/>
                  </a:lnTo>
                  <a:lnTo>
                    <a:pt x="92" y="4"/>
                  </a:lnTo>
                  <a:lnTo>
                    <a:pt x="90" y="16"/>
                  </a:lnTo>
                  <a:lnTo>
                    <a:pt x="88" y="20"/>
                  </a:lnTo>
                  <a:lnTo>
                    <a:pt x="82" y="24"/>
                  </a:lnTo>
                  <a:lnTo>
                    <a:pt x="80" y="28"/>
                  </a:lnTo>
                  <a:lnTo>
                    <a:pt x="78" y="34"/>
                  </a:lnTo>
                  <a:lnTo>
                    <a:pt x="78" y="42"/>
                  </a:lnTo>
                  <a:lnTo>
                    <a:pt x="76" y="48"/>
                  </a:lnTo>
                  <a:lnTo>
                    <a:pt x="72" y="52"/>
                  </a:lnTo>
                  <a:lnTo>
                    <a:pt x="70" y="54"/>
                  </a:lnTo>
                  <a:lnTo>
                    <a:pt x="66" y="56"/>
                  </a:lnTo>
                  <a:lnTo>
                    <a:pt x="64" y="56"/>
                  </a:lnTo>
                  <a:lnTo>
                    <a:pt x="56" y="56"/>
                  </a:lnTo>
                  <a:lnTo>
                    <a:pt x="50" y="56"/>
                  </a:lnTo>
                  <a:lnTo>
                    <a:pt x="48" y="58"/>
                  </a:lnTo>
                  <a:lnTo>
                    <a:pt x="44" y="62"/>
                  </a:lnTo>
                  <a:lnTo>
                    <a:pt x="42" y="62"/>
                  </a:lnTo>
                  <a:lnTo>
                    <a:pt x="40" y="62"/>
                  </a:lnTo>
                  <a:lnTo>
                    <a:pt x="40" y="6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89" name="Freeform 553">
              <a:extLst>
                <a:ext uri="{FF2B5EF4-FFF2-40B4-BE49-F238E27FC236}">
                  <a16:creationId xmlns:a16="http://schemas.microsoft.com/office/drawing/2014/main" id="{353C8F2F-B44E-42EB-9195-481701488366}"/>
                </a:ext>
              </a:extLst>
            </p:cNvPr>
            <p:cNvSpPr>
              <a:spLocks/>
            </p:cNvSpPr>
            <p:nvPr/>
          </p:nvSpPr>
          <p:spPr bwMode="auto">
            <a:xfrm>
              <a:off x="3135129" y="3703484"/>
              <a:ext cx="77688" cy="54382"/>
            </a:xfrm>
            <a:custGeom>
              <a:avLst/>
              <a:gdLst/>
              <a:ahLst/>
              <a:cxnLst>
                <a:cxn ang="0">
                  <a:pos x="58" y="20"/>
                </a:cxn>
                <a:cxn ang="0">
                  <a:pos x="58" y="18"/>
                </a:cxn>
                <a:cxn ang="0">
                  <a:pos x="54" y="12"/>
                </a:cxn>
                <a:cxn ang="0">
                  <a:pos x="44" y="2"/>
                </a:cxn>
                <a:cxn ang="0">
                  <a:pos x="38" y="0"/>
                </a:cxn>
                <a:cxn ang="0">
                  <a:pos x="36" y="2"/>
                </a:cxn>
                <a:cxn ang="0">
                  <a:pos x="28" y="6"/>
                </a:cxn>
                <a:cxn ang="0">
                  <a:pos x="24" y="6"/>
                </a:cxn>
                <a:cxn ang="0">
                  <a:pos x="22" y="10"/>
                </a:cxn>
                <a:cxn ang="0">
                  <a:pos x="16" y="14"/>
                </a:cxn>
                <a:cxn ang="0">
                  <a:pos x="10" y="22"/>
                </a:cxn>
                <a:cxn ang="0">
                  <a:pos x="0" y="34"/>
                </a:cxn>
                <a:cxn ang="0">
                  <a:pos x="4" y="36"/>
                </a:cxn>
                <a:cxn ang="0">
                  <a:pos x="8" y="34"/>
                </a:cxn>
                <a:cxn ang="0">
                  <a:pos x="10" y="38"/>
                </a:cxn>
                <a:cxn ang="0">
                  <a:pos x="16" y="38"/>
                </a:cxn>
                <a:cxn ang="0">
                  <a:pos x="18" y="42"/>
                </a:cxn>
                <a:cxn ang="0">
                  <a:pos x="22" y="42"/>
                </a:cxn>
                <a:cxn ang="0">
                  <a:pos x="26" y="38"/>
                </a:cxn>
                <a:cxn ang="0">
                  <a:pos x="30" y="36"/>
                </a:cxn>
                <a:cxn ang="0">
                  <a:pos x="30" y="30"/>
                </a:cxn>
                <a:cxn ang="0">
                  <a:pos x="34" y="36"/>
                </a:cxn>
                <a:cxn ang="0">
                  <a:pos x="40" y="38"/>
                </a:cxn>
                <a:cxn ang="0">
                  <a:pos x="44" y="38"/>
                </a:cxn>
                <a:cxn ang="0">
                  <a:pos x="44" y="32"/>
                </a:cxn>
                <a:cxn ang="0">
                  <a:pos x="48" y="30"/>
                </a:cxn>
                <a:cxn ang="0">
                  <a:pos x="50" y="28"/>
                </a:cxn>
                <a:cxn ang="0">
                  <a:pos x="54" y="28"/>
                </a:cxn>
                <a:cxn ang="0">
                  <a:pos x="58" y="26"/>
                </a:cxn>
                <a:cxn ang="0">
                  <a:pos x="58" y="24"/>
                </a:cxn>
                <a:cxn ang="0">
                  <a:pos x="58" y="22"/>
                </a:cxn>
                <a:cxn ang="0">
                  <a:pos x="58" y="20"/>
                </a:cxn>
              </a:cxnLst>
              <a:rect l="0" t="0" r="r" b="b"/>
              <a:pathLst>
                <a:path w="60" h="42">
                  <a:moveTo>
                    <a:pt x="58" y="20"/>
                  </a:moveTo>
                  <a:lnTo>
                    <a:pt x="58" y="20"/>
                  </a:lnTo>
                  <a:lnTo>
                    <a:pt x="60" y="18"/>
                  </a:lnTo>
                  <a:lnTo>
                    <a:pt x="58" y="18"/>
                  </a:lnTo>
                  <a:lnTo>
                    <a:pt x="54" y="16"/>
                  </a:lnTo>
                  <a:lnTo>
                    <a:pt x="54" y="12"/>
                  </a:lnTo>
                  <a:lnTo>
                    <a:pt x="56" y="10"/>
                  </a:lnTo>
                  <a:lnTo>
                    <a:pt x="44" y="2"/>
                  </a:lnTo>
                  <a:lnTo>
                    <a:pt x="40" y="0"/>
                  </a:lnTo>
                  <a:lnTo>
                    <a:pt x="38" y="0"/>
                  </a:lnTo>
                  <a:lnTo>
                    <a:pt x="36" y="0"/>
                  </a:lnTo>
                  <a:lnTo>
                    <a:pt x="36" y="2"/>
                  </a:lnTo>
                  <a:lnTo>
                    <a:pt x="30" y="6"/>
                  </a:lnTo>
                  <a:lnTo>
                    <a:pt x="28" y="6"/>
                  </a:lnTo>
                  <a:lnTo>
                    <a:pt x="26" y="6"/>
                  </a:lnTo>
                  <a:lnTo>
                    <a:pt x="24" y="6"/>
                  </a:lnTo>
                  <a:lnTo>
                    <a:pt x="22" y="6"/>
                  </a:lnTo>
                  <a:lnTo>
                    <a:pt x="22" y="10"/>
                  </a:lnTo>
                  <a:lnTo>
                    <a:pt x="18" y="12"/>
                  </a:lnTo>
                  <a:lnTo>
                    <a:pt x="16" y="14"/>
                  </a:lnTo>
                  <a:lnTo>
                    <a:pt x="14" y="16"/>
                  </a:lnTo>
                  <a:lnTo>
                    <a:pt x="10" y="22"/>
                  </a:lnTo>
                  <a:lnTo>
                    <a:pt x="2" y="30"/>
                  </a:lnTo>
                  <a:lnTo>
                    <a:pt x="0" y="34"/>
                  </a:lnTo>
                  <a:lnTo>
                    <a:pt x="0" y="36"/>
                  </a:lnTo>
                  <a:lnTo>
                    <a:pt x="4" y="36"/>
                  </a:lnTo>
                  <a:lnTo>
                    <a:pt x="6" y="34"/>
                  </a:lnTo>
                  <a:lnTo>
                    <a:pt x="8" y="34"/>
                  </a:lnTo>
                  <a:lnTo>
                    <a:pt x="10" y="36"/>
                  </a:lnTo>
                  <a:lnTo>
                    <a:pt x="10" y="38"/>
                  </a:lnTo>
                  <a:lnTo>
                    <a:pt x="12" y="38"/>
                  </a:lnTo>
                  <a:lnTo>
                    <a:pt x="16" y="38"/>
                  </a:lnTo>
                  <a:lnTo>
                    <a:pt x="16" y="40"/>
                  </a:lnTo>
                  <a:lnTo>
                    <a:pt x="18" y="42"/>
                  </a:lnTo>
                  <a:lnTo>
                    <a:pt x="20" y="42"/>
                  </a:lnTo>
                  <a:lnTo>
                    <a:pt x="22" y="42"/>
                  </a:lnTo>
                  <a:lnTo>
                    <a:pt x="24" y="40"/>
                  </a:lnTo>
                  <a:lnTo>
                    <a:pt x="26" y="38"/>
                  </a:lnTo>
                  <a:lnTo>
                    <a:pt x="28" y="38"/>
                  </a:lnTo>
                  <a:lnTo>
                    <a:pt x="30" y="36"/>
                  </a:lnTo>
                  <a:lnTo>
                    <a:pt x="30" y="32"/>
                  </a:lnTo>
                  <a:lnTo>
                    <a:pt x="30" y="30"/>
                  </a:lnTo>
                  <a:lnTo>
                    <a:pt x="32" y="32"/>
                  </a:lnTo>
                  <a:lnTo>
                    <a:pt x="34" y="36"/>
                  </a:lnTo>
                  <a:lnTo>
                    <a:pt x="36" y="36"/>
                  </a:lnTo>
                  <a:lnTo>
                    <a:pt x="40" y="38"/>
                  </a:lnTo>
                  <a:lnTo>
                    <a:pt x="42" y="38"/>
                  </a:lnTo>
                  <a:lnTo>
                    <a:pt x="44" y="38"/>
                  </a:lnTo>
                  <a:lnTo>
                    <a:pt x="42" y="34"/>
                  </a:lnTo>
                  <a:lnTo>
                    <a:pt x="44" y="32"/>
                  </a:lnTo>
                  <a:lnTo>
                    <a:pt x="46" y="30"/>
                  </a:lnTo>
                  <a:lnTo>
                    <a:pt x="48" y="30"/>
                  </a:lnTo>
                  <a:lnTo>
                    <a:pt x="48" y="30"/>
                  </a:lnTo>
                  <a:lnTo>
                    <a:pt x="50" y="28"/>
                  </a:lnTo>
                  <a:lnTo>
                    <a:pt x="52" y="26"/>
                  </a:lnTo>
                  <a:lnTo>
                    <a:pt x="54" y="28"/>
                  </a:lnTo>
                  <a:lnTo>
                    <a:pt x="56" y="28"/>
                  </a:lnTo>
                  <a:lnTo>
                    <a:pt x="58" y="26"/>
                  </a:lnTo>
                  <a:lnTo>
                    <a:pt x="60" y="26"/>
                  </a:lnTo>
                  <a:lnTo>
                    <a:pt x="58" y="24"/>
                  </a:lnTo>
                  <a:lnTo>
                    <a:pt x="56" y="24"/>
                  </a:lnTo>
                  <a:lnTo>
                    <a:pt x="58" y="22"/>
                  </a:lnTo>
                  <a:lnTo>
                    <a:pt x="58" y="20"/>
                  </a:lnTo>
                  <a:lnTo>
                    <a:pt x="58" y="2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0" name="Freeform 554">
              <a:extLst>
                <a:ext uri="{FF2B5EF4-FFF2-40B4-BE49-F238E27FC236}">
                  <a16:creationId xmlns:a16="http://schemas.microsoft.com/office/drawing/2014/main" id="{5DADF2F5-3682-415A-8A3B-4CA651E4D872}"/>
                </a:ext>
              </a:extLst>
            </p:cNvPr>
            <p:cNvSpPr>
              <a:spLocks/>
            </p:cNvSpPr>
            <p:nvPr/>
          </p:nvSpPr>
          <p:spPr bwMode="auto">
            <a:xfrm>
              <a:off x="3458831" y="5376372"/>
              <a:ext cx="41434" cy="38844"/>
            </a:xfrm>
            <a:custGeom>
              <a:avLst/>
              <a:gdLst/>
              <a:ahLst/>
              <a:cxnLst>
                <a:cxn ang="0">
                  <a:pos x="12" y="0"/>
                </a:cxn>
                <a:cxn ang="0">
                  <a:pos x="26" y="2"/>
                </a:cxn>
                <a:cxn ang="0">
                  <a:pos x="32" y="14"/>
                </a:cxn>
                <a:cxn ang="0">
                  <a:pos x="24" y="22"/>
                </a:cxn>
                <a:cxn ang="0">
                  <a:pos x="8" y="30"/>
                </a:cxn>
                <a:cxn ang="0">
                  <a:pos x="0" y="20"/>
                </a:cxn>
                <a:cxn ang="0">
                  <a:pos x="4" y="8"/>
                </a:cxn>
                <a:cxn ang="0">
                  <a:pos x="12" y="0"/>
                </a:cxn>
                <a:cxn ang="0">
                  <a:pos x="12" y="0"/>
                </a:cxn>
              </a:cxnLst>
              <a:rect l="0" t="0" r="r" b="b"/>
              <a:pathLst>
                <a:path w="32" h="30">
                  <a:moveTo>
                    <a:pt x="12" y="0"/>
                  </a:moveTo>
                  <a:lnTo>
                    <a:pt x="26" y="2"/>
                  </a:lnTo>
                  <a:lnTo>
                    <a:pt x="32" y="14"/>
                  </a:lnTo>
                  <a:lnTo>
                    <a:pt x="24" y="22"/>
                  </a:lnTo>
                  <a:lnTo>
                    <a:pt x="8" y="30"/>
                  </a:lnTo>
                  <a:lnTo>
                    <a:pt x="0" y="20"/>
                  </a:lnTo>
                  <a:lnTo>
                    <a:pt x="4" y="8"/>
                  </a:lnTo>
                  <a:lnTo>
                    <a:pt x="12" y="0"/>
                  </a:lnTo>
                  <a:lnTo>
                    <a:pt x="12"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1" name="Freeform 555">
              <a:extLst>
                <a:ext uri="{FF2B5EF4-FFF2-40B4-BE49-F238E27FC236}">
                  <a16:creationId xmlns:a16="http://schemas.microsoft.com/office/drawing/2014/main" id="{01CF5849-0DDE-4EC8-8E2D-69EBDA5BC9AC}"/>
                </a:ext>
              </a:extLst>
            </p:cNvPr>
            <p:cNvSpPr>
              <a:spLocks/>
            </p:cNvSpPr>
            <p:nvPr/>
          </p:nvSpPr>
          <p:spPr bwMode="auto">
            <a:xfrm>
              <a:off x="4378142" y="4099694"/>
              <a:ext cx="7769" cy="10358"/>
            </a:xfrm>
            <a:custGeom>
              <a:avLst/>
              <a:gdLst/>
              <a:ahLst/>
              <a:cxnLst>
                <a:cxn ang="0">
                  <a:pos x="0" y="0"/>
                </a:cxn>
                <a:cxn ang="0">
                  <a:pos x="6" y="8"/>
                </a:cxn>
                <a:cxn ang="0">
                  <a:pos x="0" y="0"/>
                </a:cxn>
                <a:cxn ang="0">
                  <a:pos x="0" y="0"/>
                </a:cxn>
              </a:cxnLst>
              <a:rect l="0" t="0" r="r" b="b"/>
              <a:pathLst>
                <a:path w="6" h="8">
                  <a:moveTo>
                    <a:pt x="0" y="0"/>
                  </a:moveTo>
                  <a:lnTo>
                    <a:pt x="6" y="8"/>
                  </a:lnTo>
                  <a:lnTo>
                    <a:pt x="0" y="0"/>
                  </a:lnTo>
                  <a:lnTo>
                    <a:pt x="0" y="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2" name="Freeform 556">
              <a:extLst>
                <a:ext uri="{FF2B5EF4-FFF2-40B4-BE49-F238E27FC236}">
                  <a16:creationId xmlns:a16="http://schemas.microsoft.com/office/drawing/2014/main" id="{550DCEB9-A9D0-465D-B795-6F4551E58D53}"/>
                </a:ext>
              </a:extLst>
            </p:cNvPr>
            <p:cNvSpPr>
              <a:spLocks/>
            </p:cNvSpPr>
            <p:nvPr/>
          </p:nvSpPr>
          <p:spPr bwMode="auto">
            <a:xfrm>
              <a:off x="4378142" y="4110052"/>
              <a:ext cx="137249" cy="85457"/>
            </a:xfrm>
            <a:custGeom>
              <a:avLst/>
              <a:gdLst/>
              <a:ahLst/>
              <a:cxnLst>
                <a:cxn ang="0">
                  <a:pos x="104" y="50"/>
                </a:cxn>
                <a:cxn ang="0">
                  <a:pos x="96" y="48"/>
                </a:cxn>
                <a:cxn ang="0">
                  <a:pos x="84" y="46"/>
                </a:cxn>
                <a:cxn ang="0">
                  <a:pos x="78" y="42"/>
                </a:cxn>
                <a:cxn ang="0">
                  <a:pos x="74" y="42"/>
                </a:cxn>
                <a:cxn ang="0">
                  <a:pos x="70" y="38"/>
                </a:cxn>
                <a:cxn ang="0">
                  <a:pos x="66" y="36"/>
                </a:cxn>
                <a:cxn ang="0">
                  <a:pos x="64" y="32"/>
                </a:cxn>
                <a:cxn ang="0">
                  <a:pos x="58" y="28"/>
                </a:cxn>
                <a:cxn ang="0">
                  <a:pos x="58" y="22"/>
                </a:cxn>
                <a:cxn ang="0">
                  <a:pos x="52" y="18"/>
                </a:cxn>
                <a:cxn ang="0">
                  <a:pos x="46" y="20"/>
                </a:cxn>
                <a:cxn ang="0">
                  <a:pos x="40" y="20"/>
                </a:cxn>
                <a:cxn ang="0">
                  <a:pos x="40" y="20"/>
                </a:cxn>
                <a:cxn ang="0">
                  <a:pos x="40" y="20"/>
                </a:cxn>
                <a:cxn ang="0">
                  <a:pos x="34" y="12"/>
                </a:cxn>
                <a:cxn ang="0">
                  <a:pos x="28" y="10"/>
                </a:cxn>
                <a:cxn ang="0">
                  <a:pos x="24" y="10"/>
                </a:cxn>
                <a:cxn ang="0">
                  <a:pos x="18" y="10"/>
                </a:cxn>
                <a:cxn ang="0">
                  <a:pos x="18" y="10"/>
                </a:cxn>
                <a:cxn ang="0">
                  <a:pos x="18" y="10"/>
                </a:cxn>
                <a:cxn ang="0">
                  <a:pos x="14" y="10"/>
                </a:cxn>
                <a:cxn ang="0">
                  <a:pos x="10" y="6"/>
                </a:cxn>
                <a:cxn ang="0">
                  <a:pos x="6" y="2"/>
                </a:cxn>
                <a:cxn ang="0">
                  <a:pos x="6" y="0"/>
                </a:cxn>
                <a:cxn ang="0">
                  <a:pos x="2" y="10"/>
                </a:cxn>
                <a:cxn ang="0">
                  <a:pos x="0" y="22"/>
                </a:cxn>
                <a:cxn ang="0">
                  <a:pos x="2" y="34"/>
                </a:cxn>
                <a:cxn ang="0">
                  <a:pos x="10" y="38"/>
                </a:cxn>
                <a:cxn ang="0">
                  <a:pos x="26" y="44"/>
                </a:cxn>
                <a:cxn ang="0">
                  <a:pos x="34" y="50"/>
                </a:cxn>
                <a:cxn ang="0">
                  <a:pos x="52" y="58"/>
                </a:cxn>
                <a:cxn ang="0">
                  <a:pos x="78" y="66"/>
                </a:cxn>
                <a:cxn ang="0">
                  <a:pos x="94" y="66"/>
                </a:cxn>
                <a:cxn ang="0">
                  <a:pos x="104" y="66"/>
                </a:cxn>
                <a:cxn ang="0">
                  <a:pos x="106" y="62"/>
                </a:cxn>
                <a:cxn ang="0">
                  <a:pos x="104" y="62"/>
                </a:cxn>
                <a:cxn ang="0">
                  <a:pos x="106" y="58"/>
                </a:cxn>
                <a:cxn ang="0">
                  <a:pos x="106" y="50"/>
                </a:cxn>
                <a:cxn ang="0">
                  <a:pos x="104" y="48"/>
                </a:cxn>
                <a:cxn ang="0">
                  <a:pos x="104" y="50"/>
                </a:cxn>
              </a:cxnLst>
              <a:rect l="0" t="0" r="r" b="b"/>
              <a:pathLst>
                <a:path w="106" h="66">
                  <a:moveTo>
                    <a:pt x="104" y="50"/>
                  </a:moveTo>
                  <a:lnTo>
                    <a:pt x="96" y="48"/>
                  </a:lnTo>
                  <a:lnTo>
                    <a:pt x="84" y="46"/>
                  </a:lnTo>
                  <a:lnTo>
                    <a:pt x="78" y="42"/>
                  </a:lnTo>
                  <a:lnTo>
                    <a:pt x="74" y="42"/>
                  </a:lnTo>
                  <a:lnTo>
                    <a:pt x="70" y="38"/>
                  </a:lnTo>
                  <a:lnTo>
                    <a:pt x="66" y="36"/>
                  </a:lnTo>
                  <a:lnTo>
                    <a:pt x="64" y="32"/>
                  </a:lnTo>
                  <a:lnTo>
                    <a:pt x="58" y="28"/>
                  </a:lnTo>
                  <a:lnTo>
                    <a:pt x="58" y="22"/>
                  </a:lnTo>
                  <a:lnTo>
                    <a:pt x="52" y="18"/>
                  </a:lnTo>
                  <a:lnTo>
                    <a:pt x="46" y="20"/>
                  </a:lnTo>
                  <a:lnTo>
                    <a:pt x="40" y="20"/>
                  </a:lnTo>
                  <a:lnTo>
                    <a:pt x="40" y="20"/>
                  </a:lnTo>
                  <a:lnTo>
                    <a:pt x="40" y="20"/>
                  </a:lnTo>
                  <a:lnTo>
                    <a:pt x="34" y="12"/>
                  </a:lnTo>
                  <a:lnTo>
                    <a:pt x="28" y="10"/>
                  </a:lnTo>
                  <a:lnTo>
                    <a:pt x="24" y="10"/>
                  </a:lnTo>
                  <a:lnTo>
                    <a:pt x="18" y="10"/>
                  </a:lnTo>
                  <a:lnTo>
                    <a:pt x="18" y="10"/>
                  </a:lnTo>
                  <a:lnTo>
                    <a:pt x="18" y="10"/>
                  </a:lnTo>
                  <a:lnTo>
                    <a:pt x="14" y="10"/>
                  </a:lnTo>
                  <a:lnTo>
                    <a:pt x="10" y="6"/>
                  </a:lnTo>
                  <a:lnTo>
                    <a:pt x="6" y="2"/>
                  </a:lnTo>
                  <a:lnTo>
                    <a:pt x="6" y="0"/>
                  </a:lnTo>
                  <a:lnTo>
                    <a:pt x="2" y="10"/>
                  </a:lnTo>
                  <a:lnTo>
                    <a:pt x="0" y="22"/>
                  </a:lnTo>
                  <a:lnTo>
                    <a:pt x="2" y="34"/>
                  </a:lnTo>
                  <a:lnTo>
                    <a:pt x="10" y="38"/>
                  </a:lnTo>
                  <a:lnTo>
                    <a:pt x="26" y="44"/>
                  </a:lnTo>
                  <a:lnTo>
                    <a:pt x="34" y="50"/>
                  </a:lnTo>
                  <a:lnTo>
                    <a:pt x="52" y="58"/>
                  </a:lnTo>
                  <a:lnTo>
                    <a:pt x="78" y="66"/>
                  </a:lnTo>
                  <a:lnTo>
                    <a:pt x="94" y="66"/>
                  </a:lnTo>
                  <a:lnTo>
                    <a:pt x="104" y="66"/>
                  </a:lnTo>
                  <a:lnTo>
                    <a:pt x="106" y="62"/>
                  </a:lnTo>
                  <a:lnTo>
                    <a:pt x="104" y="62"/>
                  </a:lnTo>
                  <a:lnTo>
                    <a:pt x="106" y="58"/>
                  </a:lnTo>
                  <a:lnTo>
                    <a:pt x="106" y="50"/>
                  </a:lnTo>
                  <a:lnTo>
                    <a:pt x="104" y="48"/>
                  </a:lnTo>
                  <a:lnTo>
                    <a:pt x="104" y="50"/>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3" name="Freeform 557">
              <a:extLst>
                <a:ext uri="{FF2B5EF4-FFF2-40B4-BE49-F238E27FC236}">
                  <a16:creationId xmlns:a16="http://schemas.microsoft.com/office/drawing/2014/main" id="{C1FB4878-335D-4DA1-B6A0-60503A6926C0}"/>
                </a:ext>
              </a:extLst>
            </p:cNvPr>
            <p:cNvSpPr>
              <a:spLocks/>
            </p:cNvSpPr>
            <p:nvPr/>
          </p:nvSpPr>
          <p:spPr bwMode="auto">
            <a:xfrm>
              <a:off x="4590490" y="4174793"/>
              <a:ext cx="142429" cy="352187"/>
            </a:xfrm>
            <a:custGeom>
              <a:avLst/>
              <a:gdLst/>
              <a:ahLst/>
              <a:cxnLst>
                <a:cxn ang="0">
                  <a:pos x="96" y="92"/>
                </a:cxn>
                <a:cxn ang="0">
                  <a:pos x="88" y="86"/>
                </a:cxn>
                <a:cxn ang="0">
                  <a:pos x="88" y="78"/>
                </a:cxn>
                <a:cxn ang="0">
                  <a:pos x="84" y="64"/>
                </a:cxn>
                <a:cxn ang="0">
                  <a:pos x="72" y="68"/>
                </a:cxn>
                <a:cxn ang="0">
                  <a:pos x="68" y="62"/>
                </a:cxn>
                <a:cxn ang="0">
                  <a:pos x="70" y="48"/>
                </a:cxn>
                <a:cxn ang="0">
                  <a:pos x="76" y="28"/>
                </a:cxn>
                <a:cxn ang="0">
                  <a:pos x="74" y="12"/>
                </a:cxn>
                <a:cxn ang="0">
                  <a:pos x="64" y="8"/>
                </a:cxn>
                <a:cxn ang="0">
                  <a:pos x="32" y="40"/>
                </a:cxn>
                <a:cxn ang="0">
                  <a:pos x="30" y="48"/>
                </a:cxn>
                <a:cxn ang="0">
                  <a:pos x="28" y="58"/>
                </a:cxn>
                <a:cxn ang="0">
                  <a:pos x="14" y="68"/>
                </a:cxn>
                <a:cxn ang="0">
                  <a:pos x="16" y="86"/>
                </a:cxn>
                <a:cxn ang="0">
                  <a:pos x="16" y="96"/>
                </a:cxn>
                <a:cxn ang="0">
                  <a:pos x="6" y="100"/>
                </a:cxn>
                <a:cxn ang="0">
                  <a:pos x="2" y="100"/>
                </a:cxn>
                <a:cxn ang="0">
                  <a:pos x="6" y="112"/>
                </a:cxn>
                <a:cxn ang="0">
                  <a:pos x="0" y="118"/>
                </a:cxn>
                <a:cxn ang="0">
                  <a:pos x="4" y="132"/>
                </a:cxn>
                <a:cxn ang="0">
                  <a:pos x="8" y="128"/>
                </a:cxn>
                <a:cxn ang="0">
                  <a:pos x="14" y="132"/>
                </a:cxn>
                <a:cxn ang="0">
                  <a:pos x="20" y="142"/>
                </a:cxn>
                <a:cxn ang="0">
                  <a:pos x="20" y="154"/>
                </a:cxn>
                <a:cxn ang="0">
                  <a:pos x="24" y="170"/>
                </a:cxn>
                <a:cxn ang="0">
                  <a:pos x="22" y="192"/>
                </a:cxn>
                <a:cxn ang="0">
                  <a:pos x="28" y="194"/>
                </a:cxn>
                <a:cxn ang="0">
                  <a:pos x="40" y="188"/>
                </a:cxn>
                <a:cxn ang="0">
                  <a:pos x="46" y="184"/>
                </a:cxn>
                <a:cxn ang="0">
                  <a:pos x="58" y="182"/>
                </a:cxn>
                <a:cxn ang="0">
                  <a:pos x="64" y="186"/>
                </a:cxn>
                <a:cxn ang="0">
                  <a:pos x="72" y="224"/>
                </a:cxn>
                <a:cxn ang="0">
                  <a:pos x="78" y="242"/>
                </a:cxn>
                <a:cxn ang="0">
                  <a:pos x="80" y="260"/>
                </a:cxn>
                <a:cxn ang="0">
                  <a:pos x="88" y="258"/>
                </a:cxn>
                <a:cxn ang="0">
                  <a:pos x="90" y="234"/>
                </a:cxn>
                <a:cxn ang="0">
                  <a:pos x="74" y="202"/>
                </a:cxn>
                <a:cxn ang="0">
                  <a:pos x="76" y="186"/>
                </a:cxn>
                <a:cxn ang="0">
                  <a:pos x="70" y="160"/>
                </a:cxn>
                <a:cxn ang="0">
                  <a:pos x="70" y="140"/>
                </a:cxn>
                <a:cxn ang="0">
                  <a:pos x="82" y="134"/>
                </a:cxn>
                <a:cxn ang="0">
                  <a:pos x="88" y="124"/>
                </a:cxn>
                <a:cxn ang="0">
                  <a:pos x="104" y="124"/>
                </a:cxn>
                <a:cxn ang="0">
                  <a:pos x="110" y="108"/>
                </a:cxn>
              </a:cxnLst>
              <a:rect l="0" t="0" r="r" b="b"/>
              <a:pathLst>
                <a:path w="110" h="272">
                  <a:moveTo>
                    <a:pt x="102" y="106"/>
                  </a:moveTo>
                  <a:lnTo>
                    <a:pt x="98" y="100"/>
                  </a:lnTo>
                  <a:lnTo>
                    <a:pt x="96" y="92"/>
                  </a:lnTo>
                  <a:lnTo>
                    <a:pt x="94" y="92"/>
                  </a:lnTo>
                  <a:lnTo>
                    <a:pt x="88" y="90"/>
                  </a:lnTo>
                  <a:lnTo>
                    <a:pt x="88" y="86"/>
                  </a:lnTo>
                  <a:lnTo>
                    <a:pt x="92" y="80"/>
                  </a:lnTo>
                  <a:lnTo>
                    <a:pt x="92" y="78"/>
                  </a:lnTo>
                  <a:lnTo>
                    <a:pt x="88" y="78"/>
                  </a:lnTo>
                  <a:lnTo>
                    <a:pt x="86" y="70"/>
                  </a:lnTo>
                  <a:lnTo>
                    <a:pt x="86" y="66"/>
                  </a:lnTo>
                  <a:lnTo>
                    <a:pt x="84" y="64"/>
                  </a:lnTo>
                  <a:lnTo>
                    <a:pt x="80" y="64"/>
                  </a:lnTo>
                  <a:lnTo>
                    <a:pt x="74" y="66"/>
                  </a:lnTo>
                  <a:lnTo>
                    <a:pt x="72" y="68"/>
                  </a:lnTo>
                  <a:lnTo>
                    <a:pt x="70" y="68"/>
                  </a:lnTo>
                  <a:lnTo>
                    <a:pt x="68" y="66"/>
                  </a:lnTo>
                  <a:lnTo>
                    <a:pt x="68" y="62"/>
                  </a:lnTo>
                  <a:lnTo>
                    <a:pt x="66" y="58"/>
                  </a:lnTo>
                  <a:lnTo>
                    <a:pt x="66" y="54"/>
                  </a:lnTo>
                  <a:lnTo>
                    <a:pt x="70" y="48"/>
                  </a:lnTo>
                  <a:lnTo>
                    <a:pt x="74" y="42"/>
                  </a:lnTo>
                  <a:lnTo>
                    <a:pt x="76" y="32"/>
                  </a:lnTo>
                  <a:lnTo>
                    <a:pt x="76" y="28"/>
                  </a:lnTo>
                  <a:lnTo>
                    <a:pt x="74" y="26"/>
                  </a:lnTo>
                  <a:lnTo>
                    <a:pt x="76" y="16"/>
                  </a:lnTo>
                  <a:lnTo>
                    <a:pt x="74" y="12"/>
                  </a:lnTo>
                  <a:lnTo>
                    <a:pt x="72" y="8"/>
                  </a:lnTo>
                  <a:lnTo>
                    <a:pt x="68" y="8"/>
                  </a:lnTo>
                  <a:lnTo>
                    <a:pt x="64" y="8"/>
                  </a:lnTo>
                  <a:lnTo>
                    <a:pt x="56" y="0"/>
                  </a:lnTo>
                  <a:lnTo>
                    <a:pt x="42" y="6"/>
                  </a:lnTo>
                  <a:lnTo>
                    <a:pt x="32" y="40"/>
                  </a:lnTo>
                  <a:lnTo>
                    <a:pt x="38" y="42"/>
                  </a:lnTo>
                  <a:lnTo>
                    <a:pt x="32" y="46"/>
                  </a:lnTo>
                  <a:lnTo>
                    <a:pt x="30" y="48"/>
                  </a:lnTo>
                  <a:lnTo>
                    <a:pt x="28" y="54"/>
                  </a:lnTo>
                  <a:lnTo>
                    <a:pt x="28" y="54"/>
                  </a:lnTo>
                  <a:lnTo>
                    <a:pt x="28" y="58"/>
                  </a:lnTo>
                  <a:lnTo>
                    <a:pt x="24" y="66"/>
                  </a:lnTo>
                  <a:lnTo>
                    <a:pt x="22" y="72"/>
                  </a:lnTo>
                  <a:lnTo>
                    <a:pt x="14" y="68"/>
                  </a:lnTo>
                  <a:lnTo>
                    <a:pt x="14" y="74"/>
                  </a:lnTo>
                  <a:lnTo>
                    <a:pt x="16" y="86"/>
                  </a:lnTo>
                  <a:lnTo>
                    <a:pt x="16" y="86"/>
                  </a:lnTo>
                  <a:lnTo>
                    <a:pt x="16" y="86"/>
                  </a:lnTo>
                  <a:lnTo>
                    <a:pt x="16" y="92"/>
                  </a:lnTo>
                  <a:lnTo>
                    <a:pt x="16" y="96"/>
                  </a:lnTo>
                  <a:lnTo>
                    <a:pt x="14" y="100"/>
                  </a:lnTo>
                  <a:lnTo>
                    <a:pt x="10" y="102"/>
                  </a:lnTo>
                  <a:lnTo>
                    <a:pt x="6" y="100"/>
                  </a:lnTo>
                  <a:lnTo>
                    <a:pt x="6" y="100"/>
                  </a:lnTo>
                  <a:lnTo>
                    <a:pt x="2" y="104"/>
                  </a:lnTo>
                  <a:lnTo>
                    <a:pt x="2" y="100"/>
                  </a:lnTo>
                  <a:lnTo>
                    <a:pt x="2" y="100"/>
                  </a:lnTo>
                  <a:lnTo>
                    <a:pt x="4" y="108"/>
                  </a:lnTo>
                  <a:lnTo>
                    <a:pt x="6" y="112"/>
                  </a:lnTo>
                  <a:lnTo>
                    <a:pt x="6" y="118"/>
                  </a:lnTo>
                  <a:lnTo>
                    <a:pt x="2" y="116"/>
                  </a:lnTo>
                  <a:lnTo>
                    <a:pt x="0" y="118"/>
                  </a:lnTo>
                  <a:lnTo>
                    <a:pt x="0" y="122"/>
                  </a:lnTo>
                  <a:lnTo>
                    <a:pt x="2" y="132"/>
                  </a:lnTo>
                  <a:lnTo>
                    <a:pt x="4" y="132"/>
                  </a:lnTo>
                  <a:lnTo>
                    <a:pt x="6" y="130"/>
                  </a:lnTo>
                  <a:lnTo>
                    <a:pt x="6" y="128"/>
                  </a:lnTo>
                  <a:lnTo>
                    <a:pt x="8" y="128"/>
                  </a:lnTo>
                  <a:lnTo>
                    <a:pt x="8" y="124"/>
                  </a:lnTo>
                  <a:lnTo>
                    <a:pt x="14" y="124"/>
                  </a:lnTo>
                  <a:lnTo>
                    <a:pt x="14" y="132"/>
                  </a:lnTo>
                  <a:lnTo>
                    <a:pt x="16" y="134"/>
                  </a:lnTo>
                  <a:lnTo>
                    <a:pt x="16" y="140"/>
                  </a:lnTo>
                  <a:lnTo>
                    <a:pt x="20" y="142"/>
                  </a:lnTo>
                  <a:lnTo>
                    <a:pt x="18" y="148"/>
                  </a:lnTo>
                  <a:lnTo>
                    <a:pt x="18" y="150"/>
                  </a:lnTo>
                  <a:lnTo>
                    <a:pt x="20" y="154"/>
                  </a:lnTo>
                  <a:lnTo>
                    <a:pt x="24" y="156"/>
                  </a:lnTo>
                  <a:lnTo>
                    <a:pt x="26" y="164"/>
                  </a:lnTo>
                  <a:lnTo>
                    <a:pt x="24" y="170"/>
                  </a:lnTo>
                  <a:lnTo>
                    <a:pt x="22" y="174"/>
                  </a:lnTo>
                  <a:lnTo>
                    <a:pt x="20" y="190"/>
                  </a:lnTo>
                  <a:lnTo>
                    <a:pt x="22" y="192"/>
                  </a:lnTo>
                  <a:lnTo>
                    <a:pt x="24" y="192"/>
                  </a:lnTo>
                  <a:lnTo>
                    <a:pt x="26" y="192"/>
                  </a:lnTo>
                  <a:lnTo>
                    <a:pt x="28" y="194"/>
                  </a:lnTo>
                  <a:lnTo>
                    <a:pt x="38" y="194"/>
                  </a:lnTo>
                  <a:lnTo>
                    <a:pt x="38" y="190"/>
                  </a:lnTo>
                  <a:lnTo>
                    <a:pt x="40" y="188"/>
                  </a:lnTo>
                  <a:lnTo>
                    <a:pt x="40" y="188"/>
                  </a:lnTo>
                  <a:lnTo>
                    <a:pt x="44" y="186"/>
                  </a:lnTo>
                  <a:lnTo>
                    <a:pt x="46" y="184"/>
                  </a:lnTo>
                  <a:lnTo>
                    <a:pt x="48" y="176"/>
                  </a:lnTo>
                  <a:lnTo>
                    <a:pt x="50" y="174"/>
                  </a:lnTo>
                  <a:lnTo>
                    <a:pt x="58" y="182"/>
                  </a:lnTo>
                  <a:lnTo>
                    <a:pt x="58" y="184"/>
                  </a:lnTo>
                  <a:lnTo>
                    <a:pt x="58" y="184"/>
                  </a:lnTo>
                  <a:lnTo>
                    <a:pt x="64" y="186"/>
                  </a:lnTo>
                  <a:lnTo>
                    <a:pt x="62" y="196"/>
                  </a:lnTo>
                  <a:lnTo>
                    <a:pt x="66" y="200"/>
                  </a:lnTo>
                  <a:lnTo>
                    <a:pt x="72" y="224"/>
                  </a:lnTo>
                  <a:lnTo>
                    <a:pt x="72" y="226"/>
                  </a:lnTo>
                  <a:lnTo>
                    <a:pt x="76" y="228"/>
                  </a:lnTo>
                  <a:lnTo>
                    <a:pt x="78" y="242"/>
                  </a:lnTo>
                  <a:lnTo>
                    <a:pt x="80" y="256"/>
                  </a:lnTo>
                  <a:lnTo>
                    <a:pt x="78" y="258"/>
                  </a:lnTo>
                  <a:lnTo>
                    <a:pt x="80" y="260"/>
                  </a:lnTo>
                  <a:lnTo>
                    <a:pt x="84" y="272"/>
                  </a:lnTo>
                  <a:lnTo>
                    <a:pt x="86" y="266"/>
                  </a:lnTo>
                  <a:lnTo>
                    <a:pt x="88" y="258"/>
                  </a:lnTo>
                  <a:lnTo>
                    <a:pt x="94" y="250"/>
                  </a:lnTo>
                  <a:lnTo>
                    <a:pt x="94" y="242"/>
                  </a:lnTo>
                  <a:lnTo>
                    <a:pt x="90" y="234"/>
                  </a:lnTo>
                  <a:lnTo>
                    <a:pt x="82" y="224"/>
                  </a:lnTo>
                  <a:lnTo>
                    <a:pt x="78" y="214"/>
                  </a:lnTo>
                  <a:lnTo>
                    <a:pt x="74" y="202"/>
                  </a:lnTo>
                  <a:lnTo>
                    <a:pt x="82" y="198"/>
                  </a:lnTo>
                  <a:lnTo>
                    <a:pt x="82" y="192"/>
                  </a:lnTo>
                  <a:lnTo>
                    <a:pt x="76" y="186"/>
                  </a:lnTo>
                  <a:lnTo>
                    <a:pt x="70" y="178"/>
                  </a:lnTo>
                  <a:lnTo>
                    <a:pt x="68" y="168"/>
                  </a:lnTo>
                  <a:lnTo>
                    <a:pt x="70" y="160"/>
                  </a:lnTo>
                  <a:lnTo>
                    <a:pt x="70" y="154"/>
                  </a:lnTo>
                  <a:lnTo>
                    <a:pt x="68" y="146"/>
                  </a:lnTo>
                  <a:lnTo>
                    <a:pt x="70" y="140"/>
                  </a:lnTo>
                  <a:lnTo>
                    <a:pt x="74" y="140"/>
                  </a:lnTo>
                  <a:lnTo>
                    <a:pt x="78" y="134"/>
                  </a:lnTo>
                  <a:lnTo>
                    <a:pt x="82" y="134"/>
                  </a:lnTo>
                  <a:lnTo>
                    <a:pt x="82" y="132"/>
                  </a:lnTo>
                  <a:lnTo>
                    <a:pt x="84" y="124"/>
                  </a:lnTo>
                  <a:lnTo>
                    <a:pt x="88" y="124"/>
                  </a:lnTo>
                  <a:lnTo>
                    <a:pt x="92" y="128"/>
                  </a:lnTo>
                  <a:lnTo>
                    <a:pt x="102" y="128"/>
                  </a:lnTo>
                  <a:lnTo>
                    <a:pt x="104" y="124"/>
                  </a:lnTo>
                  <a:lnTo>
                    <a:pt x="104" y="118"/>
                  </a:lnTo>
                  <a:lnTo>
                    <a:pt x="108" y="112"/>
                  </a:lnTo>
                  <a:lnTo>
                    <a:pt x="110" y="108"/>
                  </a:lnTo>
                  <a:lnTo>
                    <a:pt x="102" y="106"/>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4" name="Freeform 558">
              <a:extLst>
                <a:ext uri="{FF2B5EF4-FFF2-40B4-BE49-F238E27FC236}">
                  <a16:creationId xmlns:a16="http://schemas.microsoft.com/office/drawing/2014/main" id="{ED3AD17B-027B-4073-979D-8E13E990C403}"/>
                </a:ext>
              </a:extLst>
            </p:cNvPr>
            <p:cNvSpPr>
              <a:spLocks/>
            </p:cNvSpPr>
            <p:nvPr/>
          </p:nvSpPr>
          <p:spPr bwMode="auto">
            <a:xfrm>
              <a:off x="4517981" y="4203278"/>
              <a:ext cx="80278" cy="132070"/>
            </a:xfrm>
            <a:custGeom>
              <a:avLst/>
              <a:gdLst/>
              <a:ahLst/>
              <a:cxnLst>
                <a:cxn ang="0">
                  <a:pos x="58" y="82"/>
                </a:cxn>
                <a:cxn ang="0">
                  <a:pos x="58" y="78"/>
                </a:cxn>
                <a:cxn ang="0">
                  <a:pos x="58" y="66"/>
                </a:cxn>
                <a:cxn ang="0">
                  <a:pos x="50" y="62"/>
                </a:cxn>
                <a:cxn ang="0">
                  <a:pos x="42" y="58"/>
                </a:cxn>
                <a:cxn ang="0">
                  <a:pos x="42" y="50"/>
                </a:cxn>
                <a:cxn ang="0">
                  <a:pos x="52" y="20"/>
                </a:cxn>
                <a:cxn ang="0">
                  <a:pos x="48" y="6"/>
                </a:cxn>
                <a:cxn ang="0">
                  <a:pos x="24" y="6"/>
                </a:cxn>
                <a:cxn ang="0">
                  <a:pos x="16" y="6"/>
                </a:cxn>
                <a:cxn ang="0">
                  <a:pos x="2" y="0"/>
                </a:cxn>
                <a:cxn ang="0">
                  <a:pos x="6" y="4"/>
                </a:cxn>
                <a:cxn ang="0">
                  <a:pos x="10" y="16"/>
                </a:cxn>
                <a:cxn ang="0">
                  <a:pos x="2" y="20"/>
                </a:cxn>
                <a:cxn ang="0">
                  <a:pos x="0" y="22"/>
                </a:cxn>
                <a:cxn ang="0">
                  <a:pos x="6" y="42"/>
                </a:cxn>
                <a:cxn ang="0">
                  <a:pos x="10" y="72"/>
                </a:cxn>
                <a:cxn ang="0">
                  <a:pos x="4" y="76"/>
                </a:cxn>
                <a:cxn ang="0">
                  <a:pos x="4" y="84"/>
                </a:cxn>
                <a:cxn ang="0">
                  <a:pos x="10" y="82"/>
                </a:cxn>
                <a:cxn ang="0">
                  <a:pos x="16" y="80"/>
                </a:cxn>
                <a:cxn ang="0">
                  <a:pos x="18" y="78"/>
                </a:cxn>
                <a:cxn ang="0">
                  <a:pos x="20" y="76"/>
                </a:cxn>
                <a:cxn ang="0">
                  <a:pos x="24" y="78"/>
                </a:cxn>
                <a:cxn ang="0">
                  <a:pos x="28" y="74"/>
                </a:cxn>
                <a:cxn ang="0">
                  <a:pos x="28" y="70"/>
                </a:cxn>
                <a:cxn ang="0">
                  <a:pos x="28" y="66"/>
                </a:cxn>
                <a:cxn ang="0">
                  <a:pos x="26" y="64"/>
                </a:cxn>
                <a:cxn ang="0">
                  <a:pos x="28" y="54"/>
                </a:cxn>
                <a:cxn ang="0">
                  <a:pos x="30" y="56"/>
                </a:cxn>
                <a:cxn ang="0">
                  <a:pos x="36" y="62"/>
                </a:cxn>
                <a:cxn ang="0">
                  <a:pos x="40" y="62"/>
                </a:cxn>
                <a:cxn ang="0">
                  <a:pos x="46" y="70"/>
                </a:cxn>
                <a:cxn ang="0">
                  <a:pos x="48" y="76"/>
                </a:cxn>
                <a:cxn ang="0">
                  <a:pos x="50" y="92"/>
                </a:cxn>
                <a:cxn ang="0">
                  <a:pos x="56" y="102"/>
                </a:cxn>
                <a:cxn ang="0">
                  <a:pos x="58" y="94"/>
                </a:cxn>
                <a:cxn ang="0">
                  <a:pos x="62" y="88"/>
                </a:cxn>
                <a:cxn ang="0">
                  <a:pos x="58" y="82"/>
                </a:cxn>
              </a:cxnLst>
              <a:rect l="0" t="0" r="r" b="b"/>
              <a:pathLst>
                <a:path w="62" h="102">
                  <a:moveTo>
                    <a:pt x="58" y="82"/>
                  </a:moveTo>
                  <a:lnTo>
                    <a:pt x="58" y="82"/>
                  </a:lnTo>
                  <a:lnTo>
                    <a:pt x="58" y="82"/>
                  </a:lnTo>
                  <a:lnTo>
                    <a:pt x="58" y="78"/>
                  </a:lnTo>
                  <a:lnTo>
                    <a:pt x="58" y="72"/>
                  </a:lnTo>
                  <a:lnTo>
                    <a:pt x="58" y="66"/>
                  </a:lnTo>
                  <a:lnTo>
                    <a:pt x="52" y="56"/>
                  </a:lnTo>
                  <a:lnTo>
                    <a:pt x="50" y="62"/>
                  </a:lnTo>
                  <a:lnTo>
                    <a:pt x="44" y="62"/>
                  </a:lnTo>
                  <a:lnTo>
                    <a:pt x="42" y="58"/>
                  </a:lnTo>
                  <a:lnTo>
                    <a:pt x="44" y="52"/>
                  </a:lnTo>
                  <a:lnTo>
                    <a:pt x="42" y="50"/>
                  </a:lnTo>
                  <a:lnTo>
                    <a:pt x="44" y="28"/>
                  </a:lnTo>
                  <a:lnTo>
                    <a:pt x="52" y="20"/>
                  </a:lnTo>
                  <a:lnTo>
                    <a:pt x="52" y="14"/>
                  </a:lnTo>
                  <a:lnTo>
                    <a:pt x="48" y="6"/>
                  </a:lnTo>
                  <a:lnTo>
                    <a:pt x="26" y="8"/>
                  </a:lnTo>
                  <a:lnTo>
                    <a:pt x="24" y="6"/>
                  </a:lnTo>
                  <a:lnTo>
                    <a:pt x="22" y="8"/>
                  </a:lnTo>
                  <a:lnTo>
                    <a:pt x="16" y="6"/>
                  </a:lnTo>
                  <a:lnTo>
                    <a:pt x="10" y="6"/>
                  </a:lnTo>
                  <a:lnTo>
                    <a:pt x="2" y="0"/>
                  </a:lnTo>
                  <a:lnTo>
                    <a:pt x="0" y="2"/>
                  </a:lnTo>
                  <a:lnTo>
                    <a:pt x="6" y="4"/>
                  </a:lnTo>
                  <a:lnTo>
                    <a:pt x="8" y="10"/>
                  </a:lnTo>
                  <a:lnTo>
                    <a:pt x="10" y="16"/>
                  </a:lnTo>
                  <a:lnTo>
                    <a:pt x="4" y="16"/>
                  </a:lnTo>
                  <a:lnTo>
                    <a:pt x="2" y="20"/>
                  </a:lnTo>
                  <a:lnTo>
                    <a:pt x="0" y="20"/>
                  </a:lnTo>
                  <a:lnTo>
                    <a:pt x="0" y="22"/>
                  </a:lnTo>
                  <a:lnTo>
                    <a:pt x="6" y="30"/>
                  </a:lnTo>
                  <a:lnTo>
                    <a:pt x="6" y="42"/>
                  </a:lnTo>
                  <a:lnTo>
                    <a:pt x="10" y="50"/>
                  </a:lnTo>
                  <a:lnTo>
                    <a:pt x="10" y="72"/>
                  </a:lnTo>
                  <a:lnTo>
                    <a:pt x="4" y="74"/>
                  </a:lnTo>
                  <a:lnTo>
                    <a:pt x="4" y="76"/>
                  </a:lnTo>
                  <a:lnTo>
                    <a:pt x="4" y="80"/>
                  </a:lnTo>
                  <a:lnTo>
                    <a:pt x="4" y="84"/>
                  </a:lnTo>
                  <a:lnTo>
                    <a:pt x="8" y="84"/>
                  </a:lnTo>
                  <a:lnTo>
                    <a:pt x="10" y="82"/>
                  </a:lnTo>
                  <a:lnTo>
                    <a:pt x="12" y="80"/>
                  </a:lnTo>
                  <a:lnTo>
                    <a:pt x="16" y="80"/>
                  </a:lnTo>
                  <a:lnTo>
                    <a:pt x="16" y="78"/>
                  </a:lnTo>
                  <a:lnTo>
                    <a:pt x="18" y="78"/>
                  </a:lnTo>
                  <a:lnTo>
                    <a:pt x="20" y="78"/>
                  </a:lnTo>
                  <a:lnTo>
                    <a:pt x="20" y="76"/>
                  </a:lnTo>
                  <a:lnTo>
                    <a:pt x="22" y="76"/>
                  </a:lnTo>
                  <a:lnTo>
                    <a:pt x="24" y="78"/>
                  </a:lnTo>
                  <a:lnTo>
                    <a:pt x="28" y="76"/>
                  </a:lnTo>
                  <a:lnTo>
                    <a:pt x="28" y="74"/>
                  </a:lnTo>
                  <a:lnTo>
                    <a:pt x="28" y="72"/>
                  </a:lnTo>
                  <a:lnTo>
                    <a:pt x="28" y="70"/>
                  </a:lnTo>
                  <a:lnTo>
                    <a:pt x="28" y="68"/>
                  </a:lnTo>
                  <a:lnTo>
                    <a:pt x="28" y="66"/>
                  </a:lnTo>
                  <a:lnTo>
                    <a:pt x="26" y="66"/>
                  </a:lnTo>
                  <a:lnTo>
                    <a:pt x="26" y="64"/>
                  </a:lnTo>
                  <a:lnTo>
                    <a:pt x="30" y="62"/>
                  </a:lnTo>
                  <a:lnTo>
                    <a:pt x="28" y="54"/>
                  </a:lnTo>
                  <a:lnTo>
                    <a:pt x="28" y="52"/>
                  </a:lnTo>
                  <a:lnTo>
                    <a:pt x="30" y="56"/>
                  </a:lnTo>
                  <a:lnTo>
                    <a:pt x="34" y="60"/>
                  </a:lnTo>
                  <a:lnTo>
                    <a:pt x="36" y="62"/>
                  </a:lnTo>
                  <a:lnTo>
                    <a:pt x="40" y="60"/>
                  </a:lnTo>
                  <a:lnTo>
                    <a:pt x="40" y="62"/>
                  </a:lnTo>
                  <a:lnTo>
                    <a:pt x="40" y="64"/>
                  </a:lnTo>
                  <a:lnTo>
                    <a:pt x="46" y="70"/>
                  </a:lnTo>
                  <a:lnTo>
                    <a:pt x="46" y="74"/>
                  </a:lnTo>
                  <a:lnTo>
                    <a:pt x="48" y="76"/>
                  </a:lnTo>
                  <a:lnTo>
                    <a:pt x="48" y="84"/>
                  </a:lnTo>
                  <a:lnTo>
                    <a:pt x="50" y="92"/>
                  </a:lnTo>
                  <a:lnTo>
                    <a:pt x="52" y="94"/>
                  </a:lnTo>
                  <a:lnTo>
                    <a:pt x="56" y="102"/>
                  </a:lnTo>
                  <a:lnTo>
                    <a:pt x="56" y="98"/>
                  </a:lnTo>
                  <a:lnTo>
                    <a:pt x="58" y="94"/>
                  </a:lnTo>
                  <a:lnTo>
                    <a:pt x="62" y="96"/>
                  </a:lnTo>
                  <a:lnTo>
                    <a:pt x="62" y="88"/>
                  </a:lnTo>
                  <a:lnTo>
                    <a:pt x="60" y="84"/>
                  </a:lnTo>
                  <a:lnTo>
                    <a:pt x="58" y="8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5" name="Freeform 559">
              <a:extLst>
                <a:ext uri="{FF2B5EF4-FFF2-40B4-BE49-F238E27FC236}">
                  <a16:creationId xmlns:a16="http://schemas.microsoft.com/office/drawing/2014/main" id="{32631828-9DF8-4E33-834E-ECFA868CDBDE}"/>
                </a:ext>
              </a:extLst>
            </p:cNvPr>
            <p:cNvSpPr>
              <a:spLocks/>
            </p:cNvSpPr>
            <p:nvPr/>
          </p:nvSpPr>
          <p:spPr bwMode="auto">
            <a:xfrm>
              <a:off x="4536108" y="4161845"/>
              <a:ext cx="49203" cy="28486"/>
            </a:xfrm>
            <a:custGeom>
              <a:avLst/>
              <a:gdLst/>
              <a:ahLst/>
              <a:cxnLst>
                <a:cxn ang="0">
                  <a:pos x="10" y="22"/>
                </a:cxn>
                <a:cxn ang="0">
                  <a:pos x="10" y="22"/>
                </a:cxn>
                <a:cxn ang="0">
                  <a:pos x="38" y="20"/>
                </a:cxn>
                <a:cxn ang="0">
                  <a:pos x="38" y="14"/>
                </a:cxn>
                <a:cxn ang="0">
                  <a:pos x="36" y="4"/>
                </a:cxn>
                <a:cxn ang="0">
                  <a:pos x="26" y="4"/>
                </a:cxn>
                <a:cxn ang="0">
                  <a:pos x="22" y="4"/>
                </a:cxn>
                <a:cxn ang="0">
                  <a:pos x="14" y="0"/>
                </a:cxn>
                <a:cxn ang="0">
                  <a:pos x="8" y="2"/>
                </a:cxn>
                <a:cxn ang="0">
                  <a:pos x="4" y="4"/>
                </a:cxn>
                <a:cxn ang="0">
                  <a:pos x="0" y="12"/>
                </a:cxn>
                <a:cxn ang="0">
                  <a:pos x="0" y="14"/>
                </a:cxn>
                <a:cxn ang="0">
                  <a:pos x="6" y="22"/>
                </a:cxn>
                <a:cxn ang="0">
                  <a:pos x="10" y="22"/>
                </a:cxn>
              </a:cxnLst>
              <a:rect l="0" t="0" r="r" b="b"/>
              <a:pathLst>
                <a:path w="38" h="22">
                  <a:moveTo>
                    <a:pt x="10" y="22"/>
                  </a:moveTo>
                  <a:lnTo>
                    <a:pt x="10" y="22"/>
                  </a:lnTo>
                  <a:lnTo>
                    <a:pt x="38" y="20"/>
                  </a:lnTo>
                  <a:lnTo>
                    <a:pt x="38" y="14"/>
                  </a:lnTo>
                  <a:lnTo>
                    <a:pt x="36" y="4"/>
                  </a:lnTo>
                  <a:lnTo>
                    <a:pt x="26" y="4"/>
                  </a:lnTo>
                  <a:lnTo>
                    <a:pt x="22" y="4"/>
                  </a:lnTo>
                  <a:lnTo>
                    <a:pt x="14" y="0"/>
                  </a:lnTo>
                  <a:lnTo>
                    <a:pt x="8" y="2"/>
                  </a:lnTo>
                  <a:lnTo>
                    <a:pt x="4" y="4"/>
                  </a:lnTo>
                  <a:lnTo>
                    <a:pt x="0" y="12"/>
                  </a:lnTo>
                  <a:lnTo>
                    <a:pt x="0" y="14"/>
                  </a:lnTo>
                  <a:lnTo>
                    <a:pt x="6" y="22"/>
                  </a:lnTo>
                  <a:lnTo>
                    <a:pt x="10" y="2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6" name="Freeform 560">
              <a:extLst>
                <a:ext uri="{FF2B5EF4-FFF2-40B4-BE49-F238E27FC236}">
                  <a16:creationId xmlns:a16="http://schemas.microsoft.com/office/drawing/2014/main" id="{E098F8B6-1E61-49D4-A38A-1F3FE84F197C}"/>
                </a:ext>
              </a:extLst>
            </p:cNvPr>
            <p:cNvSpPr>
              <a:spLocks/>
            </p:cNvSpPr>
            <p:nvPr/>
          </p:nvSpPr>
          <p:spPr bwMode="auto">
            <a:xfrm>
              <a:off x="4854631" y="4343117"/>
              <a:ext cx="44023" cy="41434"/>
            </a:xfrm>
            <a:custGeom>
              <a:avLst/>
              <a:gdLst/>
              <a:ahLst/>
              <a:cxnLst>
                <a:cxn ang="0">
                  <a:pos x="22" y="2"/>
                </a:cxn>
                <a:cxn ang="0">
                  <a:pos x="16" y="2"/>
                </a:cxn>
                <a:cxn ang="0">
                  <a:pos x="12" y="2"/>
                </a:cxn>
                <a:cxn ang="0">
                  <a:pos x="10" y="4"/>
                </a:cxn>
                <a:cxn ang="0">
                  <a:pos x="10" y="6"/>
                </a:cxn>
                <a:cxn ang="0">
                  <a:pos x="10" y="8"/>
                </a:cxn>
                <a:cxn ang="0">
                  <a:pos x="8" y="8"/>
                </a:cxn>
                <a:cxn ang="0">
                  <a:pos x="6" y="8"/>
                </a:cxn>
                <a:cxn ang="0">
                  <a:pos x="0" y="12"/>
                </a:cxn>
                <a:cxn ang="0">
                  <a:pos x="0" y="20"/>
                </a:cxn>
                <a:cxn ang="0">
                  <a:pos x="2" y="26"/>
                </a:cxn>
                <a:cxn ang="0">
                  <a:pos x="4" y="26"/>
                </a:cxn>
                <a:cxn ang="0">
                  <a:pos x="8" y="28"/>
                </a:cxn>
                <a:cxn ang="0">
                  <a:pos x="12" y="32"/>
                </a:cxn>
                <a:cxn ang="0">
                  <a:pos x="22" y="28"/>
                </a:cxn>
                <a:cxn ang="0">
                  <a:pos x="22" y="24"/>
                </a:cxn>
                <a:cxn ang="0">
                  <a:pos x="26" y="24"/>
                </a:cxn>
                <a:cxn ang="0">
                  <a:pos x="28" y="22"/>
                </a:cxn>
                <a:cxn ang="0">
                  <a:pos x="28" y="20"/>
                </a:cxn>
                <a:cxn ang="0">
                  <a:pos x="28" y="16"/>
                </a:cxn>
                <a:cxn ang="0">
                  <a:pos x="30" y="14"/>
                </a:cxn>
                <a:cxn ang="0">
                  <a:pos x="32" y="8"/>
                </a:cxn>
                <a:cxn ang="0">
                  <a:pos x="34" y="6"/>
                </a:cxn>
                <a:cxn ang="0">
                  <a:pos x="34" y="4"/>
                </a:cxn>
                <a:cxn ang="0">
                  <a:pos x="34" y="2"/>
                </a:cxn>
                <a:cxn ang="0">
                  <a:pos x="30" y="0"/>
                </a:cxn>
                <a:cxn ang="0">
                  <a:pos x="22" y="2"/>
                </a:cxn>
              </a:cxnLst>
              <a:rect l="0" t="0" r="r" b="b"/>
              <a:pathLst>
                <a:path w="34" h="32">
                  <a:moveTo>
                    <a:pt x="22" y="2"/>
                  </a:moveTo>
                  <a:lnTo>
                    <a:pt x="16" y="2"/>
                  </a:lnTo>
                  <a:lnTo>
                    <a:pt x="12" y="2"/>
                  </a:lnTo>
                  <a:lnTo>
                    <a:pt x="10" y="4"/>
                  </a:lnTo>
                  <a:lnTo>
                    <a:pt x="10" y="6"/>
                  </a:lnTo>
                  <a:lnTo>
                    <a:pt x="10" y="8"/>
                  </a:lnTo>
                  <a:lnTo>
                    <a:pt x="8" y="8"/>
                  </a:lnTo>
                  <a:lnTo>
                    <a:pt x="6" y="8"/>
                  </a:lnTo>
                  <a:lnTo>
                    <a:pt x="0" y="12"/>
                  </a:lnTo>
                  <a:lnTo>
                    <a:pt x="0" y="20"/>
                  </a:lnTo>
                  <a:lnTo>
                    <a:pt x="2" y="26"/>
                  </a:lnTo>
                  <a:lnTo>
                    <a:pt x="4" y="26"/>
                  </a:lnTo>
                  <a:lnTo>
                    <a:pt x="8" y="28"/>
                  </a:lnTo>
                  <a:lnTo>
                    <a:pt x="12" y="32"/>
                  </a:lnTo>
                  <a:lnTo>
                    <a:pt x="22" y="28"/>
                  </a:lnTo>
                  <a:lnTo>
                    <a:pt x="22" y="24"/>
                  </a:lnTo>
                  <a:lnTo>
                    <a:pt x="26" y="24"/>
                  </a:lnTo>
                  <a:lnTo>
                    <a:pt x="28" y="22"/>
                  </a:lnTo>
                  <a:lnTo>
                    <a:pt x="28" y="20"/>
                  </a:lnTo>
                  <a:lnTo>
                    <a:pt x="28" y="16"/>
                  </a:lnTo>
                  <a:lnTo>
                    <a:pt x="30" y="14"/>
                  </a:lnTo>
                  <a:lnTo>
                    <a:pt x="32" y="8"/>
                  </a:lnTo>
                  <a:lnTo>
                    <a:pt x="34" y="6"/>
                  </a:lnTo>
                  <a:lnTo>
                    <a:pt x="34" y="4"/>
                  </a:lnTo>
                  <a:lnTo>
                    <a:pt x="34" y="2"/>
                  </a:lnTo>
                  <a:lnTo>
                    <a:pt x="30" y="0"/>
                  </a:lnTo>
                  <a:lnTo>
                    <a:pt x="22" y="2"/>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7" name="Freeform 561">
              <a:extLst>
                <a:ext uri="{FF2B5EF4-FFF2-40B4-BE49-F238E27FC236}">
                  <a16:creationId xmlns:a16="http://schemas.microsoft.com/office/drawing/2014/main" id="{85752E77-DCEE-4A4A-A8E8-A9E79BD8876C}"/>
                </a:ext>
              </a:extLst>
            </p:cNvPr>
            <p:cNvSpPr>
              <a:spLocks/>
            </p:cNvSpPr>
            <p:nvPr/>
          </p:nvSpPr>
          <p:spPr bwMode="auto">
            <a:xfrm>
              <a:off x="4259020" y="3561055"/>
              <a:ext cx="1033254" cy="776883"/>
            </a:xfrm>
            <a:custGeom>
              <a:avLst/>
              <a:gdLst/>
              <a:ahLst/>
              <a:cxnLst>
                <a:cxn ang="0">
                  <a:pos x="764" y="114"/>
                </a:cxn>
                <a:cxn ang="0">
                  <a:pos x="734" y="76"/>
                </a:cxn>
                <a:cxn ang="0">
                  <a:pos x="696" y="32"/>
                </a:cxn>
                <a:cxn ang="0">
                  <a:pos x="644" y="2"/>
                </a:cxn>
                <a:cxn ang="0">
                  <a:pos x="616" y="30"/>
                </a:cxn>
                <a:cxn ang="0">
                  <a:pos x="600" y="70"/>
                </a:cxn>
                <a:cxn ang="0">
                  <a:pos x="558" y="96"/>
                </a:cxn>
                <a:cxn ang="0">
                  <a:pos x="588" y="112"/>
                </a:cxn>
                <a:cxn ang="0">
                  <a:pos x="588" y="138"/>
                </a:cxn>
                <a:cxn ang="0">
                  <a:pos x="534" y="168"/>
                </a:cxn>
                <a:cxn ang="0">
                  <a:pos x="496" y="196"/>
                </a:cxn>
                <a:cxn ang="0">
                  <a:pos x="424" y="224"/>
                </a:cxn>
                <a:cxn ang="0">
                  <a:pos x="334" y="210"/>
                </a:cxn>
                <a:cxn ang="0">
                  <a:pos x="276" y="174"/>
                </a:cxn>
                <a:cxn ang="0">
                  <a:pos x="238" y="134"/>
                </a:cxn>
                <a:cxn ang="0">
                  <a:pos x="202" y="84"/>
                </a:cxn>
                <a:cxn ang="0">
                  <a:pos x="138" y="120"/>
                </a:cxn>
                <a:cxn ang="0">
                  <a:pos x="102" y="168"/>
                </a:cxn>
                <a:cxn ang="0">
                  <a:pos x="84" y="216"/>
                </a:cxn>
                <a:cxn ang="0">
                  <a:pos x="52" y="234"/>
                </a:cxn>
                <a:cxn ang="0">
                  <a:pos x="34" y="254"/>
                </a:cxn>
                <a:cxn ang="0">
                  <a:pos x="10" y="258"/>
                </a:cxn>
                <a:cxn ang="0">
                  <a:pos x="16" y="282"/>
                </a:cxn>
                <a:cxn ang="0">
                  <a:pos x="50" y="326"/>
                </a:cxn>
                <a:cxn ang="0">
                  <a:pos x="72" y="384"/>
                </a:cxn>
                <a:cxn ang="0">
                  <a:pos x="102" y="430"/>
                </a:cxn>
                <a:cxn ang="0">
                  <a:pos x="150" y="446"/>
                </a:cxn>
                <a:cxn ang="0">
                  <a:pos x="198" y="472"/>
                </a:cxn>
                <a:cxn ang="0">
                  <a:pos x="240" y="468"/>
                </a:cxn>
                <a:cxn ang="0">
                  <a:pos x="314" y="472"/>
                </a:cxn>
                <a:cxn ang="0">
                  <a:pos x="332" y="502"/>
                </a:cxn>
                <a:cxn ang="0">
                  <a:pos x="328" y="544"/>
                </a:cxn>
                <a:cxn ang="0">
                  <a:pos x="344" y="560"/>
                </a:cxn>
                <a:cxn ang="0">
                  <a:pos x="376" y="582"/>
                </a:cxn>
                <a:cxn ang="0">
                  <a:pos x="418" y="550"/>
                </a:cxn>
                <a:cxn ang="0">
                  <a:pos x="456" y="578"/>
                </a:cxn>
                <a:cxn ang="0">
                  <a:pos x="472" y="584"/>
                </a:cxn>
                <a:cxn ang="0">
                  <a:pos x="484" y="584"/>
                </a:cxn>
                <a:cxn ang="0">
                  <a:pos x="508" y="572"/>
                </a:cxn>
                <a:cxn ang="0">
                  <a:pos x="530" y="552"/>
                </a:cxn>
                <a:cxn ang="0">
                  <a:pos x="556" y="556"/>
                </a:cxn>
                <a:cxn ang="0">
                  <a:pos x="572" y="540"/>
                </a:cxn>
                <a:cxn ang="0">
                  <a:pos x="596" y="520"/>
                </a:cxn>
                <a:cxn ang="0">
                  <a:pos x="604" y="510"/>
                </a:cxn>
                <a:cxn ang="0">
                  <a:pos x="612" y="484"/>
                </a:cxn>
                <a:cxn ang="0">
                  <a:pos x="626" y="462"/>
                </a:cxn>
                <a:cxn ang="0">
                  <a:pos x="634" y="440"/>
                </a:cxn>
                <a:cxn ang="0">
                  <a:pos x="624" y="430"/>
                </a:cxn>
                <a:cxn ang="0">
                  <a:pos x="616" y="386"/>
                </a:cxn>
                <a:cxn ang="0">
                  <a:pos x="604" y="338"/>
                </a:cxn>
                <a:cxn ang="0">
                  <a:pos x="632" y="312"/>
                </a:cxn>
                <a:cxn ang="0">
                  <a:pos x="634" y="302"/>
                </a:cxn>
                <a:cxn ang="0">
                  <a:pos x="602" y="308"/>
                </a:cxn>
                <a:cxn ang="0">
                  <a:pos x="580" y="288"/>
                </a:cxn>
                <a:cxn ang="0">
                  <a:pos x="608" y="258"/>
                </a:cxn>
                <a:cxn ang="0">
                  <a:pos x="636" y="252"/>
                </a:cxn>
                <a:cxn ang="0">
                  <a:pos x="630" y="278"/>
                </a:cxn>
                <a:cxn ang="0">
                  <a:pos x="668" y="260"/>
                </a:cxn>
                <a:cxn ang="0">
                  <a:pos x="698" y="216"/>
                </a:cxn>
                <a:cxn ang="0">
                  <a:pos x="732" y="208"/>
                </a:cxn>
                <a:cxn ang="0">
                  <a:pos x="752" y="178"/>
                </a:cxn>
                <a:cxn ang="0">
                  <a:pos x="774" y="158"/>
                </a:cxn>
                <a:cxn ang="0">
                  <a:pos x="798" y="112"/>
                </a:cxn>
              </a:cxnLst>
              <a:rect l="0" t="0" r="r" b="b"/>
              <a:pathLst>
                <a:path w="798" h="600">
                  <a:moveTo>
                    <a:pt x="794" y="104"/>
                  </a:moveTo>
                  <a:lnTo>
                    <a:pt x="798" y="96"/>
                  </a:lnTo>
                  <a:lnTo>
                    <a:pt x="790" y="98"/>
                  </a:lnTo>
                  <a:lnTo>
                    <a:pt x="788" y="102"/>
                  </a:lnTo>
                  <a:lnTo>
                    <a:pt x="782" y="104"/>
                  </a:lnTo>
                  <a:lnTo>
                    <a:pt x="778" y="104"/>
                  </a:lnTo>
                  <a:lnTo>
                    <a:pt x="774" y="108"/>
                  </a:lnTo>
                  <a:lnTo>
                    <a:pt x="770" y="112"/>
                  </a:lnTo>
                  <a:lnTo>
                    <a:pt x="764" y="114"/>
                  </a:lnTo>
                  <a:lnTo>
                    <a:pt x="760" y="116"/>
                  </a:lnTo>
                  <a:lnTo>
                    <a:pt x="754" y="112"/>
                  </a:lnTo>
                  <a:lnTo>
                    <a:pt x="748" y="110"/>
                  </a:lnTo>
                  <a:lnTo>
                    <a:pt x="746" y="104"/>
                  </a:lnTo>
                  <a:lnTo>
                    <a:pt x="746" y="98"/>
                  </a:lnTo>
                  <a:lnTo>
                    <a:pt x="744" y="92"/>
                  </a:lnTo>
                  <a:lnTo>
                    <a:pt x="738" y="86"/>
                  </a:lnTo>
                  <a:lnTo>
                    <a:pt x="736" y="82"/>
                  </a:lnTo>
                  <a:lnTo>
                    <a:pt x="734" y="76"/>
                  </a:lnTo>
                  <a:lnTo>
                    <a:pt x="730" y="72"/>
                  </a:lnTo>
                  <a:lnTo>
                    <a:pt x="722" y="70"/>
                  </a:lnTo>
                  <a:lnTo>
                    <a:pt x="716" y="68"/>
                  </a:lnTo>
                  <a:lnTo>
                    <a:pt x="712" y="68"/>
                  </a:lnTo>
                  <a:lnTo>
                    <a:pt x="708" y="64"/>
                  </a:lnTo>
                  <a:lnTo>
                    <a:pt x="704" y="56"/>
                  </a:lnTo>
                  <a:lnTo>
                    <a:pt x="698" y="46"/>
                  </a:lnTo>
                  <a:lnTo>
                    <a:pt x="696" y="38"/>
                  </a:lnTo>
                  <a:lnTo>
                    <a:pt x="696" y="32"/>
                  </a:lnTo>
                  <a:lnTo>
                    <a:pt x="690" y="26"/>
                  </a:lnTo>
                  <a:lnTo>
                    <a:pt x="688" y="22"/>
                  </a:lnTo>
                  <a:lnTo>
                    <a:pt x="680" y="16"/>
                  </a:lnTo>
                  <a:lnTo>
                    <a:pt x="670" y="16"/>
                  </a:lnTo>
                  <a:lnTo>
                    <a:pt x="666" y="10"/>
                  </a:lnTo>
                  <a:lnTo>
                    <a:pt x="660" y="6"/>
                  </a:lnTo>
                  <a:lnTo>
                    <a:pt x="656" y="2"/>
                  </a:lnTo>
                  <a:lnTo>
                    <a:pt x="648" y="0"/>
                  </a:lnTo>
                  <a:lnTo>
                    <a:pt x="644" y="2"/>
                  </a:lnTo>
                  <a:lnTo>
                    <a:pt x="638" y="4"/>
                  </a:lnTo>
                  <a:lnTo>
                    <a:pt x="630" y="4"/>
                  </a:lnTo>
                  <a:lnTo>
                    <a:pt x="624" y="8"/>
                  </a:lnTo>
                  <a:lnTo>
                    <a:pt x="618" y="14"/>
                  </a:lnTo>
                  <a:lnTo>
                    <a:pt x="614" y="20"/>
                  </a:lnTo>
                  <a:lnTo>
                    <a:pt x="612" y="22"/>
                  </a:lnTo>
                  <a:lnTo>
                    <a:pt x="610" y="26"/>
                  </a:lnTo>
                  <a:lnTo>
                    <a:pt x="616" y="24"/>
                  </a:lnTo>
                  <a:lnTo>
                    <a:pt x="616" y="30"/>
                  </a:lnTo>
                  <a:lnTo>
                    <a:pt x="616" y="36"/>
                  </a:lnTo>
                  <a:lnTo>
                    <a:pt x="612" y="40"/>
                  </a:lnTo>
                  <a:lnTo>
                    <a:pt x="614" y="46"/>
                  </a:lnTo>
                  <a:lnTo>
                    <a:pt x="608" y="54"/>
                  </a:lnTo>
                  <a:lnTo>
                    <a:pt x="604" y="60"/>
                  </a:lnTo>
                  <a:lnTo>
                    <a:pt x="600" y="64"/>
                  </a:lnTo>
                  <a:lnTo>
                    <a:pt x="598" y="66"/>
                  </a:lnTo>
                  <a:lnTo>
                    <a:pt x="598" y="68"/>
                  </a:lnTo>
                  <a:lnTo>
                    <a:pt x="600" y="70"/>
                  </a:lnTo>
                  <a:lnTo>
                    <a:pt x="598" y="72"/>
                  </a:lnTo>
                  <a:lnTo>
                    <a:pt x="596" y="74"/>
                  </a:lnTo>
                  <a:lnTo>
                    <a:pt x="592" y="76"/>
                  </a:lnTo>
                  <a:lnTo>
                    <a:pt x="582" y="82"/>
                  </a:lnTo>
                  <a:lnTo>
                    <a:pt x="576" y="78"/>
                  </a:lnTo>
                  <a:lnTo>
                    <a:pt x="568" y="74"/>
                  </a:lnTo>
                  <a:lnTo>
                    <a:pt x="562" y="76"/>
                  </a:lnTo>
                  <a:lnTo>
                    <a:pt x="556" y="90"/>
                  </a:lnTo>
                  <a:lnTo>
                    <a:pt x="558" y="96"/>
                  </a:lnTo>
                  <a:lnTo>
                    <a:pt x="558" y="100"/>
                  </a:lnTo>
                  <a:lnTo>
                    <a:pt x="556" y="102"/>
                  </a:lnTo>
                  <a:lnTo>
                    <a:pt x="554" y="106"/>
                  </a:lnTo>
                  <a:lnTo>
                    <a:pt x="554" y="112"/>
                  </a:lnTo>
                  <a:lnTo>
                    <a:pt x="564" y="116"/>
                  </a:lnTo>
                  <a:lnTo>
                    <a:pt x="574" y="114"/>
                  </a:lnTo>
                  <a:lnTo>
                    <a:pt x="580" y="108"/>
                  </a:lnTo>
                  <a:lnTo>
                    <a:pt x="584" y="108"/>
                  </a:lnTo>
                  <a:lnTo>
                    <a:pt x="588" y="112"/>
                  </a:lnTo>
                  <a:lnTo>
                    <a:pt x="594" y="118"/>
                  </a:lnTo>
                  <a:lnTo>
                    <a:pt x="602" y="122"/>
                  </a:lnTo>
                  <a:lnTo>
                    <a:pt x="608" y="128"/>
                  </a:lnTo>
                  <a:lnTo>
                    <a:pt x="604" y="134"/>
                  </a:lnTo>
                  <a:lnTo>
                    <a:pt x="600" y="132"/>
                  </a:lnTo>
                  <a:lnTo>
                    <a:pt x="596" y="132"/>
                  </a:lnTo>
                  <a:lnTo>
                    <a:pt x="596" y="134"/>
                  </a:lnTo>
                  <a:lnTo>
                    <a:pt x="592" y="136"/>
                  </a:lnTo>
                  <a:lnTo>
                    <a:pt x="588" y="138"/>
                  </a:lnTo>
                  <a:lnTo>
                    <a:pt x="586" y="142"/>
                  </a:lnTo>
                  <a:lnTo>
                    <a:pt x="578" y="140"/>
                  </a:lnTo>
                  <a:lnTo>
                    <a:pt x="568" y="146"/>
                  </a:lnTo>
                  <a:lnTo>
                    <a:pt x="562" y="142"/>
                  </a:lnTo>
                  <a:lnTo>
                    <a:pt x="558" y="142"/>
                  </a:lnTo>
                  <a:lnTo>
                    <a:pt x="556" y="150"/>
                  </a:lnTo>
                  <a:lnTo>
                    <a:pt x="552" y="154"/>
                  </a:lnTo>
                  <a:lnTo>
                    <a:pt x="534" y="158"/>
                  </a:lnTo>
                  <a:lnTo>
                    <a:pt x="534" y="168"/>
                  </a:lnTo>
                  <a:lnTo>
                    <a:pt x="522" y="174"/>
                  </a:lnTo>
                  <a:lnTo>
                    <a:pt x="514" y="170"/>
                  </a:lnTo>
                  <a:lnTo>
                    <a:pt x="508" y="164"/>
                  </a:lnTo>
                  <a:lnTo>
                    <a:pt x="502" y="162"/>
                  </a:lnTo>
                  <a:lnTo>
                    <a:pt x="496" y="166"/>
                  </a:lnTo>
                  <a:lnTo>
                    <a:pt x="494" y="174"/>
                  </a:lnTo>
                  <a:lnTo>
                    <a:pt x="492" y="180"/>
                  </a:lnTo>
                  <a:lnTo>
                    <a:pt x="494" y="190"/>
                  </a:lnTo>
                  <a:lnTo>
                    <a:pt x="496" y="196"/>
                  </a:lnTo>
                  <a:lnTo>
                    <a:pt x="492" y="200"/>
                  </a:lnTo>
                  <a:lnTo>
                    <a:pt x="486" y="204"/>
                  </a:lnTo>
                  <a:lnTo>
                    <a:pt x="476" y="206"/>
                  </a:lnTo>
                  <a:lnTo>
                    <a:pt x="464" y="210"/>
                  </a:lnTo>
                  <a:lnTo>
                    <a:pt x="452" y="210"/>
                  </a:lnTo>
                  <a:lnTo>
                    <a:pt x="444" y="212"/>
                  </a:lnTo>
                  <a:lnTo>
                    <a:pt x="440" y="212"/>
                  </a:lnTo>
                  <a:lnTo>
                    <a:pt x="432" y="220"/>
                  </a:lnTo>
                  <a:lnTo>
                    <a:pt x="424" y="224"/>
                  </a:lnTo>
                  <a:lnTo>
                    <a:pt x="414" y="224"/>
                  </a:lnTo>
                  <a:lnTo>
                    <a:pt x="406" y="226"/>
                  </a:lnTo>
                  <a:lnTo>
                    <a:pt x="394" y="226"/>
                  </a:lnTo>
                  <a:lnTo>
                    <a:pt x="386" y="222"/>
                  </a:lnTo>
                  <a:lnTo>
                    <a:pt x="380" y="214"/>
                  </a:lnTo>
                  <a:lnTo>
                    <a:pt x="376" y="212"/>
                  </a:lnTo>
                  <a:lnTo>
                    <a:pt x="356" y="212"/>
                  </a:lnTo>
                  <a:lnTo>
                    <a:pt x="346" y="210"/>
                  </a:lnTo>
                  <a:lnTo>
                    <a:pt x="334" y="210"/>
                  </a:lnTo>
                  <a:lnTo>
                    <a:pt x="324" y="210"/>
                  </a:lnTo>
                  <a:lnTo>
                    <a:pt x="316" y="210"/>
                  </a:lnTo>
                  <a:lnTo>
                    <a:pt x="310" y="204"/>
                  </a:lnTo>
                  <a:lnTo>
                    <a:pt x="302" y="198"/>
                  </a:lnTo>
                  <a:lnTo>
                    <a:pt x="294" y="194"/>
                  </a:lnTo>
                  <a:lnTo>
                    <a:pt x="292" y="190"/>
                  </a:lnTo>
                  <a:lnTo>
                    <a:pt x="290" y="182"/>
                  </a:lnTo>
                  <a:lnTo>
                    <a:pt x="284" y="176"/>
                  </a:lnTo>
                  <a:lnTo>
                    <a:pt x="276" y="174"/>
                  </a:lnTo>
                  <a:lnTo>
                    <a:pt x="272" y="170"/>
                  </a:lnTo>
                  <a:lnTo>
                    <a:pt x="264" y="166"/>
                  </a:lnTo>
                  <a:lnTo>
                    <a:pt x="256" y="164"/>
                  </a:lnTo>
                  <a:lnTo>
                    <a:pt x="248" y="162"/>
                  </a:lnTo>
                  <a:lnTo>
                    <a:pt x="246" y="156"/>
                  </a:lnTo>
                  <a:lnTo>
                    <a:pt x="248" y="148"/>
                  </a:lnTo>
                  <a:lnTo>
                    <a:pt x="250" y="142"/>
                  </a:lnTo>
                  <a:lnTo>
                    <a:pt x="246" y="136"/>
                  </a:lnTo>
                  <a:lnTo>
                    <a:pt x="238" y="134"/>
                  </a:lnTo>
                  <a:lnTo>
                    <a:pt x="238" y="128"/>
                  </a:lnTo>
                  <a:lnTo>
                    <a:pt x="230" y="120"/>
                  </a:lnTo>
                  <a:lnTo>
                    <a:pt x="224" y="114"/>
                  </a:lnTo>
                  <a:lnTo>
                    <a:pt x="216" y="116"/>
                  </a:lnTo>
                  <a:lnTo>
                    <a:pt x="208" y="114"/>
                  </a:lnTo>
                  <a:lnTo>
                    <a:pt x="204" y="110"/>
                  </a:lnTo>
                  <a:lnTo>
                    <a:pt x="202" y="106"/>
                  </a:lnTo>
                  <a:lnTo>
                    <a:pt x="200" y="96"/>
                  </a:lnTo>
                  <a:lnTo>
                    <a:pt x="202" y="84"/>
                  </a:lnTo>
                  <a:lnTo>
                    <a:pt x="194" y="88"/>
                  </a:lnTo>
                  <a:lnTo>
                    <a:pt x="176" y="90"/>
                  </a:lnTo>
                  <a:lnTo>
                    <a:pt x="170" y="96"/>
                  </a:lnTo>
                  <a:lnTo>
                    <a:pt x="168" y="102"/>
                  </a:lnTo>
                  <a:lnTo>
                    <a:pt x="160" y="104"/>
                  </a:lnTo>
                  <a:lnTo>
                    <a:pt x="158" y="108"/>
                  </a:lnTo>
                  <a:lnTo>
                    <a:pt x="156" y="116"/>
                  </a:lnTo>
                  <a:lnTo>
                    <a:pt x="146" y="120"/>
                  </a:lnTo>
                  <a:lnTo>
                    <a:pt x="138" y="120"/>
                  </a:lnTo>
                  <a:lnTo>
                    <a:pt x="132" y="124"/>
                  </a:lnTo>
                  <a:lnTo>
                    <a:pt x="128" y="132"/>
                  </a:lnTo>
                  <a:lnTo>
                    <a:pt x="122" y="136"/>
                  </a:lnTo>
                  <a:lnTo>
                    <a:pt x="120" y="144"/>
                  </a:lnTo>
                  <a:lnTo>
                    <a:pt x="122" y="154"/>
                  </a:lnTo>
                  <a:lnTo>
                    <a:pt x="126" y="158"/>
                  </a:lnTo>
                  <a:lnTo>
                    <a:pt x="124" y="162"/>
                  </a:lnTo>
                  <a:lnTo>
                    <a:pt x="112" y="162"/>
                  </a:lnTo>
                  <a:lnTo>
                    <a:pt x="102" y="168"/>
                  </a:lnTo>
                  <a:lnTo>
                    <a:pt x="92" y="170"/>
                  </a:lnTo>
                  <a:lnTo>
                    <a:pt x="88" y="172"/>
                  </a:lnTo>
                  <a:lnTo>
                    <a:pt x="90" y="178"/>
                  </a:lnTo>
                  <a:lnTo>
                    <a:pt x="98" y="184"/>
                  </a:lnTo>
                  <a:lnTo>
                    <a:pt x="100" y="190"/>
                  </a:lnTo>
                  <a:lnTo>
                    <a:pt x="98" y="196"/>
                  </a:lnTo>
                  <a:lnTo>
                    <a:pt x="94" y="200"/>
                  </a:lnTo>
                  <a:lnTo>
                    <a:pt x="94" y="210"/>
                  </a:lnTo>
                  <a:lnTo>
                    <a:pt x="84" y="216"/>
                  </a:lnTo>
                  <a:lnTo>
                    <a:pt x="78" y="222"/>
                  </a:lnTo>
                  <a:lnTo>
                    <a:pt x="74" y="222"/>
                  </a:lnTo>
                  <a:lnTo>
                    <a:pt x="70" y="224"/>
                  </a:lnTo>
                  <a:lnTo>
                    <a:pt x="68" y="228"/>
                  </a:lnTo>
                  <a:lnTo>
                    <a:pt x="68" y="230"/>
                  </a:lnTo>
                  <a:lnTo>
                    <a:pt x="68" y="232"/>
                  </a:lnTo>
                  <a:lnTo>
                    <a:pt x="66" y="232"/>
                  </a:lnTo>
                  <a:lnTo>
                    <a:pt x="60" y="232"/>
                  </a:lnTo>
                  <a:lnTo>
                    <a:pt x="52" y="234"/>
                  </a:lnTo>
                  <a:lnTo>
                    <a:pt x="50" y="236"/>
                  </a:lnTo>
                  <a:lnTo>
                    <a:pt x="48" y="238"/>
                  </a:lnTo>
                  <a:lnTo>
                    <a:pt x="48" y="242"/>
                  </a:lnTo>
                  <a:lnTo>
                    <a:pt x="48" y="244"/>
                  </a:lnTo>
                  <a:lnTo>
                    <a:pt x="46" y="248"/>
                  </a:lnTo>
                  <a:lnTo>
                    <a:pt x="46" y="250"/>
                  </a:lnTo>
                  <a:lnTo>
                    <a:pt x="42" y="252"/>
                  </a:lnTo>
                  <a:lnTo>
                    <a:pt x="40" y="252"/>
                  </a:lnTo>
                  <a:lnTo>
                    <a:pt x="34" y="254"/>
                  </a:lnTo>
                  <a:lnTo>
                    <a:pt x="30" y="256"/>
                  </a:lnTo>
                  <a:lnTo>
                    <a:pt x="28" y="256"/>
                  </a:lnTo>
                  <a:lnTo>
                    <a:pt x="26" y="256"/>
                  </a:lnTo>
                  <a:lnTo>
                    <a:pt x="24" y="254"/>
                  </a:lnTo>
                  <a:lnTo>
                    <a:pt x="24" y="252"/>
                  </a:lnTo>
                  <a:lnTo>
                    <a:pt x="22" y="250"/>
                  </a:lnTo>
                  <a:lnTo>
                    <a:pt x="18" y="250"/>
                  </a:lnTo>
                  <a:lnTo>
                    <a:pt x="14" y="254"/>
                  </a:lnTo>
                  <a:lnTo>
                    <a:pt x="10" y="258"/>
                  </a:lnTo>
                  <a:lnTo>
                    <a:pt x="4" y="260"/>
                  </a:lnTo>
                  <a:lnTo>
                    <a:pt x="0" y="264"/>
                  </a:lnTo>
                  <a:lnTo>
                    <a:pt x="2" y="266"/>
                  </a:lnTo>
                  <a:lnTo>
                    <a:pt x="2" y="272"/>
                  </a:lnTo>
                  <a:lnTo>
                    <a:pt x="2" y="276"/>
                  </a:lnTo>
                  <a:lnTo>
                    <a:pt x="6" y="280"/>
                  </a:lnTo>
                  <a:lnTo>
                    <a:pt x="14" y="276"/>
                  </a:lnTo>
                  <a:lnTo>
                    <a:pt x="16" y="278"/>
                  </a:lnTo>
                  <a:lnTo>
                    <a:pt x="16" y="282"/>
                  </a:lnTo>
                  <a:lnTo>
                    <a:pt x="14" y="288"/>
                  </a:lnTo>
                  <a:lnTo>
                    <a:pt x="16" y="296"/>
                  </a:lnTo>
                  <a:lnTo>
                    <a:pt x="18" y="302"/>
                  </a:lnTo>
                  <a:lnTo>
                    <a:pt x="20" y="306"/>
                  </a:lnTo>
                  <a:lnTo>
                    <a:pt x="22" y="310"/>
                  </a:lnTo>
                  <a:lnTo>
                    <a:pt x="16" y="312"/>
                  </a:lnTo>
                  <a:lnTo>
                    <a:pt x="16" y="314"/>
                  </a:lnTo>
                  <a:lnTo>
                    <a:pt x="24" y="310"/>
                  </a:lnTo>
                  <a:lnTo>
                    <a:pt x="50" y="326"/>
                  </a:lnTo>
                  <a:lnTo>
                    <a:pt x="72" y="312"/>
                  </a:lnTo>
                  <a:lnTo>
                    <a:pt x="90" y="342"/>
                  </a:lnTo>
                  <a:lnTo>
                    <a:pt x="78" y="352"/>
                  </a:lnTo>
                  <a:lnTo>
                    <a:pt x="76" y="356"/>
                  </a:lnTo>
                  <a:lnTo>
                    <a:pt x="74" y="358"/>
                  </a:lnTo>
                  <a:lnTo>
                    <a:pt x="80" y="370"/>
                  </a:lnTo>
                  <a:lnTo>
                    <a:pt x="72" y="382"/>
                  </a:lnTo>
                  <a:lnTo>
                    <a:pt x="72" y="382"/>
                  </a:lnTo>
                  <a:lnTo>
                    <a:pt x="72" y="384"/>
                  </a:lnTo>
                  <a:lnTo>
                    <a:pt x="78" y="386"/>
                  </a:lnTo>
                  <a:lnTo>
                    <a:pt x="80" y="396"/>
                  </a:lnTo>
                  <a:lnTo>
                    <a:pt x="80" y="398"/>
                  </a:lnTo>
                  <a:lnTo>
                    <a:pt x="72" y="408"/>
                  </a:lnTo>
                  <a:lnTo>
                    <a:pt x="78" y="412"/>
                  </a:lnTo>
                  <a:lnTo>
                    <a:pt x="90" y="412"/>
                  </a:lnTo>
                  <a:lnTo>
                    <a:pt x="98" y="424"/>
                  </a:lnTo>
                  <a:lnTo>
                    <a:pt x="98" y="426"/>
                  </a:lnTo>
                  <a:lnTo>
                    <a:pt x="102" y="430"/>
                  </a:lnTo>
                  <a:lnTo>
                    <a:pt x="106" y="434"/>
                  </a:lnTo>
                  <a:lnTo>
                    <a:pt x="110" y="434"/>
                  </a:lnTo>
                  <a:lnTo>
                    <a:pt x="114" y="434"/>
                  </a:lnTo>
                  <a:lnTo>
                    <a:pt x="120" y="434"/>
                  </a:lnTo>
                  <a:lnTo>
                    <a:pt x="126" y="434"/>
                  </a:lnTo>
                  <a:lnTo>
                    <a:pt x="132" y="444"/>
                  </a:lnTo>
                  <a:lnTo>
                    <a:pt x="138" y="444"/>
                  </a:lnTo>
                  <a:lnTo>
                    <a:pt x="144" y="442"/>
                  </a:lnTo>
                  <a:lnTo>
                    <a:pt x="150" y="446"/>
                  </a:lnTo>
                  <a:lnTo>
                    <a:pt x="150" y="452"/>
                  </a:lnTo>
                  <a:lnTo>
                    <a:pt x="156" y="456"/>
                  </a:lnTo>
                  <a:lnTo>
                    <a:pt x="162" y="462"/>
                  </a:lnTo>
                  <a:lnTo>
                    <a:pt x="166" y="466"/>
                  </a:lnTo>
                  <a:lnTo>
                    <a:pt x="170" y="466"/>
                  </a:lnTo>
                  <a:lnTo>
                    <a:pt x="176" y="470"/>
                  </a:lnTo>
                  <a:lnTo>
                    <a:pt x="188" y="472"/>
                  </a:lnTo>
                  <a:lnTo>
                    <a:pt x="196" y="474"/>
                  </a:lnTo>
                  <a:lnTo>
                    <a:pt x="198" y="472"/>
                  </a:lnTo>
                  <a:lnTo>
                    <a:pt x="198" y="466"/>
                  </a:lnTo>
                  <a:lnTo>
                    <a:pt x="202" y="464"/>
                  </a:lnTo>
                  <a:lnTo>
                    <a:pt x="212" y="468"/>
                  </a:lnTo>
                  <a:lnTo>
                    <a:pt x="214" y="476"/>
                  </a:lnTo>
                  <a:lnTo>
                    <a:pt x="218" y="468"/>
                  </a:lnTo>
                  <a:lnTo>
                    <a:pt x="222" y="466"/>
                  </a:lnTo>
                  <a:lnTo>
                    <a:pt x="230" y="464"/>
                  </a:lnTo>
                  <a:lnTo>
                    <a:pt x="234" y="468"/>
                  </a:lnTo>
                  <a:lnTo>
                    <a:pt x="240" y="468"/>
                  </a:lnTo>
                  <a:lnTo>
                    <a:pt x="250" y="468"/>
                  </a:lnTo>
                  <a:lnTo>
                    <a:pt x="256" y="466"/>
                  </a:lnTo>
                  <a:lnTo>
                    <a:pt x="276" y="450"/>
                  </a:lnTo>
                  <a:lnTo>
                    <a:pt x="308" y="438"/>
                  </a:lnTo>
                  <a:lnTo>
                    <a:pt x="314" y="442"/>
                  </a:lnTo>
                  <a:lnTo>
                    <a:pt x="312" y="450"/>
                  </a:lnTo>
                  <a:lnTo>
                    <a:pt x="324" y="460"/>
                  </a:lnTo>
                  <a:lnTo>
                    <a:pt x="316" y="470"/>
                  </a:lnTo>
                  <a:lnTo>
                    <a:pt x="314" y="472"/>
                  </a:lnTo>
                  <a:lnTo>
                    <a:pt x="316" y="474"/>
                  </a:lnTo>
                  <a:lnTo>
                    <a:pt x="318" y="478"/>
                  </a:lnTo>
                  <a:lnTo>
                    <a:pt x="320" y="482"/>
                  </a:lnTo>
                  <a:lnTo>
                    <a:pt x="324" y="482"/>
                  </a:lnTo>
                  <a:lnTo>
                    <a:pt x="328" y="482"/>
                  </a:lnTo>
                  <a:lnTo>
                    <a:pt x="330" y="488"/>
                  </a:lnTo>
                  <a:lnTo>
                    <a:pt x="332" y="490"/>
                  </a:lnTo>
                  <a:lnTo>
                    <a:pt x="330" y="498"/>
                  </a:lnTo>
                  <a:lnTo>
                    <a:pt x="332" y="502"/>
                  </a:lnTo>
                  <a:lnTo>
                    <a:pt x="332" y="506"/>
                  </a:lnTo>
                  <a:lnTo>
                    <a:pt x="330" y="516"/>
                  </a:lnTo>
                  <a:lnTo>
                    <a:pt x="326" y="522"/>
                  </a:lnTo>
                  <a:lnTo>
                    <a:pt x="322" y="528"/>
                  </a:lnTo>
                  <a:lnTo>
                    <a:pt x="322" y="532"/>
                  </a:lnTo>
                  <a:lnTo>
                    <a:pt x="324" y="536"/>
                  </a:lnTo>
                  <a:lnTo>
                    <a:pt x="324" y="542"/>
                  </a:lnTo>
                  <a:lnTo>
                    <a:pt x="326" y="544"/>
                  </a:lnTo>
                  <a:lnTo>
                    <a:pt x="328" y="544"/>
                  </a:lnTo>
                  <a:lnTo>
                    <a:pt x="330" y="540"/>
                  </a:lnTo>
                  <a:lnTo>
                    <a:pt x="336" y="538"/>
                  </a:lnTo>
                  <a:lnTo>
                    <a:pt x="340" y="538"/>
                  </a:lnTo>
                  <a:lnTo>
                    <a:pt x="342" y="542"/>
                  </a:lnTo>
                  <a:lnTo>
                    <a:pt x="342" y="546"/>
                  </a:lnTo>
                  <a:lnTo>
                    <a:pt x="344" y="550"/>
                  </a:lnTo>
                  <a:lnTo>
                    <a:pt x="348" y="550"/>
                  </a:lnTo>
                  <a:lnTo>
                    <a:pt x="348" y="554"/>
                  </a:lnTo>
                  <a:lnTo>
                    <a:pt x="344" y="560"/>
                  </a:lnTo>
                  <a:lnTo>
                    <a:pt x="344" y="564"/>
                  </a:lnTo>
                  <a:lnTo>
                    <a:pt x="350" y="566"/>
                  </a:lnTo>
                  <a:lnTo>
                    <a:pt x="354" y="566"/>
                  </a:lnTo>
                  <a:lnTo>
                    <a:pt x="354" y="574"/>
                  </a:lnTo>
                  <a:lnTo>
                    <a:pt x="356" y="580"/>
                  </a:lnTo>
                  <a:lnTo>
                    <a:pt x="366" y="582"/>
                  </a:lnTo>
                  <a:lnTo>
                    <a:pt x="364" y="588"/>
                  </a:lnTo>
                  <a:lnTo>
                    <a:pt x="372" y="588"/>
                  </a:lnTo>
                  <a:lnTo>
                    <a:pt x="376" y="582"/>
                  </a:lnTo>
                  <a:lnTo>
                    <a:pt x="376" y="572"/>
                  </a:lnTo>
                  <a:lnTo>
                    <a:pt x="372" y="564"/>
                  </a:lnTo>
                  <a:lnTo>
                    <a:pt x="376" y="558"/>
                  </a:lnTo>
                  <a:lnTo>
                    <a:pt x="382" y="560"/>
                  </a:lnTo>
                  <a:lnTo>
                    <a:pt x="388" y="556"/>
                  </a:lnTo>
                  <a:lnTo>
                    <a:pt x="396" y="558"/>
                  </a:lnTo>
                  <a:lnTo>
                    <a:pt x="404" y="556"/>
                  </a:lnTo>
                  <a:lnTo>
                    <a:pt x="412" y="556"/>
                  </a:lnTo>
                  <a:lnTo>
                    <a:pt x="418" y="550"/>
                  </a:lnTo>
                  <a:lnTo>
                    <a:pt x="424" y="552"/>
                  </a:lnTo>
                  <a:lnTo>
                    <a:pt x="428" y="554"/>
                  </a:lnTo>
                  <a:lnTo>
                    <a:pt x="434" y="556"/>
                  </a:lnTo>
                  <a:lnTo>
                    <a:pt x="432" y="564"/>
                  </a:lnTo>
                  <a:lnTo>
                    <a:pt x="436" y="570"/>
                  </a:lnTo>
                  <a:lnTo>
                    <a:pt x="440" y="574"/>
                  </a:lnTo>
                  <a:lnTo>
                    <a:pt x="446" y="576"/>
                  </a:lnTo>
                  <a:lnTo>
                    <a:pt x="450" y="576"/>
                  </a:lnTo>
                  <a:lnTo>
                    <a:pt x="456" y="578"/>
                  </a:lnTo>
                  <a:lnTo>
                    <a:pt x="458" y="574"/>
                  </a:lnTo>
                  <a:lnTo>
                    <a:pt x="462" y="574"/>
                  </a:lnTo>
                  <a:lnTo>
                    <a:pt x="468" y="574"/>
                  </a:lnTo>
                  <a:lnTo>
                    <a:pt x="470" y="576"/>
                  </a:lnTo>
                  <a:lnTo>
                    <a:pt x="472" y="576"/>
                  </a:lnTo>
                  <a:lnTo>
                    <a:pt x="472" y="576"/>
                  </a:lnTo>
                  <a:lnTo>
                    <a:pt x="472" y="578"/>
                  </a:lnTo>
                  <a:lnTo>
                    <a:pt x="474" y="580"/>
                  </a:lnTo>
                  <a:lnTo>
                    <a:pt x="472" y="584"/>
                  </a:lnTo>
                  <a:lnTo>
                    <a:pt x="472" y="590"/>
                  </a:lnTo>
                  <a:lnTo>
                    <a:pt x="474" y="590"/>
                  </a:lnTo>
                  <a:lnTo>
                    <a:pt x="476" y="600"/>
                  </a:lnTo>
                  <a:lnTo>
                    <a:pt x="484" y="598"/>
                  </a:lnTo>
                  <a:lnTo>
                    <a:pt x="484" y="592"/>
                  </a:lnTo>
                  <a:lnTo>
                    <a:pt x="480" y="588"/>
                  </a:lnTo>
                  <a:lnTo>
                    <a:pt x="482" y="588"/>
                  </a:lnTo>
                  <a:lnTo>
                    <a:pt x="484" y="586"/>
                  </a:lnTo>
                  <a:lnTo>
                    <a:pt x="484" y="584"/>
                  </a:lnTo>
                  <a:lnTo>
                    <a:pt x="488" y="584"/>
                  </a:lnTo>
                  <a:lnTo>
                    <a:pt x="492" y="582"/>
                  </a:lnTo>
                  <a:lnTo>
                    <a:pt x="496" y="576"/>
                  </a:lnTo>
                  <a:lnTo>
                    <a:pt x="500" y="576"/>
                  </a:lnTo>
                  <a:lnTo>
                    <a:pt x="500" y="574"/>
                  </a:lnTo>
                  <a:lnTo>
                    <a:pt x="502" y="574"/>
                  </a:lnTo>
                  <a:lnTo>
                    <a:pt x="504" y="570"/>
                  </a:lnTo>
                  <a:lnTo>
                    <a:pt x="506" y="570"/>
                  </a:lnTo>
                  <a:lnTo>
                    <a:pt x="508" y="572"/>
                  </a:lnTo>
                  <a:lnTo>
                    <a:pt x="510" y="570"/>
                  </a:lnTo>
                  <a:lnTo>
                    <a:pt x="516" y="570"/>
                  </a:lnTo>
                  <a:lnTo>
                    <a:pt x="522" y="570"/>
                  </a:lnTo>
                  <a:lnTo>
                    <a:pt x="528" y="558"/>
                  </a:lnTo>
                  <a:lnTo>
                    <a:pt x="530" y="558"/>
                  </a:lnTo>
                  <a:lnTo>
                    <a:pt x="532" y="556"/>
                  </a:lnTo>
                  <a:lnTo>
                    <a:pt x="532" y="554"/>
                  </a:lnTo>
                  <a:lnTo>
                    <a:pt x="530" y="554"/>
                  </a:lnTo>
                  <a:lnTo>
                    <a:pt x="530" y="552"/>
                  </a:lnTo>
                  <a:lnTo>
                    <a:pt x="534" y="552"/>
                  </a:lnTo>
                  <a:lnTo>
                    <a:pt x="534" y="558"/>
                  </a:lnTo>
                  <a:lnTo>
                    <a:pt x="538" y="558"/>
                  </a:lnTo>
                  <a:lnTo>
                    <a:pt x="540" y="558"/>
                  </a:lnTo>
                  <a:lnTo>
                    <a:pt x="542" y="560"/>
                  </a:lnTo>
                  <a:lnTo>
                    <a:pt x="544" y="558"/>
                  </a:lnTo>
                  <a:lnTo>
                    <a:pt x="544" y="556"/>
                  </a:lnTo>
                  <a:lnTo>
                    <a:pt x="552" y="554"/>
                  </a:lnTo>
                  <a:lnTo>
                    <a:pt x="556" y="556"/>
                  </a:lnTo>
                  <a:lnTo>
                    <a:pt x="558" y="556"/>
                  </a:lnTo>
                  <a:lnTo>
                    <a:pt x="558" y="554"/>
                  </a:lnTo>
                  <a:lnTo>
                    <a:pt x="562" y="552"/>
                  </a:lnTo>
                  <a:lnTo>
                    <a:pt x="564" y="548"/>
                  </a:lnTo>
                  <a:lnTo>
                    <a:pt x="562" y="548"/>
                  </a:lnTo>
                  <a:lnTo>
                    <a:pt x="562" y="546"/>
                  </a:lnTo>
                  <a:lnTo>
                    <a:pt x="570" y="542"/>
                  </a:lnTo>
                  <a:lnTo>
                    <a:pt x="570" y="540"/>
                  </a:lnTo>
                  <a:lnTo>
                    <a:pt x="572" y="540"/>
                  </a:lnTo>
                  <a:lnTo>
                    <a:pt x="574" y="540"/>
                  </a:lnTo>
                  <a:lnTo>
                    <a:pt x="576" y="538"/>
                  </a:lnTo>
                  <a:lnTo>
                    <a:pt x="576" y="534"/>
                  </a:lnTo>
                  <a:lnTo>
                    <a:pt x="580" y="534"/>
                  </a:lnTo>
                  <a:lnTo>
                    <a:pt x="582" y="534"/>
                  </a:lnTo>
                  <a:lnTo>
                    <a:pt x="584" y="530"/>
                  </a:lnTo>
                  <a:lnTo>
                    <a:pt x="584" y="524"/>
                  </a:lnTo>
                  <a:lnTo>
                    <a:pt x="596" y="522"/>
                  </a:lnTo>
                  <a:lnTo>
                    <a:pt x="596" y="520"/>
                  </a:lnTo>
                  <a:lnTo>
                    <a:pt x="596" y="520"/>
                  </a:lnTo>
                  <a:lnTo>
                    <a:pt x="596" y="518"/>
                  </a:lnTo>
                  <a:lnTo>
                    <a:pt x="596" y="516"/>
                  </a:lnTo>
                  <a:lnTo>
                    <a:pt x="598" y="516"/>
                  </a:lnTo>
                  <a:lnTo>
                    <a:pt x="598" y="514"/>
                  </a:lnTo>
                  <a:lnTo>
                    <a:pt x="596" y="514"/>
                  </a:lnTo>
                  <a:lnTo>
                    <a:pt x="596" y="512"/>
                  </a:lnTo>
                  <a:lnTo>
                    <a:pt x="598" y="510"/>
                  </a:lnTo>
                  <a:lnTo>
                    <a:pt x="604" y="510"/>
                  </a:lnTo>
                  <a:lnTo>
                    <a:pt x="604" y="508"/>
                  </a:lnTo>
                  <a:lnTo>
                    <a:pt x="606" y="508"/>
                  </a:lnTo>
                  <a:lnTo>
                    <a:pt x="604" y="498"/>
                  </a:lnTo>
                  <a:lnTo>
                    <a:pt x="600" y="498"/>
                  </a:lnTo>
                  <a:lnTo>
                    <a:pt x="600" y="494"/>
                  </a:lnTo>
                  <a:lnTo>
                    <a:pt x="604" y="494"/>
                  </a:lnTo>
                  <a:lnTo>
                    <a:pt x="604" y="488"/>
                  </a:lnTo>
                  <a:lnTo>
                    <a:pt x="608" y="486"/>
                  </a:lnTo>
                  <a:lnTo>
                    <a:pt x="612" y="484"/>
                  </a:lnTo>
                  <a:lnTo>
                    <a:pt x="612" y="482"/>
                  </a:lnTo>
                  <a:lnTo>
                    <a:pt x="618" y="478"/>
                  </a:lnTo>
                  <a:lnTo>
                    <a:pt x="618" y="472"/>
                  </a:lnTo>
                  <a:lnTo>
                    <a:pt x="618" y="470"/>
                  </a:lnTo>
                  <a:lnTo>
                    <a:pt x="620" y="470"/>
                  </a:lnTo>
                  <a:lnTo>
                    <a:pt x="620" y="468"/>
                  </a:lnTo>
                  <a:lnTo>
                    <a:pt x="624" y="468"/>
                  </a:lnTo>
                  <a:lnTo>
                    <a:pt x="624" y="464"/>
                  </a:lnTo>
                  <a:lnTo>
                    <a:pt x="626" y="462"/>
                  </a:lnTo>
                  <a:lnTo>
                    <a:pt x="630" y="462"/>
                  </a:lnTo>
                  <a:lnTo>
                    <a:pt x="630" y="458"/>
                  </a:lnTo>
                  <a:lnTo>
                    <a:pt x="626" y="456"/>
                  </a:lnTo>
                  <a:lnTo>
                    <a:pt x="628" y="454"/>
                  </a:lnTo>
                  <a:lnTo>
                    <a:pt x="628" y="452"/>
                  </a:lnTo>
                  <a:lnTo>
                    <a:pt x="628" y="446"/>
                  </a:lnTo>
                  <a:lnTo>
                    <a:pt x="636" y="446"/>
                  </a:lnTo>
                  <a:lnTo>
                    <a:pt x="634" y="444"/>
                  </a:lnTo>
                  <a:lnTo>
                    <a:pt x="634" y="440"/>
                  </a:lnTo>
                  <a:lnTo>
                    <a:pt x="636" y="438"/>
                  </a:lnTo>
                  <a:lnTo>
                    <a:pt x="634" y="436"/>
                  </a:lnTo>
                  <a:lnTo>
                    <a:pt x="638" y="434"/>
                  </a:lnTo>
                  <a:lnTo>
                    <a:pt x="640" y="434"/>
                  </a:lnTo>
                  <a:lnTo>
                    <a:pt x="638" y="432"/>
                  </a:lnTo>
                  <a:lnTo>
                    <a:pt x="634" y="432"/>
                  </a:lnTo>
                  <a:lnTo>
                    <a:pt x="632" y="428"/>
                  </a:lnTo>
                  <a:lnTo>
                    <a:pt x="626" y="430"/>
                  </a:lnTo>
                  <a:lnTo>
                    <a:pt x="624" y="430"/>
                  </a:lnTo>
                  <a:lnTo>
                    <a:pt x="620" y="430"/>
                  </a:lnTo>
                  <a:lnTo>
                    <a:pt x="620" y="428"/>
                  </a:lnTo>
                  <a:lnTo>
                    <a:pt x="620" y="426"/>
                  </a:lnTo>
                  <a:lnTo>
                    <a:pt x="632" y="418"/>
                  </a:lnTo>
                  <a:lnTo>
                    <a:pt x="610" y="402"/>
                  </a:lnTo>
                  <a:lnTo>
                    <a:pt x="618" y="400"/>
                  </a:lnTo>
                  <a:lnTo>
                    <a:pt x="626" y="402"/>
                  </a:lnTo>
                  <a:lnTo>
                    <a:pt x="626" y="398"/>
                  </a:lnTo>
                  <a:lnTo>
                    <a:pt x="616" y="386"/>
                  </a:lnTo>
                  <a:lnTo>
                    <a:pt x="612" y="378"/>
                  </a:lnTo>
                  <a:lnTo>
                    <a:pt x="610" y="370"/>
                  </a:lnTo>
                  <a:lnTo>
                    <a:pt x="604" y="372"/>
                  </a:lnTo>
                  <a:lnTo>
                    <a:pt x="606" y="370"/>
                  </a:lnTo>
                  <a:lnTo>
                    <a:pt x="600" y="358"/>
                  </a:lnTo>
                  <a:lnTo>
                    <a:pt x="598" y="350"/>
                  </a:lnTo>
                  <a:lnTo>
                    <a:pt x="600" y="342"/>
                  </a:lnTo>
                  <a:lnTo>
                    <a:pt x="602" y="340"/>
                  </a:lnTo>
                  <a:lnTo>
                    <a:pt x="604" y="338"/>
                  </a:lnTo>
                  <a:lnTo>
                    <a:pt x="608" y="336"/>
                  </a:lnTo>
                  <a:lnTo>
                    <a:pt x="608" y="330"/>
                  </a:lnTo>
                  <a:lnTo>
                    <a:pt x="612" y="326"/>
                  </a:lnTo>
                  <a:lnTo>
                    <a:pt x="616" y="322"/>
                  </a:lnTo>
                  <a:lnTo>
                    <a:pt x="618" y="320"/>
                  </a:lnTo>
                  <a:lnTo>
                    <a:pt x="624" y="318"/>
                  </a:lnTo>
                  <a:lnTo>
                    <a:pt x="626" y="314"/>
                  </a:lnTo>
                  <a:lnTo>
                    <a:pt x="630" y="314"/>
                  </a:lnTo>
                  <a:lnTo>
                    <a:pt x="632" y="312"/>
                  </a:lnTo>
                  <a:lnTo>
                    <a:pt x="634" y="312"/>
                  </a:lnTo>
                  <a:lnTo>
                    <a:pt x="638" y="312"/>
                  </a:lnTo>
                  <a:lnTo>
                    <a:pt x="640" y="312"/>
                  </a:lnTo>
                  <a:lnTo>
                    <a:pt x="642" y="312"/>
                  </a:lnTo>
                  <a:lnTo>
                    <a:pt x="646" y="304"/>
                  </a:lnTo>
                  <a:lnTo>
                    <a:pt x="646" y="302"/>
                  </a:lnTo>
                  <a:lnTo>
                    <a:pt x="640" y="300"/>
                  </a:lnTo>
                  <a:lnTo>
                    <a:pt x="636" y="300"/>
                  </a:lnTo>
                  <a:lnTo>
                    <a:pt x="634" y="302"/>
                  </a:lnTo>
                  <a:lnTo>
                    <a:pt x="630" y="302"/>
                  </a:lnTo>
                  <a:lnTo>
                    <a:pt x="626" y="302"/>
                  </a:lnTo>
                  <a:lnTo>
                    <a:pt x="624" y="298"/>
                  </a:lnTo>
                  <a:lnTo>
                    <a:pt x="618" y="298"/>
                  </a:lnTo>
                  <a:lnTo>
                    <a:pt x="610" y="298"/>
                  </a:lnTo>
                  <a:lnTo>
                    <a:pt x="610" y="302"/>
                  </a:lnTo>
                  <a:lnTo>
                    <a:pt x="604" y="304"/>
                  </a:lnTo>
                  <a:lnTo>
                    <a:pt x="602" y="306"/>
                  </a:lnTo>
                  <a:lnTo>
                    <a:pt x="602" y="308"/>
                  </a:lnTo>
                  <a:lnTo>
                    <a:pt x="596" y="308"/>
                  </a:lnTo>
                  <a:lnTo>
                    <a:pt x="596" y="310"/>
                  </a:lnTo>
                  <a:lnTo>
                    <a:pt x="592" y="310"/>
                  </a:lnTo>
                  <a:lnTo>
                    <a:pt x="590" y="306"/>
                  </a:lnTo>
                  <a:lnTo>
                    <a:pt x="590" y="302"/>
                  </a:lnTo>
                  <a:lnTo>
                    <a:pt x="588" y="298"/>
                  </a:lnTo>
                  <a:lnTo>
                    <a:pt x="586" y="294"/>
                  </a:lnTo>
                  <a:lnTo>
                    <a:pt x="584" y="294"/>
                  </a:lnTo>
                  <a:lnTo>
                    <a:pt x="580" y="288"/>
                  </a:lnTo>
                  <a:lnTo>
                    <a:pt x="578" y="282"/>
                  </a:lnTo>
                  <a:lnTo>
                    <a:pt x="578" y="276"/>
                  </a:lnTo>
                  <a:lnTo>
                    <a:pt x="580" y="274"/>
                  </a:lnTo>
                  <a:lnTo>
                    <a:pt x="588" y="274"/>
                  </a:lnTo>
                  <a:lnTo>
                    <a:pt x="594" y="274"/>
                  </a:lnTo>
                  <a:lnTo>
                    <a:pt x="596" y="270"/>
                  </a:lnTo>
                  <a:lnTo>
                    <a:pt x="598" y="264"/>
                  </a:lnTo>
                  <a:lnTo>
                    <a:pt x="606" y="258"/>
                  </a:lnTo>
                  <a:lnTo>
                    <a:pt x="608" y="258"/>
                  </a:lnTo>
                  <a:lnTo>
                    <a:pt x="610" y="256"/>
                  </a:lnTo>
                  <a:lnTo>
                    <a:pt x="612" y="254"/>
                  </a:lnTo>
                  <a:lnTo>
                    <a:pt x="614" y="254"/>
                  </a:lnTo>
                  <a:lnTo>
                    <a:pt x="616" y="252"/>
                  </a:lnTo>
                  <a:lnTo>
                    <a:pt x="616" y="248"/>
                  </a:lnTo>
                  <a:lnTo>
                    <a:pt x="620" y="242"/>
                  </a:lnTo>
                  <a:lnTo>
                    <a:pt x="624" y="238"/>
                  </a:lnTo>
                  <a:lnTo>
                    <a:pt x="642" y="244"/>
                  </a:lnTo>
                  <a:lnTo>
                    <a:pt x="636" y="252"/>
                  </a:lnTo>
                  <a:lnTo>
                    <a:pt x="630" y="258"/>
                  </a:lnTo>
                  <a:lnTo>
                    <a:pt x="628" y="260"/>
                  </a:lnTo>
                  <a:lnTo>
                    <a:pt x="628" y="264"/>
                  </a:lnTo>
                  <a:lnTo>
                    <a:pt x="628" y="268"/>
                  </a:lnTo>
                  <a:lnTo>
                    <a:pt x="634" y="268"/>
                  </a:lnTo>
                  <a:lnTo>
                    <a:pt x="630" y="272"/>
                  </a:lnTo>
                  <a:lnTo>
                    <a:pt x="628" y="276"/>
                  </a:lnTo>
                  <a:lnTo>
                    <a:pt x="628" y="278"/>
                  </a:lnTo>
                  <a:lnTo>
                    <a:pt x="630" y="278"/>
                  </a:lnTo>
                  <a:lnTo>
                    <a:pt x="634" y="278"/>
                  </a:lnTo>
                  <a:lnTo>
                    <a:pt x="634" y="276"/>
                  </a:lnTo>
                  <a:lnTo>
                    <a:pt x="634" y="274"/>
                  </a:lnTo>
                  <a:lnTo>
                    <a:pt x="646" y="264"/>
                  </a:lnTo>
                  <a:lnTo>
                    <a:pt x="656" y="258"/>
                  </a:lnTo>
                  <a:lnTo>
                    <a:pt x="660" y="258"/>
                  </a:lnTo>
                  <a:lnTo>
                    <a:pt x="662" y="258"/>
                  </a:lnTo>
                  <a:lnTo>
                    <a:pt x="666" y="260"/>
                  </a:lnTo>
                  <a:lnTo>
                    <a:pt x="668" y="260"/>
                  </a:lnTo>
                  <a:lnTo>
                    <a:pt x="668" y="258"/>
                  </a:lnTo>
                  <a:lnTo>
                    <a:pt x="670" y="258"/>
                  </a:lnTo>
                  <a:lnTo>
                    <a:pt x="670" y="260"/>
                  </a:lnTo>
                  <a:lnTo>
                    <a:pt x="676" y="252"/>
                  </a:lnTo>
                  <a:lnTo>
                    <a:pt x="680" y="246"/>
                  </a:lnTo>
                  <a:lnTo>
                    <a:pt x="686" y="238"/>
                  </a:lnTo>
                  <a:lnTo>
                    <a:pt x="690" y="232"/>
                  </a:lnTo>
                  <a:lnTo>
                    <a:pt x="698" y="224"/>
                  </a:lnTo>
                  <a:lnTo>
                    <a:pt x="698" y="216"/>
                  </a:lnTo>
                  <a:lnTo>
                    <a:pt x="704" y="214"/>
                  </a:lnTo>
                  <a:lnTo>
                    <a:pt x="708" y="220"/>
                  </a:lnTo>
                  <a:lnTo>
                    <a:pt x="712" y="222"/>
                  </a:lnTo>
                  <a:lnTo>
                    <a:pt x="718" y="224"/>
                  </a:lnTo>
                  <a:lnTo>
                    <a:pt x="718" y="218"/>
                  </a:lnTo>
                  <a:lnTo>
                    <a:pt x="718" y="214"/>
                  </a:lnTo>
                  <a:lnTo>
                    <a:pt x="722" y="210"/>
                  </a:lnTo>
                  <a:lnTo>
                    <a:pt x="728" y="210"/>
                  </a:lnTo>
                  <a:lnTo>
                    <a:pt x="732" y="208"/>
                  </a:lnTo>
                  <a:lnTo>
                    <a:pt x="732" y="204"/>
                  </a:lnTo>
                  <a:lnTo>
                    <a:pt x="738" y="202"/>
                  </a:lnTo>
                  <a:lnTo>
                    <a:pt x="738" y="194"/>
                  </a:lnTo>
                  <a:lnTo>
                    <a:pt x="748" y="204"/>
                  </a:lnTo>
                  <a:lnTo>
                    <a:pt x="750" y="200"/>
                  </a:lnTo>
                  <a:lnTo>
                    <a:pt x="750" y="196"/>
                  </a:lnTo>
                  <a:lnTo>
                    <a:pt x="752" y="194"/>
                  </a:lnTo>
                  <a:lnTo>
                    <a:pt x="754" y="188"/>
                  </a:lnTo>
                  <a:lnTo>
                    <a:pt x="752" y="178"/>
                  </a:lnTo>
                  <a:lnTo>
                    <a:pt x="754" y="172"/>
                  </a:lnTo>
                  <a:lnTo>
                    <a:pt x="754" y="166"/>
                  </a:lnTo>
                  <a:lnTo>
                    <a:pt x="758" y="162"/>
                  </a:lnTo>
                  <a:lnTo>
                    <a:pt x="762" y="160"/>
                  </a:lnTo>
                  <a:lnTo>
                    <a:pt x="762" y="158"/>
                  </a:lnTo>
                  <a:lnTo>
                    <a:pt x="762" y="156"/>
                  </a:lnTo>
                  <a:lnTo>
                    <a:pt x="768" y="158"/>
                  </a:lnTo>
                  <a:lnTo>
                    <a:pt x="770" y="162"/>
                  </a:lnTo>
                  <a:lnTo>
                    <a:pt x="774" y="158"/>
                  </a:lnTo>
                  <a:lnTo>
                    <a:pt x="778" y="154"/>
                  </a:lnTo>
                  <a:lnTo>
                    <a:pt x="780" y="150"/>
                  </a:lnTo>
                  <a:lnTo>
                    <a:pt x="784" y="148"/>
                  </a:lnTo>
                  <a:lnTo>
                    <a:pt x="788" y="142"/>
                  </a:lnTo>
                  <a:lnTo>
                    <a:pt x="792" y="138"/>
                  </a:lnTo>
                  <a:lnTo>
                    <a:pt x="794" y="128"/>
                  </a:lnTo>
                  <a:lnTo>
                    <a:pt x="794" y="122"/>
                  </a:lnTo>
                  <a:lnTo>
                    <a:pt x="798" y="120"/>
                  </a:lnTo>
                  <a:lnTo>
                    <a:pt x="798" y="112"/>
                  </a:lnTo>
                  <a:lnTo>
                    <a:pt x="794" y="108"/>
                  </a:lnTo>
                  <a:lnTo>
                    <a:pt x="794" y="10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198" name="Freeform 562">
              <a:extLst>
                <a:ext uri="{FF2B5EF4-FFF2-40B4-BE49-F238E27FC236}">
                  <a16:creationId xmlns:a16="http://schemas.microsoft.com/office/drawing/2014/main" id="{74720016-BD5E-404E-8AAA-EDF8B15A55D7}"/>
                </a:ext>
              </a:extLst>
            </p:cNvPr>
            <p:cNvSpPr>
              <a:spLocks/>
            </p:cNvSpPr>
            <p:nvPr/>
          </p:nvSpPr>
          <p:spPr bwMode="auto">
            <a:xfrm>
              <a:off x="4158025" y="3962445"/>
              <a:ext cx="520512" cy="629275"/>
            </a:xfrm>
            <a:custGeom>
              <a:avLst/>
              <a:gdLst/>
              <a:ahLst/>
              <a:cxnLst>
                <a:cxn ang="0">
                  <a:pos x="170" y="136"/>
                </a:cxn>
                <a:cxn ang="0">
                  <a:pos x="196" y="158"/>
                </a:cxn>
                <a:cxn ang="0">
                  <a:pos x="248" y="180"/>
                </a:cxn>
                <a:cxn ang="0">
                  <a:pos x="278" y="168"/>
                </a:cxn>
                <a:cxn ang="0">
                  <a:pos x="290" y="158"/>
                </a:cxn>
                <a:cxn ang="0">
                  <a:pos x="332" y="172"/>
                </a:cxn>
                <a:cxn ang="0">
                  <a:pos x="386" y="128"/>
                </a:cxn>
                <a:cxn ang="0">
                  <a:pos x="402" y="150"/>
                </a:cxn>
                <a:cxn ang="0">
                  <a:pos x="362" y="218"/>
                </a:cxn>
                <a:cxn ang="0">
                  <a:pos x="346" y="228"/>
                </a:cxn>
                <a:cxn ang="0">
                  <a:pos x="336" y="246"/>
                </a:cxn>
                <a:cxn ang="0">
                  <a:pos x="322" y="214"/>
                </a:cxn>
                <a:cxn ang="0">
                  <a:pos x="326" y="192"/>
                </a:cxn>
                <a:cxn ang="0">
                  <a:pos x="284" y="182"/>
                </a:cxn>
                <a:cxn ang="0">
                  <a:pos x="286" y="196"/>
                </a:cxn>
                <a:cxn ang="0">
                  <a:pos x="278" y="208"/>
                </a:cxn>
                <a:cxn ang="0">
                  <a:pos x="288" y="236"/>
                </a:cxn>
                <a:cxn ang="0">
                  <a:pos x="260" y="278"/>
                </a:cxn>
                <a:cxn ang="0">
                  <a:pos x="250" y="294"/>
                </a:cxn>
                <a:cxn ang="0">
                  <a:pos x="230" y="316"/>
                </a:cxn>
                <a:cxn ang="0">
                  <a:pos x="208" y="330"/>
                </a:cxn>
                <a:cxn ang="0">
                  <a:pos x="186" y="356"/>
                </a:cxn>
                <a:cxn ang="0">
                  <a:pos x="170" y="370"/>
                </a:cxn>
                <a:cxn ang="0">
                  <a:pos x="170" y="414"/>
                </a:cxn>
                <a:cxn ang="0">
                  <a:pos x="160" y="448"/>
                </a:cxn>
                <a:cxn ang="0">
                  <a:pos x="150" y="468"/>
                </a:cxn>
                <a:cxn ang="0">
                  <a:pos x="136" y="486"/>
                </a:cxn>
                <a:cxn ang="0">
                  <a:pos x="116" y="452"/>
                </a:cxn>
                <a:cxn ang="0">
                  <a:pos x="98" y="414"/>
                </a:cxn>
                <a:cxn ang="0">
                  <a:pos x="92" y="388"/>
                </a:cxn>
                <a:cxn ang="0">
                  <a:pos x="72" y="328"/>
                </a:cxn>
                <a:cxn ang="0">
                  <a:pos x="66" y="276"/>
                </a:cxn>
                <a:cxn ang="0">
                  <a:pos x="60" y="274"/>
                </a:cxn>
                <a:cxn ang="0">
                  <a:pos x="32" y="278"/>
                </a:cxn>
                <a:cxn ang="0">
                  <a:pos x="22" y="254"/>
                </a:cxn>
                <a:cxn ang="0">
                  <a:pos x="24" y="248"/>
                </a:cxn>
                <a:cxn ang="0">
                  <a:pos x="10" y="236"/>
                </a:cxn>
                <a:cxn ang="0">
                  <a:pos x="0" y="216"/>
                </a:cxn>
                <a:cxn ang="0">
                  <a:pos x="44" y="206"/>
                </a:cxn>
                <a:cxn ang="0">
                  <a:pos x="40" y="162"/>
                </a:cxn>
                <a:cxn ang="0">
                  <a:pos x="80" y="118"/>
                </a:cxn>
                <a:cxn ang="0">
                  <a:pos x="98" y="74"/>
                </a:cxn>
                <a:cxn ang="0">
                  <a:pos x="82" y="34"/>
                </a:cxn>
                <a:cxn ang="0">
                  <a:pos x="128" y="16"/>
                </a:cxn>
                <a:cxn ang="0">
                  <a:pos x="150" y="46"/>
                </a:cxn>
                <a:cxn ang="0">
                  <a:pos x="144" y="72"/>
                </a:cxn>
                <a:cxn ang="0">
                  <a:pos x="150" y="98"/>
                </a:cxn>
                <a:cxn ang="0">
                  <a:pos x="176" y="114"/>
                </a:cxn>
              </a:cxnLst>
              <a:rect l="0" t="0" r="r" b="b"/>
              <a:pathLst>
                <a:path w="402" h="486">
                  <a:moveTo>
                    <a:pt x="176" y="114"/>
                  </a:moveTo>
                  <a:lnTo>
                    <a:pt x="172" y="124"/>
                  </a:lnTo>
                  <a:lnTo>
                    <a:pt x="170" y="136"/>
                  </a:lnTo>
                  <a:lnTo>
                    <a:pt x="172" y="148"/>
                  </a:lnTo>
                  <a:lnTo>
                    <a:pt x="180" y="152"/>
                  </a:lnTo>
                  <a:lnTo>
                    <a:pt x="196" y="158"/>
                  </a:lnTo>
                  <a:lnTo>
                    <a:pt x="204" y="164"/>
                  </a:lnTo>
                  <a:lnTo>
                    <a:pt x="222" y="172"/>
                  </a:lnTo>
                  <a:lnTo>
                    <a:pt x="248" y="180"/>
                  </a:lnTo>
                  <a:lnTo>
                    <a:pt x="264" y="180"/>
                  </a:lnTo>
                  <a:lnTo>
                    <a:pt x="274" y="180"/>
                  </a:lnTo>
                  <a:lnTo>
                    <a:pt x="278" y="168"/>
                  </a:lnTo>
                  <a:lnTo>
                    <a:pt x="276" y="156"/>
                  </a:lnTo>
                  <a:lnTo>
                    <a:pt x="280" y="154"/>
                  </a:lnTo>
                  <a:lnTo>
                    <a:pt x="290" y="158"/>
                  </a:lnTo>
                  <a:lnTo>
                    <a:pt x="292" y="168"/>
                  </a:lnTo>
                  <a:lnTo>
                    <a:pt x="298" y="176"/>
                  </a:lnTo>
                  <a:lnTo>
                    <a:pt x="332" y="172"/>
                  </a:lnTo>
                  <a:lnTo>
                    <a:pt x="332" y="158"/>
                  </a:lnTo>
                  <a:lnTo>
                    <a:pt x="354" y="140"/>
                  </a:lnTo>
                  <a:lnTo>
                    <a:pt x="386" y="128"/>
                  </a:lnTo>
                  <a:lnTo>
                    <a:pt x="392" y="132"/>
                  </a:lnTo>
                  <a:lnTo>
                    <a:pt x="390" y="140"/>
                  </a:lnTo>
                  <a:lnTo>
                    <a:pt x="402" y="150"/>
                  </a:lnTo>
                  <a:lnTo>
                    <a:pt x="394" y="160"/>
                  </a:lnTo>
                  <a:lnTo>
                    <a:pt x="376" y="170"/>
                  </a:lnTo>
                  <a:lnTo>
                    <a:pt x="362" y="218"/>
                  </a:lnTo>
                  <a:lnTo>
                    <a:pt x="354" y="218"/>
                  </a:lnTo>
                  <a:lnTo>
                    <a:pt x="352" y="228"/>
                  </a:lnTo>
                  <a:lnTo>
                    <a:pt x="346" y="228"/>
                  </a:lnTo>
                  <a:lnTo>
                    <a:pt x="350" y="250"/>
                  </a:lnTo>
                  <a:lnTo>
                    <a:pt x="336" y="268"/>
                  </a:lnTo>
                  <a:lnTo>
                    <a:pt x="336" y="246"/>
                  </a:lnTo>
                  <a:lnTo>
                    <a:pt x="330" y="238"/>
                  </a:lnTo>
                  <a:lnTo>
                    <a:pt x="320" y="236"/>
                  </a:lnTo>
                  <a:lnTo>
                    <a:pt x="322" y="214"/>
                  </a:lnTo>
                  <a:lnTo>
                    <a:pt x="330" y="206"/>
                  </a:lnTo>
                  <a:lnTo>
                    <a:pt x="330" y="200"/>
                  </a:lnTo>
                  <a:lnTo>
                    <a:pt x="326" y="192"/>
                  </a:lnTo>
                  <a:lnTo>
                    <a:pt x="304" y="194"/>
                  </a:lnTo>
                  <a:lnTo>
                    <a:pt x="294" y="184"/>
                  </a:lnTo>
                  <a:lnTo>
                    <a:pt x="284" y="182"/>
                  </a:lnTo>
                  <a:lnTo>
                    <a:pt x="278" y="188"/>
                  </a:lnTo>
                  <a:lnTo>
                    <a:pt x="284" y="190"/>
                  </a:lnTo>
                  <a:lnTo>
                    <a:pt x="286" y="196"/>
                  </a:lnTo>
                  <a:lnTo>
                    <a:pt x="288" y="202"/>
                  </a:lnTo>
                  <a:lnTo>
                    <a:pt x="278" y="202"/>
                  </a:lnTo>
                  <a:lnTo>
                    <a:pt x="278" y="208"/>
                  </a:lnTo>
                  <a:lnTo>
                    <a:pt x="284" y="216"/>
                  </a:lnTo>
                  <a:lnTo>
                    <a:pt x="284" y="228"/>
                  </a:lnTo>
                  <a:lnTo>
                    <a:pt x="288" y="236"/>
                  </a:lnTo>
                  <a:lnTo>
                    <a:pt x="288" y="258"/>
                  </a:lnTo>
                  <a:lnTo>
                    <a:pt x="264" y="266"/>
                  </a:lnTo>
                  <a:lnTo>
                    <a:pt x="260" y="278"/>
                  </a:lnTo>
                  <a:lnTo>
                    <a:pt x="264" y="282"/>
                  </a:lnTo>
                  <a:lnTo>
                    <a:pt x="260" y="290"/>
                  </a:lnTo>
                  <a:lnTo>
                    <a:pt x="250" y="294"/>
                  </a:lnTo>
                  <a:lnTo>
                    <a:pt x="240" y="298"/>
                  </a:lnTo>
                  <a:lnTo>
                    <a:pt x="230" y="308"/>
                  </a:lnTo>
                  <a:lnTo>
                    <a:pt x="230" y="316"/>
                  </a:lnTo>
                  <a:lnTo>
                    <a:pt x="222" y="322"/>
                  </a:lnTo>
                  <a:lnTo>
                    <a:pt x="218" y="326"/>
                  </a:lnTo>
                  <a:lnTo>
                    <a:pt x="208" y="330"/>
                  </a:lnTo>
                  <a:lnTo>
                    <a:pt x="198" y="344"/>
                  </a:lnTo>
                  <a:lnTo>
                    <a:pt x="196" y="356"/>
                  </a:lnTo>
                  <a:lnTo>
                    <a:pt x="186" y="356"/>
                  </a:lnTo>
                  <a:lnTo>
                    <a:pt x="180" y="362"/>
                  </a:lnTo>
                  <a:lnTo>
                    <a:pt x="172" y="364"/>
                  </a:lnTo>
                  <a:lnTo>
                    <a:pt x="170" y="370"/>
                  </a:lnTo>
                  <a:lnTo>
                    <a:pt x="170" y="386"/>
                  </a:lnTo>
                  <a:lnTo>
                    <a:pt x="172" y="394"/>
                  </a:lnTo>
                  <a:lnTo>
                    <a:pt x="170" y="414"/>
                  </a:lnTo>
                  <a:lnTo>
                    <a:pt x="166" y="424"/>
                  </a:lnTo>
                  <a:lnTo>
                    <a:pt x="168" y="446"/>
                  </a:lnTo>
                  <a:lnTo>
                    <a:pt x="160" y="448"/>
                  </a:lnTo>
                  <a:lnTo>
                    <a:pt x="156" y="452"/>
                  </a:lnTo>
                  <a:lnTo>
                    <a:pt x="156" y="460"/>
                  </a:lnTo>
                  <a:lnTo>
                    <a:pt x="150" y="468"/>
                  </a:lnTo>
                  <a:lnTo>
                    <a:pt x="146" y="474"/>
                  </a:lnTo>
                  <a:lnTo>
                    <a:pt x="144" y="476"/>
                  </a:lnTo>
                  <a:lnTo>
                    <a:pt x="136" y="486"/>
                  </a:lnTo>
                  <a:lnTo>
                    <a:pt x="126" y="480"/>
                  </a:lnTo>
                  <a:lnTo>
                    <a:pt x="120" y="474"/>
                  </a:lnTo>
                  <a:lnTo>
                    <a:pt x="116" y="452"/>
                  </a:lnTo>
                  <a:lnTo>
                    <a:pt x="112" y="438"/>
                  </a:lnTo>
                  <a:lnTo>
                    <a:pt x="106" y="426"/>
                  </a:lnTo>
                  <a:lnTo>
                    <a:pt x="98" y="414"/>
                  </a:lnTo>
                  <a:lnTo>
                    <a:pt x="96" y="406"/>
                  </a:lnTo>
                  <a:lnTo>
                    <a:pt x="96" y="396"/>
                  </a:lnTo>
                  <a:lnTo>
                    <a:pt x="92" y="388"/>
                  </a:lnTo>
                  <a:lnTo>
                    <a:pt x="84" y="362"/>
                  </a:lnTo>
                  <a:lnTo>
                    <a:pt x="78" y="356"/>
                  </a:lnTo>
                  <a:lnTo>
                    <a:pt x="72" y="328"/>
                  </a:lnTo>
                  <a:lnTo>
                    <a:pt x="70" y="306"/>
                  </a:lnTo>
                  <a:lnTo>
                    <a:pt x="68" y="280"/>
                  </a:lnTo>
                  <a:lnTo>
                    <a:pt x="66" y="276"/>
                  </a:lnTo>
                  <a:lnTo>
                    <a:pt x="66" y="260"/>
                  </a:lnTo>
                  <a:lnTo>
                    <a:pt x="60" y="268"/>
                  </a:lnTo>
                  <a:lnTo>
                    <a:pt x="60" y="274"/>
                  </a:lnTo>
                  <a:lnTo>
                    <a:pt x="54" y="282"/>
                  </a:lnTo>
                  <a:lnTo>
                    <a:pt x="40" y="282"/>
                  </a:lnTo>
                  <a:lnTo>
                    <a:pt x="32" y="278"/>
                  </a:lnTo>
                  <a:lnTo>
                    <a:pt x="16" y="260"/>
                  </a:lnTo>
                  <a:lnTo>
                    <a:pt x="16" y="252"/>
                  </a:lnTo>
                  <a:lnTo>
                    <a:pt x="22" y="254"/>
                  </a:lnTo>
                  <a:lnTo>
                    <a:pt x="28" y="252"/>
                  </a:lnTo>
                  <a:lnTo>
                    <a:pt x="34" y="246"/>
                  </a:lnTo>
                  <a:lnTo>
                    <a:pt x="24" y="248"/>
                  </a:lnTo>
                  <a:lnTo>
                    <a:pt x="16" y="248"/>
                  </a:lnTo>
                  <a:lnTo>
                    <a:pt x="10" y="244"/>
                  </a:lnTo>
                  <a:lnTo>
                    <a:pt x="10" y="236"/>
                  </a:lnTo>
                  <a:lnTo>
                    <a:pt x="6" y="236"/>
                  </a:lnTo>
                  <a:lnTo>
                    <a:pt x="4" y="230"/>
                  </a:lnTo>
                  <a:lnTo>
                    <a:pt x="0" y="216"/>
                  </a:lnTo>
                  <a:lnTo>
                    <a:pt x="14" y="210"/>
                  </a:lnTo>
                  <a:lnTo>
                    <a:pt x="32" y="212"/>
                  </a:lnTo>
                  <a:lnTo>
                    <a:pt x="44" y="206"/>
                  </a:lnTo>
                  <a:lnTo>
                    <a:pt x="26" y="176"/>
                  </a:lnTo>
                  <a:lnTo>
                    <a:pt x="34" y="156"/>
                  </a:lnTo>
                  <a:lnTo>
                    <a:pt x="40" y="162"/>
                  </a:lnTo>
                  <a:lnTo>
                    <a:pt x="52" y="146"/>
                  </a:lnTo>
                  <a:lnTo>
                    <a:pt x="68" y="128"/>
                  </a:lnTo>
                  <a:lnTo>
                    <a:pt x="80" y="118"/>
                  </a:lnTo>
                  <a:lnTo>
                    <a:pt x="82" y="110"/>
                  </a:lnTo>
                  <a:lnTo>
                    <a:pt x="92" y="96"/>
                  </a:lnTo>
                  <a:lnTo>
                    <a:pt x="98" y="74"/>
                  </a:lnTo>
                  <a:lnTo>
                    <a:pt x="80" y="66"/>
                  </a:lnTo>
                  <a:lnTo>
                    <a:pt x="72" y="52"/>
                  </a:lnTo>
                  <a:lnTo>
                    <a:pt x="82" y="34"/>
                  </a:lnTo>
                  <a:lnTo>
                    <a:pt x="70" y="20"/>
                  </a:lnTo>
                  <a:lnTo>
                    <a:pt x="102" y="0"/>
                  </a:lnTo>
                  <a:lnTo>
                    <a:pt x="128" y="16"/>
                  </a:lnTo>
                  <a:lnTo>
                    <a:pt x="150" y="2"/>
                  </a:lnTo>
                  <a:lnTo>
                    <a:pt x="168" y="32"/>
                  </a:lnTo>
                  <a:lnTo>
                    <a:pt x="150" y="46"/>
                  </a:lnTo>
                  <a:lnTo>
                    <a:pt x="158" y="60"/>
                  </a:lnTo>
                  <a:lnTo>
                    <a:pt x="150" y="72"/>
                  </a:lnTo>
                  <a:lnTo>
                    <a:pt x="144" y="72"/>
                  </a:lnTo>
                  <a:lnTo>
                    <a:pt x="156" y="76"/>
                  </a:lnTo>
                  <a:lnTo>
                    <a:pt x="158" y="86"/>
                  </a:lnTo>
                  <a:lnTo>
                    <a:pt x="150" y="98"/>
                  </a:lnTo>
                  <a:lnTo>
                    <a:pt x="156" y="102"/>
                  </a:lnTo>
                  <a:lnTo>
                    <a:pt x="168" y="102"/>
                  </a:lnTo>
                  <a:lnTo>
                    <a:pt x="176" y="114"/>
                  </a:lnTo>
                  <a:lnTo>
                    <a:pt x="176" y="114"/>
                  </a:lnTo>
                  <a:close/>
                </a:path>
              </a:pathLst>
            </a:custGeom>
            <a:grpFill/>
            <a:ln w="6350">
              <a:noFill/>
              <a:prstDash val="solid"/>
              <a:round/>
              <a:headEnd/>
              <a:tailEnd/>
            </a:ln>
          </p:spPr>
          <p:txBody>
            <a:bodyPr vert="horz" wrap="square" lIns="72656" tIns="36327" rIns="72656" bIns="36327" numCol="1" anchor="t" anchorCtr="0" compatLnSpc="1">
              <a:prstTxWarp prst="textNoShape">
                <a:avLst/>
              </a:prstTxWarp>
            </a:bodyPr>
            <a:lstStyle/>
            <a:p>
              <a:pPr marL="0" marR="0" lvl="0" indent="0" algn="l" defTabSz="726577" rtl="0" eaLnBrk="1" fontAlgn="auto" latinLnBrk="0" hangingPunct="1">
                <a:lnSpc>
                  <a:spcPct val="100000"/>
                </a:lnSpc>
                <a:spcBef>
                  <a:spcPts val="0"/>
                </a:spcBef>
                <a:spcAft>
                  <a:spcPts val="0"/>
                </a:spcAft>
                <a:buClrTx/>
                <a:buSzTx/>
                <a:buFontTx/>
                <a:buNone/>
                <a:tabLst/>
                <a:defRPr/>
              </a:pPr>
              <a:endParaRPr kumimoji="0" lang="en-US" sz="143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grpSp>
      <p:sp>
        <p:nvSpPr>
          <p:cNvPr id="1200" name="Oval 1199">
            <a:extLst>
              <a:ext uri="{FF2B5EF4-FFF2-40B4-BE49-F238E27FC236}">
                <a16:creationId xmlns:a16="http://schemas.microsoft.com/office/drawing/2014/main" id="{09B42CFF-B5FA-44ED-AD6E-881F49489833}"/>
              </a:ext>
            </a:extLst>
          </p:cNvPr>
          <p:cNvSpPr/>
          <p:nvPr/>
        </p:nvSpPr>
        <p:spPr>
          <a:xfrm>
            <a:off x="10485199" y="2514602"/>
            <a:ext cx="720000" cy="720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Asia-Pacific</a:t>
            </a:r>
          </a:p>
          <a:p>
            <a:pPr marL="0" marR="0" lvl="0" indent="0" algn="ctr" defTabSz="726940" rtl="0" eaLnBrk="1" fontAlgn="auto" latinLnBrk="0" hangingPunct="1">
              <a:lnSpc>
                <a:spcPct val="100000"/>
              </a:lnSpc>
              <a:spcBef>
                <a:spcPts val="0"/>
              </a:spcBef>
              <a:spcAft>
                <a:spcPts val="0"/>
              </a:spcAft>
              <a:buClrTx/>
              <a:buSzTx/>
              <a:buFontTx/>
              <a:buNone/>
              <a:tabLst/>
              <a:defRPr/>
            </a:pPr>
            <a:r>
              <a:rPr lang="en-IN" sz="900" b="1">
                <a:solidFill>
                  <a:srgbClr val="FFE600"/>
                </a:solidFill>
                <a:latin typeface="Calibri" panose="020F0502020204030204" pitchFamily="34" charset="0"/>
                <a:cs typeface="Calibri" panose="020F0502020204030204" pitchFamily="34" charset="0"/>
              </a:rPr>
              <a:t>64,903</a:t>
            </a:r>
            <a:b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br>
            <a: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eople</a:t>
            </a:r>
          </a:p>
        </p:txBody>
      </p:sp>
      <p:sp>
        <p:nvSpPr>
          <p:cNvPr id="1201" name="Oval 1200">
            <a:extLst>
              <a:ext uri="{FF2B5EF4-FFF2-40B4-BE49-F238E27FC236}">
                <a16:creationId xmlns:a16="http://schemas.microsoft.com/office/drawing/2014/main" id="{B91B5831-51C4-44FD-9560-18842EDBD84D}"/>
              </a:ext>
            </a:extLst>
          </p:cNvPr>
          <p:cNvSpPr/>
          <p:nvPr/>
        </p:nvSpPr>
        <p:spPr>
          <a:xfrm>
            <a:off x="9855209" y="1568537"/>
            <a:ext cx="761967" cy="720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EMEIA</a:t>
            </a:r>
          </a:p>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141,307</a:t>
            </a:r>
          </a:p>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eople</a:t>
            </a:r>
          </a:p>
        </p:txBody>
      </p:sp>
      <p:sp>
        <p:nvSpPr>
          <p:cNvPr id="1202" name="Oval 1201">
            <a:extLst>
              <a:ext uri="{FF2B5EF4-FFF2-40B4-BE49-F238E27FC236}">
                <a16:creationId xmlns:a16="http://schemas.microsoft.com/office/drawing/2014/main" id="{84C433C2-7BE5-4CF8-AD0A-D910E14245ED}"/>
              </a:ext>
            </a:extLst>
          </p:cNvPr>
          <p:cNvSpPr/>
          <p:nvPr/>
        </p:nvSpPr>
        <p:spPr>
          <a:xfrm>
            <a:off x="8198165" y="2100912"/>
            <a:ext cx="756000" cy="720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Americas</a:t>
            </a:r>
          </a:p>
          <a:p>
            <a:pPr marL="0" marR="0" lvl="0" indent="0" algn="ctr" defTabSz="726940" rtl="0" eaLnBrk="1" fontAlgn="auto" latinLnBrk="0" hangingPunct="1">
              <a:lnSpc>
                <a:spcPct val="100000"/>
              </a:lnSpc>
              <a:spcBef>
                <a:spcPts val="0"/>
              </a:spcBef>
              <a:spcAft>
                <a:spcPts val="0"/>
              </a:spcAft>
              <a:buClrTx/>
              <a:buSzTx/>
              <a:buFontTx/>
              <a:buNone/>
              <a:tabLst/>
              <a:defRPr/>
            </a:pPr>
            <a:r>
              <a:rPr lang="en-IE" sz="900" b="0" i="0">
                <a:solidFill>
                  <a:srgbClr val="2E2E38"/>
                </a:solidFill>
                <a:effectLst/>
                <a:latin typeface="Calibri" panose="020F0502020204030204" pitchFamily="34" charset="0"/>
                <a:cs typeface="Calibri" panose="020F0502020204030204" pitchFamily="34" charset="0"/>
              </a:rPr>
              <a:t>91,189</a:t>
            </a:r>
          </a:p>
          <a:p>
            <a:pPr marL="0" marR="0" lvl="0" indent="0" algn="ctr" defTabSz="72694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eople</a:t>
            </a:r>
          </a:p>
        </p:txBody>
      </p:sp>
      <p:sp>
        <p:nvSpPr>
          <p:cNvPr id="584" name="Rectangle 583">
            <a:extLst>
              <a:ext uri="{FF2B5EF4-FFF2-40B4-BE49-F238E27FC236}">
                <a16:creationId xmlns:a16="http://schemas.microsoft.com/office/drawing/2014/main" id="{40905946-CFE4-41EA-A185-43109D0C6B70}"/>
              </a:ext>
            </a:extLst>
          </p:cNvPr>
          <p:cNvSpPr/>
          <p:nvPr/>
        </p:nvSpPr>
        <p:spPr>
          <a:xfrm>
            <a:off x="647256" y="3827738"/>
            <a:ext cx="2316201"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GB" sz="900">
              <a:solidFill>
                <a:schemeClr val="bg1"/>
              </a:solidFill>
              <a:latin typeface="Calibri" panose="020F0502020204030204" pitchFamily="34" charset="0"/>
              <a:cs typeface="Calibri" panose="020F0502020204030204" pitchFamily="34" charset="0"/>
            </a:endParaRPr>
          </a:p>
        </p:txBody>
      </p:sp>
      <p:sp>
        <p:nvSpPr>
          <p:cNvPr id="585" name="Rectangle 584">
            <a:extLst>
              <a:ext uri="{FF2B5EF4-FFF2-40B4-BE49-F238E27FC236}">
                <a16:creationId xmlns:a16="http://schemas.microsoft.com/office/drawing/2014/main" id="{C5B711DA-453E-436F-BF72-BD5D6CC14E16}"/>
              </a:ext>
            </a:extLst>
          </p:cNvPr>
          <p:cNvSpPr/>
          <p:nvPr/>
        </p:nvSpPr>
        <p:spPr>
          <a:xfrm>
            <a:off x="3462960" y="3827738"/>
            <a:ext cx="2316201"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GB" sz="900">
              <a:solidFill>
                <a:schemeClr val="bg1"/>
              </a:solidFill>
              <a:latin typeface="Calibri" panose="020F0502020204030204" pitchFamily="34" charset="0"/>
              <a:cs typeface="Calibri" panose="020F0502020204030204" pitchFamily="34" charset="0"/>
            </a:endParaRPr>
          </a:p>
        </p:txBody>
      </p:sp>
      <p:sp>
        <p:nvSpPr>
          <p:cNvPr id="586" name="Rectangle 585">
            <a:extLst>
              <a:ext uri="{FF2B5EF4-FFF2-40B4-BE49-F238E27FC236}">
                <a16:creationId xmlns:a16="http://schemas.microsoft.com/office/drawing/2014/main" id="{0217492B-8C1C-4B81-ACAC-9728A86C6BD6}"/>
              </a:ext>
            </a:extLst>
          </p:cNvPr>
          <p:cNvSpPr/>
          <p:nvPr/>
        </p:nvSpPr>
        <p:spPr>
          <a:xfrm>
            <a:off x="6225396" y="3827737"/>
            <a:ext cx="2316201"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GB" sz="900">
              <a:solidFill>
                <a:schemeClr val="bg1"/>
              </a:solidFill>
              <a:latin typeface="Calibri" panose="020F0502020204030204" pitchFamily="34" charset="0"/>
              <a:cs typeface="Calibri" panose="020F0502020204030204" pitchFamily="34" charset="0"/>
            </a:endParaRPr>
          </a:p>
        </p:txBody>
      </p:sp>
      <p:sp>
        <p:nvSpPr>
          <p:cNvPr id="587" name="Rectangle 586">
            <a:extLst>
              <a:ext uri="{FF2B5EF4-FFF2-40B4-BE49-F238E27FC236}">
                <a16:creationId xmlns:a16="http://schemas.microsoft.com/office/drawing/2014/main" id="{23B55ECC-0332-4453-BF86-F95A469B85EB}"/>
              </a:ext>
            </a:extLst>
          </p:cNvPr>
          <p:cNvSpPr/>
          <p:nvPr/>
        </p:nvSpPr>
        <p:spPr>
          <a:xfrm>
            <a:off x="9101672" y="3827737"/>
            <a:ext cx="2316201" cy="4571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GB" sz="900">
              <a:solidFill>
                <a:schemeClr val="bg1"/>
              </a:solidFill>
              <a:latin typeface="Calibri" panose="020F0502020204030204" pitchFamily="34" charset="0"/>
              <a:cs typeface="Calibri" panose="020F0502020204030204" pitchFamily="34" charset="0"/>
            </a:endParaRPr>
          </a:p>
        </p:txBody>
      </p:sp>
      <p:sp>
        <p:nvSpPr>
          <p:cNvPr id="600" name="Textfeld 16">
            <a:extLst>
              <a:ext uri="{FF2B5EF4-FFF2-40B4-BE49-F238E27FC236}">
                <a16:creationId xmlns:a16="http://schemas.microsoft.com/office/drawing/2014/main" id="{2AA94246-8368-404F-918C-AE07DFAB06C2}"/>
              </a:ext>
            </a:extLst>
          </p:cNvPr>
          <p:cNvSpPr txBox="1">
            <a:spLocks noChangeArrowheads="1"/>
          </p:cNvSpPr>
          <p:nvPr/>
        </p:nvSpPr>
        <p:spPr bwMode="auto">
          <a:xfrm>
            <a:off x="4575362" y="767720"/>
            <a:ext cx="1961826" cy="324000"/>
          </a:xfrm>
          <a:prstGeom prst="rect">
            <a:avLst/>
          </a:prstGeom>
          <a:noFill/>
          <a:ln w="9525">
            <a:noFill/>
            <a:miter lim="800000"/>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rPr>
              <a:t>London</a:t>
            </a:r>
          </a:p>
        </p:txBody>
      </p:sp>
      <p:cxnSp>
        <p:nvCxnSpPr>
          <p:cNvPr id="601" name="Gerade Verbindung 8">
            <a:extLst>
              <a:ext uri="{FF2B5EF4-FFF2-40B4-BE49-F238E27FC236}">
                <a16:creationId xmlns:a16="http://schemas.microsoft.com/office/drawing/2014/main" id="{FE022A83-7BB5-498B-BF03-483894A0CF61}"/>
              </a:ext>
            </a:extLst>
          </p:cNvPr>
          <p:cNvCxnSpPr/>
          <p:nvPr/>
        </p:nvCxnSpPr>
        <p:spPr bwMode="auto">
          <a:xfrm>
            <a:off x="4575362" y="734525"/>
            <a:ext cx="2340000" cy="0"/>
          </a:xfrm>
          <a:prstGeom prst="line">
            <a:avLst/>
          </a:prstGeom>
          <a:noFill/>
          <a:ln w="12700" cap="flat" cmpd="sng" algn="ctr">
            <a:solidFill>
              <a:srgbClr val="646464"/>
            </a:solidFill>
            <a:prstDash val="solid"/>
            <a:tailEnd type="none"/>
          </a:ln>
          <a:effectLst/>
        </p:spPr>
      </p:cxnSp>
      <p:sp>
        <p:nvSpPr>
          <p:cNvPr id="602" name="Textfeld 12">
            <a:extLst>
              <a:ext uri="{FF2B5EF4-FFF2-40B4-BE49-F238E27FC236}">
                <a16:creationId xmlns:a16="http://schemas.microsoft.com/office/drawing/2014/main" id="{B5742737-DEF1-41C0-9421-9023A31ABAE8}"/>
              </a:ext>
            </a:extLst>
          </p:cNvPr>
          <p:cNvSpPr txBox="1">
            <a:spLocks noChangeArrowheads="1"/>
          </p:cNvSpPr>
          <p:nvPr/>
        </p:nvSpPr>
        <p:spPr bwMode="auto">
          <a:xfrm>
            <a:off x="4575362" y="575574"/>
            <a:ext cx="2007026" cy="144000"/>
          </a:xfrm>
          <a:prstGeom prst="rect">
            <a:avLst/>
          </a:prstGeom>
          <a:noFill/>
          <a:ln w="9525">
            <a:noFill/>
            <a:miter lim="800000"/>
            <a:headEnd/>
            <a:tailEnd/>
          </a:ln>
        </p:spPr>
        <p:txBody>
          <a:bodyPr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lobal headquarters</a:t>
            </a:r>
          </a:p>
        </p:txBody>
      </p:sp>
      <p:cxnSp>
        <p:nvCxnSpPr>
          <p:cNvPr id="603" name="Gerade Verbindung 10">
            <a:extLst>
              <a:ext uri="{FF2B5EF4-FFF2-40B4-BE49-F238E27FC236}">
                <a16:creationId xmlns:a16="http://schemas.microsoft.com/office/drawing/2014/main" id="{4B9B76F8-904B-4CDE-8D59-4EFB15901AF3}"/>
              </a:ext>
            </a:extLst>
          </p:cNvPr>
          <p:cNvCxnSpPr/>
          <p:nvPr/>
        </p:nvCxnSpPr>
        <p:spPr bwMode="auto">
          <a:xfrm>
            <a:off x="7103949" y="738661"/>
            <a:ext cx="2340000" cy="0"/>
          </a:xfrm>
          <a:prstGeom prst="line">
            <a:avLst/>
          </a:prstGeom>
          <a:noFill/>
          <a:ln w="12700" cap="flat" cmpd="sng" algn="ctr">
            <a:solidFill>
              <a:srgbClr val="646464"/>
            </a:solidFill>
            <a:prstDash val="solid"/>
            <a:tailEnd type="none"/>
          </a:ln>
          <a:effectLst/>
        </p:spPr>
      </p:cxnSp>
      <p:sp>
        <p:nvSpPr>
          <p:cNvPr id="604" name="Textfeld 16">
            <a:extLst>
              <a:ext uri="{FF2B5EF4-FFF2-40B4-BE49-F238E27FC236}">
                <a16:creationId xmlns:a16="http://schemas.microsoft.com/office/drawing/2014/main" id="{A8067DFA-4220-488F-8D06-BEBE21413D6B}"/>
              </a:ext>
            </a:extLst>
          </p:cNvPr>
          <p:cNvSpPr txBox="1">
            <a:spLocks noChangeArrowheads="1"/>
          </p:cNvSpPr>
          <p:nvPr/>
        </p:nvSpPr>
        <p:spPr bwMode="auto">
          <a:xfrm>
            <a:off x="7103949" y="790802"/>
            <a:ext cx="2081890" cy="324000"/>
          </a:xfrm>
          <a:prstGeom prst="rect">
            <a:avLst/>
          </a:prstGeom>
          <a:noFill/>
          <a:ln w="9525">
            <a:noFill/>
            <a:miter lim="800000"/>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r>
              <a:rPr lang="en-IE" sz="2400" b="1" kern="0">
                <a:solidFill>
                  <a:srgbClr val="FFE600"/>
                </a:solidFill>
                <a:latin typeface="Calibri" panose="020F0502020204030204" pitchFamily="34" charset="0"/>
                <a:cs typeface="Calibri" panose="020F0502020204030204" pitchFamily="34" charset="0"/>
              </a:rPr>
              <a:t>+365k</a:t>
            </a:r>
            <a:endParaRPr kumimoji="0" lang="en-US" sz="2400"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p:txBody>
      </p:sp>
      <p:sp>
        <p:nvSpPr>
          <p:cNvPr id="605" name="Textfeld 12">
            <a:extLst>
              <a:ext uri="{FF2B5EF4-FFF2-40B4-BE49-F238E27FC236}">
                <a16:creationId xmlns:a16="http://schemas.microsoft.com/office/drawing/2014/main" id="{C3DF1BC8-AB63-4DF1-90B4-1F940BA788AC}"/>
              </a:ext>
            </a:extLst>
          </p:cNvPr>
          <p:cNvSpPr txBox="1">
            <a:spLocks noChangeArrowheads="1"/>
          </p:cNvSpPr>
          <p:nvPr/>
        </p:nvSpPr>
        <p:spPr bwMode="auto">
          <a:xfrm>
            <a:off x="7103949" y="587685"/>
            <a:ext cx="2007026" cy="144000"/>
          </a:xfrm>
          <a:prstGeom prst="rect">
            <a:avLst/>
          </a:prstGeom>
          <a:noFill/>
          <a:ln w="9525">
            <a:noFill/>
            <a:miter lim="800000"/>
            <a:headEnd/>
            <a:tailEnd/>
          </a:ln>
        </p:spPr>
        <p:txBody>
          <a:bodyPr lIns="0" tIns="0" rIns="0" bIns="0" anchor="b"/>
          <a:lstStyle/>
          <a:p>
            <a:pPr marL="0" marR="0" lvl="0" indent="0" defTabSz="914400" eaLnBrk="0" fontAlgn="auto" latinLnBrk="0" hangingPunct="0">
              <a:lnSpc>
                <a:spcPct val="100000"/>
              </a:lnSpc>
              <a:spcBef>
                <a:spcPts val="0"/>
              </a:spcBef>
              <a:spcAft>
                <a:spcPts val="0"/>
              </a:spcAft>
              <a:buClr>
                <a:srgbClr val="FFE600"/>
              </a:buClr>
              <a:buSzPct val="100000"/>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charset="0"/>
              </a:rPr>
              <a:t>Professionals worldwide</a:t>
            </a:r>
          </a:p>
        </p:txBody>
      </p:sp>
      <p:sp>
        <p:nvSpPr>
          <p:cNvPr id="606" name="Textfeld 13">
            <a:extLst>
              <a:ext uri="{FF2B5EF4-FFF2-40B4-BE49-F238E27FC236}">
                <a16:creationId xmlns:a16="http://schemas.microsoft.com/office/drawing/2014/main" id="{D1CF7F85-18D2-46F2-8D6E-D19546404185}"/>
              </a:ext>
            </a:extLst>
          </p:cNvPr>
          <p:cNvSpPr txBox="1">
            <a:spLocks noChangeArrowheads="1"/>
          </p:cNvSpPr>
          <p:nvPr/>
        </p:nvSpPr>
        <p:spPr bwMode="auto">
          <a:xfrm>
            <a:off x="9679424" y="966538"/>
            <a:ext cx="1891947" cy="277265"/>
          </a:xfrm>
          <a:prstGeom prst="rect">
            <a:avLst/>
          </a:prstGeom>
          <a:noFill/>
          <a:ln w="9525">
            <a:no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646464"/>
              </a:solidFill>
              <a:effectLst/>
              <a:uLnTx/>
              <a:uFillTx/>
              <a:latin typeface="Calibri" panose="020F0502020204030204" pitchFamily="34" charset="0"/>
              <a:cs typeface="Calibri" panose="020F0502020204030204" pitchFamily="34" charset="0"/>
            </a:endParaRPr>
          </a:p>
        </p:txBody>
      </p:sp>
      <p:sp>
        <p:nvSpPr>
          <p:cNvPr id="607" name="Textfeld 17">
            <a:extLst>
              <a:ext uri="{FF2B5EF4-FFF2-40B4-BE49-F238E27FC236}">
                <a16:creationId xmlns:a16="http://schemas.microsoft.com/office/drawing/2014/main" id="{5E9DB7C5-E35B-4819-BA5E-AA78F9826259}"/>
              </a:ext>
            </a:extLst>
          </p:cNvPr>
          <p:cNvSpPr txBox="1">
            <a:spLocks noChangeArrowheads="1"/>
          </p:cNvSpPr>
          <p:nvPr/>
        </p:nvSpPr>
        <p:spPr bwMode="auto">
          <a:xfrm>
            <a:off x="9679424" y="780964"/>
            <a:ext cx="1330717" cy="324000"/>
          </a:xfrm>
          <a:prstGeom prst="rect">
            <a:avLst/>
          </a:prstGeom>
          <a:noFill/>
          <a:ln w="9525">
            <a:noFill/>
            <a:miter lim="800000"/>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E" sz="2400"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rPr>
              <a:t>+150</a:t>
            </a:r>
            <a:endParaRPr kumimoji="0" lang="en-US" sz="2400" b="1" i="0" u="none" strike="noStrike" kern="0" cap="none" spc="0" normalizeH="0" baseline="0" noProof="0">
              <a:ln>
                <a:noFill/>
              </a:ln>
              <a:solidFill>
                <a:srgbClr val="FFE600"/>
              </a:solidFill>
              <a:effectLst/>
              <a:uLnTx/>
              <a:uFillTx/>
              <a:latin typeface="Calibri" panose="020F0502020204030204" pitchFamily="34" charset="0"/>
              <a:cs typeface="Calibri" panose="020F0502020204030204" pitchFamily="34" charset="0"/>
            </a:endParaRPr>
          </a:p>
        </p:txBody>
      </p:sp>
      <p:cxnSp>
        <p:nvCxnSpPr>
          <p:cNvPr id="608" name="Gerade Verbindung 9">
            <a:extLst>
              <a:ext uri="{FF2B5EF4-FFF2-40B4-BE49-F238E27FC236}">
                <a16:creationId xmlns:a16="http://schemas.microsoft.com/office/drawing/2014/main" id="{5866F056-4B20-4042-B47B-A2202E93810A}"/>
              </a:ext>
            </a:extLst>
          </p:cNvPr>
          <p:cNvCxnSpPr/>
          <p:nvPr/>
        </p:nvCxnSpPr>
        <p:spPr bwMode="auto">
          <a:xfrm>
            <a:off x="9679424" y="732565"/>
            <a:ext cx="2340000" cy="0"/>
          </a:xfrm>
          <a:prstGeom prst="line">
            <a:avLst/>
          </a:prstGeom>
          <a:noFill/>
          <a:ln w="12700" cap="flat" cmpd="sng" algn="ctr">
            <a:solidFill>
              <a:srgbClr val="646464"/>
            </a:solidFill>
            <a:prstDash val="solid"/>
            <a:tailEnd type="none"/>
          </a:ln>
          <a:effectLst/>
        </p:spPr>
      </p:cxnSp>
      <p:sp>
        <p:nvSpPr>
          <p:cNvPr id="609" name="Textfeld 12">
            <a:extLst>
              <a:ext uri="{FF2B5EF4-FFF2-40B4-BE49-F238E27FC236}">
                <a16:creationId xmlns:a16="http://schemas.microsoft.com/office/drawing/2014/main" id="{C1AB0CC7-B1CB-439F-A91C-EADAF28CB80E}"/>
              </a:ext>
            </a:extLst>
          </p:cNvPr>
          <p:cNvSpPr txBox="1">
            <a:spLocks noChangeArrowheads="1"/>
          </p:cNvSpPr>
          <p:nvPr/>
        </p:nvSpPr>
        <p:spPr bwMode="auto">
          <a:xfrm>
            <a:off x="9679424" y="590525"/>
            <a:ext cx="2007026" cy="144000"/>
          </a:xfrm>
          <a:prstGeom prst="rect">
            <a:avLst/>
          </a:prstGeom>
          <a:noFill/>
          <a:ln w="9525">
            <a:noFill/>
            <a:miter lim="800000"/>
            <a:headEnd/>
            <a:tailEnd/>
          </a:ln>
        </p:spPr>
        <p:txBody>
          <a:bodyPr lIns="0" tIns="0" rIns="0" bIns="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ountries</a:t>
            </a:r>
          </a:p>
        </p:txBody>
      </p:sp>
      <p:sp>
        <p:nvSpPr>
          <p:cNvPr id="615" name="Oval 614">
            <a:extLst>
              <a:ext uri="{FF2B5EF4-FFF2-40B4-BE49-F238E27FC236}">
                <a16:creationId xmlns:a16="http://schemas.microsoft.com/office/drawing/2014/main" id="{4AE9AC28-4F85-476C-B916-43F3FE0641B4}"/>
              </a:ext>
            </a:extLst>
          </p:cNvPr>
          <p:cNvSpPr/>
          <p:nvPr/>
        </p:nvSpPr>
        <p:spPr>
          <a:xfrm>
            <a:off x="9176454" y="2543132"/>
            <a:ext cx="720000" cy="720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726940" rtl="0" eaLnBrk="1" fontAlgn="auto" latinLnBrk="0" hangingPunct="1">
              <a:lnSpc>
                <a:spcPct val="100000"/>
              </a:lnSpc>
              <a:spcBef>
                <a:spcPts val="0"/>
              </a:spcBef>
              <a:spcAft>
                <a:spcPts val="0"/>
              </a:spcAft>
              <a:buClrTx/>
              <a:buSzTx/>
              <a:buFontTx/>
              <a:buNone/>
              <a:tabLst/>
              <a:defRPr/>
            </a:pPr>
            <a:r>
              <a:rPr lang="en-IN" sz="900" b="1">
                <a:solidFill>
                  <a:srgbClr val="2E2E38"/>
                </a:solidFill>
                <a:latin typeface="Calibri" panose="020F0502020204030204" pitchFamily="34" charset="0"/>
                <a:cs typeface="Calibri" panose="020F0502020204030204" pitchFamily="34" charset="0"/>
              </a:rPr>
              <a:t>Global </a:t>
            </a:r>
          </a:p>
          <a:p>
            <a:pPr marL="0" marR="0" lvl="0" indent="0" algn="ctr" defTabSz="726940" rtl="0" eaLnBrk="1" fontAlgn="auto" latinLnBrk="0" hangingPunct="1">
              <a:lnSpc>
                <a:spcPct val="100000"/>
              </a:lnSpc>
              <a:spcBef>
                <a:spcPts val="0"/>
              </a:spcBef>
              <a:spcAft>
                <a:spcPts val="0"/>
              </a:spcAft>
              <a:buClrTx/>
              <a:buSzTx/>
              <a:buFontTx/>
              <a:buNone/>
              <a:tabLst/>
              <a:defRPr/>
            </a:pPr>
            <a:r>
              <a:rPr lang="en-IN" sz="900" b="1">
                <a:solidFill>
                  <a:srgbClr val="2E2E38"/>
                </a:solidFill>
                <a:latin typeface="Calibri" panose="020F0502020204030204" pitchFamily="34" charset="0"/>
                <a:cs typeface="Calibri" panose="020F0502020204030204" pitchFamily="34" charset="0"/>
              </a:rPr>
              <a:t>68,000</a:t>
            </a:r>
            <a:b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br>
            <a:r>
              <a:rPr kumimoji="0" lang="en-IN"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eople</a:t>
            </a:r>
          </a:p>
        </p:txBody>
      </p:sp>
    </p:spTree>
    <p:extLst>
      <p:ext uri="{BB962C8B-B14F-4D97-AF65-F5344CB8AC3E}">
        <p14:creationId xmlns:p14="http://schemas.microsoft.com/office/powerpoint/2010/main" val="209356824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101722" y="1389998"/>
            <a:ext cx="5868539" cy="4820246"/>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86757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561966"/>
          </a:xfrm>
          <a:prstGeom prst="rect">
            <a:avLst/>
          </a:prstGeom>
        </p:spPr>
        <p:txBody>
          <a:bodyPr wrap="square" lIns="91440" tIns="45720" rIns="91440" bIns="45720" anchor="t">
            <a:spAutoFit/>
          </a:bodyPr>
          <a:lstStyle/>
          <a:p>
            <a:pPr marL="180975" indent="-180975" algn="just">
              <a:spcAft>
                <a:spcPts val="300"/>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Brian has over 20 years of experience working in the Technology space, with a background in IT Architecture, Virtualization &amp; Cloud, Security, Technical Writing, and Intelligent Automation. He is TOGAF 9 certified and holds Solutions Architect certifications for Azure &amp; AWS and is a MCT for 2023.</a:t>
            </a:r>
            <a:endParaRPr lang="en-US">
              <a:solidFill>
                <a:schemeClr val="bg1"/>
              </a:solidFill>
              <a:latin typeface="Calibri" panose="020F0502020204030204" pitchFamily="34" charset="0"/>
              <a:cs typeface="Calibri" panose="020F0502020204030204" pitchFamily="34" charset="0"/>
            </a:endParaRPr>
          </a:p>
          <a:p>
            <a:pPr marL="180975" indent="-180975" algn="just">
              <a:spcAft>
                <a:spcPts val="300"/>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Prior to joining EY, Brian spent 6 years as a Lead Engineer and Architect enhancing and securing one of the largest private cloud infrastructures in the world. He has architected greenfield private cloud infrastructure for a wide variety of workloads and acted as the technical lead on a large-scale workload migration projects to lift-and-shift of regional sites into centralised datacentres. </a:t>
            </a:r>
            <a:endParaRPr lang="en-IE">
              <a:solidFill>
                <a:schemeClr val="bg1"/>
              </a:solidFill>
              <a:latin typeface="Calibri" panose="020F0502020204030204" pitchFamily="34" charset="0"/>
              <a:cs typeface="Calibri" panose="020F0502020204030204" pitchFamily="34" charset="0"/>
            </a:endParaRPr>
          </a:p>
          <a:p>
            <a:pPr marL="180975" indent="-180975" algn="just">
              <a:spcAft>
                <a:spcPts val="300"/>
              </a:spcAft>
              <a:buSzPct val="75000"/>
              <a:buFont typeface="EYInterstate Light" pitchFamily="2" charset="0"/>
              <a:buChar char="►"/>
            </a:pPr>
            <a:r>
              <a:rPr lang="en-IE" sz="800">
                <a:solidFill>
                  <a:schemeClr val="bg1"/>
                </a:solidFill>
                <a:latin typeface="Calibri" panose="020F0502020204030204" pitchFamily="34" charset="0"/>
                <a:cs typeface="Calibri" panose="020F0502020204030204" pitchFamily="34" charset="0"/>
              </a:rPr>
              <a:t>Recently he has delivered an Azure Data Platform for a major government client, managed software updates &amp; defects for the operations team rolling out Smart Electric meters across Ireland, and automated data processing operations for the Department of Environment Climate &amp; Communications</a:t>
            </a:r>
            <a:endParaRPr lang="en-IE">
              <a:solidFill>
                <a:schemeClr val="bg1"/>
              </a:solidFill>
              <a:latin typeface="Calibri" panose="020F0502020204030204" pitchFamily="34" charset="0"/>
              <a:cs typeface="Calibri" panose="020F0502020204030204" pitchFamily="34" charset="0"/>
            </a:endParaRPr>
          </a:p>
          <a:p>
            <a:pPr marL="180975" indent="-180975" algn="just">
              <a:spcAft>
                <a:spcPts val="300"/>
              </a:spcAft>
              <a:buSzPct val="75000"/>
              <a:buFont typeface="EYInterstate Light" pitchFamily="2" charset="0"/>
              <a:buChar char="►"/>
            </a:pPr>
            <a:endParaRPr lang="en-IE" sz="800">
              <a:solidFill>
                <a:schemeClr val="bg1"/>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032559" y="1603989"/>
            <a:ext cx="5932318" cy="5139869"/>
          </a:xfrm>
          <a:prstGeom prst="rect">
            <a:avLst/>
          </a:prstGeom>
        </p:spPr>
        <p:txBody>
          <a:bodyPr wrap="square" lIns="91440" tIns="45720" rIns="91440" bIns="45720" anchor="t">
            <a:spAutoFit/>
          </a:bodyPr>
          <a:lstStyle/>
          <a:p>
            <a:pPr marL="146050" indent="-146050" algn="just" defTabSz="1006520" fontAlgn="base">
              <a:spcAft>
                <a:spcPts val="100"/>
              </a:spcAft>
              <a:buClr>
                <a:srgbClr val="000000">
                  <a:lumMod val="75000"/>
                  <a:lumOff val="25000"/>
                </a:srgbClr>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overnment Department of Housing </a:t>
            </a:r>
            <a:endParaRPr lang="en-US">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loud Platform Delivery Manager responsible for the delivery of an Azure Synapse Data Platform tracking and forecasting Housing supply and delivery across the Irish state</a:t>
            </a:r>
          </a:p>
          <a:p>
            <a:pPr marL="146050" lvl="1"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reate &amp; maintain Az Terraform code to provision and manage infrastructure resources via Azure DevOps pipelines</a:t>
            </a:r>
            <a:endParaRPr lang="en-IE">
              <a:solidFill>
                <a:schemeClr val="bg1"/>
              </a:solidFill>
              <a:latin typeface="Calibri" panose="020F0502020204030204" pitchFamily="34" charset="0"/>
              <a:cs typeface="Calibri" panose="020F0502020204030204" pitchFamily="34" charset="0"/>
            </a:endParaRPr>
          </a:p>
          <a:p>
            <a:pPr marL="146050" lvl="1"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eparation of platform documentation and managing handover &amp; client upskilling activities</a:t>
            </a:r>
            <a:endParaRPr lang="en-IE">
              <a:solidFill>
                <a:schemeClr val="bg1"/>
              </a:solidFill>
              <a:latin typeface="Calibri" panose="020F0502020204030204" pitchFamily="34" charset="0"/>
              <a:cs typeface="Calibri" panose="020F0502020204030204" pitchFamily="34" charset="0"/>
            </a:endParaRPr>
          </a:p>
          <a:p>
            <a:pPr marL="146050" lvl="1" indent="-146050" algn="just" defTabSz="1006520">
              <a:spcBef>
                <a:spcPct val="0"/>
              </a:spcBef>
              <a:spcAft>
                <a:spcPts val="1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overnment Department of Environment, Climate &amp; Communications </a:t>
            </a:r>
            <a:endParaRPr lang="en-IE" b="1">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reated custom-made automation to retrieve and process data from external APIs for consumption by DECC reporting</a:t>
            </a:r>
          </a:p>
          <a:p>
            <a:pPr marL="146050" indent="-146050" algn="just" defTabSz="1006520">
              <a:spcAft>
                <a:spcPts val="1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Power &amp; Utilities</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trategy, Design, Planning SMR responsible for ensuring design integrity relating to capacity management, scalability, and process automation across both BAU operations and IT delivery teams</a:t>
            </a: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reation &amp; maintenance of intelligent automation workflows and applications using Microsoft Power Platform &amp; document management via SharePoint</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Implementation of Azure DevOps for defect management &amp; holistic lifecycle tracking</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irectly worked with deployment teams, test teams, and software suppliers to manage software update planning, timelining and the introduction of new releases and system patches. Delivery of these changes from project to operational teams</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FinTech &amp; Pharma</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erformed an application assessment by reviewing solution delivery documents and analysing a custom developed stack of applications tailored towards running and operating pharmacies. Identified areas of opportunity in relation to application security, hosting configuration, operational access and O365 implementation</a:t>
            </a: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Reviewed and assessed Disaster Recovery plans &amp; testing for hosting, networks, data storage, bespoke applications and O365. Identified single points of failure and opportunities for improvement</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Technology Security</a:t>
            </a: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Architected &amp; implemented greenfield private clouds for large tech security vendors, supporting production, non-production, PCI, and virtual desktop workloads</a:t>
            </a: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Acted as an Infrastructure Technology Lead for development teams, ensuring sound infrastructure practices and design were embedded in projects at an early stage</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Worked as the delivery lead for infrastructural projects across different regions</a:t>
            </a:r>
            <a:endParaRPr lang="en-IE">
              <a:solidFill>
                <a:srgbClr val="FFFFFF"/>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Integrated multiple data systems to develop a ‘single pane of glass’ view of enterprise deployments and </a:t>
            </a:r>
            <a:r>
              <a:rPr lang="en-IE" sz="800" err="1">
                <a:solidFill>
                  <a:schemeClr val="bg1"/>
                </a:solidFill>
                <a:latin typeface="Calibri" panose="020F0502020204030204" pitchFamily="34" charset="0"/>
                <a:cs typeface="Calibri" panose="020F0502020204030204" pitchFamily="34" charset="0"/>
              </a:rPr>
              <a:t>datacenter</a:t>
            </a:r>
            <a:r>
              <a:rPr lang="en-IE" sz="800">
                <a:solidFill>
                  <a:schemeClr val="bg1"/>
                </a:solidFill>
                <a:latin typeface="Calibri" panose="020F0502020204030204" pitchFamily="34" charset="0"/>
                <a:cs typeface="Calibri" panose="020F0502020204030204" pitchFamily="34" charset="0"/>
              </a:rPr>
              <a:t> capacity</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reated application specific capacity reporting, enabling smarter decisions from both IT and application owners</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esigned &amp; delivered a secure system for working on malware in corporate environments, allowing in-band access for users to remotely control workloads running in insecure network zones</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reated &amp; deployed automation to control, monitor, and update critical back-end processing components related to customer data submissions</a:t>
            </a:r>
            <a:endParaRPr lang="en-IE">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a:p>
            <a:pPr marL="146050" indent="-146050" algn="just" defTabSz="1006520">
              <a:spcAft>
                <a:spcPts val="100"/>
              </a:spcAft>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784545"/>
            <a:ext cx="5317301" cy="1620873"/>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398552"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Senior Manager</a:t>
            </a:r>
          </a:p>
          <a:p>
            <a:pPr defTabSz="913943"/>
            <a:r>
              <a:rPr lang="en-IE" sz="1200">
                <a:solidFill>
                  <a:schemeClr val="bg1"/>
                </a:solidFill>
                <a:latin typeface="Calibri" panose="020F0502020204030204" pitchFamily="34" charset="0"/>
                <a:cs typeface="Calibri" panose="020F0502020204030204" pitchFamily="34" charset="0"/>
              </a:rPr>
              <a:t>EY 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Delivery Manager</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52209"/>
            <a:ext cx="2191385" cy="590931"/>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panose="020F0502020204030204" pitchFamily="34" charset="0"/>
                <a:cs typeface="Calibri" panose="020F0502020204030204" pitchFamily="34" charset="0"/>
              </a:rPr>
              <a:t>Brian Bambrick</a:t>
            </a:r>
          </a:p>
          <a:p>
            <a:endParaRPr lang="en-US">
              <a:solidFill>
                <a:schemeClr val="bg1"/>
              </a:solidFill>
              <a:latin typeface="Calibri" panose="020F0502020204030204" pitchFamily="34" charset="0"/>
              <a:cs typeface="Calibri" panose="020F0502020204030204" pitchFamily="34" charset="0"/>
            </a:endParaRPr>
          </a:p>
        </p:txBody>
      </p:sp>
      <p:sp>
        <p:nvSpPr>
          <p:cNvPr id="24" name="Rectangle 52">
            <a:extLst>
              <a:ext uri="{FF2B5EF4-FFF2-40B4-BE49-F238E27FC236}">
                <a16:creationId xmlns:a16="http://schemas.microsoft.com/office/drawing/2014/main" id="{F157CDD7-E4B0-DBE6-3BF9-A80704C2E8E2}"/>
              </a:ext>
            </a:extLst>
          </p:cNvPr>
          <p:cNvSpPr/>
          <p:nvPr/>
        </p:nvSpPr>
        <p:spPr>
          <a:xfrm>
            <a:off x="6101721" y="1379114"/>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rtlCol="0" anchor="t" anchorCtr="0"/>
          <a:lstStyle/>
          <a:p>
            <a:pPr defTabSz="913943"/>
            <a:r>
              <a:rPr lang="en-US" sz="1199" b="1" kern="0">
                <a:solidFill>
                  <a:schemeClr val="bg1"/>
                </a:solidFill>
                <a:latin typeface="Calibri" panose="020F0502020204030204" pitchFamily="34" charset="0"/>
                <a:cs typeface="Calibri" panose="020F0502020204030204" pitchFamily="34" charset="0"/>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32790" y="4784545"/>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rtlCol="0" anchor="t" anchorCtr="0"/>
          <a:lstStyle/>
          <a:p>
            <a:pPr defTabSz="913943"/>
            <a:r>
              <a:rPr lang="en-US" sz="1199" b="1" kern="0">
                <a:latin typeface="Calibri" panose="020F0502020204030204" pitchFamily="34" charset="0"/>
                <a:cs typeface="Calibri" panose="020F0502020204030204" pitchFamily="34" charset="0"/>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a:t>
            </a:r>
            <a:r>
              <a:rPr lang="en-US" sz="1150" b="1" kern="0">
                <a:latin typeface="Calibri" panose="020F0502020204030204" pitchFamily="34" charset="0"/>
                <a:cs typeface="Calibri" panose="020F0502020204030204" pitchFamily="34" charset="0"/>
              </a:rPr>
              <a:t>Brian</a:t>
            </a:r>
            <a:endParaRPr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sp>
        <p:nvSpPr>
          <p:cNvPr id="5" name="Rectangle 4">
            <a:extLst>
              <a:ext uri="{FF2B5EF4-FFF2-40B4-BE49-F238E27FC236}">
                <a16:creationId xmlns:a16="http://schemas.microsoft.com/office/drawing/2014/main" id="{1AA4F3D1-45B7-A72E-14AB-197DB6665F5F}"/>
              </a:ext>
            </a:extLst>
          </p:cNvPr>
          <p:cNvSpPr/>
          <p:nvPr/>
        </p:nvSpPr>
        <p:spPr>
          <a:xfrm>
            <a:off x="632790" y="5054060"/>
            <a:ext cx="2842752" cy="1184940"/>
          </a:xfrm>
          <a:prstGeom prst="rect">
            <a:avLst/>
          </a:prstGeom>
        </p:spPr>
        <p:txBody>
          <a:bodyPr wrap="square" lIns="91440" tIns="45720" rIns="91440" bIns="45720" anchor="t">
            <a:spAutoFit/>
          </a:bodyPr>
          <a:lstStyle/>
          <a:p>
            <a:pPr marL="180340" indent="-180340" algn="just"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Excellent customer-facing advisory and consultancy skills</a:t>
            </a:r>
          </a:p>
          <a:p>
            <a:pPr marL="180340" lvl="3"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Cloud architecture design, delivery, and migration lead</a:t>
            </a:r>
            <a:endParaRPr lang="en-IE">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Technology systems analysis, planning &amp; design</a:t>
            </a:r>
            <a:endParaRPr lang="en-IE">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Proven technical &amp; people leadership credentials</a:t>
            </a:r>
            <a:endParaRPr lang="en-IE">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Operations management</a:t>
            </a:r>
            <a:endParaRPr lang="en-IE">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Technical Writing</a:t>
            </a:r>
            <a:endParaRPr lang="en-IE">
              <a:solidFill>
                <a:schemeClr val="bg1"/>
              </a:solidFill>
              <a:latin typeface="Calibri" panose="020F0502020204030204" pitchFamily="34" charset="0"/>
              <a:cs typeface="Calibri" panose="020F0502020204030204" pitchFamily="34" charset="0"/>
            </a:endParaRPr>
          </a:p>
          <a:p>
            <a:pPr marL="180340" lvl="3" indent="-180340" algn="just" defTabSz="1018971">
              <a:spcAft>
                <a:spcPts val="300"/>
              </a:spcAft>
              <a:buClr>
                <a:srgbClr val="2E2E38"/>
              </a:buClr>
              <a:buSzPct val="70000"/>
              <a:buFont typeface="Arial" panose="020B0604020202020204" pitchFamily="34" charset="0"/>
              <a:buChar char="►"/>
              <a:defRPr/>
            </a:pPr>
            <a:endParaRPr lang="en-IE" sz="800">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4149453-3DEF-2E15-6311-535F75F8CCA1}"/>
              </a:ext>
            </a:extLst>
          </p:cNvPr>
          <p:cNvSpPr/>
          <p:nvPr/>
        </p:nvSpPr>
        <p:spPr>
          <a:xfrm>
            <a:off x="3477961" y="5048077"/>
            <a:ext cx="2438247" cy="1308050"/>
          </a:xfrm>
          <a:prstGeom prst="rect">
            <a:avLst/>
          </a:prstGeom>
        </p:spPr>
        <p:txBody>
          <a:bodyPr wrap="square" lIns="91440" tIns="45720" rIns="91440" bIns="45720" anchor="t">
            <a:spAutoFit/>
          </a:bodyPr>
          <a:lstStyle/>
          <a:p>
            <a:pPr marL="182880"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Azure Solutions Architect Expert </a:t>
            </a:r>
            <a:endParaRPr lang="en-US">
              <a:solidFill>
                <a:schemeClr val="bg1"/>
              </a:solidFill>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AWS Certified Solutions Architect </a:t>
            </a:r>
            <a:endParaRPr lang="en-IE">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Certified TOGAF 9 Enterprise Architect</a:t>
            </a:r>
            <a:endParaRPr lang="en-IE">
              <a:solidFill>
                <a:schemeClr val="bg1"/>
              </a:solidFill>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ITIL Foundations 4</a:t>
            </a:r>
            <a:endParaRPr lang="en-IE">
              <a:solidFill>
                <a:schemeClr val="bg1"/>
              </a:solidFill>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Trainer 2023</a:t>
            </a:r>
            <a:endParaRPr lang="en-IE">
              <a:solidFill>
                <a:schemeClr val="bg1"/>
              </a:solidFill>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VMware Certified Professional (VCP3 – VCP6.5)</a:t>
            </a:r>
            <a:endParaRPr lang="en-IE">
              <a:solidFill>
                <a:schemeClr val="bg1"/>
              </a:solidFill>
              <a:latin typeface="Calibri" panose="020F0502020204030204" pitchFamily="34" charset="0"/>
              <a:cs typeface="Calibri" panose="020F0502020204030204" pitchFamily="34" charset="0"/>
            </a:endParaRPr>
          </a:p>
          <a:p>
            <a:pPr marL="182880" lvl="4" indent="-180340" algn="just" defTabSz="1018971">
              <a:spcAft>
                <a:spcPts val="300"/>
              </a:spcAft>
              <a:buClr>
                <a:srgbClr val="2E2E38"/>
              </a:buClr>
              <a:buSzPct val="70000"/>
              <a:buFont typeface="Arial" panose="020B0604020202020204" pitchFamily="34" charset="0"/>
              <a:buChar char="►"/>
              <a:defRPr/>
            </a:pPr>
            <a:endParaRPr lang="en-IE" sz="800">
              <a:solidFill>
                <a:schemeClr val="bg1"/>
              </a:solidFill>
              <a:latin typeface="Calibri" panose="020F0502020204030204" pitchFamily="34" charset="0"/>
              <a:cs typeface="Calibri" panose="020F0502020204030204" pitchFamily="34" charset="0"/>
            </a:endParaRPr>
          </a:p>
        </p:txBody>
      </p:sp>
      <p:pic>
        <p:nvPicPr>
          <p:cNvPr id="2" name="Picture 3" descr="A person in a suit&#10;&#10;Description automatically generated">
            <a:extLst>
              <a:ext uri="{FF2B5EF4-FFF2-40B4-BE49-F238E27FC236}">
                <a16:creationId xmlns:a16="http://schemas.microsoft.com/office/drawing/2014/main" id="{8FACDAFA-E5F6-FB30-5ACF-6A542ED6E438}"/>
              </a:ext>
            </a:extLst>
          </p:cNvPr>
          <p:cNvPicPr>
            <a:picLocks noChangeAspect="1"/>
          </p:cNvPicPr>
          <p:nvPr/>
        </p:nvPicPr>
        <p:blipFill>
          <a:blip r:embed="rId3"/>
          <a:stretch>
            <a:fillRect/>
          </a:stretch>
        </p:blipFill>
        <p:spPr>
          <a:xfrm>
            <a:off x="627970" y="1354142"/>
            <a:ext cx="1149804" cy="1346992"/>
          </a:xfrm>
          <a:prstGeom prst="rect">
            <a:avLst/>
          </a:prstGeom>
        </p:spPr>
      </p:pic>
    </p:spTree>
    <p:extLst>
      <p:ext uri="{BB962C8B-B14F-4D97-AF65-F5344CB8AC3E}">
        <p14:creationId xmlns:p14="http://schemas.microsoft.com/office/powerpoint/2010/main" val="283551125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475910" cy="186757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463210" cy="1679947"/>
          </a:xfrm>
          <a:prstGeom prst="rect">
            <a:avLst/>
          </a:prstGeom>
        </p:spPr>
        <p:txBody>
          <a:bodyPr wrap="square" lIns="91440" tIns="45720" rIns="91440" bIns="45720" anchor="t">
            <a:spAutoFit/>
          </a:bodyPr>
          <a:lstStyle/>
          <a:p>
            <a:pPr marL="180975" indent="-180975" algn="just">
              <a:spcAft>
                <a:spcPts val="103"/>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Mick is an Azure, Microsoft 365, and Security multi certified Expert with strong knowledge in Identity, Security, Networking, OT Networks, IoT Edge Architecture, Modern Desktop and Cloud Technologies, with Strong client facing consultancy experience</a:t>
            </a:r>
          </a:p>
          <a:p>
            <a:pPr algn="just">
              <a:spcAft>
                <a:spcPts val="103"/>
              </a:spcAft>
              <a:buSzPct val="75000"/>
            </a:pPr>
            <a:endParaRPr lang="en-IE" sz="900">
              <a:solidFill>
                <a:schemeClr val="bg1"/>
              </a:solidFill>
              <a:latin typeface="Calibri" panose="020F0502020204030204" pitchFamily="34" charset="0"/>
              <a:cs typeface="Calibri" panose="020F0502020204030204" pitchFamily="34" charset="0"/>
            </a:endParaRPr>
          </a:p>
          <a:p>
            <a:pPr marL="180975" indent="-180975" algn="just">
              <a:spcAft>
                <a:spcPts val="103"/>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Mick has worked with enterprises across several sectors, for example, financial, government, logistics, national infrastructure,  and transport for over 10 years with a focus on Identity, Cloud and Network security, Multifactor authentication solutions, MDM/MAM, Modern Workplace, Azure Virtual Desktop, Data and Information Protection, process automation, workflow and process modernisation, SEIM solutions</a:t>
            </a:r>
          </a:p>
          <a:p>
            <a:pPr algn="just">
              <a:spcAft>
                <a:spcPts val="103"/>
              </a:spcAft>
              <a:buSzPct val="75000"/>
            </a:pPr>
            <a:endParaRPr lang="en-IE" sz="900">
              <a:solidFill>
                <a:schemeClr val="bg1"/>
              </a:solidFill>
              <a:latin typeface="Calibri" panose="020F0502020204030204" pitchFamily="34" charset="0"/>
              <a:cs typeface="Calibri" panose="020F0502020204030204" pitchFamily="34" charset="0"/>
            </a:endParaRPr>
          </a:p>
          <a:p>
            <a:pPr marL="180975" indent="-180975" algn="just">
              <a:spcAft>
                <a:spcPts val="103"/>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Mick joined EY in July 2021 and is based in the EY Ireland Dublin office.</a:t>
            </a:r>
          </a:p>
          <a:p>
            <a:pPr marL="180975" indent="-180975" algn="just">
              <a:spcAft>
                <a:spcPts val="103"/>
              </a:spcAft>
              <a:buSzPct val="75000"/>
              <a:buFont typeface="EYInterstate Light" pitchFamily="2" charset="0"/>
              <a:buChar char="►"/>
            </a:pPr>
            <a:endParaRPr lang="en-IE" sz="900">
              <a:solidFill>
                <a:schemeClr val="bg1"/>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603989"/>
            <a:ext cx="5420690" cy="4362733"/>
          </a:xfrm>
          <a:prstGeom prst="rect">
            <a:avLst/>
          </a:prstGeom>
        </p:spPr>
        <p:txBody>
          <a:bodyPr wrap="square" lIns="91440" tIns="45720" rIns="91440" bIns="45720" anchor="t">
            <a:spAutoFit/>
          </a:bodyPr>
          <a:lstStyle/>
          <a:p>
            <a:pPr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UK National Infrastructure Body</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Strategy planning and architecture design to facilitate the complete separation and migration of services and platforms to a multi-cloud hybrid environment as part of a business restructuring plan</a:t>
            </a:r>
          </a:p>
          <a:p>
            <a:pPr marL="0" lvl="1" algn="just"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National Public Health Body </a:t>
            </a:r>
            <a:endParaRPr lang="en-IE" b="1">
              <a:solidFill>
                <a:schemeClr val="bg1"/>
              </a:solidFill>
              <a:latin typeface="Calibri" panose="020F0502020204030204" pitchFamily="34" charset="0"/>
              <a:cs typeface="Calibri" panose="020F0502020204030204" pitchFamily="34" charset="0"/>
            </a:endParaRP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esign and Configuration of a new environment built using the entire Microsoft stack utilising features and services in Azure and M365, providing a state-of-the-art solution with IAM and Security at its core, meeting enterprise requirements</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AAD, AVD, Azure Backup, Azure Sentinel, Defender for Endpoint, Dynamics, Endpoint Manager, MCAS, M365 Services, Power Platform, etc </a:t>
            </a:r>
            <a:endParaRPr lang="en-IE">
              <a:solidFill>
                <a:schemeClr val="bg1"/>
              </a:solidFill>
              <a:latin typeface="Calibri" panose="020F0502020204030204" pitchFamily="34" charset="0"/>
              <a:cs typeface="Calibri" panose="020F0502020204030204" pitchFamily="34" charset="0"/>
            </a:endParaRPr>
          </a:p>
          <a:p>
            <a:pPr algn="just" defTabSz="1006520">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Transport and Logistics</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yber Security programme engineering manager</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Lead the forensic examination of IoT and Apps solutions built on the Azure stack which are used globally across the 200+ companies under the company umbrella to find previously unknown security risks</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Identified over 70 previously unknown risks across multiple Azure solutions and subscriptions, involving over 350k resources, and other resources which cannot be disclosed</a:t>
            </a:r>
            <a:endParaRPr lang="en-IE">
              <a:solidFill>
                <a:schemeClr val="bg1"/>
              </a:solidFill>
              <a:latin typeface="Calibri" panose="020F0502020204030204" pitchFamily="34" charset="0"/>
              <a:cs typeface="Calibri" panose="020F0502020204030204" pitchFamily="34" charset="0"/>
            </a:endParaRPr>
          </a:p>
          <a:p>
            <a:pPr algn="just" defTabSz="1006520">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Patent and Intellectual Property</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Lead architect on Ransomware attack remediation</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omplete migration and rebuild of hybrid infrastructure (AD, Azure AD, firewalls, networks, servers, platforms, services, backups, disaster recovery, security, AIP, DLP, MFA, MCAS, AVD, Microsoft 365 services, Laptops, Desktops, VPN’s, IoT Edge environments, etc</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Design and deployment of Azure Virtual Desktop and Endpoint Manager (autopilot, MAM, MDM) for over 6000 end-user device</a:t>
            </a:r>
            <a:endParaRPr lang="en-IE">
              <a:solidFill>
                <a:schemeClr val="bg1"/>
              </a:solidFill>
              <a:latin typeface="Calibri" panose="020F0502020204030204" pitchFamily="34" charset="0"/>
              <a:cs typeface="Calibri" panose="020F0502020204030204" pitchFamily="34" charset="0"/>
            </a:endParaRPr>
          </a:p>
          <a:p>
            <a:pPr algn="just" defTabSz="1006520">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Managed Services Providers</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ovide escalation support for level 1, 2, and 3 engineers</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onfiguration, management and troubleshooting a range of technologies including AD, Backups, Encryption, HA, DR, Firewalls, Linux, Windows, Exchange On-prem &amp; Online, Endpoint Manager, SCCM, SSO, and Azure / Microsoft 365 security</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Project design and implementations</a:t>
            </a:r>
            <a:endParaRPr lang="en-IE">
              <a:solidFill>
                <a:schemeClr val="bg1"/>
              </a:solidFill>
              <a:latin typeface="Calibri" panose="020F0502020204030204" pitchFamily="34" charset="0"/>
              <a:cs typeface="Calibri" panose="020F0502020204030204" pitchFamily="34" charset="0"/>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Migration of multiple services and platforms to the cloud</a:t>
            </a:r>
            <a:endParaRPr lang="en-IE">
              <a:solidFill>
                <a:schemeClr val="bg1"/>
              </a:solidFill>
              <a:latin typeface="Calibri" panose="020F0502020204030204" pitchFamily="34" charset="0"/>
              <a:cs typeface="Calibri" panose="020F0502020204030204" pitchFamily="34" charset="0"/>
            </a:endParaRPr>
          </a:p>
          <a:p>
            <a:pPr algn="just" defTabSz="1006520">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lobal Financial Sector</a:t>
            </a:r>
            <a:endParaRPr lang="en-IE" sz="800">
              <a:solidFill>
                <a:schemeClr val="bg1"/>
              </a:solidFill>
              <a:latin typeface="Calibri" panose="020F0502020204030204" pitchFamily="34" charset="0"/>
              <a:cs typeface="Calibri" panose="020F0502020204030204" pitchFamily="34" charset="0"/>
            </a:endParaRP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Branch infrastructure upgrades in Ireland, Northern Ireland, and UK </a:t>
            </a:r>
          </a:p>
          <a:p>
            <a:pPr marL="143510" indent="-143510" algn="just" defTabSz="1006520">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Worked closely with bank officials to ensure a smooth transition to new systems after upgrade completion</a:t>
            </a:r>
          </a:p>
        </p:txBody>
      </p:sp>
      <p:sp>
        <p:nvSpPr>
          <p:cNvPr id="14" name="Rectangle 13">
            <a:extLst>
              <a:ext uri="{FF2B5EF4-FFF2-40B4-BE49-F238E27FC236}">
                <a16:creationId xmlns:a16="http://schemas.microsoft.com/office/drawing/2014/main" id="{1B4891F9-FC37-F82A-520C-548C6F536DE2}"/>
              </a:ext>
            </a:extLst>
          </p:cNvPr>
          <p:cNvSpPr/>
          <p:nvPr/>
        </p:nvSpPr>
        <p:spPr>
          <a:xfrm>
            <a:off x="620090" y="4784545"/>
            <a:ext cx="5475910" cy="1620873"/>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200525"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Senior Manager</a:t>
            </a:r>
          </a:p>
          <a:p>
            <a:pPr defTabSz="913943"/>
            <a:r>
              <a:rPr lang="en-IE" sz="1200">
                <a:solidFill>
                  <a:schemeClr val="bg1"/>
                </a:solidFill>
                <a:latin typeface="Calibri" panose="020F0502020204030204" pitchFamily="34" charset="0"/>
                <a:cs typeface="Calibri" panose="020F0502020204030204" pitchFamily="34" charset="0"/>
              </a:rPr>
              <a:t>EY 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Enterprise Solutions Architect</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panose="020F0502020204030204" pitchFamily="34" charset="0"/>
                <a:cs typeface="Calibri" panose="020F0502020204030204" pitchFamily="34" charset="0"/>
              </a:rPr>
              <a:t>Mick Mooney</a:t>
            </a: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rtlCol="0" anchor="t" anchorCtr="0"/>
          <a:lstStyle/>
          <a:p>
            <a:pPr defTabSz="913943"/>
            <a:r>
              <a:rPr lang="en-US" sz="1199" b="1" kern="0">
                <a:solidFill>
                  <a:schemeClr val="bg1"/>
                </a:solidFill>
                <a:latin typeface="Calibri" panose="020F0502020204030204" pitchFamily="34" charset="0"/>
                <a:cs typeface="Calibri" panose="020F0502020204030204" pitchFamily="34" charset="0"/>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32790" y="4784545"/>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rtlCol="0" anchor="t" anchorCtr="0"/>
          <a:lstStyle/>
          <a:p>
            <a:pPr defTabSz="913943"/>
            <a:r>
              <a:rPr lang="en-US" sz="1199" b="1" kern="0">
                <a:latin typeface="Calibri" panose="020F0502020204030204" pitchFamily="34" charset="0"/>
                <a:cs typeface="Calibri" panose="020F0502020204030204" pitchFamily="34" charset="0"/>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a:t>
            </a:r>
            <a:r>
              <a:rPr lang="en-US" sz="1150" b="1" kern="0">
                <a:latin typeface="Calibri" panose="020F0502020204030204" pitchFamily="34" charset="0"/>
                <a:cs typeface="Calibri" panose="020F0502020204030204" pitchFamily="34" charset="0"/>
              </a:rPr>
              <a:t>Mick</a:t>
            </a:r>
            <a:endParaRPr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2" name="Picture 2" descr="A person in a suit and tie&#10;&#10;Description automatically generated">
            <a:extLst>
              <a:ext uri="{FF2B5EF4-FFF2-40B4-BE49-F238E27FC236}">
                <a16:creationId xmlns:a16="http://schemas.microsoft.com/office/drawing/2014/main" id="{AD00B404-6657-FE90-AF81-8C217C5C6F4E}"/>
              </a:ext>
            </a:extLst>
          </p:cNvPr>
          <p:cNvPicPr>
            <a:picLocks noChangeAspect="1"/>
          </p:cNvPicPr>
          <p:nvPr/>
        </p:nvPicPr>
        <p:blipFill>
          <a:blip r:embed="rId3"/>
          <a:stretch>
            <a:fillRect/>
          </a:stretch>
        </p:blipFill>
        <p:spPr>
          <a:xfrm>
            <a:off x="548310" y="1396189"/>
            <a:ext cx="1238687" cy="1300529"/>
          </a:xfrm>
          <a:prstGeom prst="rect">
            <a:avLst/>
          </a:prstGeom>
        </p:spPr>
      </p:pic>
      <p:sp>
        <p:nvSpPr>
          <p:cNvPr id="5" name="Rectangle 4">
            <a:extLst>
              <a:ext uri="{FF2B5EF4-FFF2-40B4-BE49-F238E27FC236}">
                <a16:creationId xmlns:a16="http://schemas.microsoft.com/office/drawing/2014/main" id="{1AA4F3D1-45B7-A72E-14AB-197DB6665F5F}"/>
              </a:ext>
            </a:extLst>
          </p:cNvPr>
          <p:cNvSpPr/>
          <p:nvPr/>
        </p:nvSpPr>
        <p:spPr>
          <a:xfrm>
            <a:off x="632790" y="5054060"/>
            <a:ext cx="2842752" cy="1338828"/>
          </a:xfrm>
          <a:prstGeom prst="rect">
            <a:avLst/>
          </a:prstGeom>
        </p:spPr>
        <p:txBody>
          <a:bodyPr wrap="square" lIns="91440" tIns="45720" rIns="91440" bIns="45720" anchor="t">
            <a:spAutoFit/>
          </a:bodyPr>
          <a:lstStyle/>
          <a:p>
            <a:pPr marL="180340" lvl="3" indent="-180340" defTabSz="1018971" fontAlgn="base">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Aligning business strategy to required technical outcomes</a:t>
            </a:r>
            <a:endParaRPr lang="en-US" sz="800">
              <a:solidFill>
                <a:schemeClr val="bg1"/>
              </a:solidFill>
              <a:latin typeface="Calibri" panose="020F0502020204030204" pitchFamily="34" charset="0"/>
              <a:cs typeface="Calibri" panose="020F0502020204030204" pitchFamily="34" charset="0"/>
            </a:endParaRPr>
          </a:p>
          <a:p>
            <a:pPr marL="180340" lvl="3"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Strategic planning and requirements gathering</a:t>
            </a:r>
          </a:p>
          <a:p>
            <a:pPr marL="180340" lvl="3"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Excellent communication and presentation skills</a:t>
            </a:r>
          </a:p>
          <a:p>
            <a:pPr marL="180340" lvl="3"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Architecture design, delivery, and migration planning</a:t>
            </a:r>
          </a:p>
          <a:p>
            <a:pPr marL="180340" lvl="3"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Proven technical &amp; people leadership skills</a:t>
            </a:r>
          </a:p>
          <a:p>
            <a:pPr marL="180340" lvl="3"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Operation management</a:t>
            </a:r>
          </a:p>
          <a:p>
            <a:pPr marL="0" lvl="3" defTabSz="1018971">
              <a:spcAft>
                <a:spcPts val="500"/>
              </a:spcAft>
              <a:buClr>
                <a:srgbClr val="2E2E38"/>
              </a:buClr>
              <a:buSzPct val="70000"/>
              <a:defRPr/>
            </a:pPr>
            <a:endParaRPr lang="en-IE" sz="800">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4149453-3DEF-2E15-6311-535F75F8CCA1}"/>
              </a:ext>
            </a:extLst>
          </p:cNvPr>
          <p:cNvSpPr/>
          <p:nvPr/>
        </p:nvSpPr>
        <p:spPr>
          <a:xfrm>
            <a:off x="2997642" y="4793247"/>
            <a:ext cx="3098358" cy="1649169"/>
          </a:xfrm>
          <a:prstGeom prst="rect">
            <a:avLst/>
          </a:prstGeom>
        </p:spPr>
        <p:txBody>
          <a:bodyPr wrap="square" lIns="91440" tIns="45720" rIns="91440" bIns="45720" anchor="t">
            <a:spAutoFit/>
          </a:bodyPr>
          <a:lstStyle/>
          <a:p>
            <a:pPr marL="180340" lvl="3" indent="-180340" algn="just" defTabSz="1018971" fontAlgn="base">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Strong knowledge of cloud and hybrid technologies with relevant certifications such as:</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NSE7 Public Cloud Security Architect</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NSE7 Network Security Architect</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NSE7 Firewall Specialist </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Azure Solutions Architect</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Cybersecurity Architect</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365 Enterprise Admin Expert</a:t>
            </a:r>
          </a:p>
          <a:p>
            <a:pPr marL="637540" lvl="4" indent="-180340" defTabSz="1018971">
              <a:spcAft>
                <a:spcPts val="5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Microsoft Certified: Productivity Solutions Expert</a:t>
            </a:r>
          </a:p>
        </p:txBody>
      </p:sp>
    </p:spTree>
    <p:extLst>
      <p:ext uri="{BB962C8B-B14F-4D97-AF65-F5344CB8AC3E}">
        <p14:creationId xmlns:p14="http://schemas.microsoft.com/office/powerpoint/2010/main" val="5548426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26450"/>
            <a:ext cx="5378683" cy="4831131"/>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502976"/>
          </a:xfrm>
          <a:prstGeom prst="rect">
            <a:avLst/>
          </a:prstGeom>
        </p:spPr>
        <p:txBody>
          <a:bodyPr wrap="square" lIns="91440" tIns="45720" rIns="91440" bIns="45720" anchor="t">
            <a:spAutoFit/>
          </a:bodyPr>
          <a:lstStyle/>
          <a:p>
            <a:pPr marL="180975" indent="-180975" algn="just">
              <a:spcAft>
                <a:spcPts val="103"/>
              </a:spcAft>
              <a:buSzPct val="75000"/>
              <a:buFont typeface="EYInterstate Light" pitchFamily="2" charset="0"/>
              <a:buChar char="►"/>
            </a:pPr>
            <a:r>
              <a:rPr lang="en-IE" sz="900">
                <a:solidFill>
                  <a:schemeClr val="bg1"/>
                </a:solidFill>
                <a:latin typeface="Calibri"/>
                <a:cs typeface="Calibri"/>
              </a:rPr>
              <a:t>Ahmed is a trusted advisor to several leading global organizations. He has 10+ years of experience in both architecting and building innovative business solutions for enterprises</a:t>
            </a:r>
          </a:p>
          <a:p>
            <a:pPr marL="180975" indent="-180975" algn="just">
              <a:spcAft>
                <a:spcPts val="103"/>
              </a:spcAft>
              <a:buSzPct val="75000"/>
              <a:buFont typeface="EYInterstate Light" pitchFamily="2" charset="0"/>
              <a:buChar char="►"/>
            </a:pPr>
            <a:r>
              <a:rPr lang="en-IE" sz="900">
                <a:solidFill>
                  <a:schemeClr val="bg1"/>
                </a:solidFill>
                <a:latin typeface="Calibri"/>
                <a:cs typeface="Calibri"/>
              </a:rPr>
              <a:t>Ahmed has expertise in engaging with customers as subject matter expert on Microsoft products, Modern Workplace, private and public cloud infrastructure, Modern Desktop and Cloud Technologies, Active Directory &amp; Azure AD Identity, Teams and Exchange Online, Multifactor authentication solutions, MDM/MAM, Azure Virtual Desktop, Data and Information Protection, process automation, workflow and process modernisation, and SEIM solutions</a:t>
            </a:r>
          </a:p>
          <a:p>
            <a:pPr marL="180975" indent="-180975" algn="just">
              <a:spcAft>
                <a:spcPts val="103"/>
              </a:spcAft>
              <a:buSzPct val="75000"/>
              <a:buFont typeface="EYInterstate Light" pitchFamily="2" charset="0"/>
              <a:buChar char="►"/>
            </a:pPr>
            <a:r>
              <a:rPr lang="en-IE" sz="900">
                <a:solidFill>
                  <a:schemeClr val="bg1"/>
                </a:solidFill>
                <a:latin typeface="Calibri"/>
                <a:cs typeface="Calibri"/>
              </a:rPr>
              <a:t>Ahmed has a proven ability to interface with customers, and work on building a good relationship with them, also I have a good analytic and problem-solving skills, with the keen ability to assess needs, define requirements, and execute technical projects that streamline and improve operating efficiencies</a:t>
            </a: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547795"/>
            <a:ext cx="5420690" cy="4978286"/>
          </a:xfrm>
          <a:prstGeom prst="rect">
            <a:avLst/>
          </a:prstGeom>
        </p:spPr>
        <p:txBody>
          <a:bodyPr wrap="square" lIns="91440" tIns="45720" rIns="91440" bIns="45720" anchor="t">
            <a:spAutoFit/>
          </a:bodyPr>
          <a:lstStyle/>
          <a:p>
            <a:pPr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a:cs typeface="Calibri"/>
              </a:rPr>
              <a:t>Department of Housing, Local Government and Heritage</a:t>
            </a:r>
            <a:endParaRPr lang="en-US" sz="800">
              <a:solidFill>
                <a:schemeClr val="bg1"/>
              </a:solidFill>
              <a:latin typeface="Calibri"/>
              <a:cs typeface="Calibri"/>
            </a:endParaRPr>
          </a:p>
          <a:p>
            <a:pPr marL="143510"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Help in developing Cloud Strategies using experience in all domains including data, application, infrastructure, integration, security and business architecture</a:t>
            </a: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ssist EY customers to accelerate their cloud adoption with the design and deployment of the EY Enterprise Cloud Landing Zones &amp; Cloud Automation using Infrastructure as code (</a:t>
            </a:r>
            <a:r>
              <a:rPr lang="en-IE" sz="800" err="1">
                <a:solidFill>
                  <a:schemeClr val="bg1"/>
                </a:solidFill>
                <a:latin typeface="Calibri"/>
                <a:cs typeface="Arial"/>
              </a:rPr>
              <a:t>IaC</a:t>
            </a:r>
            <a:r>
              <a:rPr lang="en-IE" sz="800">
                <a:solidFill>
                  <a:schemeClr val="bg1"/>
                </a:solidFill>
                <a:latin typeface="Calibri"/>
                <a:cs typeface="Arial"/>
              </a:rPr>
              <a:t>) solutions such as Terraform</a:t>
            </a:r>
            <a:endParaRPr lang="en-IE" sz="800">
              <a:solidFill>
                <a:schemeClr val="bg1"/>
              </a:solidFill>
              <a:latin typeface="Calibri"/>
              <a:cs typeface="Calibri"/>
            </a:endParaRPr>
          </a:p>
          <a:p>
            <a:pPr marL="143510" lvl="1" indent="-143510" algn="just" defTabSz="1006520">
              <a:spcBef>
                <a:spcPct val="0"/>
              </a:spcBef>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Implement IAM Security services with hands on experience on several items like ( Managing identity and access on-premise with Active Directory, Managing identity and access in the Microsoft Cloud – Azure Active Directory, Secure Hybrid environments (AD Connect and authentication), Azure AD Self-service password reset, Azure AD access reviews, Azure AD App Registration, Azure AD Directory role</a:t>
            </a:r>
            <a:endParaRPr lang="en-IE" sz="800">
              <a:solidFill>
                <a:schemeClr val="bg1"/>
              </a:solidFill>
              <a:latin typeface="Calibri"/>
              <a:cs typeface="Calibri"/>
            </a:endParaRPr>
          </a:p>
          <a:p>
            <a:pPr marL="0" lvl="1" algn="just"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a:cs typeface="Arial"/>
              </a:rPr>
              <a:t>Technical Solution Professional at Microsoft </a:t>
            </a:r>
            <a:endParaRPr lang="en-IE" sz="800" b="1">
              <a:solidFill>
                <a:schemeClr val="bg1"/>
              </a:solidFill>
              <a:latin typeface="Calibri"/>
              <a:cs typeface="Calibri"/>
            </a:endParaRPr>
          </a:p>
          <a:p>
            <a:pPr marL="143510"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cting as a trusted advisor and a technical cloud consultant to help customers in various technology areas such as cloud adoption, cloud migration and deployment, and digital transformation plans</a:t>
            </a:r>
          </a:p>
          <a:p>
            <a:pPr marL="143510"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Engaging with the customers to generate M365 solution responses to everyday business challenges such as hybrid work enablement, employee experience, information protection and information governance, intelligent intranet portals, and document/records management portals</a:t>
            </a:r>
            <a:endParaRPr lang="en-IE" sz="800">
              <a:solidFill>
                <a:schemeClr val="bg1"/>
              </a:solidFill>
              <a:latin typeface="Calibri"/>
              <a:cs typeface="Calibri"/>
            </a:endParaRPr>
          </a:p>
          <a:p>
            <a:pPr marL="143510"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ssessment, planning, and designing the technical implementation of the Office 365 and all its related core technologies including AAD, Exchange, Teams, OneDrive, SharePoint, AAD Connect, and Federation</a:t>
            </a:r>
            <a:endParaRPr lang="en-IE" sz="800">
              <a:solidFill>
                <a:schemeClr val="bg1"/>
              </a:solidFill>
              <a:latin typeface="Calibri"/>
              <a:cs typeface="Calibri"/>
            </a:endParaRPr>
          </a:p>
          <a:p>
            <a:pPr marL="143510"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Help in developing Cloud Strategies using experience in all domains including data, application, infrastructure, integration, security and business architecture, plus working on the creation &amp; maintenance of Azure Terraform code to provision and manage infrastructure resources via Azure DevOps pipelines</a:t>
            </a:r>
          </a:p>
          <a:p>
            <a:pPr algn="just" defTabSz="1006520">
              <a:spcAft>
                <a:spcPts val="300"/>
              </a:spcAft>
              <a:buClr>
                <a:srgbClr val="404040"/>
              </a:buClr>
              <a:buSzPct val="70000"/>
              <a:tabLst>
                <a:tab pos="2824212" algn="l"/>
                <a:tab pos="4080803" algn="r"/>
              </a:tabLst>
              <a:defRPr/>
            </a:pPr>
            <a:r>
              <a:rPr lang="en-IE" sz="800" b="1">
                <a:solidFill>
                  <a:schemeClr val="bg1"/>
                </a:solidFill>
                <a:latin typeface="Calibri"/>
                <a:cs typeface="Arial"/>
              </a:rPr>
              <a:t>Cloud Solution Expert at Orange Business Services</a:t>
            </a: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ccountable for design, development, implementation and management of Microsoft M365 / O365 services including but not limited to (Azure AD, Exchange Online, Intune, Azure Rights Management, DLP, Cloud App Security, Azure Information Protection) and other cloud technologies </a:t>
            </a:r>
            <a:endParaRPr lang="en-IE" sz="800">
              <a:solidFill>
                <a:schemeClr val="bg1"/>
              </a:solidFill>
              <a:latin typeface="Calibri"/>
              <a:cs typeface="Arial" charset="0"/>
            </a:endParaRP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ing as Technical Expert for Multi-cloud implementation projects for New Managed Services customers on (Flexible Engine, Azure, AWS, Google Cloud, Huawei Cloud, VMware)</a:t>
            </a: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ctive Directory Engineer for a large environment consisting of Windows with multiple domains and forests with hundreds of thousands of users and computers, plus managing GPO &amp; DNS Service</a:t>
            </a: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Perform release management including operating systems upgrades, service packs installation, virtualization, and middleware upgrades and patches as well as software and hardware migrations</a:t>
            </a:r>
          </a:p>
          <a:p>
            <a:pPr marL="143510" lvl="1" indent="-143510" algn="just" defTabSz="1006520">
              <a:spcAft>
                <a:spcPts val="2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ontribute in-service operation processes management including contribution providing the reason for outage (RFO), root cause analysis (RCA), technical instructions (TIN), and service improvement plans (SIP)</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6" name="Rectangle 15">
            <a:extLst>
              <a:ext uri="{FF2B5EF4-FFF2-40B4-BE49-F238E27FC236}">
                <a16:creationId xmlns:a16="http://schemas.microsoft.com/office/drawing/2014/main" id="{1EE50A2F-BB66-4023-A19E-4AC1F49CB477}"/>
              </a:ext>
            </a:extLst>
          </p:cNvPr>
          <p:cNvSpPr/>
          <p:nvPr/>
        </p:nvSpPr>
        <p:spPr>
          <a:xfrm>
            <a:off x="621904" y="5044103"/>
            <a:ext cx="5348910" cy="1184940"/>
          </a:xfrm>
          <a:prstGeom prst="rect">
            <a:avLst/>
          </a:prstGeom>
        </p:spPr>
        <p:txBody>
          <a:bodyPr wrap="square" lIns="91440" tIns="45720" rIns="91440" bIns="45720" anchor="t">
            <a:spAutoFit/>
          </a:bodyPr>
          <a:lstStyle/>
          <a:p>
            <a:pPr marL="143510" indent="-143510"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WS Certified Solutions Architect - Associate</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Microsoft Azure Solutions Architect Expert</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Microsoft Certified: Azure Administrator Associate</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Microsoft certified: Azure Security Engineer Associate</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err="1">
                <a:solidFill>
                  <a:schemeClr val="bg1"/>
                </a:solidFill>
                <a:latin typeface="Calibri"/>
                <a:cs typeface="Calibri"/>
              </a:rPr>
              <a:t>OpenHack</a:t>
            </a:r>
            <a:r>
              <a:rPr lang="en-IE" sz="800">
                <a:solidFill>
                  <a:schemeClr val="bg1"/>
                </a:solidFill>
                <a:latin typeface="Calibri"/>
                <a:cs typeface="Calibri"/>
              </a:rPr>
              <a:t>: Migrating Microsoft Workloads to Azure.</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err="1">
                <a:solidFill>
                  <a:schemeClr val="bg1"/>
                </a:solidFill>
                <a:latin typeface="Calibri"/>
                <a:cs typeface="Calibri"/>
              </a:rPr>
              <a:t>OpenHack</a:t>
            </a:r>
            <a:r>
              <a:rPr lang="en-IE" sz="800">
                <a:solidFill>
                  <a:schemeClr val="bg1"/>
                </a:solidFill>
                <a:latin typeface="Calibri"/>
                <a:cs typeface="Calibri"/>
              </a:rPr>
              <a:t>: Containers</a:t>
            </a:r>
          </a:p>
          <a:p>
            <a:pPr marL="143510" indent="-143510" defTabSz="1006520">
              <a:spcAft>
                <a:spcPts val="300"/>
              </a:spcAft>
              <a:buSzPct val="70000"/>
              <a:buFont typeface="Arial" panose="020B0604020202020204" pitchFamily="34" charset="0"/>
              <a:buChar char="►"/>
              <a:tabLst>
                <a:tab pos="2824212" algn="l"/>
                <a:tab pos="4080803" algn="r"/>
              </a:tabLst>
              <a:defRPr/>
            </a:pPr>
            <a:r>
              <a:rPr lang="en-IE" sz="800" err="1">
                <a:solidFill>
                  <a:schemeClr val="bg1"/>
                </a:solidFill>
                <a:latin typeface="Calibri"/>
                <a:cs typeface="Calibri"/>
              </a:rPr>
              <a:t>OpenHack</a:t>
            </a:r>
            <a:r>
              <a:rPr lang="en-IE" sz="800">
                <a:solidFill>
                  <a:schemeClr val="bg1"/>
                </a:solidFill>
                <a:latin typeface="Calibri"/>
                <a:cs typeface="Calibri"/>
              </a:rPr>
              <a:t>: Security, Compliance, and Identity</a:t>
            </a: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13997"/>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550" b="0" i="0" u="none" strike="noStrike" kern="0" cap="none" spc="0" normalizeH="0" baseline="0" noProof="0">
              <a:ln>
                <a:noFill/>
              </a:ln>
              <a:solidFill>
                <a:srgbClr val="000000"/>
              </a:solidFill>
              <a:effectLst/>
              <a:uLnTx/>
              <a:uFillTx/>
              <a:latin typeface="Calibri"/>
              <a:cs typeface="Calibri"/>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a:cs typeface="Calibri"/>
              </a:rPr>
              <a:t>Manager</a:t>
            </a:r>
          </a:p>
          <a:p>
            <a:pPr defTabSz="913943"/>
            <a:r>
              <a:rPr lang="en-IE" sz="1200">
                <a:solidFill>
                  <a:schemeClr val="bg1"/>
                </a:solidFill>
                <a:latin typeface="Calibri"/>
                <a:cs typeface="Calibri"/>
              </a:rPr>
              <a:t>EY Technology Consulting</a:t>
            </a:r>
          </a:p>
          <a:p>
            <a:pPr defTabSz="913943">
              <a:buSzPct val="100000"/>
            </a:pPr>
            <a:r>
              <a:rPr lang="en-IE" sz="1200">
                <a:solidFill>
                  <a:schemeClr val="bg1"/>
                </a:solidFill>
                <a:latin typeface="Calibri"/>
                <a:cs typeface="Calibri"/>
              </a:rPr>
              <a:t>Proposed Role: Cloud Engineer</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a:cs typeface="Calibri"/>
              </a:rPr>
              <a:t>Ahmed Helmy</a:t>
            </a: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13800"/>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a:cs typeface="Calibri"/>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16121"/>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a:cs typeface="Calibri"/>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a:cs typeface="Calibri"/>
              </a:rPr>
              <a:t>About </a:t>
            </a:r>
            <a:r>
              <a:rPr lang="en-US" sz="1150" b="1" kern="0">
                <a:latin typeface="Calibri"/>
                <a:cs typeface="Calibri"/>
              </a:rPr>
              <a:t>Ahmed</a:t>
            </a:r>
            <a:endParaRPr lang="en-US" sz="1150" b="1" i="0" u="none" strike="noStrike" kern="0" cap="none" spc="0" normalizeH="0" baseline="0" noProof="0">
              <a:ln>
                <a:noFill/>
              </a:ln>
              <a:effectLst/>
              <a:uLnTx/>
              <a:uFillTx/>
              <a:latin typeface="Calibri"/>
              <a:cs typeface="Calibri"/>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a:t>
            </a:r>
            <a:r>
              <a:rPr lang="en-IE">
                <a:latin typeface="Calibri"/>
                <a:cs typeface="Calibri"/>
              </a:rPr>
              <a:t>– Team member bios</a:t>
            </a:r>
          </a:p>
        </p:txBody>
      </p:sp>
      <p:pic>
        <p:nvPicPr>
          <p:cNvPr id="2" name="Picture 2" descr="A person in a yellow shirt&#10;&#10;Description automatically generated">
            <a:extLst>
              <a:ext uri="{FF2B5EF4-FFF2-40B4-BE49-F238E27FC236}">
                <a16:creationId xmlns:a16="http://schemas.microsoft.com/office/drawing/2014/main" id="{CA0EB169-F38B-2E55-2336-865B273BB63E}"/>
              </a:ext>
            </a:extLst>
          </p:cNvPr>
          <p:cNvPicPr>
            <a:picLocks noChangeAspect="1"/>
          </p:cNvPicPr>
          <p:nvPr/>
        </p:nvPicPr>
        <p:blipFill>
          <a:blip r:embed="rId3"/>
          <a:stretch>
            <a:fillRect/>
          </a:stretch>
        </p:blipFill>
        <p:spPr>
          <a:xfrm>
            <a:off x="632790" y="1313800"/>
            <a:ext cx="992877" cy="1344221"/>
          </a:xfrm>
          <a:prstGeom prst="rect">
            <a:avLst/>
          </a:prstGeom>
        </p:spPr>
      </p:pic>
    </p:spTree>
    <p:extLst>
      <p:ext uri="{BB962C8B-B14F-4D97-AF65-F5344CB8AC3E}">
        <p14:creationId xmlns:p14="http://schemas.microsoft.com/office/powerpoint/2010/main" val="1127760975"/>
      </p:ext>
    </p:extLst>
  </p:cSld>
  <p:clrMapOvr>
    <a:masterClrMapping/>
  </p:clrMapOvr>
  <p:extLst>
    <p:ext uri="{6950BFC3-D8DA-4A85-94F7-54DA5524770B}">
      <p188:commentRel xmlns:p188="http://schemas.microsoft.com/office/powerpoint/2018/8/main" r:id="rId2"/>
    </p:ext>
  </p:extLs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541448"/>
          </a:xfrm>
          <a:prstGeom prst="rect">
            <a:avLst/>
          </a:prstGeom>
        </p:spPr>
        <p:txBody>
          <a:bodyPr wrap="square" lIns="91440" tIns="45720" rIns="91440" bIns="45720" anchor="t">
            <a:spAutoFit/>
          </a:bodyPr>
          <a:lstStyle/>
          <a:p>
            <a:pPr marL="180975" marR="0" lvl="0"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is a Technology Consultant within the Microsoft and Cloud Services competency of the Technology Consulting division within the EY Irish practice</a:t>
            </a:r>
          </a:p>
          <a:p>
            <a:pPr marL="180975" marR="0" lvl="0"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joined Ernst &amp; Young LLP (EY) in September 2021 and is based in the Dublin office, Ireland</a:t>
            </a:r>
          </a:p>
          <a:p>
            <a:pPr marL="180975" marR="0" lvl="0"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ior to joining EY, Oyinlola completed a BSc (Hons) Computer Science degree at Bowen University Nigeria She then went onto pursue a MSc in Data Analytics at National College of Ireland</a:t>
            </a:r>
          </a:p>
          <a:p>
            <a:pPr marL="180975" marR="0" lvl="0"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has Data Analytics professional experience in the financial services and the high technology industry</a:t>
            </a:r>
          </a:p>
          <a:p>
            <a:pPr marL="180975" marR="0" lvl="0"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he is also currently Microsoft Certified –Azure Fundamentals and </a:t>
            </a:r>
            <a:r>
              <a:rPr kumimoji="0" lang="en-IE" sz="900" b="0" i="0" u="none" strike="noStrike" kern="1200" cap="none" spc="0" normalizeH="0" baseline="0" noProof="0" err="1">
                <a:ln>
                  <a:noFill/>
                </a:ln>
                <a:solidFill>
                  <a:srgbClr val="2E2E38"/>
                </a:solidFill>
                <a:effectLst/>
                <a:uLnTx/>
                <a:uFillTx/>
                <a:latin typeface="Calibri" panose="020F0502020204030204" pitchFamily="34" charset="0"/>
                <a:cs typeface="Calibri" panose="020F0502020204030204" pitchFamily="34" charset="0"/>
              </a:rPr>
              <a:t>HashiCorp</a:t>
            </a:r>
            <a:r>
              <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 Certified: Terraform Associate (002) </a:t>
            </a:r>
          </a:p>
          <a:p>
            <a:pPr marL="180975" marR="0" lvl="1" indent="-180975" algn="just" defTabSz="914400" rtl="0" eaLnBrk="1" fontAlgn="auto" latinLnBrk="0" hangingPunct="1">
              <a:lnSpc>
                <a:spcPct val="100000"/>
              </a:lnSpc>
              <a:spcBef>
                <a:spcPts val="0"/>
              </a:spcBef>
              <a:spcAft>
                <a:spcPts val="103"/>
              </a:spcAft>
              <a:buClrTx/>
              <a:buSzPct val="75000"/>
              <a:buFont typeface="EYInterstate Light" pitchFamily="2" charset="0"/>
              <a:buChar char="►"/>
              <a:tabLst/>
              <a:defRPr/>
            </a:pPr>
            <a:endParaRPr kumimoji="0" lang="en-IE" sz="9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634881"/>
            <a:ext cx="5420690" cy="4516621"/>
          </a:xfrm>
          <a:prstGeom prst="rect">
            <a:avLst/>
          </a:prstGeom>
        </p:spPr>
        <p:txBody>
          <a:bodyPr wrap="square" lIns="91440" tIns="45720" rIns="91440" bIns="45720" anchor="t">
            <a:spAutoFit/>
          </a:bodyPr>
          <a:lstStyle/>
          <a:p>
            <a:pPr marL="0" marR="0" lvl="0" indent="0" algn="just" defTabSz="1006520" rtl="0" eaLnBrk="1" fontAlgn="base" latinLnBrk="0" hangingPunct="1">
              <a:lnSpc>
                <a:spcPct val="100000"/>
              </a:lnSpc>
              <a:spcBef>
                <a:spcPts val="0"/>
              </a:spcBef>
              <a:spcAft>
                <a:spcPts val="300"/>
              </a:spcAft>
              <a:buClr>
                <a:srgbClr val="000000">
                  <a:lumMod val="75000"/>
                  <a:lumOff val="25000"/>
                </a:srgbClr>
              </a:buClr>
              <a:buSzPct val="70000"/>
              <a:buFontTx/>
              <a:buNone/>
              <a:tabLst>
                <a:tab pos="2824212" algn="l"/>
                <a:tab pos="4080803" algn="r"/>
              </a:tabLst>
              <a:defRPr/>
            </a:pPr>
            <a:r>
              <a:rPr kumimoji="0" lang="en-IE" sz="8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epartment of Housing, Local Government and Heritage</a:t>
            </a:r>
            <a:endParaRPr kumimoji="0" lang="en-US" sz="1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loud Platform Engineer responsible for the delivery of the Azure data platform solution for the consolidation of all available data sources to track and forecast Housing Supply and delivery across the Irish State</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Responsible for Architecture and Design activities - high level design and data flow patterns at the start of the project, then low level design as the project progressed.</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Responsible for creation and maintenance of Azure Terraform Code for Infrastructure as Code Development for deployment and management of infrastructures via Azure DevOps pipelines. Also, automated release pipeline for Dev to Test deployments</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eparation of platform documentation and managing  handover and client upskilling activities. </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Workshop preparation for design sessions with business stakeholders. </a:t>
            </a:r>
          </a:p>
          <a:p>
            <a:pPr marL="0" marR="0" lvl="1" indent="0" algn="just" defTabSz="1006520" rtl="0" eaLnBrk="1" fontAlgn="auto" latinLnBrk="0" hangingPunct="1">
              <a:lnSpc>
                <a:spcPct val="100000"/>
              </a:lnSpc>
              <a:spcBef>
                <a:spcPct val="0"/>
              </a:spcBef>
              <a:spcAft>
                <a:spcPts val="300"/>
              </a:spcAft>
              <a:buClr>
                <a:srgbClr val="404040"/>
              </a:buClr>
              <a:buSzPct val="70000"/>
              <a:buFontTx/>
              <a:buNone/>
              <a:tabLst>
                <a:tab pos="2824212" algn="l"/>
                <a:tab pos="4080803" algn="r"/>
              </a:tabLst>
              <a:defRPr/>
            </a:pPr>
            <a:r>
              <a:rPr kumimoji="0" lang="en-IE" sz="8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Cloud Engineer – Government COVID Response </a:t>
            </a:r>
          </a:p>
          <a:p>
            <a:pPr marL="143510" marR="0" lvl="0" indent="-143510" algn="just" defTabSz="1006520" rtl="0" eaLnBrk="1" fontAlgn="auto" latinLnBrk="0" hangingPunct="1">
              <a:lnSpc>
                <a:spcPct val="100000"/>
              </a:lnSpc>
              <a:spcBef>
                <a:spcPts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In this role, Oyinlola assumed responsibility over the cloud platform the team had built, being responsible for the ongoing running and maintenance of the cloud platform. This involved updating software, managing the team’s permissions as well as adjustments to data pipelines using Azure Data Factory and Azure DevOps .</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ownloading, transforming and visualising available data to deliver insights that informed major government decisions.</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eparation of platform documentation and managing handover materials. </a:t>
            </a:r>
          </a:p>
          <a:p>
            <a:pPr marL="0" marR="0" lvl="0" indent="0" algn="just" defTabSz="1006520" rtl="0" eaLnBrk="1" fontAlgn="auto" latinLnBrk="0" hangingPunct="1">
              <a:lnSpc>
                <a:spcPct val="100000"/>
              </a:lnSpc>
              <a:spcBef>
                <a:spcPts val="0"/>
              </a:spcBef>
              <a:spcAft>
                <a:spcPts val="300"/>
              </a:spcAft>
              <a:buClr>
                <a:srgbClr val="404040"/>
              </a:buClr>
              <a:buSzPct val="70000"/>
              <a:buFontTx/>
              <a:buNone/>
              <a:tabLst>
                <a:tab pos="2824212" algn="l"/>
                <a:tab pos="4080803" algn="r"/>
              </a:tabLst>
              <a:defRPr/>
            </a:pPr>
            <a:r>
              <a:rPr kumimoji="0" lang="en-IE" sz="800" b="1"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ocess Executive - Global Firm</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performed organisation of huge data sets effectively via advanced querying, visualisations and analytics tools saving 8 hours of operational time</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processed structured, semi-structured and unstructured data sets from five sources forming the foundation of a key product</a:t>
            </a:r>
          </a:p>
          <a:p>
            <a:pPr marL="143510" marR="0" lvl="0" indent="-143510" algn="just" defTabSz="1006520" rtl="0" eaLnBrk="1" fontAlgn="auto" latinLnBrk="0" hangingPunct="1">
              <a:lnSpc>
                <a:spcPct val="100000"/>
              </a:lnSpc>
              <a:spcBef>
                <a:spcPts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held a key role in the development and implementation of improved service delivery strategies and initiatives while maintaining proper process documentation</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he ensured that knowledge was transferred and shared within the team</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he developed a process for the transfer of tacit knowledge amongst the data team resulting in a 20% increase in turnaround time of ticket resolution</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adherence to compliance and quality standards because sensitive customer data was involved</a:t>
            </a: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a:p>
            <a:pPr marL="143510" marR="0" lvl="1" indent="-143510" algn="just" defTabSz="1006520" rtl="0" eaLnBrk="1" fontAlgn="auto" latinLnBrk="0" hangingPunct="1">
              <a:lnSpc>
                <a:spcPct val="100000"/>
              </a:lnSpc>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1EE50A2F-BB66-4023-A19E-4AC1F49CB477}"/>
              </a:ext>
            </a:extLst>
          </p:cNvPr>
          <p:cNvSpPr/>
          <p:nvPr/>
        </p:nvSpPr>
        <p:spPr>
          <a:xfrm>
            <a:off x="632790" y="5084409"/>
            <a:ext cx="5348910" cy="700192"/>
          </a:xfrm>
          <a:prstGeom prst="rect">
            <a:avLst/>
          </a:prstGeom>
        </p:spPr>
        <p:txBody>
          <a:bodyPr wrap="square" lIns="91440" tIns="45720" rIns="91440" bIns="45720" anchor="t">
            <a:spAutoFit/>
          </a:bodyPr>
          <a:lstStyle/>
          <a:p>
            <a:pPr marL="143510" marR="0" lvl="1" indent="-143510" algn="l" defTabSz="1006520" rtl="0" eaLnBrk="1" fontAlgn="auto" latinLnBrk="0" hangingPunct="1">
              <a:lnSpc>
                <a:spcPct val="100000"/>
              </a:lnSpc>
              <a:spcBef>
                <a:spcPct val="0"/>
              </a:spcBef>
              <a:spcAft>
                <a:spcPts val="300"/>
              </a:spcAft>
              <a:buClrTx/>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Data Mining: Machine Learning, Time Series Analysis, NLP and Deep Learning algorithm using R and Python</a:t>
            </a:r>
          </a:p>
          <a:p>
            <a:pPr marL="143510" marR="0" lvl="1" indent="-143510" algn="l" defTabSz="1006520" rtl="0" eaLnBrk="1" fontAlgn="auto" latinLnBrk="0" hangingPunct="1">
              <a:lnSpc>
                <a:spcPct val="100000"/>
              </a:lnSpc>
              <a:spcBef>
                <a:spcPct val="0"/>
              </a:spcBef>
              <a:spcAft>
                <a:spcPts val="300"/>
              </a:spcAft>
              <a:buClrTx/>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oficient at creating visual dashboards, using MS Power BI, R, Python, </a:t>
            </a:r>
            <a:r>
              <a:rPr kumimoji="0" lang="en-IE" sz="800" b="0" i="0" u="none" strike="noStrike" kern="1200" cap="none" spc="0" normalizeH="0" baseline="0" noProof="0" err="1">
                <a:ln>
                  <a:noFill/>
                </a:ln>
                <a:solidFill>
                  <a:srgbClr val="2E2E38"/>
                </a:solidFill>
                <a:effectLst/>
                <a:uLnTx/>
                <a:uFillTx/>
                <a:latin typeface="Calibri" panose="020F0502020204030204" pitchFamily="34" charset="0"/>
                <a:cs typeface="Calibri" panose="020F0502020204030204" pitchFamily="34" charset="0"/>
              </a:rPr>
              <a:t>Ggplot</a:t>
            </a: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 and Tableau</a:t>
            </a:r>
          </a:p>
          <a:p>
            <a:pPr marL="143510" marR="0" lvl="1" indent="-143510" algn="l" defTabSz="1006520" rtl="0" eaLnBrk="1" fontAlgn="auto" latinLnBrk="0" hangingPunct="1">
              <a:lnSpc>
                <a:spcPct val="100000"/>
              </a:lnSpc>
              <a:spcBef>
                <a:spcPct val="0"/>
              </a:spcBef>
              <a:spcAft>
                <a:spcPts val="300"/>
              </a:spcAft>
              <a:buClrTx/>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Accomplished in database programming using Oracle 11g, MS SQL Server, MySQL, MongoDB and PostgreSQL</a:t>
            </a:r>
          </a:p>
          <a:p>
            <a:pPr marL="143510" marR="0" lvl="1" indent="-143510" algn="l" defTabSz="1006520" rtl="0" eaLnBrk="1" fontAlgn="auto" latinLnBrk="0" hangingPunct="1">
              <a:lnSpc>
                <a:spcPct val="100000"/>
              </a:lnSpc>
              <a:spcBef>
                <a:spcPct val="0"/>
              </a:spcBef>
              <a:spcAft>
                <a:spcPts val="300"/>
              </a:spcAft>
              <a:buClrTx/>
              <a:buSzPct val="70000"/>
              <a:buFont typeface="Arial" panose="020B0604020202020204" pitchFamily="34" charset="0"/>
              <a:buChar char="►"/>
              <a:tabLst>
                <a:tab pos="2824212" algn="l"/>
                <a:tab pos="4080803" algn="r"/>
              </a:tabLst>
              <a:defRPr/>
            </a:pPr>
            <a:r>
              <a:rPr kumimoji="0" lang="en-IE"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Experienced in cloud technologies such as Amazon AWS and Azure</a:t>
            </a:r>
            <a:endParaRPr kumimoji="0" lang="en-US" sz="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marL="0" marR="0" lvl="0" indent="0" algn="l" defTabSz="913943"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Technology Consultant</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EY Technology Consulting</a:t>
            </a:r>
          </a:p>
          <a:p>
            <a:pPr marL="0" marR="0" lvl="0" indent="0" algn="l" defTabSz="913943" rtl="0" eaLnBrk="1" fontAlgn="auto" latinLnBrk="0" hangingPunct="1">
              <a:lnSpc>
                <a:spcPct val="100000"/>
              </a:lnSpc>
              <a:spcBef>
                <a:spcPts val="0"/>
              </a:spcBef>
              <a:spcAft>
                <a:spcPts val="0"/>
              </a:spcAft>
              <a:buClrTx/>
              <a:buSzPct val="100000"/>
              <a:buFontTx/>
              <a:buNone/>
              <a:tabLst/>
              <a:defRPr/>
            </a:pPr>
            <a:r>
              <a:rPr kumimoji="0" lang="en-IE" sz="12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Proposed Role: Cloud Engineer</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pPr marL="0" marR="0" lvl="0" indent="0" algn="l" defTabSz="913943"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Oyinlola Popoola</a:t>
            </a: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solidFill>
                  <a:srgbClr val="2E2E38"/>
                </a:solidFill>
                <a:effectLst/>
                <a:uLnTx/>
                <a:uFillTx/>
                <a:latin typeface="Calibri" panose="020F0502020204030204" pitchFamily="34" charset="0"/>
                <a:cs typeface="Calibri" panose="020F0502020204030204" pitchFamily="34" charset="0"/>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About Oyinlola</a:t>
            </a: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34" name="Picture 6" descr="A picture containing wall, person, indoor&#10;&#10;Description automatically generated">
            <a:extLst>
              <a:ext uri="{FF2B5EF4-FFF2-40B4-BE49-F238E27FC236}">
                <a16:creationId xmlns:a16="http://schemas.microsoft.com/office/drawing/2014/main" id="{1B881CE2-4E5C-5F3F-C232-D168A47D428D}"/>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628650" y="1319213"/>
            <a:ext cx="1133475" cy="1371600"/>
          </a:xfrm>
          <a:prstGeom prst="rect">
            <a:avLst/>
          </a:prstGeom>
        </p:spPr>
      </p:pic>
    </p:spTree>
    <p:extLst>
      <p:ext uri="{BB962C8B-B14F-4D97-AF65-F5344CB8AC3E}">
        <p14:creationId xmlns:p14="http://schemas.microsoft.com/office/powerpoint/2010/main" val="1380860995"/>
      </p:ext>
    </p:extLst>
  </p:cSld>
  <p:clrMapOvr>
    <a:masterClrMapping/>
  </p:clrMapOvr>
  <p:extLst>
    <p:ext uri="{6950BFC3-D8DA-4A85-94F7-54DA5524770B}">
      <p188:commentRel xmlns:p188="http://schemas.microsoft.com/office/powerpoint/2018/8/main" r:id="rId2"/>
    </p:ext>
  </p:extLs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377300"/>
          </a:xfrm>
          <a:prstGeom prst="rect">
            <a:avLst/>
          </a:prstGeom>
        </p:spPr>
        <p:txBody>
          <a:bodyPr wrap="square" lIns="91440" tIns="45720" rIns="91440" bIns="45720" anchor="t">
            <a:spAutoFit/>
          </a:bodyPr>
          <a:lstStyle/>
          <a:p>
            <a:pPr marL="180975" indent="-180975" algn="just">
              <a:spcAft>
                <a:spcPts val="103"/>
              </a:spcAft>
              <a:buSzPct val="75000"/>
              <a:buFont typeface="EYInterstate Light" pitchFamily="2" charset="0"/>
              <a:buChar char="►"/>
            </a:pPr>
            <a:r>
              <a:rPr lang="en-IE" sz="900">
                <a:solidFill>
                  <a:schemeClr val="bg1"/>
                </a:solidFill>
                <a:latin typeface="Calibri"/>
                <a:cs typeface="Calibri"/>
              </a:rPr>
              <a:t>Suresh  is an ISTQB certified Test manager in EY with the Technology Consulting Practice in Dublin. Suresh has extensive experience working with both Agile and Waterfall methodologies and has a deep understanding of the software testing lifecycle (STLC)</a:t>
            </a:r>
          </a:p>
          <a:p>
            <a:pPr marL="180975" indent="-180975" algn="just">
              <a:spcAft>
                <a:spcPts val="103"/>
              </a:spcAft>
              <a:buSzPct val="75000"/>
              <a:buFont typeface="EYInterstate Light" pitchFamily="2" charset="0"/>
              <a:buChar char="►"/>
            </a:pPr>
            <a:r>
              <a:rPr lang="en-IE" sz="900">
                <a:solidFill>
                  <a:schemeClr val="bg1"/>
                </a:solidFill>
                <a:latin typeface="Calibri"/>
                <a:cs typeface="Calibri"/>
              </a:rPr>
              <a:t>Suresh has over 15 years of experience in the field of software testing and has worked with clients such as Musgrave, Central Bank of Ireland, Bank of Ireland, AIB, Westpac and Misys providing invaluable expertise and leadership to ensure  successful delivery of quality engineering/assurance services​</a:t>
            </a:r>
          </a:p>
          <a:p>
            <a:pPr marL="180975" indent="-180975" algn="just">
              <a:spcAft>
                <a:spcPts val="103"/>
              </a:spcAft>
              <a:buSzPct val="75000"/>
              <a:buFont typeface="EYInterstate Light" pitchFamily="2" charset="0"/>
              <a:buChar char="►"/>
            </a:pPr>
            <a:r>
              <a:rPr lang="en-IE" sz="900">
                <a:solidFill>
                  <a:schemeClr val="bg1"/>
                </a:solidFill>
                <a:latin typeface="Calibri"/>
                <a:cs typeface="Calibri"/>
              </a:rPr>
              <a:t>Suresh is solution driven and has successfully delivered regulatory and other complex projects across different sectors</a:t>
            </a:r>
          </a:p>
          <a:p>
            <a:pPr marL="180975" indent="-180975" algn="just">
              <a:spcAft>
                <a:spcPts val="103"/>
              </a:spcAft>
              <a:buSzPct val="75000"/>
              <a:buFont typeface="EYInterstate Light" pitchFamily="2" charset="0"/>
              <a:buChar char="►"/>
            </a:pPr>
            <a:r>
              <a:rPr lang="en-IE" sz="900">
                <a:solidFill>
                  <a:schemeClr val="bg1"/>
                </a:solidFill>
                <a:latin typeface="Calibri"/>
                <a:cs typeface="Calibri"/>
              </a:rPr>
              <a:t>Suresh has completed Agile Product Owner certification from </a:t>
            </a:r>
            <a:r>
              <a:rPr lang="en-IE" sz="900" err="1">
                <a:solidFill>
                  <a:schemeClr val="bg1"/>
                </a:solidFill>
                <a:latin typeface="Calibri"/>
                <a:cs typeface="Calibri"/>
              </a:rPr>
              <a:t>ICAgile</a:t>
            </a:r>
            <a:endParaRPr lang="en-IE" sz="900">
              <a:solidFill>
                <a:schemeClr val="bg1"/>
              </a:solidFill>
              <a:latin typeface="Calibri"/>
              <a:cs typeface="Calibri"/>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9111" y="1603077"/>
            <a:ext cx="5420690" cy="4632037"/>
          </a:xfrm>
          <a:prstGeom prst="rect">
            <a:avLst/>
          </a:prstGeom>
        </p:spPr>
        <p:txBody>
          <a:bodyPr wrap="square" lIns="91440" tIns="45720" rIns="91440" bIns="45720" anchor="t">
            <a:spAutoFit/>
          </a:bodyPr>
          <a:lstStyle/>
          <a:p>
            <a:pPr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a:cs typeface="Calibri"/>
              </a:rPr>
              <a:t>Consulting Company- Test Manager – Musgrave</a:t>
            </a:r>
            <a:endParaRPr lang="en-US">
              <a:solidFill>
                <a:schemeClr val="bg1"/>
              </a:solidFill>
              <a:latin typeface="Calibri"/>
              <a:cs typeface="Calibri"/>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Responsible for creation of overall test strategy and test plan for DRS program</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Work closely with system and business owners to plan scope, approach and resourcing for System Testing , integration testing, UAT and pilot. Ensure compliance to QA processes &amp; templates by QA, business and vendor Team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Manage status reporting &amp; communication with key stakeholders and effectively manage issues &amp; risk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Plan resourcing, test environment, test data for all test phase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Worked closely with different vendors/teams involved in the projects for release management and defect resolution</a:t>
            </a:r>
          </a:p>
          <a:p>
            <a:pPr marL="0" lvl="1" algn="just"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a:cs typeface="Arial"/>
              </a:rPr>
              <a:t>Global Consultancy – QA Manager – Central Bank </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Responsible for creation of overall test strategy, estimation &amp; test plan for F&amp;P release. Manage SIT, E2E, regression, UAT,OAT and performance testing for this project. Plan resourcing, test environment, test data</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 closely with product owner and  business teams to plan and manage UAT . Ensure compliance to QA Processes &amp; templates by business Teams</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Manage status reporting &amp; communication with key business &amp; stakeholders. Identifying potential issues &amp; risks and advice appropriate risk management strategies</a:t>
            </a: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Participate in agile ceremonies like daily stand ups, backlog refinement, sprint planning, Sprint review, Sprint retrospectives</a:t>
            </a:r>
          </a:p>
          <a:p>
            <a:pPr algn="just" defTabSz="1006520">
              <a:spcAft>
                <a:spcPts val="300"/>
              </a:spcAft>
              <a:buClr>
                <a:srgbClr val="404040"/>
              </a:buClr>
              <a:buSzPct val="70000"/>
              <a:tabLst>
                <a:tab pos="2824212" algn="l"/>
                <a:tab pos="4080803" algn="r"/>
              </a:tabLst>
              <a:defRPr/>
            </a:pPr>
            <a:r>
              <a:rPr lang="en-IE" sz="800" b="1">
                <a:solidFill>
                  <a:schemeClr val="bg1"/>
                </a:solidFill>
                <a:latin typeface="Calibri"/>
                <a:cs typeface="Arial"/>
              </a:rPr>
              <a:t>Global Consultancy – QA Manager – AIB</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reation of test strategy and responsible for SIT, E2E, UAT ,OAT &amp; performance testing for all projects in finance team​</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 closely with business teams to plan and manage UAT and review the test artifacts ​</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Identify areas for automation &amp; assess ROI to plan &amp; implement automation.​</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ed closely with different vendors/teams involved in the project for release management &amp; defect resolution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Status reporting (Daily Status, Weekly Status) &amp; tracking of issues/risks for mitigation during test phases.</a:t>
            </a:r>
          </a:p>
          <a:p>
            <a:pPr marL="0" lvl="1" algn="just"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a:cs typeface="Arial"/>
              </a:rPr>
              <a:t>Global Consultancy – QA Manager – Bank of Ireland</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Responsible for  test approach, test plan, test estimation, daily and weekly status reporting  and defect management</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Managed SIT, E2E, performance and UAT test phase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ed closely with ROI and UK Business teams to define phase wise scope, test approach, objectives, etc. and managed testing budget for both ROI and UK program</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Planned and coordinated tasks with teams based at onsite and offshore, ensuring effective resource  utilization</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Facilitated collection of metrics to track various quality parameters for corrective actions to be implemented in the future projects</a:t>
            </a:r>
            <a:endParaRPr lang="en-IE" sz="800">
              <a:solidFill>
                <a:schemeClr val="bg1"/>
              </a:solidFill>
              <a:latin typeface="Calibri"/>
              <a:cs typeface="Arial"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6" name="Rectangle 15">
            <a:extLst>
              <a:ext uri="{FF2B5EF4-FFF2-40B4-BE49-F238E27FC236}">
                <a16:creationId xmlns:a16="http://schemas.microsoft.com/office/drawing/2014/main" id="{1EE50A2F-BB66-4023-A19E-4AC1F49CB477}"/>
              </a:ext>
            </a:extLst>
          </p:cNvPr>
          <p:cNvSpPr/>
          <p:nvPr/>
        </p:nvSpPr>
        <p:spPr>
          <a:xfrm>
            <a:off x="620090" y="5095685"/>
            <a:ext cx="5348910" cy="861774"/>
          </a:xfrm>
          <a:prstGeom prst="rect">
            <a:avLst/>
          </a:prstGeom>
        </p:spPr>
        <p:txBody>
          <a:bodyPr wrap="square" lIns="91440" tIns="45720" rIns="91440" bIns="45720" anchor="t">
            <a:spAutoFit/>
          </a:bodyPr>
          <a:lstStyle/>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Team &amp; Stakeholder management​.​</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Test Management​, defect management.​</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Documenting Test Strategy ,Test Estimations, Test Plans, Test Approach and Test Closure Reports.​</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Experience using JIRA, Confluence, ALM, Azure Dev Ops, Plan view.​</a:t>
            </a:r>
          </a:p>
          <a:p>
            <a:pPr marL="143510" lvl="1" indent="-14351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Managing ST, SIT, End to End testing, regression, UAT ,OAT &amp; performance</a:t>
            </a: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550" b="0" i="0" u="none" strike="noStrike" kern="0" cap="none" spc="0" normalizeH="0" baseline="0" noProof="0">
              <a:ln>
                <a:noFill/>
              </a:ln>
              <a:solidFill>
                <a:srgbClr val="000000"/>
              </a:solidFill>
              <a:effectLst/>
              <a:uLnTx/>
              <a:uFillTx/>
              <a:latin typeface="Calibri"/>
              <a:cs typeface="Calibri"/>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a:cs typeface="Calibri"/>
              </a:rPr>
              <a:t>Manager</a:t>
            </a:r>
          </a:p>
          <a:p>
            <a:pPr defTabSz="913943"/>
            <a:r>
              <a:rPr lang="en-IE" sz="1200">
                <a:solidFill>
                  <a:schemeClr val="bg1"/>
                </a:solidFill>
                <a:latin typeface="Calibri"/>
                <a:cs typeface="Calibri"/>
              </a:rPr>
              <a:t>EY Technology Consulting</a:t>
            </a:r>
          </a:p>
          <a:p>
            <a:pPr defTabSz="913943">
              <a:buSzPct val="100000"/>
            </a:pPr>
            <a:r>
              <a:rPr lang="en-IE" sz="1200">
                <a:solidFill>
                  <a:schemeClr val="bg1"/>
                </a:solidFill>
                <a:latin typeface="Calibri"/>
                <a:cs typeface="Calibri"/>
              </a:rPr>
              <a:t>Proposed Role: Test Lead</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89" y="1441323"/>
            <a:ext cx="2463139"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a:cs typeface="Calibri"/>
              </a:rPr>
              <a:t>Suresh Kumar </a:t>
            </a:r>
            <a:r>
              <a:rPr lang="en-US" err="1">
                <a:solidFill>
                  <a:schemeClr val="bg1"/>
                </a:solidFill>
                <a:latin typeface="Calibri"/>
                <a:cs typeface="Calibri"/>
              </a:rPr>
              <a:t>Namballa</a:t>
            </a:r>
            <a:endParaRPr lang="en-US">
              <a:solidFill>
                <a:schemeClr val="bg1"/>
              </a:solidFill>
              <a:latin typeface="Calibri"/>
              <a:cs typeface="Calibri"/>
            </a:endParaRP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a:cs typeface="Calibri"/>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a:cs typeface="Calibri"/>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a:cs typeface="Calibri"/>
              </a:rPr>
              <a:t>About </a:t>
            </a:r>
            <a:r>
              <a:rPr lang="en-US" sz="1150" b="1" kern="0">
                <a:latin typeface="Calibri"/>
                <a:cs typeface="Calibri"/>
              </a:rPr>
              <a:t>Suresh</a:t>
            </a:r>
            <a:endParaRPr lang="en-US" sz="1150" b="1" i="0" u="none" strike="noStrike" kern="0" cap="none" spc="0" normalizeH="0" baseline="0" noProof="0">
              <a:ln>
                <a:noFill/>
              </a:ln>
              <a:effectLst/>
              <a:uLnTx/>
              <a:uFillTx/>
              <a:latin typeface="Calibri"/>
              <a:cs typeface="Calibri"/>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a:t>
            </a:r>
            <a:r>
              <a:rPr lang="en-IE">
                <a:latin typeface="Calibri"/>
                <a:cs typeface="Calibri"/>
              </a:rPr>
              <a:t>– Team member bios</a:t>
            </a:r>
          </a:p>
        </p:txBody>
      </p:sp>
      <p:pic>
        <p:nvPicPr>
          <p:cNvPr id="2050" name="Picture 2">
            <a:extLst>
              <a:ext uri="{FF2B5EF4-FFF2-40B4-BE49-F238E27FC236}">
                <a16:creationId xmlns:a16="http://schemas.microsoft.com/office/drawing/2014/main" id="{B4808691-42E3-408C-9830-B1E1D2FF461C}"/>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090" y="1357342"/>
            <a:ext cx="1152000" cy="133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47862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101722" y="1389998"/>
            <a:ext cx="5868539" cy="4820246"/>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867571"/>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769715"/>
          </a:xfrm>
          <a:prstGeom prst="rect">
            <a:avLst/>
          </a:prstGeom>
        </p:spPr>
        <p:txBody>
          <a:bodyPr wrap="square" lIns="91440" tIns="45720" rIns="91440" bIns="45720" anchor="t">
            <a:spAutoFit/>
          </a:bodyPr>
          <a:lstStyle/>
          <a:p>
            <a:pPr marL="180975" indent="-180975" algn="just">
              <a:spcAft>
                <a:spcPts val="300"/>
              </a:spcAft>
              <a:buSzPct val="75000"/>
              <a:buFont typeface="EYInterstate Light" pitchFamily="2" charset="0"/>
              <a:buChar char="►"/>
            </a:pPr>
            <a:r>
              <a:rPr lang="en-IE" sz="900">
                <a:solidFill>
                  <a:schemeClr val="bg1"/>
                </a:solidFill>
                <a:latin typeface="Calibri"/>
                <a:cs typeface="Calibri"/>
              </a:rPr>
              <a:t>Ashwini has overall five years of working experience in IT industry and more than three years of experience in managing Microsoft Azure Cloud and AWS Cloud infrastructure. </a:t>
            </a:r>
            <a:endParaRPr lang="en-US" sz="900">
              <a:solidFill>
                <a:schemeClr val="bg1"/>
              </a:solidFill>
              <a:latin typeface="Calibri"/>
              <a:cs typeface="Calibri"/>
            </a:endParaRP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Expertise in engaging with customers as subject matter expert on Azure Active Directory, Azure Identity and Access Management, Azure DevOps, cloud technologies, Business Continuity and Disaster Recovery, Infra as a code like Terraform.</a:t>
            </a: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Ashwini holds Microsoft: Azure Administrator associate, Microsoft: Identity and Access Administrator and many more certifications.</a:t>
            </a: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Proven ability to interface with customers, and work on building a good relationship with them, also she has a good analytic and problem-solving skills, with the keen ability to assess needs, define requirements, and execute technical projects that streamline and improve operating efficiencies</a:t>
            </a:r>
          </a:p>
          <a:p>
            <a:pPr marL="180975" indent="-180975" algn="just">
              <a:spcAft>
                <a:spcPts val="300"/>
              </a:spcAft>
              <a:buSzPct val="75000"/>
              <a:buFont typeface="EYInterstate Light" pitchFamily="2" charset="0"/>
              <a:buChar char="►"/>
            </a:pPr>
            <a:endParaRPr lang="en-IE" sz="900">
              <a:solidFill>
                <a:schemeClr val="bg1"/>
              </a:solidFill>
              <a:latin typeface="Calibri"/>
              <a:cs typeface="Calibri"/>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032559" y="1614287"/>
            <a:ext cx="5932318" cy="5047536"/>
          </a:xfrm>
          <a:prstGeom prst="rect">
            <a:avLst/>
          </a:prstGeom>
        </p:spPr>
        <p:txBody>
          <a:bodyPr wrap="square" lIns="91440" tIns="45720" rIns="91440" bIns="45720" anchor="t">
            <a:spAutoFit/>
          </a:bodyPr>
          <a:lstStyle/>
          <a:p>
            <a:pPr marL="146050" indent="-146050"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a:cs typeface="Calibri"/>
              </a:rPr>
              <a:t>Technology Assistant Manager </a:t>
            </a:r>
            <a:endParaRPr lang="en-US"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Executed Cloud Strategies encompassing data, application, infrastructure, integration, security, and architecture domains</a:t>
            </a: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Implemented Cloud Automation using Terraform for Infrastructure as code (</a:t>
            </a:r>
            <a:r>
              <a:rPr lang="en-IE" sz="800" err="1">
                <a:solidFill>
                  <a:schemeClr val="bg1"/>
                </a:solidFill>
                <a:latin typeface="Calibri"/>
                <a:cs typeface="Arial"/>
              </a:rPr>
              <a:t>IaC</a:t>
            </a:r>
            <a:r>
              <a:rPr lang="en-IE" sz="800">
                <a:solidFill>
                  <a:schemeClr val="bg1"/>
                </a:solidFill>
                <a:latin typeface="Calibri"/>
                <a:cs typeface="Arial"/>
              </a:rPr>
              <a:t>) solutions. Managed identity and access for various platforms, including Azure, Dynamic CRM, Twilio, and Microsoft licenses. Possessed comprehensive knowledge of Infrastructure technologies like Azure Active Directory, Intune, Azure Virtual Desktop (AVD), conditional access, and firewall. Wrote knowledgebase articles documenting new solutions, processes, and procedures</a:t>
            </a:r>
            <a:endParaRPr lang="en-IE" sz="800">
              <a:solidFill>
                <a:schemeClr val="bg1"/>
              </a:solidFill>
              <a:latin typeface="Calibri"/>
              <a:cs typeface="Calibri"/>
            </a:endParaRPr>
          </a:p>
          <a:p>
            <a:pPr marL="146050" lvl="1" indent="-146050" algn="just" defTabSz="1006520">
              <a:spcBef>
                <a:spcPct val="0"/>
              </a:spcBef>
              <a:spcAft>
                <a:spcPts val="300"/>
              </a:spcAft>
              <a:buClr>
                <a:srgbClr val="404040"/>
              </a:buClr>
              <a:buSzPct val="70000"/>
              <a:tabLst>
                <a:tab pos="2824212" algn="l"/>
                <a:tab pos="4080803" algn="r"/>
              </a:tabLst>
              <a:defRPr/>
            </a:pPr>
            <a:r>
              <a:rPr lang="en-IE" sz="800" b="1">
                <a:solidFill>
                  <a:schemeClr val="bg1"/>
                </a:solidFill>
                <a:latin typeface="Calibri"/>
                <a:cs typeface="Arial"/>
              </a:rPr>
              <a:t>Cloud solutions and Managed services provider – Senior Cloud Engineer</a:t>
            </a:r>
            <a:endParaRPr lang="en-IE" sz="800" b="1">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reated Azure Cost Estimation for multiple clients. Managed Presales calls and provided Project Deliverables using Cloud Adoption Framework</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Designed Cloud Architecture Diagram using Visio tool</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Performed migration of on-premises servers to Azure Cloud using Azure Migrate, ASR (Azure State Recovery) for on-premises and Azure Servers with Test Failover and Full Failover</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Managed RBAC and IAM role assignments in Azure AD</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Worked on Azure CLI, Configuration management tool (Chef), PowerShell, ARM Templates and Terraform. Performed various activities related to Compute, Storage and Network services</a:t>
            </a:r>
            <a:endParaRPr lang="en-IE" sz="800">
              <a:solidFill>
                <a:schemeClr val="bg1"/>
              </a:solidFill>
              <a:latin typeface="Calibri"/>
              <a:cs typeface="Calibri"/>
            </a:endParaRPr>
          </a:p>
          <a:p>
            <a:pPr marL="146050" indent="-146050" algn="just" defTabSz="1006520">
              <a:spcAft>
                <a:spcPts val="300"/>
              </a:spcAft>
              <a:tabLst>
                <a:tab pos="2824212" algn="l"/>
                <a:tab pos="4080803" algn="r"/>
              </a:tabLst>
              <a:defRPr/>
            </a:pPr>
            <a:r>
              <a:rPr lang="en-IE" sz="800" b="1">
                <a:solidFill>
                  <a:schemeClr val="bg1"/>
                </a:solidFill>
                <a:latin typeface="Calibri"/>
                <a:cs typeface="Arial"/>
              </a:rPr>
              <a:t>IT Service Provider – AWS Cloud Engineer</a:t>
            </a:r>
            <a:endParaRPr lang="en-IE" sz="800">
              <a:solidFill>
                <a:schemeClr val="bg1"/>
              </a:solidFill>
              <a:latin typeface="Calibri"/>
              <a:cs typeface="Arial"/>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Proficiently worked with various AWS services, including EC2, Load Balancer, RDS, Lambda, S3, Glacier, CloudWatch, IAM, VPC, SQS, SNS, and Route53</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reated AWS Infrastructure efficiently using CloudFormation Templates, and implemented solutions on AWS, including VPC setup, instance configuration, IAM access control, and software installations. Performed successful Infrastructure Migration from On-Premise to AWS Cloud. Additionally, conducted Cloud Cost Optimization and regular clean-up activities to manage AWS billing efficiently. Monitored applications using CloudWatch Metrics &amp; CloudWatch Logs</a:t>
            </a:r>
            <a:endParaRPr lang="en-IE" sz="800">
              <a:solidFill>
                <a:schemeClr val="bg1"/>
              </a:solidFill>
              <a:latin typeface="Calibri"/>
              <a:cs typeface="Calibri"/>
            </a:endParaRPr>
          </a:p>
          <a:p>
            <a:pPr marL="146050" indent="-146050" algn="just" defTabSz="1006520">
              <a:spcAft>
                <a:spcPts val="300"/>
              </a:spcAft>
              <a:tabLst>
                <a:tab pos="2824212" algn="l"/>
                <a:tab pos="4080803" algn="r"/>
              </a:tabLst>
              <a:defRPr/>
            </a:pPr>
            <a:r>
              <a:rPr lang="en-IE" sz="800" b="1">
                <a:solidFill>
                  <a:schemeClr val="bg1"/>
                </a:solidFill>
                <a:latin typeface="Calibri"/>
                <a:cs typeface="Arial"/>
              </a:rPr>
              <a:t>Multinational IT Service &amp; Consulting Company – Senior Software Engineer</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reated, managed, and supported various application-specific services in AWS Cloud</a:t>
            </a: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onducted UI-based Production Deployments and post-verification Testing, logging deployments and application-specific bugs in JIRA</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Maintained daily communication with the client, addressing issues/requirements and handling severity tickets. Provided solutions for Severity 1 and Severity 2 incidents without breaching SLA. Performed end-to-end application manual testing, delivered solutions to the client, and developed reports/presentations for client meetings. Conducted knowledge transfer to new team members and provided on-site support in Australia, Melbourne, for 3 months</a:t>
            </a:r>
            <a:endParaRPr lang="en-IE" sz="800">
              <a:solidFill>
                <a:schemeClr val="bg1"/>
              </a:solidFill>
              <a:latin typeface="Calibri"/>
              <a:cs typeface="Calibri"/>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a:endParaRPr>
          </a:p>
          <a:p>
            <a:pPr marL="146050" indent="-146050" algn="just" defTabSz="1006520">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a:endParaRPr>
          </a:p>
          <a:p>
            <a:pPr marL="146050" indent="-146050" algn="just" defTabSz="1006520">
              <a:spcAft>
                <a:spcPts val="300"/>
              </a:spcAft>
              <a:tabLst>
                <a:tab pos="2824212" algn="l"/>
                <a:tab pos="4080803" algn="r"/>
              </a:tabLst>
              <a:defRPr/>
            </a:pPr>
            <a:endParaRPr lang="en-IE" sz="800">
              <a:solidFill>
                <a:schemeClr val="bg1"/>
              </a:solidFill>
              <a:latin typeface="Calibri"/>
              <a:cs typeface="Arial"/>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784545"/>
            <a:ext cx="5317301" cy="1620873"/>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550" b="0" i="0" u="none" strike="noStrike" kern="0" cap="none" spc="0" normalizeH="0" baseline="0" noProof="0">
              <a:ln>
                <a:noFill/>
              </a:ln>
              <a:solidFill>
                <a:srgbClr val="000000"/>
              </a:solidFill>
              <a:effectLst/>
              <a:uLnTx/>
              <a:uFillTx/>
              <a:latin typeface="Calibri"/>
              <a:cs typeface="Calibri"/>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398552"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a:cs typeface="Calibri"/>
              </a:rPr>
              <a:t>Assistant Manager</a:t>
            </a:r>
          </a:p>
          <a:p>
            <a:pPr defTabSz="913943"/>
            <a:r>
              <a:rPr lang="en-IE" sz="1200">
                <a:solidFill>
                  <a:schemeClr val="bg1"/>
                </a:solidFill>
                <a:latin typeface="Calibri"/>
                <a:cs typeface="Calibri"/>
              </a:rPr>
              <a:t>EY Technology Consulting</a:t>
            </a:r>
          </a:p>
          <a:p>
            <a:pPr defTabSz="913943">
              <a:buSzPct val="100000"/>
            </a:pPr>
            <a:r>
              <a:rPr lang="en-IE" sz="1200">
                <a:solidFill>
                  <a:schemeClr val="bg1"/>
                </a:solidFill>
                <a:latin typeface="Calibri"/>
                <a:cs typeface="Calibri"/>
              </a:rPr>
              <a:t>Proposed Role: Cloud Engineer - IDAM</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52209"/>
            <a:ext cx="2191385" cy="590931"/>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a:cs typeface="Calibri"/>
              </a:rPr>
              <a:t>Ashwini </a:t>
            </a:r>
            <a:r>
              <a:rPr lang="en-US" err="1">
                <a:solidFill>
                  <a:schemeClr val="bg1"/>
                </a:solidFill>
                <a:latin typeface="Calibri"/>
                <a:cs typeface="Calibri"/>
              </a:rPr>
              <a:t>Kokitkar</a:t>
            </a:r>
            <a:endParaRPr lang="en-US">
              <a:solidFill>
                <a:schemeClr val="bg1"/>
              </a:solidFill>
              <a:latin typeface="Calibri"/>
              <a:cs typeface="Calibri"/>
            </a:endParaRPr>
          </a:p>
          <a:p>
            <a:endParaRPr lang="en-US">
              <a:solidFill>
                <a:schemeClr val="bg1"/>
              </a:solidFill>
              <a:latin typeface="Calibri"/>
              <a:cs typeface="Calibri"/>
            </a:endParaRPr>
          </a:p>
        </p:txBody>
      </p:sp>
      <p:sp>
        <p:nvSpPr>
          <p:cNvPr id="24" name="Rectangle 52">
            <a:extLst>
              <a:ext uri="{FF2B5EF4-FFF2-40B4-BE49-F238E27FC236}">
                <a16:creationId xmlns:a16="http://schemas.microsoft.com/office/drawing/2014/main" id="{F157CDD7-E4B0-DBE6-3BF9-A80704C2E8E2}"/>
              </a:ext>
            </a:extLst>
          </p:cNvPr>
          <p:cNvSpPr/>
          <p:nvPr/>
        </p:nvSpPr>
        <p:spPr>
          <a:xfrm>
            <a:off x="6101721" y="1379114"/>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a:cs typeface="Calibri"/>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32790" y="4784545"/>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a:cs typeface="Calibri"/>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a:cs typeface="Calibri"/>
              </a:rPr>
              <a:t>About </a:t>
            </a:r>
            <a:r>
              <a:rPr lang="en-US" sz="1150" b="1" kern="0">
                <a:latin typeface="Calibri"/>
                <a:cs typeface="Calibri"/>
              </a:rPr>
              <a:t>Ashwini</a:t>
            </a:r>
            <a:endParaRPr lang="en-US" sz="1150" b="1" i="0" u="none" strike="noStrike" kern="0" cap="none" spc="0" normalizeH="0" baseline="0" noProof="0">
              <a:ln>
                <a:noFill/>
              </a:ln>
              <a:effectLst/>
              <a:uLnTx/>
              <a:uFillTx/>
              <a:latin typeface="Calibri"/>
              <a:cs typeface="Calibri"/>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a:t>
            </a:r>
            <a:r>
              <a:rPr lang="en-IE">
                <a:latin typeface="Calibri"/>
                <a:cs typeface="Calibri"/>
              </a:rPr>
              <a:t>– Team member bios</a:t>
            </a:r>
          </a:p>
        </p:txBody>
      </p:sp>
      <p:sp>
        <p:nvSpPr>
          <p:cNvPr id="5" name="Rectangle 4">
            <a:extLst>
              <a:ext uri="{FF2B5EF4-FFF2-40B4-BE49-F238E27FC236}">
                <a16:creationId xmlns:a16="http://schemas.microsoft.com/office/drawing/2014/main" id="{1AA4F3D1-45B7-A72E-14AB-197DB6665F5F}"/>
              </a:ext>
            </a:extLst>
          </p:cNvPr>
          <p:cNvSpPr/>
          <p:nvPr/>
        </p:nvSpPr>
        <p:spPr>
          <a:xfrm>
            <a:off x="632790" y="5054060"/>
            <a:ext cx="2842752" cy="907941"/>
          </a:xfrm>
          <a:prstGeom prst="rect">
            <a:avLst/>
          </a:prstGeom>
        </p:spPr>
        <p:txBody>
          <a:bodyPr wrap="square" lIns="91440" tIns="45720" rIns="91440" bIns="45720" anchor="t">
            <a:spAutoFit/>
          </a:bodyPr>
          <a:lstStyle/>
          <a:p>
            <a:pPr marL="180340" indent="-180340" defTabSz="1018971" fontAlgn="base">
              <a:buClr>
                <a:srgbClr val="2E2E38"/>
              </a:buClr>
              <a:buSzPct val="70000"/>
              <a:buFont typeface="Arial" panose="020B0604020202020204" pitchFamily="34" charset="0"/>
              <a:buChar char="►"/>
              <a:defRPr/>
            </a:pPr>
            <a:r>
              <a:rPr lang="en-IE" sz="800">
                <a:solidFill>
                  <a:schemeClr val="bg1"/>
                </a:solidFill>
                <a:latin typeface="Calibri"/>
                <a:cs typeface="Calibri"/>
              </a:rPr>
              <a:t>Excellent customer-facing advisory and consultancy skills</a:t>
            </a:r>
          </a:p>
          <a:p>
            <a:pPr marL="18034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Cloud architecture design, delivery, and migration experience</a:t>
            </a:r>
          </a:p>
          <a:p>
            <a:pPr marL="18034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Technology systems analysis, planning &amp; design</a:t>
            </a:r>
          </a:p>
          <a:p>
            <a:pPr marL="18034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Experience in Infrastructure as a code: Terraform, Cloud Formation</a:t>
            </a:r>
          </a:p>
        </p:txBody>
      </p:sp>
      <p:sp>
        <p:nvSpPr>
          <p:cNvPr id="9" name="Rectangle 8">
            <a:extLst>
              <a:ext uri="{FF2B5EF4-FFF2-40B4-BE49-F238E27FC236}">
                <a16:creationId xmlns:a16="http://schemas.microsoft.com/office/drawing/2014/main" id="{54149453-3DEF-2E15-6311-535F75F8CCA1}"/>
              </a:ext>
            </a:extLst>
          </p:cNvPr>
          <p:cNvSpPr/>
          <p:nvPr/>
        </p:nvSpPr>
        <p:spPr>
          <a:xfrm>
            <a:off x="3477961" y="5048077"/>
            <a:ext cx="2438247" cy="1354217"/>
          </a:xfrm>
          <a:prstGeom prst="rect">
            <a:avLst/>
          </a:prstGeom>
        </p:spPr>
        <p:txBody>
          <a:bodyPr wrap="square" lIns="91440" tIns="45720" rIns="91440" bIns="45720" anchor="t">
            <a:spAutoFit/>
          </a:bodyPr>
          <a:lstStyle/>
          <a:p>
            <a:pPr marL="182880" indent="-180340" defTabSz="1018971">
              <a:buClr>
                <a:srgbClr val="2E2E38"/>
              </a:buClr>
              <a:buSzPct val="70000"/>
              <a:buFont typeface="Arial" panose="020B0604020202020204" pitchFamily="34" charset="0"/>
              <a:buChar char="►"/>
              <a:defRPr/>
            </a:pPr>
            <a:r>
              <a:rPr lang="en-IE" sz="800">
                <a:solidFill>
                  <a:schemeClr val="bg1"/>
                </a:solidFill>
                <a:latin typeface="Calibri"/>
                <a:cs typeface="Calibri"/>
              </a:rPr>
              <a:t>Microsoft Certified: Azure Administrator Associate</a:t>
            </a:r>
            <a:endParaRPr lang="en-US">
              <a:solidFill>
                <a:schemeClr val="bg1"/>
              </a:solidFill>
              <a:latin typeface="Calibri"/>
              <a:cs typeface="Calibri"/>
            </a:endParaRPr>
          </a:p>
          <a:p>
            <a:pPr marL="18288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Microsoft Certifies: Identity and Access Administrator </a:t>
            </a:r>
          </a:p>
          <a:p>
            <a:pPr marL="18288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Microsoft Certified: Security, Compliance, and Identity Fundamentals</a:t>
            </a:r>
          </a:p>
          <a:p>
            <a:pPr marL="18288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Microsoft Certified: Azure Data Fundamentals</a:t>
            </a:r>
          </a:p>
          <a:p>
            <a:pPr marL="182880"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Microsoft Certified: Azure Fundamentals</a:t>
            </a:r>
          </a:p>
          <a:p>
            <a:pPr marL="182880" lvl="4" indent="-180340" defTabSz="1018971">
              <a:spcAft>
                <a:spcPts val="300"/>
              </a:spcAft>
              <a:buClr>
                <a:srgbClr val="2E2E38"/>
              </a:buClr>
              <a:buSzPct val="70000"/>
              <a:buFont typeface="Arial" panose="020B0604020202020204" pitchFamily="34" charset="0"/>
              <a:buChar char="►"/>
              <a:defRPr/>
            </a:pPr>
            <a:endParaRPr lang="en-IE" sz="800">
              <a:solidFill>
                <a:schemeClr val="bg1"/>
              </a:solidFill>
              <a:latin typeface="Calibri"/>
              <a:cs typeface="Calibri"/>
            </a:endParaRPr>
          </a:p>
        </p:txBody>
      </p:sp>
      <p:pic>
        <p:nvPicPr>
          <p:cNvPr id="3" name="Picture 3" descr="A person with long black hair&#10;&#10;Description automatically generated">
            <a:extLst>
              <a:ext uri="{FF2B5EF4-FFF2-40B4-BE49-F238E27FC236}">
                <a16:creationId xmlns:a16="http://schemas.microsoft.com/office/drawing/2014/main" id="{3EE88C9F-1616-1FAE-0272-D9A8B91B03A4}"/>
              </a:ext>
            </a:extLst>
          </p:cNvPr>
          <p:cNvPicPr>
            <a:picLocks/>
          </p:cNvPicPr>
          <p:nvPr/>
        </p:nvPicPr>
        <p:blipFill>
          <a:blip r:embed="rId4"/>
          <a:stretch>
            <a:fillRect/>
          </a:stretch>
        </p:blipFill>
        <p:spPr>
          <a:xfrm>
            <a:off x="627970" y="1359353"/>
            <a:ext cx="1147692" cy="1339200"/>
          </a:xfrm>
          <a:prstGeom prst="rect">
            <a:avLst/>
          </a:prstGeom>
        </p:spPr>
      </p:pic>
    </p:spTree>
    <p:extLst>
      <p:ext uri="{BB962C8B-B14F-4D97-AF65-F5344CB8AC3E}">
        <p14:creationId xmlns:p14="http://schemas.microsoft.com/office/powerpoint/2010/main" val="209286626"/>
      </p:ext>
    </p:extLst>
  </p:cSld>
  <p:clrMapOvr>
    <a:masterClrMapping/>
  </p:clrMapOvr>
  <p:extLst>
    <p:ext uri="{6950BFC3-D8DA-4A85-94F7-54DA5524770B}">
      <p188:commentRel xmlns:p188="http://schemas.microsoft.com/office/powerpoint/2018/8/main" r:id="rId3"/>
    </p:ext>
  </p:extLs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315745"/>
          </a:xfrm>
          <a:prstGeom prst="rect">
            <a:avLst/>
          </a:prstGeom>
        </p:spPr>
        <p:txBody>
          <a:bodyPr wrap="square" lIns="91440" tIns="45720" rIns="91440" bIns="45720" anchor="t">
            <a:spAutoFit/>
          </a:bodyPr>
          <a:lstStyle/>
          <a:p>
            <a:pPr marL="180975" indent="-180975" algn="just">
              <a:spcAft>
                <a:spcPts val="300"/>
              </a:spcAft>
              <a:buSzPct val="75000"/>
              <a:buFont typeface="EYInterstate Light" pitchFamily="2" charset="0"/>
              <a:buChar char="►"/>
            </a:pPr>
            <a:r>
              <a:rPr lang="en-IE" sz="900">
                <a:solidFill>
                  <a:schemeClr val="bg1"/>
                </a:solidFill>
                <a:latin typeface="Calibri"/>
                <a:cs typeface="Calibri"/>
              </a:rPr>
              <a:t>Wisdom is a Manager specialising in Digital and Emerging technologies with over 10 years’ experience working in both Public and Private sector organisations. He joined EY in July 2022</a:t>
            </a:r>
            <a:endParaRPr lang="en-US" sz="900">
              <a:solidFill>
                <a:schemeClr val="bg1"/>
              </a:solidFill>
              <a:latin typeface="Calibri"/>
              <a:cs typeface="Calibri"/>
            </a:endParaRP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Wisdom is highly experienced and skilled in Database Administration with over 10 years of expertise in full development lifecycle and various Relational Database Management Systems (RDBMS). He has a track record of successfully leading and contributing to critical projects for both public and private sector clients, ensuring the stability, reliability, and optimal performance of databases.</a:t>
            </a:r>
          </a:p>
          <a:p>
            <a:pPr marL="180975" indent="-180975" algn="just">
              <a:spcAft>
                <a:spcPts val="300"/>
              </a:spcAft>
              <a:buSzPct val="75000"/>
              <a:buFont typeface="EYInterstate Light" pitchFamily="2" charset="0"/>
              <a:buChar char="►"/>
            </a:pPr>
            <a:endParaRPr lang="en-IE" sz="900">
              <a:solidFill>
                <a:schemeClr val="bg1"/>
              </a:solidFill>
              <a:latin typeface="Calibri"/>
              <a:cs typeface="Calibri"/>
            </a:endParaRPr>
          </a:p>
          <a:p>
            <a:pPr marL="180975" indent="-180975" algn="just">
              <a:spcAft>
                <a:spcPts val="300"/>
              </a:spcAft>
              <a:buSzPct val="75000"/>
              <a:buFont typeface="EYInterstate Light" pitchFamily="2" charset="0"/>
              <a:buChar char="►"/>
            </a:pPr>
            <a:endParaRPr lang="en-IE" sz="900">
              <a:solidFill>
                <a:schemeClr val="bg1"/>
              </a:solidFill>
              <a:latin typeface="Calibri"/>
              <a:cs typeface="Calibri"/>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623996"/>
            <a:ext cx="5398919" cy="4601260"/>
          </a:xfrm>
          <a:prstGeom prst="rect">
            <a:avLst/>
          </a:prstGeom>
        </p:spPr>
        <p:txBody>
          <a:bodyPr wrap="square" lIns="91440" tIns="45720" rIns="91440" bIns="45720" anchor="t">
            <a:spAutoFit/>
          </a:bodyPr>
          <a:lstStyle/>
          <a:p>
            <a:pPr marL="182880" indent="-182880"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a:cs typeface="Calibri"/>
              </a:rPr>
              <a:t>Public Sector – Data Engineer</a:t>
            </a:r>
            <a:endParaRPr lang="en-US" sz="800">
              <a:solidFill>
                <a:schemeClr val="bg1"/>
              </a:solidFill>
              <a:latin typeface="Calibri"/>
              <a:cs typeface="Calibri"/>
            </a:endParaRPr>
          </a:p>
          <a:p>
            <a:pPr marL="182880" indent="-18288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ctively contributed to contingency planning, business continuity, and IT disaster recovery activities, aligning them with industry best practices</a:t>
            </a: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He designed migration road map from an on-premises SQL Server database implementation to Azure SQL instance</a:t>
            </a:r>
            <a:endParaRPr lang="en-IE" sz="800">
              <a:solidFill>
                <a:schemeClr val="bg1"/>
              </a:solidFill>
              <a:latin typeface="Calibri"/>
              <a:cs typeface="Calibri"/>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Upgrades of SQL Server instances from SQL Server 2012 to SQL Server 2019 including ensuring all databases did not lose their data </a:t>
            </a:r>
            <a:endParaRPr lang="en-IE" sz="800">
              <a:solidFill>
                <a:schemeClr val="bg1"/>
              </a:solidFill>
              <a:latin typeface="Calibri"/>
              <a:cs typeface="Calibri"/>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reated data pipelines in SQL Server Integration Services to process and transform data periodically, for reporting in Power BI. Created scripts for handling unstructured data to perform data conversion, format conversion and data cleansing</a:t>
            </a:r>
          </a:p>
          <a:p>
            <a:pPr marL="182880" lvl="1" indent="-182880" algn="just" defTabSz="1006520">
              <a:spcBef>
                <a:spcPct val="0"/>
              </a:spcBef>
              <a:spcAft>
                <a:spcPts val="300"/>
              </a:spcAft>
              <a:tabLst>
                <a:tab pos="2824212" algn="l"/>
                <a:tab pos="4080803" algn="r"/>
              </a:tabLst>
              <a:defRPr/>
            </a:pPr>
            <a:r>
              <a:rPr lang="en-IE" sz="800" b="1">
                <a:solidFill>
                  <a:schemeClr val="bg1"/>
                </a:solidFill>
                <a:latin typeface="Calibri"/>
                <a:cs typeface="Arial"/>
              </a:rPr>
              <a:t>Insurance Company – Data Engineer</a:t>
            </a:r>
            <a:endParaRPr lang="en-IE" sz="800">
              <a:solidFill>
                <a:schemeClr val="bg1"/>
              </a:solidFill>
              <a:latin typeface="Calibri"/>
              <a:cs typeface="Calibri"/>
            </a:endParaRPr>
          </a:p>
          <a:p>
            <a:pPr marL="182880" indent="-18288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dvised in the development of T-SQL stored procedures and user defined functions for use in the development of business systems. Created indexes, and views to optimize access to the tables of the organizational databases</a:t>
            </a: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ssisted in the analysis of business requirements to ensure that data models created would give value to the business</a:t>
            </a:r>
            <a:endParaRPr lang="en-IE" sz="800">
              <a:solidFill>
                <a:schemeClr val="bg1"/>
              </a:solidFill>
              <a:latin typeface="Calibri"/>
              <a:cs typeface="Calibri"/>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dvised on optimizing the data staging, query execution, indexing, and statistics strategies for data models and data warehouses</a:t>
            </a:r>
            <a:endParaRPr lang="en-IE" sz="800">
              <a:solidFill>
                <a:schemeClr val="bg1"/>
              </a:solidFill>
              <a:latin typeface="Calibri"/>
              <a:cs typeface="Calibri"/>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Implemented data privacy and data security strategies to ensure solutions stay compliant with security standards and frameworks</a:t>
            </a:r>
            <a:endParaRPr lang="en-IE" sz="800">
              <a:solidFill>
                <a:schemeClr val="bg1"/>
              </a:solidFill>
              <a:latin typeface="Calibri"/>
              <a:cs typeface="Calibri"/>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Built and maintained robust database infrastructure, utilizing logical and physical data models in SQL Server</a:t>
            </a:r>
          </a:p>
          <a:p>
            <a:pPr marL="182880" lvl="1" indent="-182880" algn="just" defTabSz="1006520">
              <a:spcBef>
                <a:spcPct val="0"/>
              </a:spcBef>
              <a:spcAft>
                <a:spcPts val="300"/>
              </a:spcAft>
              <a:tabLst>
                <a:tab pos="2824212" algn="l"/>
                <a:tab pos="4080803" algn="r"/>
              </a:tabLst>
              <a:defRPr/>
            </a:pPr>
            <a:r>
              <a:rPr lang="en-IE" sz="800" b="1">
                <a:solidFill>
                  <a:schemeClr val="bg1"/>
                </a:solidFill>
                <a:latin typeface="Calibri"/>
                <a:cs typeface="Arial"/>
              </a:rPr>
              <a:t>Consulting Company – Database Engineer </a:t>
            </a:r>
            <a:endParaRPr lang="en-IE" sz="800">
              <a:solidFill>
                <a:schemeClr val="bg1"/>
              </a:solidFill>
              <a:latin typeface="Calibri"/>
              <a:cs typeface="Calibri"/>
            </a:endParaRPr>
          </a:p>
          <a:p>
            <a:pPr marL="182880" indent="-18288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Reviewed and improved SQL code changes to enhance database performance and maintain coding standards.</a:t>
            </a:r>
          </a:p>
          <a:p>
            <a:pPr marL="182880" indent="-18288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Assisted in developing coding standards and ETL workflows for data warehouse development and provided expertise in implementing high availability solutions with Always-On availability groups and Transparent Data Encryption for enhanced disaster recovery and security.</a:t>
            </a:r>
            <a:endParaRPr lang="en-IE" sz="800">
              <a:solidFill>
                <a:schemeClr val="bg1"/>
              </a:solidFill>
              <a:latin typeface="Calibri"/>
              <a:cs typeface="Calibri"/>
            </a:endParaRPr>
          </a:p>
          <a:p>
            <a:pPr marL="182880" lvl="1" indent="-182880" algn="just" defTabSz="1006520">
              <a:spcBef>
                <a:spcPct val="0"/>
              </a:spcBef>
              <a:spcAft>
                <a:spcPts val="300"/>
              </a:spcAft>
              <a:tabLst>
                <a:tab pos="2824212" algn="l"/>
                <a:tab pos="4080803" algn="r"/>
              </a:tabLst>
              <a:defRPr/>
            </a:pPr>
            <a:r>
              <a:rPr lang="en-IE" sz="800" b="1">
                <a:solidFill>
                  <a:schemeClr val="bg1"/>
                </a:solidFill>
                <a:latin typeface="Calibri"/>
                <a:cs typeface="Arial"/>
              </a:rPr>
              <a:t>Private Sector – Database Specialist</a:t>
            </a:r>
            <a:endParaRPr lang="en-IE" sz="800">
              <a:solidFill>
                <a:schemeClr val="bg1"/>
              </a:solidFill>
              <a:latin typeface="Calibri"/>
              <a:cs typeface="Arial"/>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Conducted code reviews to enhance database performance and adherence to coding standards, providing recommendations for optimizing long running queries.</a:t>
            </a: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Implemented disaster recovery plans, automated backups, and standardized data from multiple databases, enabling efficient customer response and facilitating data management. Additionally, contributed to the development of various SQL objects and scripts for database management.</a:t>
            </a:r>
            <a:endParaRPr lang="en-IE" sz="800">
              <a:solidFill>
                <a:schemeClr val="bg1"/>
              </a:solidFill>
              <a:latin typeface="Calibri"/>
              <a:cs typeface="Arial" charset="0"/>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charset="0"/>
            </a:endParaRPr>
          </a:p>
          <a:p>
            <a:pPr marL="182880" lvl="1" indent="-18288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a:cs typeface="Arial"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cs typeface="Calibri"/>
            </a:endParaRPr>
          </a:p>
        </p:txBody>
      </p:sp>
      <p:sp>
        <p:nvSpPr>
          <p:cNvPr id="16" name="Rectangle 15">
            <a:extLst>
              <a:ext uri="{FF2B5EF4-FFF2-40B4-BE49-F238E27FC236}">
                <a16:creationId xmlns:a16="http://schemas.microsoft.com/office/drawing/2014/main" id="{1EE50A2F-BB66-4023-A19E-4AC1F49CB477}"/>
              </a:ext>
            </a:extLst>
          </p:cNvPr>
          <p:cNvSpPr/>
          <p:nvPr/>
        </p:nvSpPr>
        <p:spPr>
          <a:xfrm>
            <a:off x="632790" y="5084409"/>
            <a:ext cx="2333568" cy="1346522"/>
          </a:xfrm>
          <a:prstGeom prst="rect">
            <a:avLst/>
          </a:prstGeom>
        </p:spPr>
        <p:txBody>
          <a:bodyPr wrap="square" lIns="91440" tIns="45720" rIns="91440" bIns="45720" anchor="t">
            <a:spAutoFit/>
          </a:bodyPr>
          <a:lstStyle/>
          <a:p>
            <a:pPr marL="173990" indent="-173990"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zure Data Engineer Associate</a:t>
            </a:r>
            <a:endParaRPr lang="en-US" sz="800">
              <a:solidFill>
                <a:schemeClr val="bg1"/>
              </a:solidFill>
              <a:latin typeface="Calibri"/>
              <a:cs typeface="Calibri"/>
            </a:endParaRP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zure Database Administrator Associate</a:t>
            </a: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zure Administrator Associate</a:t>
            </a: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zure DevOps Engineer Expert</a:t>
            </a: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Data Analysis</a:t>
            </a: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Data integration</a:t>
            </a:r>
          </a:p>
          <a:p>
            <a:pPr marL="173990" lvl="1" indent="-173990" defTabSz="1006520">
              <a:spcBef>
                <a:spcPct val="0"/>
              </a:spcBef>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Database modelling</a:t>
            </a:r>
          </a:p>
          <a:p>
            <a:pPr marL="173990" lvl="1" indent="-173990" defTabSz="1006520">
              <a:spcBef>
                <a:spcPct val="0"/>
              </a:spcBef>
              <a:spcAft>
                <a:spcPts val="300"/>
              </a:spcAft>
              <a:buSzPct val="70000"/>
              <a:tabLst>
                <a:tab pos="2824212" algn="l"/>
                <a:tab pos="4080803" algn="r"/>
              </a:tabLst>
              <a:defRPr/>
            </a:pPr>
            <a:endParaRPr lang="en-IE" sz="800">
              <a:solidFill>
                <a:schemeClr val="bg1"/>
              </a:solidFill>
              <a:latin typeface="Calibri"/>
              <a:cs typeface="Calibri"/>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550" b="0" i="0" u="none" strike="noStrike" kern="0" cap="none" spc="0" normalizeH="0" baseline="0" noProof="0">
              <a:ln>
                <a:noFill/>
              </a:ln>
              <a:solidFill>
                <a:srgbClr val="000000"/>
              </a:solidFill>
              <a:effectLst/>
              <a:uLnTx/>
              <a:uFillTx/>
              <a:latin typeface="Calibri"/>
              <a:cs typeface="Calibri"/>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a:cs typeface="Calibri"/>
              </a:rPr>
              <a:t>Manager</a:t>
            </a:r>
          </a:p>
          <a:p>
            <a:pPr defTabSz="913943"/>
            <a:r>
              <a:rPr lang="en-IE" sz="1200">
                <a:solidFill>
                  <a:schemeClr val="bg1"/>
                </a:solidFill>
                <a:latin typeface="Calibri"/>
                <a:cs typeface="Calibri"/>
              </a:rPr>
              <a:t>EY Technology Consulting</a:t>
            </a:r>
          </a:p>
          <a:p>
            <a:pPr defTabSz="913943">
              <a:buSzPct val="100000"/>
            </a:pPr>
            <a:r>
              <a:rPr lang="en-IE" sz="1200">
                <a:solidFill>
                  <a:schemeClr val="bg1"/>
                </a:solidFill>
                <a:latin typeface="Calibri"/>
                <a:cs typeface="Calibri"/>
              </a:rPr>
              <a:t>Proposed Role: Database Administrator</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a:cs typeface="Calibri"/>
              </a:rPr>
              <a:t>Wisdom </a:t>
            </a:r>
            <a:r>
              <a:rPr lang="en-US" err="1">
                <a:solidFill>
                  <a:schemeClr val="bg1"/>
                </a:solidFill>
                <a:latin typeface="Calibri"/>
                <a:cs typeface="Calibri"/>
              </a:rPr>
              <a:t>Magadu</a:t>
            </a:r>
            <a:endParaRPr lang="en-US">
              <a:solidFill>
                <a:schemeClr val="bg1"/>
              </a:solidFill>
              <a:latin typeface="Calibri"/>
              <a:cs typeface="Calibri"/>
            </a:endParaRP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a:cs typeface="Calibri"/>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a:cs typeface="Calibri"/>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a:cs typeface="Calibri"/>
              </a:rPr>
              <a:t>About </a:t>
            </a:r>
            <a:r>
              <a:rPr lang="en-US" sz="1150" b="1" kern="0">
                <a:latin typeface="Calibri"/>
                <a:cs typeface="Calibri"/>
              </a:rPr>
              <a:t>Wisdom</a:t>
            </a:r>
            <a:endParaRPr lang="en-US" sz="1150" b="1" i="0" u="none" strike="noStrike" kern="0" cap="none" spc="0" normalizeH="0" baseline="0" noProof="0">
              <a:ln>
                <a:noFill/>
              </a:ln>
              <a:effectLst/>
              <a:uLnTx/>
              <a:uFillTx/>
              <a:latin typeface="Calibri"/>
              <a:cs typeface="Calibri"/>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a:t>
            </a:r>
            <a:r>
              <a:rPr lang="en-IE">
                <a:latin typeface="Calibri"/>
                <a:cs typeface="Calibri"/>
              </a:rPr>
              <a:t>– Team member bios</a:t>
            </a:r>
          </a:p>
        </p:txBody>
      </p:sp>
      <p:pic>
        <p:nvPicPr>
          <p:cNvPr id="2" name="Picture 2" descr="A person in a striped shirt&#10;&#10;Description automatically generated">
            <a:extLst>
              <a:ext uri="{FF2B5EF4-FFF2-40B4-BE49-F238E27FC236}">
                <a16:creationId xmlns:a16="http://schemas.microsoft.com/office/drawing/2014/main" id="{EEC8CCCC-AF86-81A3-21D3-436707318DD2}"/>
              </a:ext>
            </a:extLst>
          </p:cNvPr>
          <p:cNvPicPr>
            <a:picLocks noChangeAspect="1"/>
          </p:cNvPicPr>
          <p:nvPr/>
        </p:nvPicPr>
        <p:blipFill>
          <a:blip r:embed="rId3"/>
          <a:stretch>
            <a:fillRect/>
          </a:stretch>
        </p:blipFill>
        <p:spPr>
          <a:xfrm>
            <a:off x="620485" y="1356632"/>
            <a:ext cx="1132116" cy="1347108"/>
          </a:xfrm>
          <a:prstGeom prst="rect">
            <a:avLst/>
          </a:prstGeom>
        </p:spPr>
      </p:pic>
      <p:sp>
        <p:nvSpPr>
          <p:cNvPr id="3" name="Rectangle 2">
            <a:extLst>
              <a:ext uri="{FF2B5EF4-FFF2-40B4-BE49-F238E27FC236}">
                <a16:creationId xmlns:a16="http://schemas.microsoft.com/office/drawing/2014/main" id="{87B00A01-31F9-F4D4-DCFE-CF999A9E2975}"/>
              </a:ext>
            </a:extLst>
          </p:cNvPr>
          <p:cNvSpPr/>
          <p:nvPr/>
        </p:nvSpPr>
        <p:spPr>
          <a:xfrm>
            <a:off x="3223590" y="5084409"/>
            <a:ext cx="2333568" cy="1184940"/>
          </a:xfrm>
          <a:prstGeom prst="rect">
            <a:avLst/>
          </a:prstGeom>
        </p:spPr>
        <p:txBody>
          <a:bodyPr wrap="square" lIns="91440" tIns="45720" rIns="91440" bIns="45720" anchor="t">
            <a:spAutoFit/>
          </a:bodyPr>
          <a:lstStyle/>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Database optimization</a:t>
            </a:r>
          </a:p>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Test planning</a:t>
            </a:r>
          </a:p>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SQL query optimization</a:t>
            </a:r>
          </a:p>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Azure Data Lake</a:t>
            </a:r>
          </a:p>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Scrum Fundamentals</a:t>
            </a:r>
          </a:p>
          <a:p>
            <a:pPr marL="173990" indent="-173990" algn="just" defTabSz="1006520">
              <a:spcAft>
                <a:spcPts val="300"/>
              </a:spcAft>
              <a:buSzPct val="70000"/>
              <a:buFont typeface="Arial" panose="020B0604020202020204" pitchFamily="34" charset="0"/>
              <a:buChar char="►"/>
              <a:tabLst>
                <a:tab pos="2824212" algn="l"/>
                <a:tab pos="4080803" algn="r"/>
              </a:tabLst>
              <a:defRPr/>
            </a:pPr>
            <a:r>
              <a:rPr lang="en-IE" sz="800">
                <a:solidFill>
                  <a:schemeClr val="bg1"/>
                </a:solidFill>
                <a:latin typeface="Calibri"/>
                <a:cs typeface="Calibri"/>
              </a:rPr>
              <a:t>SQL Server Integration Services</a:t>
            </a:r>
          </a:p>
          <a:p>
            <a:pPr marL="173990" lvl="1" indent="-173990" algn="just" defTabSz="1006520">
              <a:spcBef>
                <a:spcPct val="0"/>
              </a:spcBef>
              <a:spcAft>
                <a:spcPts val="300"/>
              </a:spcAft>
              <a:buSzPct val="70000"/>
              <a:tabLst>
                <a:tab pos="2824212" algn="l"/>
                <a:tab pos="4080803" algn="r"/>
              </a:tabLst>
              <a:defRPr/>
            </a:pPr>
            <a:endParaRPr lang="en-IE" sz="800">
              <a:solidFill>
                <a:schemeClr val="bg1"/>
              </a:solidFill>
              <a:latin typeface="Calibri"/>
              <a:cs typeface="Calibri"/>
            </a:endParaRPr>
          </a:p>
        </p:txBody>
      </p:sp>
    </p:spTree>
    <p:extLst>
      <p:ext uri="{BB962C8B-B14F-4D97-AF65-F5344CB8AC3E}">
        <p14:creationId xmlns:p14="http://schemas.microsoft.com/office/powerpoint/2010/main" val="2127201987"/>
      </p:ext>
    </p:extLst>
  </p:cSld>
  <p:clrMapOvr>
    <a:masterClrMapping/>
  </p:clrMapOvr>
  <p:extLst>
    <p:ext uri="{6950BFC3-D8DA-4A85-94F7-54DA5524770B}">
      <p188:commentRel xmlns:p188="http://schemas.microsoft.com/office/powerpoint/2018/8/main" r:id="rId2"/>
    </p:ext>
  </p:extLs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315745"/>
          </a:xfrm>
          <a:prstGeom prst="rect">
            <a:avLst/>
          </a:prstGeom>
        </p:spPr>
        <p:txBody>
          <a:bodyPr wrap="square" lIns="91440" tIns="45720" rIns="91440" bIns="45720" anchor="t">
            <a:spAutoFit/>
          </a:bodyPr>
          <a:lstStyle/>
          <a:p>
            <a:pPr marL="180975" indent="-180975" algn="just">
              <a:spcAft>
                <a:spcPts val="300"/>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Cillian joined the Data and Analytics practice in September 2020 as part of the EY Grad programme, and moved to the Microsoft Services Group within Tech Consulting in June 2021</a:t>
            </a:r>
            <a:endParaRPr lang="en-US" sz="900">
              <a:solidFill>
                <a:schemeClr val="bg1"/>
              </a:solidFill>
              <a:latin typeface="Calibri" panose="020F0502020204030204" pitchFamily="34" charset="0"/>
              <a:cs typeface="Calibri" panose="020F0502020204030204" pitchFamily="34" charset="0"/>
            </a:endParaRPr>
          </a:p>
          <a:p>
            <a:pPr marL="180975" indent="-180975" algn="just">
              <a:spcAft>
                <a:spcPts val="300"/>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Cillian studied Maths and Economics at Trinity College Dublin, specialising in statistics and machine learning. He achieved first class honours and was awarded the Trinity Gold Medal for Outstanding Academic Achievement</a:t>
            </a:r>
          </a:p>
          <a:p>
            <a:pPr marL="180975" indent="-180975" algn="just">
              <a:spcAft>
                <a:spcPts val="300"/>
              </a:spcAft>
              <a:buSzPct val="75000"/>
              <a:buFont typeface="EYInterstate Light" pitchFamily="2" charset="0"/>
              <a:buChar char="►"/>
            </a:pPr>
            <a:r>
              <a:rPr lang="en-IE" sz="900">
                <a:solidFill>
                  <a:schemeClr val="bg1"/>
                </a:solidFill>
                <a:latin typeface="Calibri" panose="020F0502020204030204" pitchFamily="34" charset="0"/>
                <a:cs typeface="Calibri" panose="020F0502020204030204" pitchFamily="34" charset="0"/>
              </a:rPr>
              <a:t>Cillian brings a blend of technical skills across DevOps, cloud engineering, and data engineering to deliver value to clients</a:t>
            </a:r>
          </a:p>
          <a:p>
            <a:pPr marL="180975" indent="-180975" algn="just">
              <a:spcAft>
                <a:spcPts val="300"/>
              </a:spcAft>
              <a:buSzPct val="75000"/>
              <a:buFont typeface="EYInterstate Light" pitchFamily="2" charset="0"/>
              <a:buChar char="►"/>
            </a:pPr>
            <a:endParaRPr lang="en-IE" sz="900">
              <a:solidFill>
                <a:schemeClr val="bg1"/>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593692"/>
            <a:ext cx="5420690" cy="4608954"/>
          </a:xfrm>
          <a:prstGeom prst="rect">
            <a:avLst/>
          </a:prstGeom>
        </p:spPr>
        <p:txBody>
          <a:bodyPr wrap="square" lIns="91440" tIns="45720" rIns="91440" bIns="45720" anchor="t">
            <a:spAutoFit/>
          </a:bodyPr>
          <a:lstStyle/>
          <a:p>
            <a:pPr algn="just" defTabSz="1006520" fontAlgn="base">
              <a:spcAft>
                <a:spcPts val="300"/>
              </a:spcAft>
              <a:buClr>
                <a:srgbClr val="000000">
                  <a:lumMod val="75000"/>
                  <a:lumOff val="25000"/>
                </a:srgbClr>
              </a:buClr>
              <a:buSzPct val="70000"/>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Data Subject Notification – Senior Cloud Engineer </a:t>
            </a:r>
            <a:endParaRPr lang="en-US" sz="800">
              <a:solidFill>
                <a:schemeClr val="bg1"/>
              </a:solidFill>
              <a:latin typeface="Calibri" panose="020F0502020204030204" pitchFamily="34" charset="0"/>
              <a:cs typeface="Calibri" panose="020F0502020204030204" pitchFamily="34" charset="0"/>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was the lead engineer heading up the effort to ensure rigorous CI/CD was in place, with automatic deployment pipelines for a range of solution components, including Power Platform solutions, Azure Functions, Azure Data Factory, etc, cutting deployment times by approx. 90%</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also helped develop a serverless solution for data processing, using a combination of Python and Azure Data Factory</a:t>
            </a:r>
          </a:p>
          <a:p>
            <a:pPr marL="0" lvl="1" algn="just" defTabSz="1006520">
              <a:spcBef>
                <a:spcPct val="0"/>
              </a:spcBef>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Power &amp; Utilities Company, UK – Machine Learning Engineer</a:t>
            </a: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leveraged both his knowledge of the Azure platform and skill in machine learning to help deliver a POC pair of algorithms to a) estimate utilisation buffers to ensure enough engineers would be available to respond to network emergencies and b) optimise their daily travel route between different locations to save on time &amp; expenses related to travel</a:t>
            </a:r>
          </a:p>
          <a:p>
            <a:pPr marL="0" lvl="1" algn="just" defTabSz="1006520">
              <a:spcBef>
                <a:spcPct val="0"/>
              </a:spcBef>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overnment COVID Response – Cloud Engineer</a:t>
            </a: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assumed responsibility over the cloud platform the team had built, being responsible for the ongoing running and maintenance of the cloud platform. This involved standard work in updating software, managing the team’s permissions as well as adjustments to data pipelines maintain performance, building up experience with Azure DevOps in the proces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s coding proficiency was also used by the analyst team to automate particularly difficult time-consuming tasks that were otherwise required to be performed manually on a daily/weekly basis, saving up to €20k per month</a:t>
            </a:r>
          </a:p>
          <a:p>
            <a:pPr marL="0" lvl="1" algn="just" defTabSz="1006520">
              <a:spcBef>
                <a:spcPct val="0"/>
              </a:spcBef>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Cyber Incidence Response – Cyber Engineer</a:t>
            </a: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was a member of the  EY Cyber rapid response Team to a breach in a government client. As part of the team, Cillian monitored their cloud identity platform using services such as Microsoft Security Centre, investigated account activity, verified the security and ownership of suspect accounts and ensured security controls  were working as intended</a:t>
            </a:r>
          </a:p>
          <a:p>
            <a:pPr marL="0" lvl="1" algn="just" defTabSz="1006520">
              <a:spcBef>
                <a:spcPct val="0"/>
              </a:spcBef>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overnment COVID Response - </a:t>
            </a:r>
            <a:r>
              <a:rPr lang="en-IE" sz="800" b="1" err="1">
                <a:solidFill>
                  <a:schemeClr val="bg1"/>
                </a:solidFill>
                <a:latin typeface="Calibri" panose="020F0502020204030204" pitchFamily="34" charset="0"/>
                <a:cs typeface="Calibri" panose="020F0502020204030204" pitchFamily="34" charset="0"/>
              </a:rPr>
              <a:t>DataOps</a:t>
            </a:r>
            <a:r>
              <a:rPr lang="en-IE" sz="800" b="1">
                <a:solidFill>
                  <a:schemeClr val="bg1"/>
                </a:solidFill>
                <a:latin typeface="Calibri" panose="020F0502020204030204" pitchFamily="34" charset="0"/>
                <a:cs typeface="Calibri" panose="020F0502020204030204" pitchFamily="34" charset="0"/>
              </a:rPr>
              <a:t> Engineer </a:t>
            </a: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leaned into his automation skills and helped deliver a cloud analytics solution which brought together all sources the team had at their disposal. On the engineering side, Cillian used SQL and Python to ensure data and insights from all sources were available to be integrated into the final combined solution, while the analyst team handled visualisation. Significant emphasis was put on query optimisation &amp; performance</a:t>
            </a:r>
          </a:p>
          <a:p>
            <a:pPr marL="0" lvl="1" algn="just" defTabSz="1006520">
              <a:spcBef>
                <a:spcPct val="0"/>
              </a:spcBef>
              <a:spcAft>
                <a:spcPts val="300"/>
              </a:spcAft>
              <a:tabLst>
                <a:tab pos="2824212" algn="l"/>
                <a:tab pos="4080803" algn="r"/>
              </a:tabLst>
              <a:defRPr/>
            </a:pPr>
            <a:r>
              <a:rPr lang="en-IE" sz="800" b="1">
                <a:solidFill>
                  <a:schemeClr val="bg1"/>
                </a:solidFill>
                <a:latin typeface="Calibri" panose="020F0502020204030204" pitchFamily="34" charset="0"/>
                <a:cs typeface="Calibri" panose="020F0502020204030204" pitchFamily="34" charset="0"/>
              </a:rPr>
              <a:t>Government COVID Response – Data Analyst </a:t>
            </a: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panose="020F0502020204030204" pitchFamily="34" charset="0"/>
                <a:cs typeface="Calibri" panose="020F0502020204030204" pitchFamily="34" charset="0"/>
              </a:rPr>
              <a:t>Cillian was primarily tasked with integrating numerous data sources with existing insights. Using a mixture of Python and Power BI, Cillian automated downloading, transforming and visualising these data sources, delivering insights informing major government decisions</a:t>
            </a: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endParaRPr lang="en-IE" sz="800">
              <a:solidFill>
                <a:schemeClr val="bg1"/>
              </a:solidFill>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598"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panose="020F0502020204030204" pitchFamily="34" charset="0"/>
                <a:cs typeface="Calibri" panose="020F0502020204030204" pitchFamily="34" charset="0"/>
              </a:rPr>
              <a:t>Senior Technology Consultant</a:t>
            </a:r>
          </a:p>
          <a:p>
            <a:pPr defTabSz="913943"/>
            <a:r>
              <a:rPr lang="en-IE" sz="1200">
                <a:solidFill>
                  <a:schemeClr val="bg1"/>
                </a:solidFill>
                <a:latin typeface="Calibri" panose="020F0502020204030204" pitchFamily="34" charset="0"/>
                <a:cs typeface="Calibri" panose="020F0502020204030204" pitchFamily="34" charset="0"/>
              </a:rPr>
              <a:t>EY Technology Consulting</a:t>
            </a:r>
          </a:p>
          <a:p>
            <a:pPr defTabSz="913943">
              <a:buSzPct val="100000"/>
            </a:pPr>
            <a:r>
              <a:rPr lang="en-IE" sz="1200">
                <a:solidFill>
                  <a:schemeClr val="bg1"/>
                </a:solidFill>
                <a:latin typeface="Calibri" panose="020F0502020204030204" pitchFamily="34" charset="0"/>
                <a:cs typeface="Calibri" panose="020F0502020204030204" pitchFamily="34" charset="0"/>
              </a:rPr>
              <a:t>Proposed Role: DevOps Engineer</a:t>
            </a: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panose="020F0502020204030204" pitchFamily="34" charset="0"/>
                <a:cs typeface="Calibri" panose="020F0502020204030204" pitchFamily="34" charset="0"/>
              </a:rPr>
              <a:t>Cillian Bissett</a:t>
            </a: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panose="020F0502020204030204" pitchFamily="34" charset="0"/>
                <a:cs typeface="Calibri" panose="020F0502020204030204" pitchFamily="34" charset="0"/>
              </a:rPr>
              <a:t>Selected professional experiences</a:t>
            </a: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panose="020F0502020204030204" pitchFamily="34" charset="0"/>
                <a:cs typeface="Calibri" panose="020F0502020204030204" pitchFamily="34" charset="0"/>
              </a:rPr>
              <a:t>Skills</a:t>
            </a: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rPr>
              <a:t>About </a:t>
            </a:r>
            <a:r>
              <a:rPr lang="en-US" sz="1150" b="1" kern="0">
                <a:latin typeface="Calibri" panose="020F0502020204030204" pitchFamily="34" charset="0"/>
                <a:cs typeface="Calibri" panose="020F0502020204030204" pitchFamily="34" charset="0"/>
              </a:rPr>
              <a:t>Cillian</a:t>
            </a:r>
            <a:endParaRPr lang="en-US" sz="1150" b="1"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 Team member bios</a:t>
            </a:r>
          </a:p>
        </p:txBody>
      </p:sp>
      <p:pic>
        <p:nvPicPr>
          <p:cNvPr id="2" name="Picture 2" descr="A person in a suit and tie&#10;&#10;Description automatically generated">
            <a:extLst>
              <a:ext uri="{FF2B5EF4-FFF2-40B4-BE49-F238E27FC236}">
                <a16:creationId xmlns:a16="http://schemas.microsoft.com/office/drawing/2014/main" id="{F0859722-F918-7541-2398-E001E7EF6CB0}"/>
              </a:ext>
            </a:extLst>
          </p:cNvPr>
          <p:cNvPicPr>
            <a:picLocks noChangeAspect="1"/>
          </p:cNvPicPr>
          <p:nvPr/>
        </p:nvPicPr>
        <p:blipFill>
          <a:blip r:embed="rId3"/>
          <a:stretch>
            <a:fillRect/>
          </a:stretch>
        </p:blipFill>
        <p:spPr>
          <a:xfrm>
            <a:off x="628650" y="1359145"/>
            <a:ext cx="1145931" cy="1337897"/>
          </a:xfrm>
          <a:prstGeom prst="rect">
            <a:avLst/>
          </a:prstGeom>
        </p:spPr>
      </p:pic>
      <p:sp>
        <p:nvSpPr>
          <p:cNvPr id="5" name="Rectangle 4">
            <a:extLst>
              <a:ext uri="{FF2B5EF4-FFF2-40B4-BE49-F238E27FC236}">
                <a16:creationId xmlns:a16="http://schemas.microsoft.com/office/drawing/2014/main" id="{BDE47C88-9E3C-4980-C403-263854BB37E2}"/>
              </a:ext>
            </a:extLst>
          </p:cNvPr>
          <p:cNvSpPr/>
          <p:nvPr/>
        </p:nvSpPr>
        <p:spPr>
          <a:xfrm>
            <a:off x="3315948" y="4938188"/>
            <a:ext cx="2506133" cy="1107996"/>
          </a:xfrm>
          <a:prstGeom prst="rect">
            <a:avLst/>
          </a:prstGeom>
        </p:spPr>
        <p:txBody>
          <a:bodyPr wrap="square" lIns="91440" tIns="45720" rIns="91440" bIns="45720" anchor="t">
            <a:spAutoFit/>
          </a:bodyPr>
          <a:lstStyle/>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Strong cloud knowledge around services such as Azure Data Factory, Azure Functions, Key Vault, AAD, etc, with several relevant certifications:</a:t>
            </a:r>
            <a:endParaRPr lang="en-US">
              <a:solidFill>
                <a:schemeClr val="bg1"/>
              </a:solidFill>
              <a:latin typeface="Calibri" panose="020F0502020204030204" pitchFamily="34" charset="0"/>
              <a:cs typeface="Calibri" panose="020F0502020204030204" pitchFamily="34" charset="0"/>
            </a:endParaRPr>
          </a:p>
          <a:p>
            <a:pPr marL="182880" lvl="4"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AZ-104: Azure Administrator</a:t>
            </a:r>
            <a:endParaRPr lang="en-IE">
              <a:solidFill>
                <a:schemeClr val="bg1"/>
              </a:solidFill>
              <a:latin typeface="Calibri" panose="020F0502020204030204" pitchFamily="34" charset="0"/>
              <a:cs typeface="Calibri" panose="020F0502020204030204" pitchFamily="34" charset="0"/>
            </a:endParaRPr>
          </a:p>
          <a:p>
            <a:pPr marL="182880" lvl="4"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DP-900: Azure Data Fundamentals</a:t>
            </a:r>
            <a:endParaRPr lang="en-IE">
              <a:solidFill>
                <a:schemeClr val="bg1"/>
              </a:solidFill>
              <a:latin typeface="Calibri" panose="020F0502020204030204" pitchFamily="34" charset="0"/>
              <a:cs typeface="Calibri" panose="020F0502020204030204" pitchFamily="34" charset="0"/>
            </a:endParaRPr>
          </a:p>
          <a:p>
            <a:pPr marL="182880" lvl="4"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AI-900: Azure AI Fundamentals</a:t>
            </a:r>
            <a:endParaRPr lang="en-IE">
              <a:solidFill>
                <a:schemeClr val="bg1"/>
              </a:solidFill>
              <a:latin typeface="Calibri" panose="020F0502020204030204" pitchFamily="34" charset="0"/>
              <a:cs typeface="Calibri" panose="020F0502020204030204" pitchFamily="34" charset="0"/>
            </a:endParaRPr>
          </a:p>
          <a:p>
            <a:pPr marL="182880" lvl="4"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SC-900: Security and Compliance Fundamentals</a:t>
            </a:r>
            <a:endParaRPr lang="en-IE">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DAF26290-6595-85BF-EBDA-ECDB1152DE27}"/>
              </a:ext>
            </a:extLst>
          </p:cNvPr>
          <p:cNvSpPr/>
          <p:nvPr/>
        </p:nvSpPr>
        <p:spPr>
          <a:xfrm>
            <a:off x="628138" y="5083571"/>
            <a:ext cx="2742905" cy="1031051"/>
          </a:xfrm>
          <a:prstGeom prst="rect">
            <a:avLst/>
          </a:prstGeom>
        </p:spPr>
        <p:txBody>
          <a:bodyPr wrap="square" lIns="91440" tIns="45720" rIns="91440" bIns="45720" anchor="t">
            <a:spAutoFit/>
          </a:bodyPr>
          <a:lstStyle/>
          <a:p>
            <a:pPr marL="18034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Highly proficient in DevOps, CI/CD, Python, Git, R and SQL </a:t>
            </a:r>
            <a:endParaRPr lang="en-US">
              <a:solidFill>
                <a:schemeClr val="bg1"/>
              </a:solidFill>
              <a:latin typeface="Calibri" panose="020F0502020204030204" pitchFamily="34" charset="0"/>
              <a:cs typeface="Calibri" panose="020F0502020204030204" pitchFamily="34" charset="0"/>
            </a:endParaRPr>
          </a:p>
          <a:p>
            <a:pPr marL="180340" lvl="3"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Highly proficient in AI/ML, particularly supervised/unsupervised learning, with good knowledge of relevant libraries (</a:t>
            </a:r>
            <a:r>
              <a:rPr lang="en-IE" sz="800" err="1">
                <a:solidFill>
                  <a:schemeClr val="bg1"/>
                </a:solidFill>
                <a:latin typeface="Calibri" panose="020F0502020204030204" pitchFamily="34" charset="0"/>
                <a:cs typeface="Calibri" panose="020F0502020204030204" pitchFamily="34" charset="0"/>
              </a:rPr>
              <a:t>SKLearn</a:t>
            </a:r>
            <a:r>
              <a:rPr lang="en-IE" sz="800">
                <a:solidFill>
                  <a:schemeClr val="bg1"/>
                </a:solidFill>
                <a:latin typeface="Calibri" panose="020F0502020204030204" pitchFamily="34" charset="0"/>
                <a:cs typeface="Calibri" panose="020F0502020204030204" pitchFamily="34" charset="0"/>
              </a:rPr>
              <a:t>, etc)</a:t>
            </a:r>
            <a:endParaRPr lang="en-IE">
              <a:solidFill>
                <a:schemeClr val="bg1"/>
              </a:solidFill>
              <a:latin typeface="Calibri" panose="020F0502020204030204" pitchFamily="34" charset="0"/>
              <a:cs typeface="Calibri" panose="020F0502020204030204" pitchFamily="34" charset="0"/>
            </a:endParaRPr>
          </a:p>
          <a:p>
            <a:pPr marL="180340" lvl="3" indent="-180340" defTabSz="1018971">
              <a:spcAft>
                <a:spcPts val="300"/>
              </a:spcAft>
              <a:buClr>
                <a:srgbClr val="2E2E38"/>
              </a:buClr>
              <a:buSzPct val="70000"/>
              <a:buFont typeface="Arial" panose="020B0604020202020204" pitchFamily="34" charset="0"/>
              <a:buChar char="►"/>
              <a:defRPr/>
            </a:pPr>
            <a:r>
              <a:rPr lang="en-IE" sz="800">
                <a:solidFill>
                  <a:schemeClr val="bg1"/>
                </a:solidFill>
                <a:latin typeface="Calibri" panose="020F0502020204030204" pitchFamily="34" charset="0"/>
                <a:cs typeface="Calibri" panose="020F0502020204030204" pitchFamily="34" charset="0"/>
              </a:rPr>
              <a:t>Good cybersecurity knowledge on best practices &amp; related Azure services</a:t>
            </a:r>
          </a:p>
        </p:txBody>
      </p:sp>
    </p:spTree>
    <p:extLst>
      <p:ext uri="{BB962C8B-B14F-4D97-AF65-F5344CB8AC3E}">
        <p14:creationId xmlns:p14="http://schemas.microsoft.com/office/powerpoint/2010/main" val="3673377692"/>
      </p:ext>
    </p:extLst>
  </p:cSld>
  <p:clrMapOvr>
    <a:masterClrMapping/>
  </p:clrMapOvr>
  <p:extLst>
    <p:ext uri="{6950BFC3-D8DA-4A85-94F7-54DA5524770B}">
      <p188:commentRel xmlns:p188="http://schemas.microsoft.com/office/powerpoint/2018/8/main" r:id="rId2"/>
    </p:ext>
  </p:extLs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89D7E36-E5EC-111E-AE3B-B05ADA2650CA}"/>
              </a:ext>
            </a:extLst>
          </p:cNvPr>
          <p:cNvSpPr/>
          <p:nvPr/>
        </p:nvSpPr>
        <p:spPr>
          <a:xfrm>
            <a:off x="6265007" y="1357342"/>
            <a:ext cx="5378683" cy="4831131"/>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ea typeface="Calibri"/>
              <a:cs typeface="Calibri"/>
            </a:endParaRPr>
          </a:p>
        </p:txBody>
      </p:sp>
      <p:sp>
        <p:nvSpPr>
          <p:cNvPr id="8" name="Rectangle 7">
            <a:extLst>
              <a:ext uri="{FF2B5EF4-FFF2-40B4-BE49-F238E27FC236}">
                <a16:creationId xmlns:a16="http://schemas.microsoft.com/office/drawing/2014/main" id="{CF4624E7-2012-177F-42FD-075B529C96E2}"/>
              </a:ext>
            </a:extLst>
          </p:cNvPr>
          <p:cNvSpPr/>
          <p:nvPr/>
        </p:nvSpPr>
        <p:spPr>
          <a:xfrm>
            <a:off x="620090" y="2800223"/>
            <a:ext cx="5305293" cy="1928772"/>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ea typeface="Calibri"/>
              <a:cs typeface="Calibri"/>
            </a:endParaRPr>
          </a:p>
        </p:txBody>
      </p:sp>
      <p:sp>
        <p:nvSpPr>
          <p:cNvPr id="10" name="Rectangle 9">
            <a:extLst>
              <a:ext uri="{FF2B5EF4-FFF2-40B4-BE49-F238E27FC236}">
                <a16:creationId xmlns:a16="http://schemas.microsoft.com/office/drawing/2014/main" id="{A9930A43-D411-994C-F0E8-7D9582857EF9}"/>
              </a:ext>
            </a:extLst>
          </p:cNvPr>
          <p:cNvSpPr/>
          <p:nvPr/>
        </p:nvSpPr>
        <p:spPr>
          <a:xfrm>
            <a:off x="632790" y="3066923"/>
            <a:ext cx="5258209" cy="1554272"/>
          </a:xfrm>
          <a:prstGeom prst="rect">
            <a:avLst/>
          </a:prstGeom>
        </p:spPr>
        <p:txBody>
          <a:bodyPr wrap="square" lIns="91440" tIns="45720" rIns="91440" bIns="45720" anchor="t">
            <a:spAutoFit/>
          </a:bodyPr>
          <a:lstStyle/>
          <a:p>
            <a:pPr marL="180975" indent="-180975" algn="just">
              <a:spcAft>
                <a:spcPts val="300"/>
              </a:spcAft>
              <a:buSzPct val="75000"/>
              <a:buFont typeface="EYInterstate Light" pitchFamily="2" charset="0"/>
              <a:buChar char="►"/>
            </a:pPr>
            <a:r>
              <a:rPr lang="en-IE" sz="900">
                <a:solidFill>
                  <a:schemeClr val="bg1"/>
                </a:solidFill>
                <a:latin typeface="Calibri"/>
                <a:cs typeface="Calibri"/>
              </a:rPr>
              <a:t>Kevin has over 15 years’ experience leading all facets of project and programme management within pharmaceutical and R&amp;D activities (including over 7 years experience in the pharmaceutical industry), Kevin has worked with over 70 different clinical trial sponsors, managing projects from concept to conclusion for the attainment of business objectives within clinical trials</a:t>
            </a:r>
            <a:endParaRPr lang="en-IE" sz="900">
              <a:solidFill>
                <a:schemeClr val="bg1"/>
              </a:solidFill>
              <a:latin typeface="Calibri"/>
              <a:ea typeface="Calibri"/>
              <a:cs typeface="Calibri"/>
            </a:endParaRP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Kevin has extensive laboratory experience, including founding and managing his own research lab, performing techniques, maintaining equipment, and training staff. He has a proven track record of laboratory-based competencies, with 22 peer-reviewed publications and numerous abstracts and posters from international conferences and meetings</a:t>
            </a:r>
            <a:endParaRPr lang="en-IE" sz="900">
              <a:solidFill>
                <a:schemeClr val="bg1"/>
              </a:solidFill>
              <a:latin typeface="Calibri"/>
              <a:ea typeface="Calibri"/>
              <a:cs typeface="Calibri"/>
            </a:endParaRPr>
          </a:p>
          <a:p>
            <a:pPr marL="180975" indent="-180975" algn="just">
              <a:spcAft>
                <a:spcPts val="300"/>
              </a:spcAft>
              <a:buSzPct val="75000"/>
              <a:buFont typeface="EYInterstate Light" pitchFamily="2" charset="0"/>
              <a:buChar char="►"/>
            </a:pPr>
            <a:r>
              <a:rPr lang="en-IE" sz="900">
                <a:solidFill>
                  <a:schemeClr val="bg1"/>
                </a:solidFill>
                <a:latin typeface="Calibri"/>
                <a:cs typeface="Calibri"/>
              </a:rPr>
              <a:t>Kevin has a proven ability to build and mentor top performing teams through development and execution of policies and best practices through adaptation of Lean &amp; Agile-based methodologies</a:t>
            </a:r>
            <a:endParaRPr lang="en-IE" sz="900">
              <a:solidFill>
                <a:schemeClr val="bg1"/>
              </a:solidFill>
              <a:latin typeface="Calibri"/>
              <a:ea typeface="Calibri"/>
              <a:cs typeface="Calibri"/>
            </a:endParaRPr>
          </a:p>
        </p:txBody>
      </p:sp>
      <p:sp>
        <p:nvSpPr>
          <p:cNvPr id="12" name="Rectangle 11">
            <a:extLst>
              <a:ext uri="{FF2B5EF4-FFF2-40B4-BE49-F238E27FC236}">
                <a16:creationId xmlns:a16="http://schemas.microsoft.com/office/drawing/2014/main" id="{213C6BCD-69D2-90ED-2BC4-196EF5E3F298}"/>
              </a:ext>
            </a:extLst>
          </p:cNvPr>
          <p:cNvSpPr/>
          <p:nvPr/>
        </p:nvSpPr>
        <p:spPr>
          <a:xfrm>
            <a:off x="6261160" y="1625442"/>
            <a:ext cx="5420690" cy="4401205"/>
          </a:xfrm>
          <a:prstGeom prst="rect">
            <a:avLst/>
          </a:prstGeom>
        </p:spPr>
        <p:txBody>
          <a:bodyPr wrap="square" lIns="91440" tIns="45720" rIns="91440" bIns="45720" anchor="t">
            <a:spAutoFit/>
          </a:bodyPr>
          <a:lstStyle/>
          <a:p>
            <a:pPr algn="just" defTabSz="1006520" fontAlgn="base">
              <a:spcAft>
                <a:spcPts val="300"/>
              </a:spcAft>
              <a:buClr>
                <a:srgbClr val="000000">
                  <a:lumMod val="75000"/>
                  <a:lumOff val="25000"/>
                </a:srgbClr>
              </a:buClr>
              <a:buSzPct val="70000"/>
              <a:tabLst>
                <a:tab pos="2824212" algn="l"/>
                <a:tab pos="4080803" algn="r"/>
              </a:tabLst>
              <a:defRPr/>
            </a:pPr>
            <a:r>
              <a:rPr lang="en-IE" sz="800" b="1" err="1">
                <a:solidFill>
                  <a:schemeClr val="bg1"/>
                </a:solidFill>
                <a:latin typeface="Calibri"/>
                <a:cs typeface="Calibri"/>
              </a:rPr>
              <a:t>Uisce</a:t>
            </a:r>
            <a:r>
              <a:rPr lang="en-IE" sz="800" b="1">
                <a:solidFill>
                  <a:schemeClr val="bg1"/>
                </a:solidFill>
                <a:latin typeface="Calibri"/>
                <a:cs typeface="Calibri"/>
              </a:rPr>
              <a:t> </a:t>
            </a:r>
            <a:r>
              <a:rPr lang="en-IE" sz="800" b="1" err="1">
                <a:solidFill>
                  <a:schemeClr val="bg1"/>
                </a:solidFill>
                <a:latin typeface="Calibri"/>
                <a:cs typeface="Calibri"/>
              </a:rPr>
              <a:t>Éireann</a:t>
            </a:r>
            <a:r>
              <a:rPr lang="en-IE" sz="800" b="1">
                <a:solidFill>
                  <a:schemeClr val="bg1"/>
                </a:solidFill>
                <a:latin typeface="Calibri"/>
                <a:cs typeface="Calibri"/>
              </a:rPr>
              <a:t> - Project Manager, Trade Effluent Charging Framework</a:t>
            </a:r>
            <a:endParaRPr lang="en-US" sz="800">
              <a:solidFill>
                <a:schemeClr val="bg1"/>
              </a:solidFill>
              <a:latin typeface="Calibri"/>
              <a:ea typeface="Calibri"/>
              <a:cs typeface="Calibri"/>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managed the implementation of a tariff framework for trade effluent, including managing the project budget, coordinating contractor employees, and developing timelines for implementation.</a:t>
            </a:r>
            <a:endParaRPr lang="en-IE" sz="800">
              <a:solidFill>
                <a:schemeClr val="bg1"/>
              </a:solidFill>
              <a:latin typeface="Calibri"/>
              <a:ea typeface="Calibri"/>
              <a:cs typeface="Arial"/>
            </a:endParaRPr>
          </a:p>
          <a:p>
            <a:pPr marL="143510" indent="-143510" algn="just" defTabSz="1006520">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liaised with regulatory agencies through workshops and meetings to align the content of the framework with the requirements of the regulatory agencies.</a:t>
            </a:r>
            <a:endParaRPr lang="en-IE" sz="800">
              <a:solidFill>
                <a:schemeClr val="bg1"/>
              </a:solidFill>
              <a:latin typeface="Calibri"/>
              <a:ea typeface="Calibri"/>
              <a:cs typeface="Arial"/>
            </a:endParaRPr>
          </a:p>
          <a:p>
            <a:pPr marL="0" lvl="1" algn="just" defTabSz="1006520">
              <a:spcBef>
                <a:spcPct val="0"/>
              </a:spcBef>
              <a:spcAft>
                <a:spcPts val="300"/>
              </a:spcAft>
              <a:tabLst>
                <a:tab pos="2824212" algn="l"/>
                <a:tab pos="4080803" algn="r"/>
              </a:tabLst>
              <a:defRPr/>
            </a:pPr>
            <a:r>
              <a:rPr lang="en-IE" sz="800" b="1">
                <a:solidFill>
                  <a:schemeClr val="bg1"/>
                </a:solidFill>
                <a:latin typeface="Calibri"/>
                <a:cs typeface="Arial"/>
              </a:rPr>
              <a:t>Government Healthcare, Scheduled Care Transformation Programme – Project Manager</a:t>
            </a:r>
            <a:endParaRPr lang="en-IE" sz="800">
              <a:solidFill>
                <a:schemeClr val="bg1"/>
              </a:solidFill>
              <a:latin typeface="Calibri"/>
              <a:ea typeface="Calibri"/>
              <a:cs typeface="Calibri"/>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developed an evidence-based strategic document to propose waiting list guarantees for waiting lists for community-based services, such as occupational therapy, speech &amp; language therapy, physiotherapy, etc., based on current global standards</a:t>
            </a:r>
            <a:endParaRPr lang="en-IE" sz="800">
              <a:solidFill>
                <a:schemeClr val="bg1"/>
              </a:solidFill>
              <a:latin typeface="Calibri"/>
              <a:ea typeface="Calibri"/>
              <a:cs typeface="Arial"/>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developed an evidence-based strategic document to assess and develop models of demand and capacity analyses of community-based waiting list capabilities. Development of a reporting template strategy for the determination of waiting list reductions from community-based services on a monthly basis</a:t>
            </a:r>
            <a:endParaRPr lang="en-IE" sz="800">
              <a:solidFill>
                <a:schemeClr val="bg1"/>
              </a:solidFill>
              <a:latin typeface="Calibri"/>
              <a:ea typeface="Calibri"/>
              <a:cs typeface="Arial"/>
            </a:endParaRPr>
          </a:p>
          <a:p>
            <a:pPr marL="0" lvl="1" algn="just" defTabSz="1006520">
              <a:spcBef>
                <a:spcPct val="0"/>
              </a:spcBef>
              <a:spcAft>
                <a:spcPts val="300"/>
              </a:spcAft>
              <a:tabLst>
                <a:tab pos="2824212" algn="l"/>
                <a:tab pos="4080803" algn="r"/>
              </a:tabLst>
              <a:defRPr/>
            </a:pPr>
            <a:r>
              <a:rPr lang="en-IE" sz="800" b="1">
                <a:solidFill>
                  <a:schemeClr val="bg1"/>
                </a:solidFill>
                <a:latin typeface="Calibri"/>
                <a:cs typeface="Arial"/>
              </a:rPr>
              <a:t>Government Healthcare, Test and Trace Project – Project Manager</a:t>
            </a:r>
            <a:endParaRPr lang="en-IE" sz="800">
              <a:solidFill>
                <a:schemeClr val="bg1"/>
              </a:solidFill>
              <a:latin typeface="Calibri"/>
              <a:ea typeface="Calibri"/>
              <a:cs typeface="Calibri"/>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managed the national Serial Testing programme for the swabbing and detection of COVID-19 in the staff of RCFs, including managing the logistics of COVID outbreaks and the withdrawal programme from COVID-19 testing.</a:t>
            </a:r>
            <a:endParaRPr lang="en-IE" sz="800">
              <a:solidFill>
                <a:schemeClr val="bg1"/>
              </a:solidFill>
              <a:latin typeface="Calibri"/>
              <a:ea typeface="Calibri"/>
              <a:cs typeface="Arial"/>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led the ICT subgroup for the determination of a development plan for ICT requirements post-transition, and developed tenders for recruitment of staff and private contractors for the national COVID-19 emergency response plan.</a:t>
            </a:r>
            <a:endParaRPr lang="en-IE" sz="800">
              <a:solidFill>
                <a:schemeClr val="bg1"/>
              </a:solidFill>
              <a:latin typeface="Calibri"/>
              <a:ea typeface="Calibri"/>
              <a:cs typeface="Arial"/>
            </a:endParaRPr>
          </a:p>
          <a:p>
            <a:pPr marL="0" lvl="1" algn="just" defTabSz="1006520">
              <a:spcBef>
                <a:spcPct val="0"/>
              </a:spcBef>
              <a:spcAft>
                <a:spcPts val="300"/>
              </a:spcAft>
              <a:tabLst>
                <a:tab pos="2824212" algn="l"/>
                <a:tab pos="4080803" algn="r"/>
              </a:tabLst>
              <a:defRPr/>
            </a:pPr>
            <a:r>
              <a:rPr lang="en-IE" sz="800" b="1">
                <a:solidFill>
                  <a:schemeClr val="bg1"/>
                </a:solidFill>
                <a:latin typeface="Calibri"/>
                <a:cs typeface="Arial"/>
              </a:rPr>
              <a:t>Major Global Pharmaceutical Company  - Governance Relationship Manager &amp; Program Manager</a:t>
            </a:r>
            <a:endParaRPr lang="en-IE" sz="800">
              <a:solidFill>
                <a:schemeClr val="bg1"/>
              </a:solidFill>
              <a:latin typeface="Calibri"/>
              <a:ea typeface="Calibri"/>
              <a:cs typeface="Calibri"/>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worked on a governance level with a major global pharmaceutical company to negotiate, devise and manage yearly programs of projects for in-house development, managing the program of content and budget allocations for individual projects in the yearly program portfolios</a:t>
            </a:r>
            <a:endParaRPr lang="en-IE" sz="800">
              <a:solidFill>
                <a:schemeClr val="bg1"/>
              </a:solidFill>
              <a:latin typeface="Calibri"/>
              <a:ea typeface="Calibri"/>
              <a:cs typeface="Arial"/>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managed the allocation and resourcing of projects from portfolios to development teams, as well as budgetary billing for each project within yearly program of studies</a:t>
            </a:r>
            <a:endParaRPr lang="en-IE" sz="800">
              <a:solidFill>
                <a:schemeClr val="bg1"/>
              </a:solidFill>
              <a:latin typeface="Calibri"/>
              <a:ea typeface="Calibri"/>
              <a:cs typeface="Arial"/>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External and internal stakeholder management, risk analysis and reporting outcome development</a:t>
            </a:r>
            <a:endParaRPr lang="en-IE" sz="800">
              <a:solidFill>
                <a:schemeClr val="bg1"/>
              </a:solidFill>
              <a:latin typeface="Calibri"/>
              <a:ea typeface="Calibri"/>
              <a:cs typeface="Arial"/>
            </a:endParaRPr>
          </a:p>
          <a:p>
            <a:pPr marL="0" lvl="1" algn="just" defTabSz="1006520">
              <a:spcBef>
                <a:spcPct val="0"/>
              </a:spcBef>
              <a:spcAft>
                <a:spcPts val="300"/>
              </a:spcAft>
              <a:tabLst>
                <a:tab pos="2824212" algn="l"/>
                <a:tab pos="4080803" algn="r"/>
              </a:tabLst>
              <a:defRPr/>
            </a:pPr>
            <a:r>
              <a:rPr lang="en-IE" sz="800" b="1">
                <a:solidFill>
                  <a:schemeClr val="bg1"/>
                </a:solidFill>
                <a:latin typeface="Calibri"/>
                <a:cs typeface="Arial"/>
              </a:rPr>
              <a:t>Senior Project Manager</a:t>
            </a:r>
            <a:endParaRPr lang="en-IE" sz="800">
              <a:solidFill>
                <a:schemeClr val="bg1"/>
              </a:solidFill>
              <a:latin typeface="Calibri"/>
              <a:ea typeface="Calibri"/>
              <a:cs typeface="Calibri"/>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led clinical trial eLearning projects from concept to completion for all top 10 pharmaceutical companies using lean methodology and agile project management, Veeva, Jira, and custom in-house software</a:t>
            </a:r>
            <a:endParaRPr lang="en-IE" sz="800">
              <a:solidFill>
                <a:schemeClr val="bg1"/>
              </a:solidFill>
              <a:latin typeface="Calibri"/>
              <a:ea typeface="Calibri"/>
              <a:cs typeface="Arial"/>
            </a:endParaRPr>
          </a:p>
          <a:p>
            <a:pPr marL="143510" lvl="1" indent="-143510" algn="just" defTabSz="1006520">
              <a:spcBef>
                <a:spcPct val="0"/>
              </a:spcBef>
              <a:spcAft>
                <a:spcPts val="300"/>
              </a:spcAft>
              <a:buClr>
                <a:srgbClr val="404040"/>
              </a:buClr>
              <a:buSzPct val="70000"/>
              <a:buFont typeface="Arial" panose="020B0604020202020204" pitchFamily="34" charset="0"/>
              <a:buChar char="►"/>
              <a:tabLst>
                <a:tab pos="2824212" algn="l"/>
                <a:tab pos="4080803" algn="r"/>
              </a:tabLst>
              <a:defRPr/>
            </a:pPr>
            <a:r>
              <a:rPr lang="en-IE" sz="800">
                <a:solidFill>
                  <a:schemeClr val="bg1"/>
                </a:solidFill>
                <a:latin typeface="Calibri"/>
                <a:cs typeface="Arial"/>
              </a:rPr>
              <a:t>Kevin managed cross-functional and multidisciplinary teams of scientists and non-scientists to meet business objectives and regulatory compliance, including stakeholder engagement, DSV generation, and Hotfix implementation</a:t>
            </a:r>
            <a:endParaRPr lang="en-IE" sz="800">
              <a:solidFill>
                <a:schemeClr val="bg1"/>
              </a:solidFill>
              <a:latin typeface="Calibri"/>
              <a:ea typeface="Calibri"/>
              <a:cs typeface="Arial"/>
            </a:endParaRPr>
          </a:p>
        </p:txBody>
      </p:sp>
      <p:sp>
        <p:nvSpPr>
          <p:cNvPr id="14" name="Rectangle 13">
            <a:extLst>
              <a:ext uri="{FF2B5EF4-FFF2-40B4-BE49-F238E27FC236}">
                <a16:creationId xmlns:a16="http://schemas.microsoft.com/office/drawing/2014/main" id="{1B4891F9-FC37-F82A-520C-548C6F536DE2}"/>
              </a:ext>
            </a:extLst>
          </p:cNvPr>
          <p:cNvSpPr/>
          <p:nvPr/>
        </p:nvSpPr>
        <p:spPr>
          <a:xfrm>
            <a:off x="620090" y="4819523"/>
            <a:ext cx="5317301" cy="1368950"/>
          </a:xfrm>
          <a:prstGeom prst="rect">
            <a:avLst/>
          </a:prstGeom>
          <a:solidFill>
            <a:srgbClr val="C4C4CD">
              <a:alpha val="50196"/>
            </a:srgbClr>
          </a:solidFill>
          <a:ln w="9525" cap="flat" cmpd="sng" algn="ctr">
            <a:noFill/>
            <a:prstDash val="solid"/>
          </a:ln>
          <a:effectLst/>
        </p:spPr>
        <p:txBody>
          <a:bodyPr lIns="91440" tIns="45720" rIns="91440" bIns="45720"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lang="en-US" sz="1150" b="0" i="0" u="none" strike="noStrike" kern="0" cap="none" spc="0" normalizeH="0" baseline="0" noProof="0">
              <a:ln>
                <a:noFill/>
              </a:ln>
              <a:solidFill>
                <a:srgbClr val="FFFFFF"/>
              </a:solidFill>
              <a:effectLst/>
              <a:uLnTx/>
              <a:uFillTx/>
              <a:latin typeface="Calibri"/>
              <a:ea typeface="Calibri"/>
              <a:cs typeface="Calibri"/>
            </a:endParaRPr>
          </a:p>
        </p:txBody>
      </p:sp>
      <p:sp>
        <p:nvSpPr>
          <p:cNvPr id="18" name="Rectangle 2">
            <a:extLst>
              <a:ext uri="{FF2B5EF4-FFF2-40B4-BE49-F238E27FC236}">
                <a16:creationId xmlns:a16="http://schemas.microsoft.com/office/drawing/2014/main" id="{26DBC6F2-B27C-8EA3-B4A4-A720416361DC}"/>
              </a:ext>
            </a:extLst>
          </p:cNvPr>
          <p:cNvSpPr>
            <a:spLocks noChangeArrowheads="1"/>
          </p:cNvSpPr>
          <p:nvPr/>
        </p:nvSpPr>
        <p:spPr bwMode="auto">
          <a:xfrm>
            <a:off x="1895475" y="1357541"/>
            <a:ext cx="4026061" cy="1340393"/>
          </a:xfrm>
          <a:prstGeom prst="rect">
            <a:avLst/>
          </a:prstGeom>
          <a:solidFill>
            <a:schemeClr val="tx2"/>
          </a:solidFill>
          <a:ln w="12700">
            <a:noFill/>
            <a:miter lim="800000"/>
            <a:headEnd type="none" w="sm" len="sm"/>
            <a:tailEnd type="none" w="sm" len="sm"/>
          </a:ln>
        </p:spPr>
        <p:txBody>
          <a:bodyPr wrap="none" lIns="79993" tIns="39997" rIns="79993" bIns="39997"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550" b="0" i="0" u="none" strike="noStrike" kern="0" cap="none" spc="0" normalizeH="0" baseline="0" noProof="0">
              <a:ln>
                <a:noFill/>
              </a:ln>
              <a:solidFill>
                <a:srgbClr val="000000"/>
              </a:solidFill>
              <a:effectLst/>
              <a:uLnTx/>
              <a:uFillTx/>
              <a:latin typeface="Calibri"/>
              <a:ea typeface="Calibri"/>
              <a:cs typeface="Calibri"/>
            </a:endParaRPr>
          </a:p>
        </p:txBody>
      </p:sp>
      <p:sp>
        <p:nvSpPr>
          <p:cNvPr id="20" name="Rectangle 19">
            <a:extLst>
              <a:ext uri="{FF2B5EF4-FFF2-40B4-BE49-F238E27FC236}">
                <a16:creationId xmlns:a16="http://schemas.microsoft.com/office/drawing/2014/main" id="{71597D73-FC0D-0F7C-BC32-B2FA32899DF9}"/>
              </a:ext>
            </a:extLst>
          </p:cNvPr>
          <p:cNvSpPr/>
          <p:nvPr/>
        </p:nvSpPr>
        <p:spPr>
          <a:xfrm>
            <a:off x="2283790" y="1873123"/>
            <a:ext cx="3202610" cy="615553"/>
          </a:xfrm>
          <a:prstGeom prst="rect">
            <a:avLst/>
          </a:prstGeom>
        </p:spPr>
        <p:txBody>
          <a:bodyPr wrap="square" lIns="0" tIns="0" rIns="0" bIns="0" anchor="t">
            <a:spAutoFit/>
          </a:bodyPr>
          <a:lstStyle/>
          <a:p>
            <a:pPr defTabSz="913943">
              <a:buSzPct val="100000"/>
            </a:pPr>
            <a:r>
              <a:rPr lang="en-US" sz="1600">
                <a:solidFill>
                  <a:schemeClr val="bg1"/>
                </a:solidFill>
                <a:latin typeface="Calibri"/>
                <a:cs typeface="Calibri"/>
              </a:rPr>
              <a:t>Manager</a:t>
            </a:r>
            <a:endParaRPr lang="en-US" sz="1600">
              <a:solidFill>
                <a:schemeClr val="bg1"/>
              </a:solidFill>
              <a:latin typeface="Calibri"/>
              <a:ea typeface="Calibri"/>
              <a:cs typeface="Calibri"/>
            </a:endParaRPr>
          </a:p>
          <a:p>
            <a:pPr defTabSz="913943"/>
            <a:r>
              <a:rPr lang="en-IE" sz="1200">
                <a:solidFill>
                  <a:schemeClr val="bg1"/>
                </a:solidFill>
                <a:latin typeface="Calibri"/>
                <a:cs typeface="Calibri"/>
              </a:rPr>
              <a:t>EY Technology Consulting</a:t>
            </a:r>
            <a:endParaRPr lang="en-IE" sz="1200">
              <a:solidFill>
                <a:schemeClr val="bg1"/>
              </a:solidFill>
              <a:latin typeface="Calibri"/>
              <a:ea typeface="Calibri"/>
              <a:cs typeface="Calibri"/>
            </a:endParaRPr>
          </a:p>
          <a:p>
            <a:pPr defTabSz="913943">
              <a:buSzPct val="100000"/>
            </a:pPr>
            <a:r>
              <a:rPr lang="en-IE" sz="1200">
                <a:solidFill>
                  <a:schemeClr val="bg1"/>
                </a:solidFill>
                <a:latin typeface="Calibri"/>
                <a:cs typeface="Calibri"/>
              </a:rPr>
              <a:t>Proposed Role: Health “SMR”</a:t>
            </a:r>
            <a:endParaRPr lang="en-IE" sz="1200">
              <a:solidFill>
                <a:schemeClr val="bg1"/>
              </a:solidFill>
              <a:latin typeface="Calibri"/>
              <a:ea typeface="Calibri"/>
              <a:cs typeface="Calibri"/>
            </a:endParaRPr>
          </a:p>
        </p:txBody>
      </p:sp>
      <p:sp>
        <p:nvSpPr>
          <p:cNvPr id="22" name="TextBox 21">
            <a:extLst>
              <a:ext uri="{FF2B5EF4-FFF2-40B4-BE49-F238E27FC236}">
                <a16:creationId xmlns:a16="http://schemas.microsoft.com/office/drawing/2014/main" id="{9A4AB788-397F-A777-536A-71E510E11985}"/>
              </a:ext>
            </a:extLst>
          </p:cNvPr>
          <p:cNvSpPr txBox="1"/>
          <p:nvPr/>
        </p:nvSpPr>
        <p:spPr>
          <a:xfrm>
            <a:off x="2283790" y="1441323"/>
            <a:ext cx="2071642" cy="313932"/>
          </a:xfrm>
          <a:prstGeom prst="rect">
            <a:avLst/>
          </a:prstGeom>
          <a:noFill/>
        </p:spPr>
        <p:txBody>
          <a:bodyPr rot="0" spcFirstLastPara="0" vertOverflow="overflow" horzOverflow="overflow" vert="horz" wrap="square" lIns="0" tIns="36576" rIns="0" bIns="0" numCol="1" spcCol="0" rtlCol="0" fromWordArt="0" anchor="t" anchorCtr="0" forceAA="0" compatLnSpc="1">
            <a:prstTxWarp prst="textNoShape">
              <a:avLst/>
            </a:prstTxWarp>
            <a:spAutoFit/>
          </a:bodyPr>
          <a:lstStyle>
            <a:defPPr>
              <a:defRPr lang="en-US"/>
            </a:defPPr>
            <a:lvl1pPr defTabSz="913943">
              <a:buSzPct val="100000"/>
              <a:defRPr>
                <a:solidFill>
                  <a:srgbClr val="FFFFFF"/>
                </a:solidFill>
                <a:latin typeface="+mj-lt"/>
              </a:defRPr>
            </a:lvl1pPr>
          </a:lstStyle>
          <a:p>
            <a:r>
              <a:rPr lang="en-US">
                <a:solidFill>
                  <a:schemeClr val="bg1"/>
                </a:solidFill>
                <a:latin typeface="Calibri"/>
                <a:cs typeface="Calibri"/>
              </a:rPr>
              <a:t>Kevin Culligan</a:t>
            </a:r>
            <a:endParaRPr lang="en-US">
              <a:solidFill>
                <a:schemeClr val="bg1"/>
              </a:solidFill>
              <a:latin typeface="Calibri"/>
              <a:ea typeface="Calibri"/>
              <a:cs typeface="Calibri"/>
            </a:endParaRPr>
          </a:p>
        </p:txBody>
      </p:sp>
      <p:sp>
        <p:nvSpPr>
          <p:cNvPr id="24" name="Rectangle 52">
            <a:extLst>
              <a:ext uri="{FF2B5EF4-FFF2-40B4-BE49-F238E27FC236}">
                <a16:creationId xmlns:a16="http://schemas.microsoft.com/office/drawing/2014/main" id="{F157CDD7-E4B0-DBE6-3BF9-A80704C2E8E2}"/>
              </a:ext>
            </a:extLst>
          </p:cNvPr>
          <p:cNvSpPr/>
          <p:nvPr/>
        </p:nvSpPr>
        <p:spPr>
          <a:xfrm>
            <a:off x="6265007" y="1357343"/>
            <a:ext cx="3279546" cy="259924"/>
          </a:xfrm>
          <a:custGeom>
            <a:avLst/>
            <a:gdLst>
              <a:gd name="connsiteX0" fmla="*/ 0 w 3253530"/>
              <a:gd name="connsiteY0" fmla="*/ 0 h 260059"/>
              <a:gd name="connsiteX1" fmla="*/ 3253530 w 3253530"/>
              <a:gd name="connsiteY1" fmla="*/ 0 h 260059"/>
              <a:gd name="connsiteX2" fmla="*/ 3253530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34748 w 3253530"/>
              <a:gd name="connsiteY2" fmla="*/ 260059 h 260059"/>
              <a:gd name="connsiteX3" fmla="*/ 0 w 3253530"/>
              <a:gd name="connsiteY3" fmla="*/ 260059 h 260059"/>
              <a:gd name="connsiteX4" fmla="*/ 0 w 3253530"/>
              <a:gd name="connsiteY4" fmla="*/ 0 h 260059"/>
              <a:gd name="connsiteX0" fmla="*/ 0 w 3253530"/>
              <a:gd name="connsiteY0" fmla="*/ 0 h 260059"/>
              <a:gd name="connsiteX1" fmla="*/ 3253530 w 3253530"/>
              <a:gd name="connsiteY1" fmla="*/ 0 h 260059"/>
              <a:gd name="connsiteX2" fmla="*/ 2993471 w 3253530"/>
              <a:gd name="connsiteY2" fmla="*/ 260059 h 260059"/>
              <a:gd name="connsiteX3" fmla="*/ 0 w 3253530"/>
              <a:gd name="connsiteY3" fmla="*/ 260059 h 260059"/>
              <a:gd name="connsiteX4" fmla="*/ 0 w 3253530"/>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30" h="260059">
                <a:moveTo>
                  <a:pt x="0" y="0"/>
                </a:moveTo>
                <a:lnTo>
                  <a:pt x="3253530" y="0"/>
                </a:lnTo>
                <a:lnTo>
                  <a:pt x="2993471" y="260059"/>
                </a:lnTo>
                <a:lnTo>
                  <a:pt x="0" y="260059"/>
                </a:lnTo>
                <a:lnTo>
                  <a:pt x="0" y="0"/>
                </a:lnTo>
                <a:close/>
              </a:path>
            </a:pathLst>
          </a:custGeom>
          <a:solidFill>
            <a:srgbClr val="C4C4CD"/>
          </a:solidFill>
          <a:ln w="9525" cap="flat" cmpd="sng" algn="ctr">
            <a:noFill/>
            <a:prstDash val="solid"/>
          </a:ln>
          <a:effectLst/>
        </p:spPr>
        <p:txBody>
          <a:bodyPr lIns="91440" tIns="45720" rIns="91440" bIns="45720" rtlCol="0" anchor="t" anchorCtr="0"/>
          <a:lstStyle/>
          <a:p>
            <a:pPr defTabSz="913943"/>
            <a:r>
              <a:rPr lang="en-US" sz="1150" b="1" kern="0">
                <a:solidFill>
                  <a:schemeClr val="bg1"/>
                </a:solidFill>
                <a:latin typeface="Calibri"/>
                <a:cs typeface="Calibri"/>
              </a:rPr>
              <a:t>Selected professional experiences</a:t>
            </a:r>
            <a:endParaRPr lang="en-US" sz="1150" b="1" kern="0">
              <a:solidFill>
                <a:schemeClr val="bg1"/>
              </a:solidFill>
              <a:latin typeface="Calibri"/>
              <a:ea typeface="Calibri"/>
              <a:cs typeface="Calibri"/>
            </a:endParaRPr>
          </a:p>
        </p:txBody>
      </p:sp>
      <p:sp>
        <p:nvSpPr>
          <p:cNvPr id="26" name="Rectangle 48">
            <a:extLst>
              <a:ext uri="{FF2B5EF4-FFF2-40B4-BE49-F238E27FC236}">
                <a16:creationId xmlns:a16="http://schemas.microsoft.com/office/drawing/2014/main" id="{CE8179ED-1E75-8A00-A70C-EF944AB7261F}"/>
              </a:ext>
            </a:extLst>
          </p:cNvPr>
          <p:cNvSpPr/>
          <p:nvPr/>
        </p:nvSpPr>
        <p:spPr>
          <a:xfrm>
            <a:off x="626440" y="4825536"/>
            <a:ext cx="1720198"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747480"/>
          </a:solidFill>
          <a:ln w="9525" cap="flat" cmpd="sng" algn="ctr">
            <a:noFill/>
            <a:prstDash val="solid"/>
          </a:ln>
          <a:effectLst/>
        </p:spPr>
        <p:txBody>
          <a:bodyPr lIns="91440" tIns="45720" rIns="91440" bIns="45720" rtlCol="0" anchor="t" anchorCtr="0"/>
          <a:lstStyle/>
          <a:p>
            <a:pPr defTabSz="913943"/>
            <a:r>
              <a:rPr lang="en-US" sz="1150" b="1" kern="0">
                <a:latin typeface="Calibri"/>
                <a:cs typeface="Calibri"/>
              </a:rPr>
              <a:t>Skills</a:t>
            </a:r>
            <a:endParaRPr lang="en-US" sz="1150" b="1" kern="0">
              <a:latin typeface="Calibri"/>
              <a:ea typeface="Calibri"/>
              <a:cs typeface="Calibri"/>
            </a:endParaRPr>
          </a:p>
        </p:txBody>
      </p:sp>
      <p:sp>
        <p:nvSpPr>
          <p:cNvPr id="28" name="Rectangle 48">
            <a:extLst>
              <a:ext uri="{FF2B5EF4-FFF2-40B4-BE49-F238E27FC236}">
                <a16:creationId xmlns:a16="http://schemas.microsoft.com/office/drawing/2014/main" id="{3C2A5434-720E-4AA9-21BF-0B0E8A76CA06}"/>
              </a:ext>
            </a:extLst>
          </p:cNvPr>
          <p:cNvSpPr/>
          <p:nvPr/>
        </p:nvSpPr>
        <p:spPr>
          <a:xfrm>
            <a:off x="626440" y="2802747"/>
            <a:ext cx="1746501" cy="259924"/>
          </a:xfrm>
          <a:custGeom>
            <a:avLst/>
            <a:gdLst>
              <a:gd name="connsiteX0" fmla="*/ 0 w 1812022"/>
              <a:gd name="connsiteY0" fmla="*/ 0 h 260059"/>
              <a:gd name="connsiteX1" fmla="*/ 1812022 w 1812022"/>
              <a:gd name="connsiteY1" fmla="*/ 0 h 260059"/>
              <a:gd name="connsiteX2" fmla="*/ 1812022 w 1812022"/>
              <a:gd name="connsiteY2" fmla="*/ 260059 h 260059"/>
              <a:gd name="connsiteX3" fmla="*/ 0 w 1812022"/>
              <a:gd name="connsiteY3" fmla="*/ 260059 h 260059"/>
              <a:gd name="connsiteX4" fmla="*/ 0 w 1812022"/>
              <a:gd name="connsiteY4" fmla="*/ 0 h 260059"/>
              <a:gd name="connsiteX0" fmla="*/ 0 w 1812022"/>
              <a:gd name="connsiteY0" fmla="*/ 0 h 260059"/>
              <a:gd name="connsiteX1" fmla="*/ 1812022 w 1812022"/>
              <a:gd name="connsiteY1" fmla="*/ 0 h 260059"/>
              <a:gd name="connsiteX2" fmla="*/ 1493240 w 1812022"/>
              <a:gd name="connsiteY2" fmla="*/ 260059 h 260059"/>
              <a:gd name="connsiteX3" fmla="*/ 0 w 1812022"/>
              <a:gd name="connsiteY3" fmla="*/ 260059 h 260059"/>
              <a:gd name="connsiteX4" fmla="*/ 0 w 1812022"/>
              <a:gd name="connsiteY4" fmla="*/ 0 h 26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022" h="260059">
                <a:moveTo>
                  <a:pt x="0" y="0"/>
                </a:moveTo>
                <a:lnTo>
                  <a:pt x="1812022" y="0"/>
                </a:lnTo>
                <a:lnTo>
                  <a:pt x="1493240" y="260059"/>
                </a:lnTo>
                <a:lnTo>
                  <a:pt x="0" y="260059"/>
                </a:lnTo>
                <a:lnTo>
                  <a:pt x="0" y="0"/>
                </a:lnTo>
                <a:close/>
              </a:path>
            </a:pathLst>
          </a:custGeom>
          <a:solidFill>
            <a:srgbClr val="2E2E38"/>
          </a:solidFill>
          <a:ln w="9525" cap="flat" cmpd="sng" algn="ctr">
            <a:noFill/>
            <a:prstDash val="solid"/>
          </a:ln>
          <a:effectLst/>
        </p:spPr>
        <p:txBody>
          <a:bodyPr lIns="91440" tIns="45720" rIns="91440" bIns="45720" rtlCol="0" anchor="t" anchorCtr="0"/>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50" b="1" i="0" u="none" strike="noStrike" kern="0" cap="none" spc="0" normalizeH="0" baseline="0" noProof="0">
                <a:ln>
                  <a:noFill/>
                </a:ln>
                <a:effectLst/>
                <a:uLnTx/>
                <a:uFillTx/>
                <a:latin typeface="Calibri"/>
                <a:cs typeface="Calibri"/>
              </a:rPr>
              <a:t>About Kevin</a:t>
            </a:r>
            <a:endParaRPr lang="en-US" sz="1150" b="1" i="0" u="none" strike="noStrike" kern="0" cap="none" spc="0" normalizeH="0" baseline="0" noProof="0">
              <a:ln>
                <a:noFill/>
              </a:ln>
              <a:effectLst/>
              <a:uLnTx/>
              <a:uFillTx/>
              <a:latin typeface="Calibri"/>
              <a:ea typeface="Calibri"/>
              <a:cs typeface="Calibri"/>
            </a:endParaRPr>
          </a:p>
        </p:txBody>
      </p:sp>
      <p:sp>
        <p:nvSpPr>
          <p:cNvPr id="30" name="Text Placeholder 7">
            <a:extLst>
              <a:ext uri="{FF2B5EF4-FFF2-40B4-BE49-F238E27FC236}">
                <a16:creationId xmlns:a16="http://schemas.microsoft.com/office/drawing/2014/main" id="{D93FAA2B-249B-226A-0A9D-DF62EFC7C39A}"/>
              </a:ext>
            </a:extLst>
          </p:cNvPr>
          <p:cNvSpPr>
            <a:spLocks noGrp="1"/>
          </p:cNvSpPr>
          <p:nvPr>
            <p:ph type="body" sz="quarter" idx="10"/>
          </p:nvPr>
        </p:nvSpPr>
        <p:spPr>
          <a:xfrm>
            <a:off x="609600" y="647271"/>
            <a:ext cx="10974388" cy="523983"/>
          </a:xfrm>
        </p:spPr>
        <p:txBody>
          <a:bodyPr/>
          <a:lstStyle/>
          <a:p>
            <a:r>
              <a:rPr lang="en-IE">
                <a:latin typeface="Calibri" panose="020F0502020204030204" pitchFamily="34" charset="0"/>
                <a:cs typeface="Calibri" panose="020F0502020204030204" pitchFamily="34" charset="0"/>
              </a:rPr>
              <a:t>I.1 </a:t>
            </a:r>
            <a:r>
              <a:rPr lang="en-IE">
                <a:latin typeface="Calibri"/>
                <a:cs typeface="Calibri"/>
              </a:rPr>
              <a:t>– Team member bios</a:t>
            </a:r>
            <a:endParaRPr lang="en-IE">
              <a:latin typeface="Calibri"/>
              <a:ea typeface="Calibri"/>
              <a:cs typeface="Calibri"/>
            </a:endParaRPr>
          </a:p>
        </p:txBody>
      </p:sp>
      <p:sp>
        <p:nvSpPr>
          <p:cNvPr id="5" name="Rectangle 4">
            <a:extLst>
              <a:ext uri="{FF2B5EF4-FFF2-40B4-BE49-F238E27FC236}">
                <a16:creationId xmlns:a16="http://schemas.microsoft.com/office/drawing/2014/main" id="{BDE47C88-9E3C-4980-C403-263854BB37E2}"/>
              </a:ext>
            </a:extLst>
          </p:cNvPr>
          <p:cNvSpPr/>
          <p:nvPr/>
        </p:nvSpPr>
        <p:spPr>
          <a:xfrm>
            <a:off x="3319611" y="4842298"/>
            <a:ext cx="2506133" cy="1346522"/>
          </a:xfrm>
          <a:prstGeom prst="rect">
            <a:avLst/>
          </a:prstGeom>
        </p:spPr>
        <p:txBody>
          <a:bodyPr wrap="square" lIns="91440" tIns="45720" rIns="91440" bIns="45720" anchor="t">
            <a:spAutoFit/>
          </a:bodyPr>
          <a:lstStyle/>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Lean &amp; Agile Project management</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Strategic Planning &amp; Implementation</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Clinical Trail Management</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Research &amp; Development</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Risk Assessment &amp; Mitigation</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People &amp; Resource Management</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Genetic sequencing and mutation identifications</a:t>
            </a:r>
            <a:endParaRPr lang="en-IE" sz="800">
              <a:solidFill>
                <a:schemeClr val="bg1"/>
              </a:solidFill>
              <a:latin typeface="Calibri"/>
              <a:ea typeface="Calibri"/>
              <a:cs typeface="Calibri"/>
            </a:endParaRPr>
          </a:p>
          <a:p>
            <a:pPr marL="18288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Cell &amp; Molecular Biology</a:t>
            </a:r>
            <a:endParaRPr lang="en-IE" sz="800">
              <a:solidFill>
                <a:schemeClr val="bg1"/>
              </a:solidFill>
              <a:latin typeface="Calibri"/>
              <a:ea typeface="Calibri"/>
              <a:cs typeface="Calibri"/>
            </a:endParaRPr>
          </a:p>
        </p:txBody>
      </p:sp>
      <p:sp>
        <p:nvSpPr>
          <p:cNvPr id="9" name="Rectangle 8">
            <a:extLst>
              <a:ext uri="{FF2B5EF4-FFF2-40B4-BE49-F238E27FC236}">
                <a16:creationId xmlns:a16="http://schemas.microsoft.com/office/drawing/2014/main" id="{DAF26290-6595-85BF-EBDA-ECDB1152DE27}"/>
              </a:ext>
            </a:extLst>
          </p:cNvPr>
          <p:cNvSpPr/>
          <p:nvPr/>
        </p:nvSpPr>
        <p:spPr>
          <a:xfrm>
            <a:off x="628138" y="5083571"/>
            <a:ext cx="2742905" cy="869469"/>
          </a:xfrm>
          <a:prstGeom prst="rect">
            <a:avLst/>
          </a:prstGeom>
        </p:spPr>
        <p:txBody>
          <a:bodyPr wrap="square" lIns="91440" tIns="45720" rIns="91440" bIns="45720" anchor="t">
            <a:spAutoFit/>
          </a:bodyPr>
          <a:lstStyle/>
          <a:p>
            <a:pPr marL="18034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Laboratory management: Proven track record of sourcing equipment, calibrating and maintaining equipment, managing personnel, and operational management.</a:t>
            </a:r>
            <a:endParaRPr lang="en-IE" sz="800">
              <a:solidFill>
                <a:schemeClr val="bg1"/>
              </a:solidFill>
              <a:latin typeface="Calibri"/>
              <a:ea typeface="Calibri"/>
              <a:cs typeface="Calibri"/>
            </a:endParaRPr>
          </a:p>
          <a:p>
            <a:pPr marL="180340" indent="-180340" defTabSz="1018971" fontAlgn="base">
              <a:spcAft>
                <a:spcPts val="300"/>
              </a:spcAft>
              <a:buClr>
                <a:srgbClr val="2E2E38"/>
              </a:buClr>
              <a:buSzPct val="70000"/>
              <a:buFont typeface="Arial" panose="020B0604020202020204" pitchFamily="34" charset="0"/>
              <a:buChar char="►"/>
              <a:defRPr/>
            </a:pPr>
            <a:r>
              <a:rPr lang="en-IE" sz="800">
                <a:solidFill>
                  <a:schemeClr val="bg1"/>
                </a:solidFill>
                <a:latin typeface="Calibri"/>
                <a:cs typeface="Calibri"/>
              </a:rPr>
              <a:t>Project management: Experienced in research laboratory project management, clinical trials project management, and transformational consultancy project management.</a:t>
            </a:r>
            <a:endParaRPr lang="en-IE" sz="800">
              <a:solidFill>
                <a:schemeClr val="bg1"/>
              </a:solidFill>
              <a:latin typeface="Calibri"/>
              <a:ea typeface="Calibri"/>
              <a:cs typeface="Calibri"/>
            </a:endParaRPr>
          </a:p>
        </p:txBody>
      </p:sp>
      <p:pic>
        <p:nvPicPr>
          <p:cNvPr id="3" name="Picture 3">
            <a:extLst>
              <a:ext uri="{FF2B5EF4-FFF2-40B4-BE49-F238E27FC236}">
                <a16:creationId xmlns:a16="http://schemas.microsoft.com/office/drawing/2014/main" id="{764C1F73-E411-D8B4-6F5A-2CA0BFBB886C}"/>
              </a:ext>
            </a:extLst>
          </p:cNvPr>
          <p:cNvPicPr>
            <a:picLocks/>
          </p:cNvPicPr>
          <p:nvPr/>
        </p:nvPicPr>
        <p:blipFill>
          <a:blip r:embed="rId2"/>
          <a:stretch>
            <a:fillRect/>
          </a:stretch>
        </p:blipFill>
        <p:spPr>
          <a:xfrm>
            <a:off x="614092" y="1358734"/>
            <a:ext cx="1144800" cy="1339200"/>
          </a:xfrm>
          <a:prstGeom prst="rect">
            <a:avLst/>
          </a:prstGeom>
        </p:spPr>
      </p:pic>
    </p:spTree>
    <p:extLst>
      <p:ext uri="{BB962C8B-B14F-4D97-AF65-F5344CB8AC3E}">
        <p14:creationId xmlns:p14="http://schemas.microsoft.com/office/powerpoint/2010/main" val="13133912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l="-3000" r="-3000"/>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32C490-8501-4DEB-9800-36DD8F00D9DA}"/>
              </a:ext>
            </a:extLst>
          </p:cNvPr>
          <p:cNvSpPr>
            <a:spLocks noGrp="1"/>
          </p:cNvSpPr>
          <p:nvPr>
            <p:ph idx="1"/>
          </p:nvPr>
        </p:nvSpPr>
        <p:spPr>
          <a:xfrm>
            <a:off x="1219201" y="1265205"/>
            <a:ext cx="5486399" cy="676788"/>
          </a:xfrm>
        </p:spPr>
        <p:txBody>
          <a:bodyPr/>
          <a:lstStyle/>
          <a:p>
            <a:r>
              <a:rPr lang="en-IE">
                <a:latin typeface="Calibri" panose="020F0502020204030204" pitchFamily="34" charset="0"/>
                <a:cs typeface="Calibri" panose="020F0502020204030204" pitchFamily="34" charset="0"/>
              </a:rPr>
              <a:t>Quality Assurance</a:t>
            </a:r>
          </a:p>
        </p:txBody>
      </p:sp>
      <p:sp>
        <p:nvSpPr>
          <p:cNvPr id="5" name="Text Placeholder 4">
            <a:extLst>
              <a:ext uri="{FF2B5EF4-FFF2-40B4-BE49-F238E27FC236}">
                <a16:creationId xmlns:a16="http://schemas.microsoft.com/office/drawing/2014/main" id="{82ACE101-9079-4B28-90D1-41FFC709BAB0}"/>
              </a:ext>
            </a:extLst>
          </p:cNvPr>
          <p:cNvSpPr>
            <a:spLocks noGrp="1"/>
          </p:cNvSpPr>
          <p:nvPr>
            <p:ph type="body" sz="quarter" idx="10"/>
          </p:nvPr>
        </p:nvSpPr>
        <p:spPr>
          <a:xfrm>
            <a:off x="609600" y="1063599"/>
            <a:ext cx="4963886" cy="1080000"/>
          </a:xfrm>
        </p:spPr>
        <p:txBody>
          <a:bodyPr/>
          <a:lstStyle/>
          <a:p>
            <a:r>
              <a:rPr lang="en-IE">
                <a:solidFill>
                  <a:srgbClr val="F6DF09"/>
                </a:solidFill>
                <a:latin typeface="Calibri" panose="020F0502020204030204" pitchFamily="34" charset="0"/>
                <a:cs typeface="Calibri" panose="020F0502020204030204" pitchFamily="34" charset="0"/>
              </a:rPr>
              <a:t>J.</a:t>
            </a:r>
          </a:p>
        </p:txBody>
      </p:sp>
      <p:sp>
        <p:nvSpPr>
          <p:cNvPr id="2" name="TextBox 1">
            <a:extLst>
              <a:ext uri="{FF2B5EF4-FFF2-40B4-BE49-F238E27FC236}">
                <a16:creationId xmlns:a16="http://schemas.microsoft.com/office/drawing/2014/main" id="{35CD8BED-68CF-D983-C8AF-A9AD64B592B0}"/>
              </a:ext>
            </a:extLst>
          </p:cNvPr>
          <p:cNvSpPr txBox="1"/>
          <p:nvPr/>
        </p:nvSpPr>
        <p:spPr>
          <a:xfrm>
            <a:off x="609600" y="3713593"/>
            <a:ext cx="6096000" cy="923330"/>
          </a:xfrm>
          <a:prstGeom prst="rect">
            <a:avLst/>
          </a:prstGeom>
          <a:noFill/>
        </p:spPr>
        <p:txBody>
          <a:bodyPr wrap="square" lIns="91440" tIns="45720" rIns="91440" bIns="45720" anchor="t">
            <a:spAutoFit/>
          </a:bodyPr>
          <a:lstStyle/>
          <a:p>
            <a:pPr fontAlgn="base"/>
            <a:r>
              <a:rPr lang="en-GB" b="0" i="0">
                <a:effectLst/>
                <a:latin typeface="Calibri" panose="020F0502020204030204" pitchFamily="34" charset="0"/>
                <a:cs typeface="Calibri" panose="020F0502020204030204" pitchFamily="34" charset="0"/>
              </a:rPr>
              <a:t>J.1 – </a:t>
            </a:r>
            <a:r>
              <a:rPr lang="en-GB">
                <a:latin typeface="Calibri" panose="020F0502020204030204" pitchFamily="34" charset="0"/>
                <a:cs typeface="Calibri" panose="020F0502020204030204" pitchFamily="34" charset="0"/>
              </a:rPr>
              <a:t>QMS </a:t>
            </a:r>
          </a:p>
          <a:p>
            <a:pPr fontAlgn="base"/>
            <a:r>
              <a:rPr lang="en-GB">
                <a:latin typeface="Calibri" panose="020F0502020204030204" pitchFamily="34" charset="0"/>
                <a:cs typeface="Calibri" panose="020F0502020204030204" pitchFamily="34" charset="0"/>
              </a:rPr>
              <a:t>J.2 – Quality Assurance Process</a:t>
            </a:r>
            <a:endParaRPr lang="en-US">
              <a:latin typeface="Calibri" panose="020F0502020204030204" pitchFamily="34" charset="0"/>
              <a:cs typeface="Calibri" panose="020F0502020204030204" pitchFamily="34" charset="0"/>
            </a:endParaRPr>
          </a:p>
          <a:p>
            <a:pPr fontAlgn="base"/>
            <a:r>
              <a:rPr lang="en-GB">
                <a:latin typeface="Calibri" panose="020F0502020204030204" pitchFamily="34" charset="0"/>
                <a:cs typeface="Calibri" panose="020F0502020204030204" pitchFamily="34" charset="0"/>
              </a:rPr>
              <a:t>J.3 – Insurance &amp; Financial Summary</a:t>
            </a:r>
          </a:p>
        </p:txBody>
      </p:sp>
    </p:spTree>
    <p:extLst>
      <p:ext uri="{BB962C8B-B14F-4D97-AF65-F5344CB8AC3E}">
        <p14:creationId xmlns:p14="http://schemas.microsoft.com/office/powerpoint/2010/main" val="783175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L41aKETp3o5icTWLFFJ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L41aKETp3o5icTWLFFJ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7AFcS1jD4_DuaiDld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gear_POWER_USER_SEPARATOR_ICONS_industry_POWER_USER_SEPARATOR_ICONS_setting"/>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7AFcS1jD4_DuaiDldKkA"/>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gear_POWER_USER_SEPARATOR_ICONS_industry_POWER_USER_SEPARATOR_ICONS_sett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o_jeeEAoz6SDowBCmh.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7AFcS1jD4_DuaiDldKkA"/>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ln>
      </a:spPr>
      <a:bodyPr lIns="104494" tIns="52247" rIns="104494" bIns="52247" rtlCol="0" anchor="ctr"/>
      <a:lstStyle>
        <a:defPPr algn="ctr">
          <a:defRPr sz="1000" dirty="0" smtClean="0">
            <a:solidFill>
              <a:schemeClr val="tx2"/>
            </a:solidFill>
            <a:latin typeface="+mj-lt"/>
          </a:defRPr>
        </a:defPPr>
      </a:lstStyle>
      <a:style>
        <a:lnRef idx="1">
          <a:schemeClr val="accent1"/>
        </a:lnRef>
        <a:fillRef idx="2">
          <a:schemeClr val="accent1"/>
        </a:fillRef>
        <a:effectRef idx="1">
          <a:schemeClr val="accent1"/>
        </a:effectRef>
        <a:fontRef idx="minor">
          <a:schemeClr val="dk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accent5"/>
        </a:solidFill>
      </a:spPr>
      <a:bodyPr wrap="none" lIns="0" tIns="36576" rIns="0" bIns="0" rtlCol="0">
        <a:spAutoFit/>
      </a:bodyPr>
      <a:lstStyle>
        <a:defPPr algn="l">
          <a:lnSpc>
            <a:spcPct val="85000"/>
          </a:lnSpc>
          <a:spcAft>
            <a:spcPts val="600"/>
          </a:spcAft>
          <a:buClr>
            <a:schemeClr val="accent2"/>
          </a:buClr>
          <a:buSzPct val="70000"/>
          <a:defRPr sz="1200" dirty="0">
            <a:solidFill>
              <a:schemeClr val="bg1"/>
            </a:solidFill>
          </a:defRPr>
        </a:defPPr>
      </a:lstStyle>
    </a:txDef>
  </a:objectDefaults>
  <a:extraClrSchemeLst/>
  <a:extLst>
    <a:ext uri="{05A4C25C-085E-4340-85A3-A5531E510DB2}">
      <thm15:themeFamily xmlns:thm15="http://schemas.microsoft.com/office/thememl/2012/main" name="04 - EY PowerPoint Advanced Onscreen (Widescreen)" id="{27B52ADF-DBAD-4213-B953-688691921392}" vid="{C57E3F13-51EB-412B-B334-D08F12915E21}"/>
    </a:ext>
  </a:extLst>
</a:theme>
</file>

<file path=ppt/theme/theme2.xml><?xml version="1.0" encoding="utf-8"?>
<a:theme xmlns:a="http://schemas.openxmlformats.org/drawingml/2006/main" name="6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CFA ServiceNow MSP Master">
  <a:themeElements>
    <a:clrScheme name="Custom 71">
      <a:dk1>
        <a:srgbClr val="FFFFFF"/>
      </a:dk1>
      <a:lt1>
        <a:srgbClr val="5B6770"/>
      </a:lt1>
      <a:dk2>
        <a:srgbClr val="FFE600"/>
      </a:dk2>
      <a:lt2>
        <a:srgbClr val="D8DDE1"/>
      </a:lt2>
      <a:accent1>
        <a:srgbClr val="249E6B"/>
      </a:accent1>
      <a:accent2>
        <a:srgbClr val="27ACAA"/>
      </a:accent2>
      <a:accent3>
        <a:srgbClr val="5D3754"/>
      </a:accent3>
      <a:accent4>
        <a:srgbClr val="2AA2BA"/>
      </a:accent4>
      <a:accent5>
        <a:srgbClr val="DD0033"/>
      </a:accent5>
      <a:accent6>
        <a:srgbClr val="004F71"/>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4.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ln>
      </a:spPr>
      <a:bodyPr lIns="104494" tIns="52247" rIns="104494" bIns="52247" rtlCol="0" anchor="ctr"/>
      <a:lstStyle>
        <a:defPPr algn="ctr">
          <a:defRPr sz="1000" dirty="0" smtClean="0">
            <a:solidFill>
              <a:schemeClr val="tx2"/>
            </a:solidFill>
            <a:latin typeface="+mj-lt"/>
          </a:defRPr>
        </a:defPPr>
      </a:lstStyle>
      <a:style>
        <a:lnRef idx="1">
          <a:schemeClr val="accent1"/>
        </a:lnRef>
        <a:fillRef idx="2">
          <a:schemeClr val="accent1"/>
        </a:fillRef>
        <a:effectRef idx="1">
          <a:schemeClr val="accent1"/>
        </a:effectRef>
        <a:fontRef idx="minor">
          <a:schemeClr val="dk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accent5"/>
        </a:solidFill>
      </a:spPr>
      <a:bodyPr wrap="none" lIns="0" tIns="36576" rIns="0" bIns="0" rtlCol="0">
        <a:spAutoFit/>
      </a:bodyPr>
      <a:lstStyle>
        <a:defPPr algn="l">
          <a:lnSpc>
            <a:spcPct val="85000"/>
          </a:lnSpc>
          <a:spcAft>
            <a:spcPts val="600"/>
          </a:spcAft>
          <a:buClr>
            <a:schemeClr val="accent2"/>
          </a:buClr>
          <a:buSzPct val="70000"/>
          <a:defRPr sz="1200" dirty="0">
            <a:solidFill>
              <a:schemeClr val="bg1"/>
            </a:solidFill>
          </a:defRPr>
        </a:defPPr>
      </a:lstStyle>
    </a:txDef>
  </a:objectDefaults>
  <a:extraClrSchemeLst/>
  <a:extLst>
    <a:ext uri="{05A4C25C-085E-4340-85A3-A5531E510DB2}">
      <thm15:themeFamily xmlns:thm15="http://schemas.microsoft.com/office/thememl/2012/main" name="04 - EY PowerPoint Advanced Onscreen (Widescreen)" id="{27B52ADF-DBAD-4213-B953-688691921392}" vid="{C57E3F13-51EB-412B-B334-D08F12915E2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A7612419515A4DB15C9D565ECC16F8" ma:contentTypeVersion="5" ma:contentTypeDescription="Create a new document." ma:contentTypeScope="" ma:versionID="0bcbe22b09cae1742a3fb768333fcd77">
  <xsd:schema xmlns:xsd="http://www.w3.org/2001/XMLSchema" xmlns:xs="http://www.w3.org/2001/XMLSchema" xmlns:p="http://schemas.microsoft.com/office/2006/metadata/properties" xmlns:ns2="3159ccb9-8c92-4f99-a70d-cc0f89b9d02b" xmlns:ns3="5b4f61ad-7a9b-4bf9-9022-06ec4e6127d1" targetNamespace="http://schemas.microsoft.com/office/2006/metadata/properties" ma:root="true" ma:fieldsID="71195cce5b4b25cadd07a598ce7681d1" ns2:_="" ns3:_="">
    <xsd:import namespace="3159ccb9-8c92-4f99-a70d-cc0f89b9d02b"/>
    <xsd:import namespace="5b4f61ad-7a9b-4bf9-9022-06ec4e6127d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59ccb9-8c92-4f99-a70d-cc0f89b9d0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4f61ad-7a9b-4bf9-9022-06ec4e6127d1"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b4f61ad-7a9b-4bf9-9022-06ec4e6127d1">
      <UserInfo>
        <DisplayName>Wisdom T Magadu</DisplayName>
        <AccountId>45</AccountId>
        <AccountType/>
      </UserInfo>
      <UserInfo>
        <DisplayName>Matthew Macfarlane</DisplayName>
        <AccountId>10</AccountId>
        <AccountType/>
      </UserInfo>
      <UserInfo>
        <DisplayName>Immanuel J Daniel</DisplayName>
        <AccountId>32</AccountId>
        <AccountType/>
      </UserInfo>
    </SharedWithUsers>
  </documentManagement>
</p:properties>
</file>

<file path=customXml/itemProps1.xml><?xml version="1.0" encoding="utf-8"?>
<ds:datastoreItem xmlns:ds="http://schemas.openxmlformats.org/officeDocument/2006/customXml" ds:itemID="{3B58DF35-0D5D-49FE-8E70-CEE8805CB12E}">
  <ds:schemaRefs>
    <ds:schemaRef ds:uri="http://schemas.microsoft.com/sharepoint/v3/contenttype/forms"/>
  </ds:schemaRefs>
</ds:datastoreItem>
</file>

<file path=customXml/itemProps2.xml><?xml version="1.0" encoding="utf-8"?>
<ds:datastoreItem xmlns:ds="http://schemas.openxmlformats.org/officeDocument/2006/customXml" ds:itemID="{402E7B3F-CD13-4F06-BCAC-145D001EC7D3}">
  <ds:schemaRefs>
    <ds:schemaRef ds:uri="3159ccb9-8c92-4f99-a70d-cc0f89b9d02b"/>
    <ds:schemaRef ds:uri="5b4f61ad-7a9b-4bf9-9022-06ec4e6127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8E27CED-21EF-407E-BF16-B025999D8281}">
  <ds:schemaRefs>
    <ds:schemaRef ds:uri="3159ccb9-8c92-4f99-a70d-cc0f89b9d02b"/>
    <ds:schemaRef ds:uri="5b4f61ad-7a9b-4bf9-9022-06ec4e6127d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4832</Words>
  <Application>Microsoft Office PowerPoint</Application>
  <PresentationFormat>Widescreen</PresentationFormat>
  <Paragraphs>2754</Paragraphs>
  <Slides>118</Slides>
  <Notes>39</Notes>
  <HiddenSlides>1</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118</vt:i4>
      </vt:variant>
    </vt:vector>
  </HeadingPairs>
  <TitlesOfParts>
    <vt:vector size="139" baseType="lpstr">
      <vt:lpstr>Apercu</vt:lpstr>
      <vt:lpstr>Apercu-Bold</vt:lpstr>
      <vt:lpstr>Apercu-Regular</vt:lpstr>
      <vt:lpstr>Arial</vt:lpstr>
      <vt:lpstr>Arial,Sans-Serif</vt:lpstr>
      <vt:lpstr>Calibri</vt:lpstr>
      <vt:lpstr>Courier New</vt:lpstr>
      <vt:lpstr>EY interstate light</vt:lpstr>
      <vt:lpstr>EYInterstate</vt:lpstr>
      <vt:lpstr>EYInterstate Light</vt:lpstr>
      <vt:lpstr>Georgia</vt:lpstr>
      <vt:lpstr>Symbol</vt:lpstr>
      <vt:lpstr>Wingdings</vt:lpstr>
      <vt:lpstr>Wingdings 3</vt:lpstr>
      <vt:lpstr>Wingdings,Sans-Serif</vt:lpstr>
      <vt:lpstr>EY light background</vt:lpstr>
      <vt:lpstr>6_EY dark background</vt:lpstr>
      <vt:lpstr>CFA ServiceNow MSP Master</vt:lpstr>
      <vt:lpstr>EY dark background</vt:lpstr>
      <vt:lpstr>1_EY light background</vt:lpstr>
      <vt:lpstr>think-cell Slide</vt:lpstr>
      <vt:lpstr>St. James's Hospi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Dempster</dc:creator>
  <cp:lastModifiedBy>Abhishek Danalakota</cp:lastModifiedBy>
  <cp:revision>1</cp:revision>
  <dcterms:created xsi:type="dcterms:W3CDTF">2021-05-27T10:22:55Z</dcterms:created>
  <dcterms:modified xsi:type="dcterms:W3CDTF">2023-08-15T14:2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A7612419515A4DB15C9D565ECC16F8</vt:lpwstr>
  </property>
  <property fmtid="{D5CDD505-2E9C-101B-9397-08002B2CF9AE}" pid="3" name="_dlc_DocIdItemGuid">
    <vt:lpwstr>a1869bd6-3dce-4623-a10e-a214f1861748</vt:lpwstr>
  </property>
  <property fmtid="{D5CDD505-2E9C-101B-9397-08002B2CF9AE}" pid="4" name="WppReportCurrencySymbol">
    <vt:lpwstr>€</vt:lpwstr>
  </property>
  <property fmtid="{D5CDD505-2E9C-101B-9397-08002B2CF9AE}" pid="5" name="WppReportDashboardTitleText">
    <vt:lpwstr>Dashboard</vt:lpwstr>
  </property>
  <property fmtid="{D5CDD505-2E9C-101B-9397-08002B2CF9AE}" pid="6" name="WppReportIsTocUpdateRecommended">
    <vt:bool>true</vt:bool>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Date">
    <vt:lpwstr/>
  </property>
  <property fmtid="{D5CDD505-2E9C-101B-9397-08002B2CF9AE}" pid="10" name="WppReportDraft">
    <vt:lpwstr>(Draft)</vt:lpwstr>
  </property>
  <property fmtid="{D5CDD505-2E9C-101B-9397-08002B2CF9AE}" pid="11" name="WppReportVersion">
    <vt:lpwstr>Version 1.0</vt:lpwstr>
  </property>
  <property fmtid="{D5CDD505-2E9C-101B-9397-08002B2CF9AE}" pid="12" name="WppReportTocTitleText">
    <vt:lpwstr>Table of contents</vt:lpwstr>
  </property>
  <property fmtid="{D5CDD505-2E9C-101B-9397-08002B2CF9AE}" pid="13" name="WppReportPropertiesLastWrittenToDocument">
    <vt:filetime>2022-11-25T15:12:50Z</vt:filetime>
  </property>
  <property fmtid="{D5CDD505-2E9C-101B-9397-08002B2CF9AE}" pid="14" name="MediaServiceImageTags">
    <vt:lpwstr/>
  </property>
  <property fmtid="{D5CDD505-2E9C-101B-9397-08002B2CF9AE}" pid="15" name="Order">
    <vt:lpwstr>3700.00000000000</vt:lpwstr>
  </property>
  <property fmtid="{D5CDD505-2E9C-101B-9397-08002B2CF9AE}" pid="16" name="xd_ProgID">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y fmtid="{D5CDD505-2E9C-101B-9397-08002B2CF9AE}" pid="21" name="xd_Signature">
    <vt:lpwstr/>
  </property>
  <property fmtid="{D5CDD505-2E9C-101B-9397-08002B2CF9AE}" pid="22" name="SharedWithUsers">
    <vt:lpwstr>27;#Cillian Leonowicz;#15;#Dwayne Harvey;#9;#Matthew Macfarlane;#14;#Thrubhuvan Jv;#36;#SharingLinks.d000e9b9-efc5-464d-9a1e-0fa5b32ee6a5.Flexible.fd8eff8c-8012-4271-85d2-48eed251c1ce;#18;#Paul Browne;#46;#Michael Taschler</vt:lpwstr>
  </property>
</Properties>
</file>